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5" r:id="rId2"/>
  </p:sldMasterIdLst>
  <p:sldIdLst>
    <p:sldId id="260" r:id="rId3"/>
    <p:sldId id="440" r:id="rId4"/>
    <p:sldId id="444" r:id="rId5"/>
    <p:sldId id="275" r:id="rId6"/>
    <p:sldId id="277" r:id="rId7"/>
    <p:sldId id="450" r:id="rId8"/>
    <p:sldId id="445" r:id="rId9"/>
    <p:sldId id="279" r:id="rId10"/>
    <p:sldId id="455" r:id="rId11"/>
    <p:sldId id="457" r:id="rId12"/>
    <p:sldId id="458" r:id="rId13"/>
    <p:sldId id="459" r:id="rId14"/>
    <p:sldId id="460" r:id="rId15"/>
    <p:sldId id="475" r:id="rId16"/>
    <p:sldId id="467" r:id="rId17"/>
    <p:sldId id="468" r:id="rId18"/>
    <p:sldId id="449" r:id="rId19"/>
    <p:sldId id="473" r:id="rId20"/>
    <p:sldId id="474" r:id="rId21"/>
    <p:sldId id="464" r:id="rId22"/>
    <p:sldId id="469" r:id="rId23"/>
    <p:sldId id="476" r:id="rId24"/>
    <p:sldId id="477" r:id="rId25"/>
    <p:sldId id="478" r:id="rId26"/>
    <p:sldId id="472" r:id="rId27"/>
    <p:sldId id="465" r:id="rId28"/>
    <p:sldId id="261"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153EEE9-56E0-403D-A93E-A42672E4D7A8}">
          <p14:sldIdLst>
            <p14:sldId id="260"/>
          </p14:sldIdLst>
        </p14:section>
        <p14:section name="Introduction" id="{A6975776-DCCE-4103-8247-FDEB07771506}">
          <p14:sldIdLst>
            <p14:sldId id="440"/>
            <p14:sldId id="444"/>
            <p14:sldId id="275"/>
            <p14:sldId id="277"/>
            <p14:sldId id="450"/>
            <p14:sldId id="445"/>
            <p14:sldId id="279"/>
          </p14:sldIdLst>
        </p14:section>
        <p14:section name="The Case for Africa" id="{F58D8EC6-59B8-4B15-8144-3C2079649390}">
          <p14:sldIdLst>
            <p14:sldId id="455"/>
            <p14:sldId id="457"/>
            <p14:sldId id="458"/>
            <p14:sldId id="459"/>
            <p14:sldId id="460"/>
            <p14:sldId id="475"/>
            <p14:sldId id="467"/>
            <p14:sldId id="468"/>
            <p14:sldId id="449"/>
            <p14:sldId id="473"/>
            <p14:sldId id="474"/>
            <p14:sldId id="464"/>
            <p14:sldId id="469"/>
            <p14:sldId id="476"/>
            <p14:sldId id="477"/>
            <p14:sldId id="478"/>
            <p14:sldId id="472"/>
            <p14:sldId id="465"/>
            <p14:sldId id="2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8C6964-DBF2-450D-9644-7B64291DD03D}" v="620" dt="2023-11-19T11:42:39.6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4" autoAdjust="0"/>
    <p:restoredTop sz="94660"/>
  </p:normalViewPr>
  <p:slideViewPr>
    <p:cSldViewPr snapToGrid="0">
      <p:cViewPr>
        <p:scale>
          <a:sx n="75" d="100"/>
          <a:sy n="75" d="100"/>
        </p:scale>
        <p:origin x="250" y="43"/>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if Zahdeh" userId="76695dcfea8304bd" providerId="LiveId" clId="{3A8C6964-DBF2-450D-9644-7B64291DD03D}"/>
    <pc:docChg chg="undo custSel addSld delSld modSld sldOrd delMainMaster">
      <pc:chgData name="Sharif Zahdeh" userId="76695dcfea8304bd" providerId="LiveId" clId="{3A8C6964-DBF2-450D-9644-7B64291DD03D}" dt="2023-11-19T12:10:53.579" v="9441" actId="5793"/>
      <pc:docMkLst>
        <pc:docMk/>
      </pc:docMkLst>
      <pc:sldChg chg="mod modShow">
        <pc:chgData name="Sharif Zahdeh" userId="76695dcfea8304bd" providerId="LiveId" clId="{3A8C6964-DBF2-450D-9644-7B64291DD03D}" dt="2023-11-15T11:54:02.952" v="6441" actId="729"/>
        <pc:sldMkLst>
          <pc:docMk/>
          <pc:sldMk cId="2044054336" sldId="441"/>
        </pc:sldMkLst>
      </pc:sldChg>
      <pc:sldChg chg="del">
        <pc:chgData name="Sharif Zahdeh" userId="76695dcfea8304bd" providerId="LiveId" clId="{3A8C6964-DBF2-450D-9644-7B64291DD03D}" dt="2023-11-12T11:16:48.542" v="103" actId="47"/>
        <pc:sldMkLst>
          <pc:docMk/>
          <pc:sldMk cId="1921690024" sldId="443"/>
        </pc:sldMkLst>
      </pc:sldChg>
      <pc:sldChg chg="mod modShow">
        <pc:chgData name="Sharif Zahdeh" userId="76695dcfea8304bd" providerId="LiveId" clId="{3A8C6964-DBF2-450D-9644-7B64291DD03D}" dt="2023-11-15T11:53:31.769" v="6438" actId="729"/>
        <pc:sldMkLst>
          <pc:docMk/>
          <pc:sldMk cId="1246466769" sldId="445"/>
        </pc:sldMkLst>
      </pc:sldChg>
      <pc:sldChg chg="modSp mod modShow">
        <pc:chgData name="Sharif Zahdeh" userId="76695dcfea8304bd" providerId="LiveId" clId="{3A8C6964-DBF2-450D-9644-7B64291DD03D}" dt="2023-11-15T11:54:48.252" v="6442" actId="729"/>
        <pc:sldMkLst>
          <pc:docMk/>
          <pc:sldMk cId="789365628" sldId="449"/>
        </pc:sldMkLst>
        <pc:spChg chg="mod">
          <ac:chgData name="Sharif Zahdeh" userId="76695dcfea8304bd" providerId="LiveId" clId="{3A8C6964-DBF2-450D-9644-7B64291DD03D}" dt="2023-11-13T12:25:04.156" v="3018" actId="1076"/>
          <ac:spMkLst>
            <pc:docMk/>
            <pc:sldMk cId="789365628" sldId="449"/>
            <ac:spMk id="15" creationId="{3E284BD2-E211-5486-1233-0DB3C2F22175}"/>
          </ac:spMkLst>
        </pc:spChg>
      </pc:sldChg>
      <pc:sldChg chg="mod modShow">
        <pc:chgData name="Sharif Zahdeh" userId="76695dcfea8304bd" providerId="LiveId" clId="{3A8C6964-DBF2-450D-9644-7B64291DD03D}" dt="2023-11-15T11:53:24.737" v="6437" actId="729"/>
        <pc:sldMkLst>
          <pc:docMk/>
          <pc:sldMk cId="3066566331" sldId="450"/>
        </pc:sldMkLst>
      </pc:sldChg>
      <pc:sldChg chg="modSp mod modShow">
        <pc:chgData name="Sharif Zahdeh" userId="76695dcfea8304bd" providerId="LiveId" clId="{3A8C6964-DBF2-450D-9644-7B64291DD03D}" dt="2023-11-15T11:53:40.502" v="6439" actId="729"/>
        <pc:sldMkLst>
          <pc:docMk/>
          <pc:sldMk cId="2827140055" sldId="452"/>
        </pc:sldMkLst>
        <pc:spChg chg="mod">
          <ac:chgData name="Sharif Zahdeh" userId="76695dcfea8304bd" providerId="LiveId" clId="{3A8C6964-DBF2-450D-9644-7B64291DD03D}" dt="2023-11-13T17:44:29.773" v="6224" actId="20577"/>
          <ac:spMkLst>
            <pc:docMk/>
            <pc:sldMk cId="2827140055" sldId="452"/>
            <ac:spMk id="67" creationId="{645C5285-D003-24B6-961F-4596E3337539}"/>
          </ac:spMkLst>
        </pc:spChg>
      </pc:sldChg>
      <pc:sldChg chg="del">
        <pc:chgData name="Sharif Zahdeh" userId="76695dcfea8304bd" providerId="LiveId" clId="{3A8C6964-DBF2-450D-9644-7B64291DD03D}" dt="2023-11-13T17:49:03.899" v="6324" actId="47"/>
        <pc:sldMkLst>
          <pc:docMk/>
          <pc:sldMk cId="3854219623" sldId="456"/>
        </pc:sldMkLst>
      </pc:sldChg>
      <pc:sldChg chg="addSp modSp mod">
        <pc:chgData name="Sharif Zahdeh" userId="76695dcfea8304bd" providerId="LiveId" clId="{3A8C6964-DBF2-450D-9644-7B64291DD03D}" dt="2023-11-13T09:53:56.910" v="1754" actId="1076"/>
        <pc:sldMkLst>
          <pc:docMk/>
          <pc:sldMk cId="2739499151" sldId="457"/>
        </pc:sldMkLst>
        <pc:spChg chg="add mod">
          <ac:chgData name="Sharif Zahdeh" userId="76695dcfea8304bd" providerId="LiveId" clId="{3A8C6964-DBF2-450D-9644-7B64291DD03D}" dt="2023-11-13T09:53:56.910" v="1754" actId="1076"/>
          <ac:spMkLst>
            <pc:docMk/>
            <pc:sldMk cId="2739499151" sldId="457"/>
            <ac:spMk id="5" creationId="{0E9CC786-7163-680D-8107-184CF587B9BA}"/>
          </ac:spMkLst>
        </pc:spChg>
        <pc:spChg chg="mod">
          <ac:chgData name="Sharif Zahdeh" userId="76695dcfea8304bd" providerId="LiveId" clId="{3A8C6964-DBF2-450D-9644-7B64291DD03D}" dt="2023-11-13T09:53:05.884" v="1749" actId="14100"/>
          <ac:spMkLst>
            <pc:docMk/>
            <pc:sldMk cId="2739499151" sldId="457"/>
            <ac:spMk id="200" creationId="{7D482377-3D8C-0B2E-1B77-DC0E98A76336}"/>
          </ac:spMkLst>
        </pc:spChg>
        <pc:graphicFrameChg chg="modGraphic">
          <ac:chgData name="Sharif Zahdeh" userId="76695dcfea8304bd" providerId="LiveId" clId="{3A8C6964-DBF2-450D-9644-7B64291DD03D}" dt="2023-11-13T09:52:10.104" v="1736" actId="20577"/>
          <ac:graphicFrameMkLst>
            <pc:docMk/>
            <pc:sldMk cId="2739499151" sldId="457"/>
            <ac:graphicFrameMk id="3" creationId="{41CE45DE-FE69-5304-FB42-81A08EB44165}"/>
          </ac:graphicFrameMkLst>
        </pc:graphicFrameChg>
      </pc:sldChg>
      <pc:sldChg chg="addSp delSp modSp mod">
        <pc:chgData name="Sharif Zahdeh" userId="76695dcfea8304bd" providerId="LiveId" clId="{3A8C6964-DBF2-450D-9644-7B64291DD03D}" dt="2023-11-13T11:01:51.665" v="2820" actId="20577"/>
        <pc:sldMkLst>
          <pc:docMk/>
          <pc:sldMk cId="1665162100" sldId="464"/>
        </pc:sldMkLst>
        <pc:spChg chg="mod">
          <ac:chgData name="Sharif Zahdeh" userId="76695dcfea8304bd" providerId="LiveId" clId="{3A8C6964-DBF2-450D-9644-7B64291DD03D}" dt="2023-11-13T11:01:51.665" v="2820" actId="20577"/>
          <ac:spMkLst>
            <pc:docMk/>
            <pc:sldMk cId="1665162100" sldId="464"/>
            <ac:spMk id="2" creationId="{1017713D-0228-8D28-37CE-DDCD0C4D116A}"/>
          </ac:spMkLst>
        </pc:spChg>
        <pc:spChg chg="del mod">
          <ac:chgData name="Sharif Zahdeh" userId="76695dcfea8304bd" providerId="LiveId" clId="{3A8C6964-DBF2-450D-9644-7B64291DD03D}" dt="2023-11-13T09:57:50.614" v="1779" actId="478"/>
          <ac:spMkLst>
            <pc:docMk/>
            <pc:sldMk cId="1665162100" sldId="464"/>
            <ac:spMk id="95" creationId="{282E2E5F-9BE3-A8FD-D4C3-E39071D7F940}"/>
          </ac:spMkLst>
        </pc:spChg>
        <pc:spChg chg="del mod">
          <ac:chgData name="Sharif Zahdeh" userId="76695dcfea8304bd" providerId="LiveId" clId="{3A8C6964-DBF2-450D-9644-7B64291DD03D}" dt="2023-11-13T09:57:53.108" v="1780" actId="478"/>
          <ac:spMkLst>
            <pc:docMk/>
            <pc:sldMk cId="1665162100" sldId="464"/>
            <ac:spMk id="96" creationId="{87B5186B-F67A-6EAA-9DF5-1DBA17F6D1DB}"/>
          </ac:spMkLst>
        </pc:spChg>
        <pc:spChg chg="mod">
          <ac:chgData name="Sharif Zahdeh" userId="76695dcfea8304bd" providerId="LiveId" clId="{3A8C6964-DBF2-450D-9644-7B64291DD03D}" dt="2023-11-13T09:58:07.014" v="1782" actId="688"/>
          <ac:spMkLst>
            <pc:docMk/>
            <pc:sldMk cId="1665162100" sldId="464"/>
            <ac:spMk id="97" creationId="{C6BFB333-BCC3-FED3-B50F-329479A07234}"/>
          </ac:spMkLst>
        </pc:spChg>
        <pc:spChg chg="mod">
          <ac:chgData name="Sharif Zahdeh" userId="76695dcfea8304bd" providerId="LiveId" clId="{3A8C6964-DBF2-450D-9644-7B64291DD03D}" dt="2023-11-13T09:58:07.014" v="1782" actId="688"/>
          <ac:spMkLst>
            <pc:docMk/>
            <pc:sldMk cId="1665162100" sldId="464"/>
            <ac:spMk id="98" creationId="{D6017DDC-C18D-63A1-5B09-86B24D88CDA3}"/>
          </ac:spMkLst>
        </pc:spChg>
        <pc:spChg chg="mod">
          <ac:chgData name="Sharif Zahdeh" userId="76695dcfea8304bd" providerId="LiveId" clId="{3A8C6964-DBF2-450D-9644-7B64291DD03D}" dt="2023-11-13T09:58:07.014" v="1782" actId="688"/>
          <ac:spMkLst>
            <pc:docMk/>
            <pc:sldMk cId="1665162100" sldId="464"/>
            <ac:spMk id="99" creationId="{7C16D134-9E90-E485-0E4D-430548EC88D2}"/>
          </ac:spMkLst>
        </pc:spChg>
        <pc:spChg chg="mod">
          <ac:chgData name="Sharif Zahdeh" userId="76695dcfea8304bd" providerId="LiveId" clId="{3A8C6964-DBF2-450D-9644-7B64291DD03D}" dt="2023-11-13T09:58:07.014" v="1782" actId="688"/>
          <ac:spMkLst>
            <pc:docMk/>
            <pc:sldMk cId="1665162100" sldId="464"/>
            <ac:spMk id="101" creationId="{DB1E76EA-1B3C-66D5-DBAA-7645DAC2B9D7}"/>
          </ac:spMkLst>
        </pc:spChg>
        <pc:spChg chg="del mod">
          <ac:chgData name="Sharif Zahdeh" userId="76695dcfea8304bd" providerId="LiveId" clId="{3A8C6964-DBF2-450D-9644-7B64291DD03D}" dt="2023-11-13T09:57:48.540" v="1778" actId="478"/>
          <ac:spMkLst>
            <pc:docMk/>
            <pc:sldMk cId="1665162100" sldId="464"/>
            <ac:spMk id="102" creationId="{13AAEEF4-AF75-2F52-46AA-0E4C6E504545}"/>
          </ac:spMkLst>
        </pc:spChg>
        <pc:spChg chg="del mod">
          <ac:chgData name="Sharif Zahdeh" userId="76695dcfea8304bd" providerId="LiveId" clId="{3A8C6964-DBF2-450D-9644-7B64291DD03D}" dt="2023-11-13T09:57:55.060" v="1781" actId="478"/>
          <ac:spMkLst>
            <pc:docMk/>
            <pc:sldMk cId="1665162100" sldId="464"/>
            <ac:spMk id="103" creationId="{7FD20B6C-3608-A1E1-85DC-E20ADFEFE74B}"/>
          </ac:spMkLst>
        </pc:spChg>
        <pc:spChg chg="mod">
          <ac:chgData name="Sharif Zahdeh" userId="76695dcfea8304bd" providerId="LiveId" clId="{3A8C6964-DBF2-450D-9644-7B64291DD03D}" dt="2023-11-13T09:58:07.014" v="1782" actId="688"/>
          <ac:spMkLst>
            <pc:docMk/>
            <pc:sldMk cId="1665162100" sldId="464"/>
            <ac:spMk id="104" creationId="{B7847740-0472-B9D3-243F-95BFE8EFEAE7}"/>
          </ac:spMkLst>
        </pc:spChg>
        <pc:spChg chg="mod">
          <ac:chgData name="Sharif Zahdeh" userId="76695dcfea8304bd" providerId="LiveId" clId="{3A8C6964-DBF2-450D-9644-7B64291DD03D}" dt="2023-11-13T09:58:07.014" v="1782" actId="688"/>
          <ac:spMkLst>
            <pc:docMk/>
            <pc:sldMk cId="1665162100" sldId="464"/>
            <ac:spMk id="105" creationId="{300EE7B1-8652-ED5F-C766-AFF5C65D9C67}"/>
          </ac:spMkLst>
        </pc:spChg>
        <pc:spChg chg="del mod">
          <ac:chgData name="Sharif Zahdeh" userId="76695dcfea8304bd" providerId="LiveId" clId="{3A8C6964-DBF2-450D-9644-7B64291DD03D}" dt="2023-11-13T09:57:45.352" v="1777" actId="478"/>
          <ac:spMkLst>
            <pc:docMk/>
            <pc:sldMk cId="1665162100" sldId="464"/>
            <ac:spMk id="106" creationId="{8069C42F-1325-D80F-D541-14895A94DDF1}"/>
          </ac:spMkLst>
        </pc:spChg>
        <pc:spChg chg="mod">
          <ac:chgData name="Sharif Zahdeh" userId="76695dcfea8304bd" providerId="LiveId" clId="{3A8C6964-DBF2-450D-9644-7B64291DD03D}" dt="2023-11-13T09:56:22.073" v="1755"/>
          <ac:spMkLst>
            <pc:docMk/>
            <pc:sldMk cId="1665162100" sldId="464"/>
            <ac:spMk id="108" creationId="{3CA36075-990C-2D77-8EDD-A2161D527B5C}"/>
          </ac:spMkLst>
        </pc:spChg>
        <pc:spChg chg="mod">
          <ac:chgData name="Sharif Zahdeh" userId="76695dcfea8304bd" providerId="LiveId" clId="{3A8C6964-DBF2-450D-9644-7B64291DD03D}" dt="2023-11-13T09:56:51.452" v="1762" actId="20577"/>
          <ac:spMkLst>
            <pc:docMk/>
            <pc:sldMk cId="1665162100" sldId="464"/>
            <ac:spMk id="112" creationId="{07E04D0B-1121-4066-58A4-DFEF1562F92B}"/>
          </ac:spMkLst>
        </pc:spChg>
        <pc:spChg chg="mod">
          <ac:chgData name="Sharif Zahdeh" userId="76695dcfea8304bd" providerId="LiveId" clId="{3A8C6964-DBF2-450D-9644-7B64291DD03D}" dt="2023-11-13T09:57:00.708" v="1767" actId="20577"/>
          <ac:spMkLst>
            <pc:docMk/>
            <pc:sldMk cId="1665162100" sldId="464"/>
            <ac:spMk id="116" creationId="{E4079471-E76C-E429-D3C2-D60F52229DF9}"/>
          </ac:spMkLst>
        </pc:spChg>
        <pc:spChg chg="mod">
          <ac:chgData name="Sharif Zahdeh" userId="76695dcfea8304bd" providerId="LiveId" clId="{3A8C6964-DBF2-450D-9644-7B64291DD03D}" dt="2023-11-13T09:57:09.819" v="1772" actId="20577"/>
          <ac:spMkLst>
            <pc:docMk/>
            <pc:sldMk cId="1665162100" sldId="464"/>
            <ac:spMk id="120" creationId="{6F544A42-2555-B439-A59A-763A9BCF6123}"/>
          </ac:spMkLst>
        </pc:spChg>
        <pc:spChg chg="mod">
          <ac:chgData name="Sharif Zahdeh" userId="76695dcfea8304bd" providerId="LiveId" clId="{3A8C6964-DBF2-450D-9644-7B64291DD03D}" dt="2023-11-12T11:29:18.261" v="497" actId="1076"/>
          <ac:spMkLst>
            <pc:docMk/>
            <pc:sldMk cId="1665162100" sldId="464"/>
            <ac:spMk id="121" creationId="{29632D0C-3008-8957-563D-B2ECC41442C5}"/>
          </ac:spMkLst>
        </pc:spChg>
        <pc:grpChg chg="mod">
          <ac:chgData name="Sharif Zahdeh" userId="76695dcfea8304bd" providerId="LiveId" clId="{3A8C6964-DBF2-450D-9644-7B64291DD03D}" dt="2023-11-13T09:58:07.014" v="1782" actId="688"/>
          <ac:grpSpMkLst>
            <pc:docMk/>
            <pc:sldMk cId="1665162100" sldId="464"/>
            <ac:grpSpMk id="94" creationId="{12EF0145-02C1-D272-C9B5-ECE19D509545}"/>
          </ac:grpSpMkLst>
        </pc:grpChg>
        <pc:graphicFrameChg chg="mod modGraphic">
          <ac:chgData name="Sharif Zahdeh" userId="76695dcfea8304bd" providerId="LiveId" clId="{3A8C6964-DBF2-450D-9644-7B64291DD03D}" dt="2023-11-12T12:45:21.674" v="1576" actId="20577"/>
          <ac:graphicFrameMkLst>
            <pc:docMk/>
            <pc:sldMk cId="1665162100" sldId="464"/>
            <ac:graphicFrameMk id="54" creationId="{C2FE36DD-70EE-F4F5-B803-3962A98E633A}"/>
          </ac:graphicFrameMkLst>
        </pc:graphicFrameChg>
        <pc:graphicFrameChg chg="mod modGraphic">
          <ac:chgData name="Sharif Zahdeh" userId="76695dcfea8304bd" providerId="LiveId" clId="{3A8C6964-DBF2-450D-9644-7B64291DD03D}" dt="2023-11-12T11:10:17.781" v="71" actId="20577"/>
          <ac:graphicFrameMkLst>
            <pc:docMk/>
            <pc:sldMk cId="1665162100" sldId="464"/>
            <ac:graphicFrameMk id="57" creationId="{0F924B9B-4059-AE3B-E9FC-74E3752BAE9D}"/>
          </ac:graphicFrameMkLst>
        </pc:graphicFrameChg>
        <pc:graphicFrameChg chg="add del mod">
          <ac:chgData name="Sharif Zahdeh" userId="76695dcfea8304bd" providerId="LiveId" clId="{3A8C6964-DBF2-450D-9644-7B64291DD03D}" dt="2023-11-12T11:09:31.092" v="54"/>
          <ac:graphicFrameMkLst>
            <pc:docMk/>
            <pc:sldMk cId="1665162100" sldId="464"/>
            <ac:graphicFrameMk id="122" creationId="{A438323E-9D59-0669-8138-738763364F51}"/>
          </ac:graphicFrameMkLst>
        </pc:graphicFrameChg>
      </pc:sldChg>
      <pc:sldChg chg="modSp mod modShow">
        <pc:chgData name="Sharif Zahdeh" userId="76695dcfea8304bd" providerId="LiveId" clId="{3A8C6964-DBF2-450D-9644-7B64291DD03D}" dt="2023-11-15T11:53:45.519" v="6440" actId="729"/>
        <pc:sldMkLst>
          <pc:docMk/>
          <pc:sldMk cId="2429208062" sldId="466"/>
        </pc:sldMkLst>
        <pc:spChg chg="mod">
          <ac:chgData name="Sharif Zahdeh" userId="76695dcfea8304bd" providerId="LiveId" clId="{3A8C6964-DBF2-450D-9644-7B64291DD03D}" dt="2023-11-13T17:40:08.009" v="6080" actId="20577"/>
          <ac:spMkLst>
            <pc:docMk/>
            <pc:sldMk cId="2429208062" sldId="466"/>
            <ac:spMk id="55" creationId="{CE2FA5DC-3937-4C04-890A-7602A04971FC}"/>
          </ac:spMkLst>
        </pc:spChg>
        <pc:spChg chg="mod">
          <ac:chgData name="Sharif Zahdeh" userId="76695dcfea8304bd" providerId="LiveId" clId="{3A8C6964-DBF2-450D-9644-7B64291DD03D}" dt="2023-11-13T17:45:00.328" v="6225"/>
          <ac:spMkLst>
            <pc:docMk/>
            <pc:sldMk cId="2429208062" sldId="466"/>
            <ac:spMk id="67" creationId="{645C5285-D003-24B6-961F-4596E3337539}"/>
          </ac:spMkLst>
        </pc:spChg>
      </pc:sldChg>
      <pc:sldChg chg="modSp mod">
        <pc:chgData name="Sharif Zahdeh" userId="76695dcfea8304bd" providerId="LiveId" clId="{3A8C6964-DBF2-450D-9644-7B64291DD03D}" dt="2023-11-13T12:39:14.480" v="3232" actId="14100"/>
        <pc:sldMkLst>
          <pc:docMk/>
          <pc:sldMk cId="465830132" sldId="468"/>
        </pc:sldMkLst>
        <pc:spChg chg="mod">
          <ac:chgData name="Sharif Zahdeh" userId="76695dcfea8304bd" providerId="LiveId" clId="{3A8C6964-DBF2-450D-9644-7B64291DD03D}" dt="2023-11-13T12:39:14.480" v="3232" actId="14100"/>
          <ac:spMkLst>
            <pc:docMk/>
            <pc:sldMk cId="465830132" sldId="468"/>
            <ac:spMk id="11" creationId="{57AA8ABA-4F3E-70B1-5CBE-48BD0CF17184}"/>
          </ac:spMkLst>
        </pc:spChg>
      </pc:sldChg>
      <pc:sldChg chg="addSp delSp modSp mod">
        <pc:chgData name="Sharif Zahdeh" userId="76695dcfea8304bd" providerId="LiveId" clId="{3A8C6964-DBF2-450D-9644-7B64291DD03D}" dt="2023-11-13T09:56:40.244" v="1757"/>
        <pc:sldMkLst>
          <pc:docMk/>
          <pc:sldMk cId="3944783608" sldId="469"/>
        </pc:sldMkLst>
        <pc:spChg chg="mod">
          <ac:chgData name="Sharif Zahdeh" userId="76695dcfea8304bd" providerId="LiveId" clId="{3A8C6964-DBF2-450D-9644-7B64291DD03D}" dt="2023-11-12T11:27:21.326" v="453" actId="207"/>
          <ac:spMkLst>
            <pc:docMk/>
            <pc:sldMk cId="3944783608" sldId="469"/>
            <ac:spMk id="38" creationId="{36AE0995-A13A-6F4B-6978-9BC107EE6089}"/>
          </ac:spMkLst>
        </pc:spChg>
        <pc:spChg chg="mod">
          <ac:chgData name="Sharif Zahdeh" userId="76695dcfea8304bd" providerId="LiveId" clId="{3A8C6964-DBF2-450D-9644-7B64291DD03D}" dt="2023-11-12T11:26:45.058" v="450" actId="207"/>
          <ac:spMkLst>
            <pc:docMk/>
            <pc:sldMk cId="3944783608" sldId="469"/>
            <ac:spMk id="47" creationId="{553905AE-FB56-F453-DA56-93CA1E24D4FA}"/>
          </ac:spMkLst>
        </pc:spChg>
        <pc:spChg chg="mod">
          <ac:chgData name="Sharif Zahdeh" userId="76695dcfea8304bd" providerId="LiveId" clId="{3A8C6964-DBF2-450D-9644-7B64291DD03D}" dt="2023-11-12T11:26:45.058" v="450" actId="207"/>
          <ac:spMkLst>
            <pc:docMk/>
            <pc:sldMk cId="3944783608" sldId="469"/>
            <ac:spMk id="63" creationId="{C906EB48-CB39-AED7-5B90-AA7324505FBA}"/>
          </ac:spMkLst>
        </pc:spChg>
        <pc:spChg chg="mod">
          <ac:chgData name="Sharif Zahdeh" userId="76695dcfea8304bd" providerId="LiveId" clId="{3A8C6964-DBF2-450D-9644-7B64291DD03D}" dt="2023-11-12T11:27:25.020" v="454" actId="207"/>
          <ac:spMkLst>
            <pc:docMk/>
            <pc:sldMk cId="3944783608" sldId="469"/>
            <ac:spMk id="78" creationId="{BAC210EC-EE86-DD37-EA45-A6BA7EA4E1F1}"/>
          </ac:spMkLst>
        </pc:spChg>
        <pc:spChg chg="mod">
          <ac:chgData name="Sharif Zahdeh" userId="76695dcfea8304bd" providerId="LiveId" clId="{3A8C6964-DBF2-450D-9644-7B64291DD03D}" dt="2023-11-12T11:26:45.058" v="450" actId="207"/>
          <ac:spMkLst>
            <pc:docMk/>
            <pc:sldMk cId="3944783608" sldId="469"/>
            <ac:spMk id="80" creationId="{9CB3EB4B-53E2-59D9-6AAB-C6D6DA2F9E0A}"/>
          </ac:spMkLst>
        </pc:spChg>
        <pc:spChg chg="mod">
          <ac:chgData name="Sharif Zahdeh" userId="76695dcfea8304bd" providerId="LiveId" clId="{3A8C6964-DBF2-450D-9644-7B64291DD03D}" dt="2023-11-12T11:26:45.058" v="450" actId="207"/>
          <ac:spMkLst>
            <pc:docMk/>
            <pc:sldMk cId="3944783608" sldId="469"/>
            <ac:spMk id="81" creationId="{AF4C09BC-278F-6895-BB90-3BDA5587F150}"/>
          </ac:spMkLst>
        </pc:spChg>
        <pc:spChg chg="mod">
          <ac:chgData name="Sharif Zahdeh" userId="76695dcfea8304bd" providerId="LiveId" clId="{3A8C6964-DBF2-450D-9644-7B64291DD03D}" dt="2023-11-12T11:26:45.058" v="450" actId="207"/>
          <ac:spMkLst>
            <pc:docMk/>
            <pc:sldMk cId="3944783608" sldId="469"/>
            <ac:spMk id="88" creationId="{B30FE247-BE9B-ED0E-7B89-015ECFE42CC0}"/>
          </ac:spMkLst>
        </pc:spChg>
        <pc:spChg chg="mod">
          <ac:chgData name="Sharif Zahdeh" userId="76695dcfea8304bd" providerId="LiveId" clId="{3A8C6964-DBF2-450D-9644-7B64291DD03D}" dt="2023-11-12T11:26:45.058" v="450" actId="207"/>
          <ac:spMkLst>
            <pc:docMk/>
            <pc:sldMk cId="3944783608" sldId="469"/>
            <ac:spMk id="89" creationId="{1930665E-1AC6-1383-6997-3BD5A1DC3C8C}"/>
          </ac:spMkLst>
        </pc:spChg>
        <pc:spChg chg="del mod">
          <ac:chgData name="Sharif Zahdeh" userId="76695dcfea8304bd" providerId="LiveId" clId="{3A8C6964-DBF2-450D-9644-7B64291DD03D}" dt="2023-11-12T11:28:53.721" v="495" actId="478"/>
          <ac:spMkLst>
            <pc:docMk/>
            <pc:sldMk cId="3944783608" sldId="469"/>
            <ac:spMk id="95" creationId="{282E2E5F-9BE3-A8FD-D4C3-E39071D7F940}"/>
          </ac:spMkLst>
        </pc:spChg>
        <pc:spChg chg="add del mod">
          <ac:chgData name="Sharif Zahdeh" userId="76695dcfea8304bd" providerId="LiveId" clId="{3A8C6964-DBF2-450D-9644-7B64291DD03D}" dt="2023-11-13T09:56:40.244" v="1757"/>
          <ac:spMkLst>
            <pc:docMk/>
            <pc:sldMk cId="3944783608" sldId="469"/>
            <ac:spMk id="95" creationId="{EA907E92-F27A-B361-5F9C-CEEBDC6088FC}"/>
          </ac:spMkLst>
        </pc:spChg>
        <pc:spChg chg="del">
          <ac:chgData name="Sharif Zahdeh" userId="76695dcfea8304bd" providerId="LiveId" clId="{3A8C6964-DBF2-450D-9644-7B64291DD03D}" dt="2023-11-12T10:32:50.088" v="33" actId="478"/>
          <ac:spMkLst>
            <pc:docMk/>
            <pc:sldMk cId="3944783608" sldId="469"/>
            <ac:spMk id="96" creationId="{87B5186B-F67A-6EAA-9DF5-1DBA17F6D1DB}"/>
          </ac:spMkLst>
        </pc:spChg>
        <pc:spChg chg="mod">
          <ac:chgData name="Sharif Zahdeh" userId="76695dcfea8304bd" providerId="LiveId" clId="{3A8C6964-DBF2-450D-9644-7B64291DD03D}" dt="2023-11-12T11:28:53.721" v="495" actId="478"/>
          <ac:spMkLst>
            <pc:docMk/>
            <pc:sldMk cId="3944783608" sldId="469"/>
            <ac:spMk id="97" creationId="{C6BFB333-BCC3-FED3-B50F-329479A07234}"/>
          </ac:spMkLst>
        </pc:spChg>
        <pc:spChg chg="mod">
          <ac:chgData name="Sharif Zahdeh" userId="76695dcfea8304bd" providerId="LiveId" clId="{3A8C6964-DBF2-450D-9644-7B64291DD03D}" dt="2023-11-12T11:28:53.721" v="495" actId="478"/>
          <ac:spMkLst>
            <pc:docMk/>
            <pc:sldMk cId="3944783608" sldId="469"/>
            <ac:spMk id="98" creationId="{D6017DDC-C18D-63A1-5B09-86B24D88CDA3}"/>
          </ac:spMkLst>
        </pc:spChg>
        <pc:spChg chg="mod">
          <ac:chgData name="Sharif Zahdeh" userId="76695dcfea8304bd" providerId="LiveId" clId="{3A8C6964-DBF2-450D-9644-7B64291DD03D}" dt="2023-11-12T11:28:53.721" v="495" actId="478"/>
          <ac:spMkLst>
            <pc:docMk/>
            <pc:sldMk cId="3944783608" sldId="469"/>
            <ac:spMk id="99" creationId="{7C16D134-9E90-E485-0E4D-430548EC88D2}"/>
          </ac:spMkLst>
        </pc:spChg>
        <pc:spChg chg="mod">
          <ac:chgData name="Sharif Zahdeh" userId="76695dcfea8304bd" providerId="LiveId" clId="{3A8C6964-DBF2-450D-9644-7B64291DD03D}" dt="2023-11-12T11:28:53.721" v="495" actId="478"/>
          <ac:spMkLst>
            <pc:docMk/>
            <pc:sldMk cId="3944783608" sldId="469"/>
            <ac:spMk id="101" creationId="{DB1E76EA-1B3C-66D5-DBAA-7645DAC2B9D7}"/>
          </ac:spMkLst>
        </pc:spChg>
        <pc:spChg chg="del mod">
          <ac:chgData name="Sharif Zahdeh" userId="76695dcfea8304bd" providerId="LiveId" clId="{3A8C6964-DBF2-450D-9644-7B64291DD03D}" dt="2023-11-12T11:28:56.337" v="496" actId="478"/>
          <ac:spMkLst>
            <pc:docMk/>
            <pc:sldMk cId="3944783608" sldId="469"/>
            <ac:spMk id="102" creationId="{13AAEEF4-AF75-2F52-46AA-0E4C6E504545}"/>
          </ac:spMkLst>
        </pc:spChg>
        <pc:spChg chg="del mod">
          <ac:chgData name="Sharif Zahdeh" userId="76695dcfea8304bd" providerId="LiveId" clId="{3A8C6964-DBF2-450D-9644-7B64291DD03D}" dt="2023-11-12T10:33:01.770" v="34" actId="478"/>
          <ac:spMkLst>
            <pc:docMk/>
            <pc:sldMk cId="3944783608" sldId="469"/>
            <ac:spMk id="103" creationId="{7FD20B6C-3608-A1E1-85DC-E20ADFEFE74B}"/>
          </ac:spMkLst>
        </pc:spChg>
        <pc:spChg chg="mod">
          <ac:chgData name="Sharif Zahdeh" userId="76695dcfea8304bd" providerId="LiveId" clId="{3A8C6964-DBF2-450D-9644-7B64291DD03D}" dt="2023-11-12T11:28:53.721" v="495" actId="478"/>
          <ac:spMkLst>
            <pc:docMk/>
            <pc:sldMk cId="3944783608" sldId="469"/>
            <ac:spMk id="104" creationId="{B7847740-0472-B9D3-243F-95BFE8EFEAE7}"/>
          </ac:spMkLst>
        </pc:spChg>
        <pc:spChg chg="mod">
          <ac:chgData name="Sharif Zahdeh" userId="76695dcfea8304bd" providerId="LiveId" clId="{3A8C6964-DBF2-450D-9644-7B64291DD03D}" dt="2023-11-12T11:28:53.721" v="495" actId="478"/>
          <ac:spMkLst>
            <pc:docMk/>
            <pc:sldMk cId="3944783608" sldId="469"/>
            <ac:spMk id="105" creationId="{300EE7B1-8652-ED5F-C766-AFF5C65D9C67}"/>
          </ac:spMkLst>
        </pc:spChg>
        <pc:spChg chg="mod">
          <ac:chgData name="Sharif Zahdeh" userId="76695dcfea8304bd" providerId="LiveId" clId="{3A8C6964-DBF2-450D-9644-7B64291DD03D}" dt="2023-11-12T11:12:08.870" v="90" actId="404"/>
          <ac:spMkLst>
            <pc:docMk/>
            <pc:sldMk cId="3944783608" sldId="469"/>
            <ac:spMk id="107" creationId="{318EFF70-4D9A-8B24-40E6-4F579BF420BD}"/>
          </ac:spMkLst>
        </pc:spChg>
        <pc:spChg chg="mod">
          <ac:chgData name="Sharif Zahdeh" userId="76695dcfea8304bd" providerId="LiveId" clId="{3A8C6964-DBF2-450D-9644-7B64291DD03D}" dt="2023-11-12T12:47:26.230" v="1600" actId="1076"/>
          <ac:spMkLst>
            <pc:docMk/>
            <pc:sldMk cId="3944783608" sldId="469"/>
            <ac:spMk id="108" creationId="{3CA36075-990C-2D77-8EDD-A2161D527B5C}"/>
          </ac:spMkLst>
        </pc:spChg>
        <pc:spChg chg="mod">
          <ac:chgData name="Sharif Zahdeh" userId="76695dcfea8304bd" providerId="LiveId" clId="{3A8C6964-DBF2-450D-9644-7B64291DD03D}" dt="2023-11-12T12:48:00.086" v="1601" actId="404"/>
          <ac:spMkLst>
            <pc:docMk/>
            <pc:sldMk cId="3944783608" sldId="469"/>
            <ac:spMk id="110" creationId="{384A537C-1891-A773-9CC9-9AB169747E95}"/>
          </ac:spMkLst>
        </pc:spChg>
        <pc:spChg chg="mod">
          <ac:chgData name="Sharif Zahdeh" userId="76695dcfea8304bd" providerId="LiveId" clId="{3A8C6964-DBF2-450D-9644-7B64291DD03D}" dt="2023-11-12T12:48:00.086" v="1601" actId="404"/>
          <ac:spMkLst>
            <pc:docMk/>
            <pc:sldMk cId="3944783608" sldId="469"/>
            <ac:spMk id="111" creationId="{39CBBBC2-7565-5086-3A2B-231982E8FFDB}"/>
          </ac:spMkLst>
        </pc:spChg>
        <pc:spChg chg="mod">
          <ac:chgData name="Sharif Zahdeh" userId="76695dcfea8304bd" providerId="LiveId" clId="{3A8C6964-DBF2-450D-9644-7B64291DD03D}" dt="2023-11-12T12:48:00.086" v="1601" actId="404"/>
          <ac:spMkLst>
            <pc:docMk/>
            <pc:sldMk cId="3944783608" sldId="469"/>
            <ac:spMk id="112" creationId="{07E04D0B-1121-4066-58A4-DFEF1562F92B}"/>
          </ac:spMkLst>
        </pc:spChg>
        <pc:spChg chg="mod">
          <ac:chgData name="Sharif Zahdeh" userId="76695dcfea8304bd" providerId="LiveId" clId="{3A8C6964-DBF2-450D-9644-7B64291DD03D}" dt="2023-11-12T12:48:14.600" v="1602" actId="403"/>
          <ac:spMkLst>
            <pc:docMk/>
            <pc:sldMk cId="3944783608" sldId="469"/>
            <ac:spMk id="114" creationId="{0C275537-37AE-1095-BE29-9962D5388A2F}"/>
          </ac:spMkLst>
        </pc:spChg>
        <pc:spChg chg="mod">
          <ac:chgData name="Sharif Zahdeh" userId="76695dcfea8304bd" providerId="LiveId" clId="{3A8C6964-DBF2-450D-9644-7B64291DD03D}" dt="2023-11-12T12:49:05.818" v="1611" actId="1076"/>
          <ac:spMkLst>
            <pc:docMk/>
            <pc:sldMk cId="3944783608" sldId="469"/>
            <ac:spMk id="115" creationId="{26421E34-8A8E-2BC2-C78C-89A2C2E9EF5E}"/>
          </ac:spMkLst>
        </pc:spChg>
        <pc:spChg chg="mod">
          <ac:chgData name="Sharif Zahdeh" userId="76695dcfea8304bd" providerId="LiveId" clId="{3A8C6964-DBF2-450D-9644-7B64291DD03D}" dt="2023-11-12T12:48:14.600" v="1602" actId="403"/>
          <ac:spMkLst>
            <pc:docMk/>
            <pc:sldMk cId="3944783608" sldId="469"/>
            <ac:spMk id="116" creationId="{E4079471-E76C-E429-D3C2-D60F52229DF9}"/>
          </ac:spMkLst>
        </pc:spChg>
        <pc:spChg chg="mod">
          <ac:chgData name="Sharif Zahdeh" userId="76695dcfea8304bd" providerId="LiveId" clId="{3A8C6964-DBF2-450D-9644-7B64291DD03D}" dt="2023-11-12T12:48:34.107" v="1606" actId="403"/>
          <ac:spMkLst>
            <pc:docMk/>
            <pc:sldMk cId="3944783608" sldId="469"/>
            <ac:spMk id="118" creationId="{77DE927E-3400-20F7-9C87-C3CA547AD68E}"/>
          </ac:spMkLst>
        </pc:spChg>
        <pc:spChg chg="mod">
          <ac:chgData name="Sharif Zahdeh" userId="76695dcfea8304bd" providerId="LiveId" clId="{3A8C6964-DBF2-450D-9644-7B64291DD03D}" dt="2023-11-12T12:48:58.308" v="1610" actId="1076"/>
          <ac:spMkLst>
            <pc:docMk/>
            <pc:sldMk cId="3944783608" sldId="469"/>
            <ac:spMk id="119" creationId="{2E449AB7-582A-0C8D-8640-9E95C08E7856}"/>
          </ac:spMkLst>
        </pc:spChg>
        <pc:spChg chg="mod">
          <ac:chgData name="Sharif Zahdeh" userId="76695dcfea8304bd" providerId="LiveId" clId="{3A8C6964-DBF2-450D-9644-7B64291DD03D}" dt="2023-11-12T12:49:14.325" v="1613" actId="403"/>
          <ac:spMkLst>
            <pc:docMk/>
            <pc:sldMk cId="3944783608" sldId="469"/>
            <ac:spMk id="120" creationId="{6F544A42-2555-B439-A59A-763A9BCF6123}"/>
          </ac:spMkLst>
        </pc:spChg>
        <pc:spChg chg="mod">
          <ac:chgData name="Sharif Zahdeh" userId="76695dcfea8304bd" providerId="LiveId" clId="{3A8C6964-DBF2-450D-9644-7B64291DD03D}" dt="2023-11-12T11:12:08.870" v="90" actId="404"/>
          <ac:spMkLst>
            <pc:docMk/>
            <pc:sldMk cId="3944783608" sldId="469"/>
            <ac:spMk id="121" creationId="{DE701D38-992E-4F53-8807-EA983F5CED81}"/>
          </ac:spMkLst>
        </pc:spChg>
        <pc:spChg chg="mod">
          <ac:chgData name="Sharif Zahdeh" userId="76695dcfea8304bd" providerId="LiveId" clId="{3A8C6964-DBF2-450D-9644-7B64291DD03D}" dt="2023-11-12T11:12:08.870" v="90" actId="404"/>
          <ac:spMkLst>
            <pc:docMk/>
            <pc:sldMk cId="3944783608" sldId="469"/>
            <ac:spMk id="122" creationId="{21A17CA6-52D7-9528-1721-571CCB86D102}"/>
          </ac:spMkLst>
        </pc:spChg>
        <pc:grpChg chg="mod">
          <ac:chgData name="Sharif Zahdeh" userId="76695dcfea8304bd" providerId="LiveId" clId="{3A8C6964-DBF2-450D-9644-7B64291DD03D}" dt="2023-11-12T10:32:37.777" v="32" actId="1076"/>
          <ac:grpSpMkLst>
            <pc:docMk/>
            <pc:sldMk cId="3944783608" sldId="469"/>
            <ac:grpSpMk id="5" creationId="{FE4431D7-D810-3807-B70B-49E980131F31}"/>
          </ac:grpSpMkLst>
        </pc:grpChg>
        <pc:grpChg chg="mod">
          <ac:chgData name="Sharif Zahdeh" userId="76695dcfea8304bd" providerId="LiveId" clId="{3A8C6964-DBF2-450D-9644-7B64291DD03D}" dt="2023-11-12T11:28:53.721" v="495" actId="478"/>
          <ac:grpSpMkLst>
            <pc:docMk/>
            <pc:sldMk cId="3944783608" sldId="469"/>
            <ac:grpSpMk id="94" creationId="{12EF0145-02C1-D272-C9B5-ECE19D509545}"/>
          </ac:grpSpMkLst>
        </pc:grpChg>
        <pc:grpChg chg="add del mod">
          <ac:chgData name="Sharif Zahdeh" userId="76695dcfea8304bd" providerId="LiveId" clId="{3A8C6964-DBF2-450D-9644-7B64291DD03D}" dt="2023-11-12T11:12:32.384" v="93" actId="478"/>
          <ac:grpSpMkLst>
            <pc:docMk/>
            <pc:sldMk cId="3944783608" sldId="469"/>
            <ac:grpSpMk id="106" creationId="{F4837ECB-447E-C838-7C6D-DA4C3F20BA28}"/>
          </ac:grpSpMkLst>
        </pc:grpChg>
        <pc:graphicFrameChg chg="modGraphic">
          <ac:chgData name="Sharif Zahdeh" userId="76695dcfea8304bd" providerId="LiveId" clId="{3A8C6964-DBF2-450D-9644-7B64291DD03D}" dt="2023-11-12T11:32:36.074" v="500" actId="313"/>
          <ac:graphicFrameMkLst>
            <pc:docMk/>
            <pc:sldMk cId="3944783608" sldId="469"/>
            <ac:graphicFrameMk id="57" creationId="{0F924B9B-4059-AE3B-E9FC-74E3752BAE9D}"/>
          </ac:graphicFrameMkLst>
        </pc:graphicFrameChg>
        <pc:picChg chg="mod">
          <ac:chgData name="Sharif Zahdeh" userId="76695dcfea8304bd" providerId="LiveId" clId="{3A8C6964-DBF2-450D-9644-7B64291DD03D}" dt="2023-11-12T12:49:06.440" v="1612" actId="1076"/>
          <ac:picMkLst>
            <pc:docMk/>
            <pc:sldMk cId="3944783608" sldId="469"/>
            <ac:picMk id="100" creationId="{9DB287D8-F043-96C0-95AD-5EF187E8392D}"/>
          </ac:picMkLst>
        </pc:picChg>
      </pc:sldChg>
      <pc:sldChg chg="del">
        <pc:chgData name="Sharif Zahdeh" userId="76695dcfea8304bd" providerId="LiveId" clId="{3A8C6964-DBF2-450D-9644-7B64291DD03D}" dt="2023-11-12T11:20:34.962" v="277" actId="47"/>
        <pc:sldMkLst>
          <pc:docMk/>
          <pc:sldMk cId="821509131" sldId="470"/>
        </pc:sldMkLst>
      </pc:sldChg>
      <pc:sldChg chg="addSp delSp modSp mod delAnim modAnim">
        <pc:chgData name="Sharif Zahdeh" userId="76695dcfea8304bd" providerId="LiveId" clId="{3A8C6964-DBF2-450D-9644-7B64291DD03D}" dt="2023-11-12T11:25:11.035" v="449" actId="207"/>
        <pc:sldMkLst>
          <pc:docMk/>
          <pc:sldMk cId="3739494107" sldId="472"/>
        </pc:sldMkLst>
        <pc:spChg chg="mod">
          <ac:chgData name="Sharif Zahdeh" userId="76695dcfea8304bd" providerId="LiveId" clId="{3A8C6964-DBF2-450D-9644-7B64291DD03D}" dt="2023-11-12T11:25:11.035" v="449" actId="207"/>
          <ac:spMkLst>
            <pc:docMk/>
            <pc:sldMk cId="3739494107" sldId="472"/>
            <ac:spMk id="3" creationId="{8BEEAEC8-31FC-7540-C9F7-638DA8281D92}"/>
          </ac:spMkLst>
        </pc:spChg>
        <pc:spChg chg="mod">
          <ac:chgData name="Sharif Zahdeh" userId="76695dcfea8304bd" providerId="LiveId" clId="{3A8C6964-DBF2-450D-9644-7B64291DD03D}" dt="2023-11-12T11:18:37.934" v="104"/>
          <ac:spMkLst>
            <pc:docMk/>
            <pc:sldMk cId="3739494107" sldId="472"/>
            <ac:spMk id="14" creationId="{994C3E9C-64A8-B40B-4AE1-1A05F76DB8E8}"/>
          </ac:spMkLst>
        </pc:spChg>
        <pc:spChg chg="add del mod topLvl">
          <ac:chgData name="Sharif Zahdeh" userId="76695dcfea8304bd" providerId="LiveId" clId="{3A8C6964-DBF2-450D-9644-7B64291DD03D}" dt="2023-11-12T11:23:30.081" v="406" actId="1036"/>
          <ac:spMkLst>
            <pc:docMk/>
            <pc:sldMk cId="3739494107" sldId="472"/>
            <ac:spMk id="20" creationId="{399C63A6-6AAB-1D69-FDF1-146EA003F9AC}"/>
          </ac:spMkLst>
        </pc:spChg>
        <pc:grpChg chg="add mod">
          <ac:chgData name="Sharif Zahdeh" userId="76695dcfea8304bd" providerId="LiveId" clId="{3A8C6964-DBF2-450D-9644-7B64291DD03D}" dt="2023-11-12T11:20:00.721" v="276" actId="1038"/>
          <ac:grpSpMkLst>
            <pc:docMk/>
            <pc:sldMk cId="3739494107" sldId="472"/>
            <ac:grpSpMk id="6" creationId="{911670B3-FA4C-519E-8CCC-0D12CC7C488E}"/>
          </ac:grpSpMkLst>
        </pc:grpChg>
        <pc:grpChg chg="add del mod">
          <ac:chgData name="Sharif Zahdeh" userId="76695dcfea8304bd" providerId="LiveId" clId="{3A8C6964-DBF2-450D-9644-7B64291DD03D}" dt="2023-11-12T11:21:38.402" v="337" actId="478"/>
          <ac:grpSpMkLst>
            <pc:docMk/>
            <pc:sldMk cId="3739494107" sldId="472"/>
            <ac:grpSpMk id="17" creationId="{04397D7F-ADD5-90D9-C48A-0531AA1FC62A}"/>
          </ac:grpSpMkLst>
        </pc:grpChg>
        <pc:grpChg chg="mod">
          <ac:chgData name="Sharif Zahdeh" userId="76695dcfea8304bd" providerId="LiveId" clId="{3A8C6964-DBF2-450D-9644-7B64291DD03D}" dt="2023-11-12T11:19:20.386" v="254" actId="1036"/>
          <ac:grpSpMkLst>
            <pc:docMk/>
            <pc:sldMk cId="3739494107" sldId="472"/>
            <ac:grpSpMk id="41" creationId="{86BD235C-8F67-9263-9125-CD3FB31447C4}"/>
          </ac:grpSpMkLst>
        </pc:grpChg>
        <pc:picChg chg="mod">
          <ac:chgData name="Sharif Zahdeh" userId="76695dcfea8304bd" providerId="LiveId" clId="{3A8C6964-DBF2-450D-9644-7B64291DD03D}" dt="2023-11-12T11:18:37.934" v="104"/>
          <ac:picMkLst>
            <pc:docMk/>
            <pc:sldMk cId="3739494107" sldId="472"/>
            <ac:picMk id="16" creationId="{8314D1B9-54C0-265B-21CA-7076E1FA6579}"/>
          </ac:picMkLst>
        </pc:picChg>
        <pc:picChg chg="del mod topLvl">
          <ac:chgData name="Sharif Zahdeh" userId="76695dcfea8304bd" providerId="LiveId" clId="{3A8C6964-DBF2-450D-9644-7B64291DD03D}" dt="2023-11-12T11:21:38.402" v="337" actId="478"/>
          <ac:picMkLst>
            <pc:docMk/>
            <pc:sldMk cId="3739494107" sldId="472"/>
            <ac:picMk id="21" creationId="{92B3DC1E-F23A-1299-5ABB-E670520F3FDA}"/>
          </ac:picMkLst>
        </pc:picChg>
        <pc:picChg chg="mod">
          <ac:chgData name="Sharif Zahdeh" userId="76695dcfea8304bd" providerId="LiveId" clId="{3A8C6964-DBF2-450D-9644-7B64291DD03D}" dt="2023-11-12T11:19:47.853" v="269" actId="14100"/>
          <ac:picMkLst>
            <pc:docMk/>
            <pc:sldMk cId="3739494107" sldId="472"/>
            <ac:picMk id="53" creationId="{174D94CB-1DF6-199B-0761-E2A21E683A98}"/>
          </ac:picMkLst>
        </pc:picChg>
        <pc:picChg chg="add del mod">
          <ac:chgData name="Sharif Zahdeh" userId="76695dcfea8304bd" providerId="LiveId" clId="{3A8C6964-DBF2-450D-9644-7B64291DD03D}" dt="2023-11-12T11:24:26.297" v="447" actId="1035"/>
          <ac:picMkLst>
            <pc:docMk/>
            <pc:sldMk cId="3739494107" sldId="472"/>
            <ac:picMk id="1026" creationId="{178FA0B5-60FB-EA7C-373F-6AAFF93E5831}"/>
          </ac:picMkLst>
        </pc:picChg>
        <pc:picChg chg="add del mod">
          <ac:chgData name="Sharif Zahdeh" userId="76695dcfea8304bd" providerId="LiveId" clId="{3A8C6964-DBF2-450D-9644-7B64291DD03D}" dt="2023-11-12T11:24:02.068" v="408" actId="478"/>
          <ac:picMkLst>
            <pc:docMk/>
            <pc:sldMk cId="3739494107" sldId="472"/>
            <ac:picMk id="1027" creationId="{FDF4281F-B8C3-D808-5022-F63C4C4BA436}"/>
          </ac:picMkLst>
        </pc:picChg>
      </pc:sldChg>
      <pc:sldChg chg="addSp delSp modSp mod">
        <pc:chgData name="Sharif Zahdeh" userId="76695dcfea8304bd" providerId="LiveId" clId="{3A8C6964-DBF2-450D-9644-7B64291DD03D}" dt="2023-11-13T09:59:12.900" v="1787" actId="20577"/>
        <pc:sldMkLst>
          <pc:docMk/>
          <pc:sldMk cId="1793977519" sldId="473"/>
        </pc:sldMkLst>
        <pc:spChg chg="mod">
          <ac:chgData name="Sharif Zahdeh" userId="76695dcfea8304bd" providerId="LiveId" clId="{3A8C6964-DBF2-450D-9644-7B64291DD03D}" dt="2023-11-13T09:58:45.148" v="1784" actId="1076"/>
          <ac:spMkLst>
            <pc:docMk/>
            <pc:sldMk cId="1793977519" sldId="473"/>
            <ac:spMk id="2" creationId="{1017713D-0228-8D28-37CE-DDCD0C4D116A}"/>
          </ac:spMkLst>
        </pc:spChg>
        <pc:spChg chg="mod">
          <ac:chgData name="Sharif Zahdeh" userId="76695dcfea8304bd" providerId="LiveId" clId="{3A8C6964-DBF2-450D-9644-7B64291DD03D}" dt="2023-11-12T12:38:28.094" v="1466" actId="1035"/>
          <ac:spMkLst>
            <pc:docMk/>
            <pc:sldMk cId="1793977519" sldId="473"/>
            <ac:spMk id="3" creationId="{A0AD3D51-CB85-5304-A508-4DBF30468653}"/>
          </ac:spMkLst>
        </pc:spChg>
        <pc:spChg chg="mod">
          <ac:chgData name="Sharif Zahdeh" userId="76695dcfea8304bd" providerId="LiveId" clId="{3A8C6964-DBF2-450D-9644-7B64291DD03D}" dt="2023-11-12T12:38:28.094" v="1466" actId="1035"/>
          <ac:spMkLst>
            <pc:docMk/>
            <pc:sldMk cId="1793977519" sldId="473"/>
            <ac:spMk id="6" creationId="{5095E563-82CD-123B-3278-33A20CD3734F}"/>
          </ac:spMkLst>
        </pc:spChg>
        <pc:spChg chg="mod">
          <ac:chgData name="Sharif Zahdeh" userId="76695dcfea8304bd" providerId="LiveId" clId="{3A8C6964-DBF2-450D-9644-7B64291DD03D}" dt="2023-11-12T12:38:28.094" v="1466" actId="1035"/>
          <ac:spMkLst>
            <pc:docMk/>
            <pc:sldMk cId="1793977519" sldId="473"/>
            <ac:spMk id="7" creationId="{F8EE5738-4EEC-7E60-4155-282E86A1CD0C}"/>
          </ac:spMkLst>
        </pc:spChg>
        <pc:spChg chg="mod">
          <ac:chgData name="Sharif Zahdeh" userId="76695dcfea8304bd" providerId="LiveId" clId="{3A8C6964-DBF2-450D-9644-7B64291DD03D}" dt="2023-11-12T12:38:28.094" v="1466" actId="1035"/>
          <ac:spMkLst>
            <pc:docMk/>
            <pc:sldMk cId="1793977519" sldId="473"/>
            <ac:spMk id="8" creationId="{A5995797-D0FD-B5AC-698F-760A6C009E99}"/>
          </ac:spMkLst>
        </pc:spChg>
        <pc:spChg chg="mod">
          <ac:chgData name="Sharif Zahdeh" userId="76695dcfea8304bd" providerId="LiveId" clId="{3A8C6964-DBF2-450D-9644-7B64291DD03D}" dt="2023-11-12T12:38:28.094" v="1466" actId="1035"/>
          <ac:spMkLst>
            <pc:docMk/>
            <pc:sldMk cId="1793977519" sldId="473"/>
            <ac:spMk id="9" creationId="{BEBD9566-3701-FCBE-B7D1-FD881E290E23}"/>
          </ac:spMkLst>
        </pc:spChg>
        <pc:spChg chg="mod">
          <ac:chgData name="Sharif Zahdeh" userId="76695dcfea8304bd" providerId="LiveId" clId="{3A8C6964-DBF2-450D-9644-7B64291DD03D}" dt="2023-11-12T12:38:28.094" v="1466" actId="1035"/>
          <ac:spMkLst>
            <pc:docMk/>
            <pc:sldMk cId="1793977519" sldId="473"/>
            <ac:spMk id="10" creationId="{074E62E2-7EC2-A51C-837B-32CD4344D494}"/>
          </ac:spMkLst>
        </pc:spChg>
        <pc:spChg chg="mod">
          <ac:chgData name="Sharif Zahdeh" userId="76695dcfea8304bd" providerId="LiveId" clId="{3A8C6964-DBF2-450D-9644-7B64291DD03D}" dt="2023-11-12T12:38:28.094" v="1466" actId="1035"/>
          <ac:spMkLst>
            <pc:docMk/>
            <pc:sldMk cId="1793977519" sldId="473"/>
            <ac:spMk id="11" creationId="{6CCF1C8E-E701-0BEA-EA57-05D0535C52F2}"/>
          </ac:spMkLst>
        </pc:spChg>
        <pc:spChg chg="mod">
          <ac:chgData name="Sharif Zahdeh" userId="76695dcfea8304bd" providerId="LiveId" clId="{3A8C6964-DBF2-450D-9644-7B64291DD03D}" dt="2023-11-12T12:38:28.094" v="1466" actId="1035"/>
          <ac:spMkLst>
            <pc:docMk/>
            <pc:sldMk cId="1793977519" sldId="473"/>
            <ac:spMk id="12" creationId="{8FE076F8-445B-4CF4-0EF9-5CD40C2B7251}"/>
          </ac:spMkLst>
        </pc:spChg>
        <pc:spChg chg="mod">
          <ac:chgData name="Sharif Zahdeh" userId="76695dcfea8304bd" providerId="LiveId" clId="{3A8C6964-DBF2-450D-9644-7B64291DD03D}" dt="2023-11-12T12:38:28.094" v="1466" actId="1035"/>
          <ac:spMkLst>
            <pc:docMk/>
            <pc:sldMk cId="1793977519" sldId="473"/>
            <ac:spMk id="13" creationId="{AC359004-04C9-9D6B-6375-FB14025E4B2E}"/>
          </ac:spMkLst>
        </pc:spChg>
        <pc:spChg chg="mod">
          <ac:chgData name="Sharif Zahdeh" userId="76695dcfea8304bd" providerId="LiveId" clId="{3A8C6964-DBF2-450D-9644-7B64291DD03D}" dt="2023-11-12T12:38:28.094" v="1466" actId="1035"/>
          <ac:spMkLst>
            <pc:docMk/>
            <pc:sldMk cId="1793977519" sldId="473"/>
            <ac:spMk id="14" creationId="{B9EB1FC1-74DF-B8FE-27CF-774120D2D0D6}"/>
          </ac:spMkLst>
        </pc:spChg>
        <pc:spChg chg="mod">
          <ac:chgData name="Sharif Zahdeh" userId="76695dcfea8304bd" providerId="LiveId" clId="{3A8C6964-DBF2-450D-9644-7B64291DD03D}" dt="2023-11-12T12:38:28.094" v="1466" actId="1035"/>
          <ac:spMkLst>
            <pc:docMk/>
            <pc:sldMk cId="1793977519" sldId="473"/>
            <ac:spMk id="15" creationId="{11400A7E-FA60-9704-3F51-9D461831D51C}"/>
          </ac:spMkLst>
        </pc:spChg>
        <pc:spChg chg="mod">
          <ac:chgData name="Sharif Zahdeh" userId="76695dcfea8304bd" providerId="LiveId" clId="{3A8C6964-DBF2-450D-9644-7B64291DD03D}" dt="2023-11-12T12:38:28.094" v="1466" actId="1035"/>
          <ac:spMkLst>
            <pc:docMk/>
            <pc:sldMk cId="1793977519" sldId="473"/>
            <ac:spMk id="16" creationId="{E5D3C97F-EC50-DBF3-A9F9-6B681DE82197}"/>
          </ac:spMkLst>
        </pc:spChg>
        <pc:spChg chg="mod">
          <ac:chgData name="Sharif Zahdeh" userId="76695dcfea8304bd" providerId="LiveId" clId="{3A8C6964-DBF2-450D-9644-7B64291DD03D}" dt="2023-11-12T12:38:28.094" v="1466" actId="1035"/>
          <ac:spMkLst>
            <pc:docMk/>
            <pc:sldMk cId="1793977519" sldId="473"/>
            <ac:spMk id="17" creationId="{B224DB9A-26E1-2CF6-39C6-79B8345269ED}"/>
          </ac:spMkLst>
        </pc:spChg>
        <pc:spChg chg="mod">
          <ac:chgData name="Sharif Zahdeh" userId="76695dcfea8304bd" providerId="LiveId" clId="{3A8C6964-DBF2-450D-9644-7B64291DD03D}" dt="2023-11-12T12:38:28.094" v="1466" actId="1035"/>
          <ac:spMkLst>
            <pc:docMk/>
            <pc:sldMk cId="1793977519" sldId="473"/>
            <ac:spMk id="18" creationId="{536AC758-FA35-D2A1-0CDB-DEABDF048B08}"/>
          </ac:spMkLst>
        </pc:spChg>
        <pc:spChg chg="mod">
          <ac:chgData name="Sharif Zahdeh" userId="76695dcfea8304bd" providerId="LiveId" clId="{3A8C6964-DBF2-450D-9644-7B64291DD03D}" dt="2023-11-12T12:38:28.094" v="1466" actId="1035"/>
          <ac:spMkLst>
            <pc:docMk/>
            <pc:sldMk cId="1793977519" sldId="473"/>
            <ac:spMk id="19" creationId="{685A8822-40E9-3799-4ED5-F6891E2005C6}"/>
          </ac:spMkLst>
        </pc:spChg>
        <pc:spChg chg="mod">
          <ac:chgData name="Sharif Zahdeh" userId="76695dcfea8304bd" providerId="LiveId" clId="{3A8C6964-DBF2-450D-9644-7B64291DD03D}" dt="2023-11-12T12:38:28.094" v="1466" actId="1035"/>
          <ac:spMkLst>
            <pc:docMk/>
            <pc:sldMk cId="1793977519" sldId="473"/>
            <ac:spMk id="20" creationId="{5C3B03EB-BCCB-6F49-0AC8-C3D5F25CAE95}"/>
          </ac:spMkLst>
        </pc:spChg>
        <pc:spChg chg="mod">
          <ac:chgData name="Sharif Zahdeh" userId="76695dcfea8304bd" providerId="LiveId" clId="{3A8C6964-DBF2-450D-9644-7B64291DD03D}" dt="2023-11-12T12:38:28.094" v="1466" actId="1035"/>
          <ac:spMkLst>
            <pc:docMk/>
            <pc:sldMk cId="1793977519" sldId="473"/>
            <ac:spMk id="22" creationId="{7957D1CA-D952-9448-E2B8-72B426EBD52A}"/>
          </ac:spMkLst>
        </pc:spChg>
        <pc:spChg chg="mod">
          <ac:chgData name="Sharif Zahdeh" userId="76695dcfea8304bd" providerId="LiveId" clId="{3A8C6964-DBF2-450D-9644-7B64291DD03D}" dt="2023-11-12T12:38:28.094" v="1466" actId="1035"/>
          <ac:spMkLst>
            <pc:docMk/>
            <pc:sldMk cId="1793977519" sldId="473"/>
            <ac:spMk id="23" creationId="{5A023FCF-E7F7-6BD1-036C-204E2F1188AD}"/>
          </ac:spMkLst>
        </pc:spChg>
        <pc:spChg chg="mod">
          <ac:chgData name="Sharif Zahdeh" userId="76695dcfea8304bd" providerId="LiveId" clId="{3A8C6964-DBF2-450D-9644-7B64291DD03D}" dt="2023-11-12T12:38:28.094" v="1466" actId="1035"/>
          <ac:spMkLst>
            <pc:docMk/>
            <pc:sldMk cId="1793977519" sldId="473"/>
            <ac:spMk id="24" creationId="{8A1430C7-2F00-C52B-CD67-AD005801C36C}"/>
          </ac:spMkLst>
        </pc:spChg>
        <pc:spChg chg="mod">
          <ac:chgData name="Sharif Zahdeh" userId="76695dcfea8304bd" providerId="LiveId" clId="{3A8C6964-DBF2-450D-9644-7B64291DD03D}" dt="2023-11-12T12:38:28.094" v="1466" actId="1035"/>
          <ac:spMkLst>
            <pc:docMk/>
            <pc:sldMk cId="1793977519" sldId="473"/>
            <ac:spMk id="25" creationId="{37F1BDC7-BD0C-8E07-ED49-EC39972FEBD2}"/>
          </ac:spMkLst>
        </pc:spChg>
        <pc:spChg chg="mod">
          <ac:chgData name="Sharif Zahdeh" userId="76695dcfea8304bd" providerId="LiveId" clId="{3A8C6964-DBF2-450D-9644-7B64291DD03D}" dt="2023-11-12T12:38:28.094" v="1466" actId="1035"/>
          <ac:spMkLst>
            <pc:docMk/>
            <pc:sldMk cId="1793977519" sldId="473"/>
            <ac:spMk id="26" creationId="{9978122E-C902-20E4-E69D-46C017BFD40A}"/>
          </ac:spMkLst>
        </pc:spChg>
        <pc:spChg chg="mod">
          <ac:chgData name="Sharif Zahdeh" userId="76695dcfea8304bd" providerId="LiveId" clId="{3A8C6964-DBF2-450D-9644-7B64291DD03D}" dt="2023-11-12T12:38:28.094" v="1466" actId="1035"/>
          <ac:spMkLst>
            <pc:docMk/>
            <pc:sldMk cId="1793977519" sldId="473"/>
            <ac:spMk id="27" creationId="{C2AB7061-72F3-1313-8585-DF49004D4004}"/>
          </ac:spMkLst>
        </pc:spChg>
        <pc:spChg chg="mod">
          <ac:chgData name="Sharif Zahdeh" userId="76695dcfea8304bd" providerId="LiveId" clId="{3A8C6964-DBF2-450D-9644-7B64291DD03D}" dt="2023-11-12T12:38:28.094" v="1466" actId="1035"/>
          <ac:spMkLst>
            <pc:docMk/>
            <pc:sldMk cId="1793977519" sldId="473"/>
            <ac:spMk id="28" creationId="{CB990BB3-92A7-F287-FD6B-4C68F3DFBF2F}"/>
          </ac:spMkLst>
        </pc:spChg>
        <pc:spChg chg="mod">
          <ac:chgData name="Sharif Zahdeh" userId="76695dcfea8304bd" providerId="LiveId" clId="{3A8C6964-DBF2-450D-9644-7B64291DD03D}" dt="2023-11-12T12:38:28.094" v="1466" actId="1035"/>
          <ac:spMkLst>
            <pc:docMk/>
            <pc:sldMk cId="1793977519" sldId="473"/>
            <ac:spMk id="29" creationId="{3632051E-FE0E-0629-6616-E0CD5AEA2D84}"/>
          </ac:spMkLst>
        </pc:spChg>
        <pc:spChg chg="mod">
          <ac:chgData name="Sharif Zahdeh" userId="76695dcfea8304bd" providerId="LiveId" clId="{3A8C6964-DBF2-450D-9644-7B64291DD03D}" dt="2023-11-12T12:38:28.094" v="1466" actId="1035"/>
          <ac:spMkLst>
            <pc:docMk/>
            <pc:sldMk cId="1793977519" sldId="473"/>
            <ac:spMk id="30" creationId="{46CA2007-BEC0-00CC-2296-46F74DF6E0B8}"/>
          </ac:spMkLst>
        </pc:spChg>
        <pc:spChg chg="mod">
          <ac:chgData name="Sharif Zahdeh" userId="76695dcfea8304bd" providerId="LiveId" clId="{3A8C6964-DBF2-450D-9644-7B64291DD03D}" dt="2023-11-12T12:38:28.094" v="1466" actId="1035"/>
          <ac:spMkLst>
            <pc:docMk/>
            <pc:sldMk cId="1793977519" sldId="473"/>
            <ac:spMk id="31" creationId="{C7C74388-148B-768A-6804-F30600FA22F6}"/>
          </ac:spMkLst>
        </pc:spChg>
        <pc:spChg chg="mod">
          <ac:chgData name="Sharif Zahdeh" userId="76695dcfea8304bd" providerId="LiveId" clId="{3A8C6964-DBF2-450D-9644-7B64291DD03D}" dt="2023-11-12T12:38:28.094" v="1466" actId="1035"/>
          <ac:spMkLst>
            <pc:docMk/>
            <pc:sldMk cId="1793977519" sldId="473"/>
            <ac:spMk id="32" creationId="{3DBC0216-5B95-3DD7-4B5A-4187326B5FE1}"/>
          </ac:spMkLst>
        </pc:spChg>
        <pc:spChg chg="mod">
          <ac:chgData name="Sharif Zahdeh" userId="76695dcfea8304bd" providerId="LiveId" clId="{3A8C6964-DBF2-450D-9644-7B64291DD03D}" dt="2023-11-12T12:38:28.094" v="1466" actId="1035"/>
          <ac:spMkLst>
            <pc:docMk/>
            <pc:sldMk cId="1793977519" sldId="473"/>
            <ac:spMk id="33" creationId="{E8461C74-9FC4-01FD-77AF-04651DEF0EC7}"/>
          </ac:spMkLst>
        </pc:spChg>
        <pc:spChg chg="mod">
          <ac:chgData name="Sharif Zahdeh" userId="76695dcfea8304bd" providerId="LiveId" clId="{3A8C6964-DBF2-450D-9644-7B64291DD03D}" dt="2023-11-12T12:38:28.094" v="1466" actId="1035"/>
          <ac:spMkLst>
            <pc:docMk/>
            <pc:sldMk cId="1793977519" sldId="473"/>
            <ac:spMk id="34" creationId="{E6A65DBE-6C3B-1DB4-9135-2FA70F41A78B}"/>
          </ac:spMkLst>
        </pc:spChg>
        <pc:spChg chg="mod">
          <ac:chgData name="Sharif Zahdeh" userId="76695dcfea8304bd" providerId="LiveId" clId="{3A8C6964-DBF2-450D-9644-7B64291DD03D}" dt="2023-11-12T12:38:28.094" v="1466" actId="1035"/>
          <ac:spMkLst>
            <pc:docMk/>
            <pc:sldMk cId="1793977519" sldId="473"/>
            <ac:spMk id="35" creationId="{234A4226-935B-E879-3C70-D69422A35517}"/>
          </ac:spMkLst>
        </pc:spChg>
        <pc:spChg chg="mod">
          <ac:chgData name="Sharif Zahdeh" userId="76695dcfea8304bd" providerId="LiveId" clId="{3A8C6964-DBF2-450D-9644-7B64291DD03D}" dt="2023-11-12T12:38:28.094" v="1466" actId="1035"/>
          <ac:spMkLst>
            <pc:docMk/>
            <pc:sldMk cId="1793977519" sldId="473"/>
            <ac:spMk id="36" creationId="{12951F9E-61D7-8356-B740-C23D157CB05C}"/>
          </ac:spMkLst>
        </pc:spChg>
        <pc:spChg chg="mod">
          <ac:chgData name="Sharif Zahdeh" userId="76695dcfea8304bd" providerId="LiveId" clId="{3A8C6964-DBF2-450D-9644-7B64291DD03D}" dt="2023-11-12T12:38:28.094" v="1466" actId="1035"/>
          <ac:spMkLst>
            <pc:docMk/>
            <pc:sldMk cId="1793977519" sldId="473"/>
            <ac:spMk id="37" creationId="{148A8E11-46D9-BBB5-1002-F5856DCD40DE}"/>
          </ac:spMkLst>
        </pc:spChg>
        <pc:spChg chg="mod">
          <ac:chgData name="Sharif Zahdeh" userId="76695dcfea8304bd" providerId="LiveId" clId="{3A8C6964-DBF2-450D-9644-7B64291DD03D}" dt="2023-11-12T12:38:28.094" v="1466" actId="1035"/>
          <ac:spMkLst>
            <pc:docMk/>
            <pc:sldMk cId="1793977519" sldId="473"/>
            <ac:spMk id="38" creationId="{36AE0995-A13A-6F4B-6978-9BC107EE6089}"/>
          </ac:spMkLst>
        </pc:spChg>
        <pc:spChg chg="mod">
          <ac:chgData name="Sharif Zahdeh" userId="76695dcfea8304bd" providerId="LiveId" clId="{3A8C6964-DBF2-450D-9644-7B64291DD03D}" dt="2023-11-12T12:38:28.094" v="1466" actId="1035"/>
          <ac:spMkLst>
            <pc:docMk/>
            <pc:sldMk cId="1793977519" sldId="473"/>
            <ac:spMk id="39" creationId="{AA5171B4-6FAD-670B-5D79-BB9E1C555602}"/>
          </ac:spMkLst>
        </pc:spChg>
        <pc:spChg chg="mod">
          <ac:chgData name="Sharif Zahdeh" userId="76695dcfea8304bd" providerId="LiveId" clId="{3A8C6964-DBF2-450D-9644-7B64291DD03D}" dt="2023-11-12T12:38:28.094" v="1466" actId="1035"/>
          <ac:spMkLst>
            <pc:docMk/>
            <pc:sldMk cId="1793977519" sldId="473"/>
            <ac:spMk id="40" creationId="{F5945F07-C191-BB5A-E5B6-D66575C93D15}"/>
          </ac:spMkLst>
        </pc:spChg>
        <pc:spChg chg="mod">
          <ac:chgData name="Sharif Zahdeh" userId="76695dcfea8304bd" providerId="LiveId" clId="{3A8C6964-DBF2-450D-9644-7B64291DD03D}" dt="2023-11-12T12:38:28.094" v="1466" actId="1035"/>
          <ac:spMkLst>
            <pc:docMk/>
            <pc:sldMk cId="1793977519" sldId="473"/>
            <ac:spMk id="41" creationId="{D9EBE5C3-FBFF-0B73-DB79-7FB858470A03}"/>
          </ac:spMkLst>
        </pc:spChg>
        <pc:spChg chg="mod">
          <ac:chgData name="Sharif Zahdeh" userId="76695dcfea8304bd" providerId="LiveId" clId="{3A8C6964-DBF2-450D-9644-7B64291DD03D}" dt="2023-11-12T12:38:28.094" v="1466" actId="1035"/>
          <ac:spMkLst>
            <pc:docMk/>
            <pc:sldMk cId="1793977519" sldId="473"/>
            <ac:spMk id="42" creationId="{E6FFAAFC-CA91-94C7-CBA7-B81644F55F1C}"/>
          </ac:spMkLst>
        </pc:spChg>
        <pc:spChg chg="mod">
          <ac:chgData name="Sharif Zahdeh" userId="76695dcfea8304bd" providerId="LiveId" clId="{3A8C6964-DBF2-450D-9644-7B64291DD03D}" dt="2023-11-12T12:38:28.094" v="1466" actId="1035"/>
          <ac:spMkLst>
            <pc:docMk/>
            <pc:sldMk cId="1793977519" sldId="473"/>
            <ac:spMk id="43" creationId="{1848A359-DB4D-0185-88DA-10D070392AF3}"/>
          </ac:spMkLst>
        </pc:spChg>
        <pc:spChg chg="mod">
          <ac:chgData name="Sharif Zahdeh" userId="76695dcfea8304bd" providerId="LiveId" clId="{3A8C6964-DBF2-450D-9644-7B64291DD03D}" dt="2023-11-12T12:38:28.094" v="1466" actId="1035"/>
          <ac:spMkLst>
            <pc:docMk/>
            <pc:sldMk cId="1793977519" sldId="473"/>
            <ac:spMk id="44" creationId="{FC4EA0FA-171D-8156-E232-435E50EC5863}"/>
          </ac:spMkLst>
        </pc:spChg>
        <pc:spChg chg="mod">
          <ac:chgData name="Sharif Zahdeh" userId="76695dcfea8304bd" providerId="LiveId" clId="{3A8C6964-DBF2-450D-9644-7B64291DD03D}" dt="2023-11-12T12:38:28.094" v="1466" actId="1035"/>
          <ac:spMkLst>
            <pc:docMk/>
            <pc:sldMk cId="1793977519" sldId="473"/>
            <ac:spMk id="45" creationId="{DE8DC42F-1C1A-2ECC-2231-6E3B5F5F3089}"/>
          </ac:spMkLst>
        </pc:spChg>
        <pc:spChg chg="mod">
          <ac:chgData name="Sharif Zahdeh" userId="76695dcfea8304bd" providerId="LiveId" clId="{3A8C6964-DBF2-450D-9644-7B64291DD03D}" dt="2023-11-12T12:38:28.094" v="1466" actId="1035"/>
          <ac:spMkLst>
            <pc:docMk/>
            <pc:sldMk cId="1793977519" sldId="473"/>
            <ac:spMk id="46" creationId="{5180F1A7-0F54-73E1-B7D4-D3ADE7EB2767}"/>
          </ac:spMkLst>
        </pc:spChg>
        <pc:spChg chg="mod">
          <ac:chgData name="Sharif Zahdeh" userId="76695dcfea8304bd" providerId="LiveId" clId="{3A8C6964-DBF2-450D-9644-7B64291DD03D}" dt="2023-11-12T12:38:28.094" v="1466" actId="1035"/>
          <ac:spMkLst>
            <pc:docMk/>
            <pc:sldMk cId="1793977519" sldId="473"/>
            <ac:spMk id="47" creationId="{553905AE-FB56-F453-DA56-93CA1E24D4FA}"/>
          </ac:spMkLst>
        </pc:spChg>
        <pc:spChg chg="mod">
          <ac:chgData name="Sharif Zahdeh" userId="76695dcfea8304bd" providerId="LiveId" clId="{3A8C6964-DBF2-450D-9644-7B64291DD03D}" dt="2023-11-12T12:38:28.094" v="1466" actId="1035"/>
          <ac:spMkLst>
            <pc:docMk/>
            <pc:sldMk cId="1793977519" sldId="473"/>
            <ac:spMk id="48" creationId="{F89C3008-B972-DB45-5E44-247200C794A6}"/>
          </ac:spMkLst>
        </pc:spChg>
        <pc:spChg chg="mod">
          <ac:chgData name="Sharif Zahdeh" userId="76695dcfea8304bd" providerId="LiveId" clId="{3A8C6964-DBF2-450D-9644-7B64291DD03D}" dt="2023-11-12T12:38:28.094" v="1466" actId="1035"/>
          <ac:spMkLst>
            <pc:docMk/>
            <pc:sldMk cId="1793977519" sldId="473"/>
            <ac:spMk id="49" creationId="{AF11EEB1-16D2-AF2B-3FD4-2E25C055CB54}"/>
          </ac:spMkLst>
        </pc:spChg>
        <pc:spChg chg="mod">
          <ac:chgData name="Sharif Zahdeh" userId="76695dcfea8304bd" providerId="LiveId" clId="{3A8C6964-DBF2-450D-9644-7B64291DD03D}" dt="2023-11-12T12:38:28.094" v="1466" actId="1035"/>
          <ac:spMkLst>
            <pc:docMk/>
            <pc:sldMk cId="1793977519" sldId="473"/>
            <ac:spMk id="50" creationId="{CA91C669-F1FD-5D00-DC7E-338DD8093DE2}"/>
          </ac:spMkLst>
        </pc:spChg>
        <pc:spChg chg="mod">
          <ac:chgData name="Sharif Zahdeh" userId="76695dcfea8304bd" providerId="LiveId" clId="{3A8C6964-DBF2-450D-9644-7B64291DD03D}" dt="2023-11-12T12:38:28.094" v="1466" actId="1035"/>
          <ac:spMkLst>
            <pc:docMk/>
            <pc:sldMk cId="1793977519" sldId="473"/>
            <ac:spMk id="51" creationId="{FD6A9FE5-42A6-89A0-47A3-3FA3903E8476}"/>
          </ac:spMkLst>
        </pc:spChg>
        <pc:spChg chg="mod">
          <ac:chgData name="Sharif Zahdeh" userId="76695dcfea8304bd" providerId="LiveId" clId="{3A8C6964-DBF2-450D-9644-7B64291DD03D}" dt="2023-11-12T12:38:28.094" v="1466" actId="1035"/>
          <ac:spMkLst>
            <pc:docMk/>
            <pc:sldMk cId="1793977519" sldId="473"/>
            <ac:spMk id="52" creationId="{85E78981-F47A-F158-A7E1-5372E38ED7EB}"/>
          </ac:spMkLst>
        </pc:spChg>
        <pc:spChg chg="mod">
          <ac:chgData name="Sharif Zahdeh" userId="76695dcfea8304bd" providerId="LiveId" clId="{3A8C6964-DBF2-450D-9644-7B64291DD03D}" dt="2023-11-12T12:38:28.094" v="1466" actId="1035"/>
          <ac:spMkLst>
            <pc:docMk/>
            <pc:sldMk cId="1793977519" sldId="473"/>
            <ac:spMk id="53" creationId="{BCDAF261-0565-E0A7-276B-0055AD9E6FD3}"/>
          </ac:spMkLst>
        </pc:spChg>
        <pc:spChg chg="mod">
          <ac:chgData name="Sharif Zahdeh" userId="76695dcfea8304bd" providerId="LiveId" clId="{3A8C6964-DBF2-450D-9644-7B64291DD03D}" dt="2023-11-12T12:38:28.094" v="1466" actId="1035"/>
          <ac:spMkLst>
            <pc:docMk/>
            <pc:sldMk cId="1793977519" sldId="473"/>
            <ac:spMk id="55" creationId="{76D2B884-2404-0E2C-592A-0B080AA4E97F}"/>
          </ac:spMkLst>
        </pc:spChg>
        <pc:spChg chg="mod">
          <ac:chgData name="Sharif Zahdeh" userId="76695dcfea8304bd" providerId="LiveId" clId="{3A8C6964-DBF2-450D-9644-7B64291DD03D}" dt="2023-11-12T12:38:28.094" v="1466" actId="1035"/>
          <ac:spMkLst>
            <pc:docMk/>
            <pc:sldMk cId="1793977519" sldId="473"/>
            <ac:spMk id="56" creationId="{E4149308-2D18-7CC4-A127-F4B665C093F0}"/>
          </ac:spMkLst>
        </pc:spChg>
        <pc:spChg chg="mod">
          <ac:chgData name="Sharif Zahdeh" userId="76695dcfea8304bd" providerId="LiveId" clId="{3A8C6964-DBF2-450D-9644-7B64291DD03D}" dt="2023-11-12T12:38:28.094" v="1466" actId="1035"/>
          <ac:spMkLst>
            <pc:docMk/>
            <pc:sldMk cId="1793977519" sldId="473"/>
            <ac:spMk id="58" creationId="{D7EB8632-380C-B281-40D8-B854F593D9E6}"/>
          </ac:spMkLst>
        </pc:spChg>
        <pc:spChg chg="mod">
          <ac:chgData name="Sharif Zahdeh" userId="76695dcfea8304bd" providerId="LiveId" clId="{3A8C6964-DBF2-450D-9644-7B64291DD03D}" dt="2023-11-12T12:38:28.094" v="1466" actId="1035"/>
          <ac:spMkLst>
            <pc:docMk/>
            <pc:sldMk cId="1793977519" sldId="473"/>
            <ac:spMk id="59" creationId="{E602F6B7-58B5-F78F-C07A-589F1A18994E}"/>
          </ac:spMkLst>
        </pc:spChg>
        <pc:spChg chg="mod">
          <ac:chgData name="Sharif Zahdeh" userId="76695dcfea8304bd" providerId="LiveId" clId="{3A8C6964-DBF2-450D-9644-7B64291DD03D}" dt="2023-11-12T12:38:28.094" v="1466" actId="1035"/>
          <ac:spMkLst>
            <pc:docMk/>
            <pc:sldMk cId="1793977519" sldId="473"/>
            <ac:spMk id="60" creationId="{A2E5A8A5-73B2-0496-D1DD-58A66403DC04}"/>
          </ac:spMkLst>
        </pc:spChg>
        <pc:spChg chg="mod">
          <ac:chgData name="Sharif Zahdeh" userId="76695dcfea8304bd" providerId="LiveId" clId="{3A8C6964-DBF2-450D-9644-7B64291DD03D}" dt="2023-11-12T12:38:28.094" v="1466" actId="1035"/>
          <ac:spMkLst>
            <pc:docMk/>
            <pc:sldMk cId="1793977519" sldId="473"/>
            <ac:spMk id="61" creationId="{E2C640F2-9D92-122E-EF31-5EBBC4A4FEB2}"/>
          </ac:spMkLst>
        </pc:spChg>
        <pc:spChg chg="mod">
          <ac:chgData name="Sharif Zahdeh" userId="76695dcfea8304bd" providerId="LiveId" clId="{3A8C6964-DBF2-450D-9644-7B64291DD03D}" dt="2023-11-12T12:38:28.094" v="1466" actId="1035"/>
          <ac:spMkLst>
            <pc:docMk/>
            <pc:sldMk cId="1793977519" sldId="473"/>
            <ac:spMk id="62" creationId="{F32E32F7-957C-5F05-0896-62270BDD9A77}"/>
          </ac:spMkLst>
        </pc:spChg>
        <pc:spChg chg="mod">
          <ac:chgData name="Sharif Zahdeh" userId="76695dcfea8304bd" providerId="LiveId" clId="{3A8C6964-DBF2-450D-9644-7B64291DD03D}" dt="2023-11-12T12:38:28.094" v="1466" actId="1035"/>
          <ac:spMkLst>
            <pc:docMk/>
            <pc:sldMk cId="1793977519" sldId="473"/>
            <ac:spMk id="63" creationId="{C906EB48-CB39-AED7-5B90-AA7324505FBA}"/>
          </ac:spMkLst>
        </pc:spChg>
        <pc:spChg chg="mod">
          <ac:chgData name="Sharif Zahdeh" userId="76695dcfea8304bd" providerId="LiveId" clId="{3A8C6964-DBF2-450D-9644-7B64291DD03D}" dt="2023-11-12T12:38:28.094" v="1466" actId="1035"/>
          <ac:spMkLst>
            <pc:docMk/>
            <pc:sldMk cId="1793977519" sldId="473"/>
            <ac:spMk id="64" creationId="{FFD3F307-B2C5-AE18-8DB1-CAFF47A7EDAA}"/>
          </ac:spMkLst>
        </pc:spChg>
        <pc:spChg chg="mod">
          <ac:chgData name="Sharif Zahdeh" userId="76695dcfea8304bd" providerId="LiveId" clId="{3A8C6964-DBF2-450D-9644-7B64291DD03D}" dt="2023-11-12T12:38:28.094" v="1466" actId="1035"/>
          <ac:spMkLst>
            <pc:docMk/>
            <pc:sldMk cId="1793977519" sldId="473"/>
            <ac:spMk id="65" creationId="{1BA59976-4BC5-34D7-E148-A981E8DA8505}"/>
          </ac:spMkLst>
        </pc:spChg>
        <pc:spChg chg="mod">
          <ac:chgData name="Sharif Zahdeh" userId="76695dcfea8304bd" providerId="LiveId" clId="{3A8C6964-DBF2-450D-9644-7B64291DD03D}" dt="2023-11-12T12:38:28.094" v="1466" actId="1035"/>
          <ac:spMkLst>
            <pc:docMk/>
            <pc:sldMk cId="1793977519" sldId="473"/>
            <ac:spMk id="66" creationId="{1084DC30-A739-BE02-3E19-A583DACA1509}"/>
          </ac:spMkLst>
        </pc:spChg>
        <pc:spChg chg="mod">
          <ac:chgData name="Sharif Zahdeh" userId="76695dcfea8304bd" providerId="LiveId" clId="{3A8C6964-DBF2-450D-9644-7B64291DD03D}" dt="2023-11-12T12:38:28.094" v="1466" actId="1035"/>
          <ac:spMkLst>
            <pc:docMk/>
            <pc:sldMk cId="1793977519" sldId="473"/>
            <ac:spMk id="67" creationId="{1242ADC4-B515-5F90-29DC-353CB615C367}"/>
          </ac:spMkLst>
        </pc:spChg>
        <pc:spChg chg="mod">
          <ac:chgData name="Sharif Zahdeh" userId="76695dcfea8304bd" providerId="LiveId" clId="{3A8C6964-DBF2-450D-9644-7B64291DD03D}" dt="2023-11-12T12:38:28.094" v="1466" actId="1035"/>
          <ac:spMkLst>
            <pc:docMk/>
            <pc:sldMk cId="1793977519" sldId="473"/>
            <ac:spMk id="68" creationId="{DB59B6B1-A71A-64C3-FAE9-F35BF1E2E1F1}"/>
          </ac:spMkLst>
        </pc:spChg>
        <pc:spChg chg="mod">
          <ac:chgData name="Sharif Zahdeh" userId="76695dcfea8304bd" providerId="LiveId" clId="{3A8C6964-DBF2-450D-9644-7B64291DD03D}" dt="2023-11-12T12:38:28.094" v="1466" actId="1035"/>
          <ac:spMkLst>
            <pc:docMk/>
            <pc:sldMk cId="1793977519" sldId="473"/>
            <ac:spMk id="69" creationId="{FCEB9ECD-B510-3C26-C9FC-22E20BFA11F4}"/>
          </ac:spMkLst>
        </pc:spChg>
        <pc:spChg chg="mod">
          <ac:chgData name="Sharif Zahdeh" userId="76695dcfea8304bd" providerId="LiveId" clId="{3A8C6964-DBF2-450D-9644-7B64291DD03D}" dt="2023-11-12T12:38:28.094" v="1466" actId="1035"/>
          <ac:spMkLst>
            <pc:docMk/>
            <pc:sldMk cId="1793977519" sldId="473"/>
            <ac:spMk id="70" creationId="{032CAF15-8A73-1A78-0FEC-569F4FB52D26}"/>
          </ac:spMkLst>
        </pc:spChg>
        <pc:spChg chg="mod">
          <ac:chgData name="Sharif Zahdeh" userId="76695dcfea8304bd" providerId="LiveId" clId="{3A8C6964-DBF2-450D-9644-7B64291DD03D}" dt="2023-11-12T12:38:28.094" v="1466" actId="1035"/>
          <ac:spMkLst>
            <pc:docMk/>
            <pc:sldMk cId="1793977519" sldId="473"/>
            <ac:spMk id="71" creationId="{F5738FE6-7ED3-D977-A20E-A264A2454DDB}"/>
          </ac:spMkLst>
        </pc:spChg>
        <pc:spChg chg="mod">
          <ac:chgData name="Sharif Zahdeh" userId="76695dcfea8304bd" providerId="LiveId" clId="{3A8C6964-DBF2-450D-9644-7B64291DD03D}" dt="2023-11-12T12:38:28.094" v="1466" actId="1035"/>
          <ac:spMkLst>
            <pc:docMk/>
            <pc:sldMk cId="1793977519" sldId="473"/>
            <ac:spMk id="72" creationId="{D5940468-0740-622F-ED05-29F100842149}"/>
          </ac:spMkLst>
        </pc:spChg>
        <pc:spChg chg="mod">
          <ac:chgData name="Sharif Zahdeh" userId="76695dcfea8304bd" providerId="LiveId" clId="{3A8C6964-DBF2-450D-9644-7B64291DD03D}" dt="2023-11-12T12:38:28.094" v="1466" actId="1035"/>
          <ac:spMkLst>
            <pc:docMk/>
            <pc:sldMk cId="1793977519" sldId="473"/>
            <ac:spMk id="73" creationId="{1A995781-8FF1-316A-751B-1567F2486D6A}"/>
          </ac:spMkLst>
        </pc:spChg>
        <pc:spChg chg="mod">
          <ac:chgData name="Sharif Zahdeh" userId="76695dcfea8304bd" providerId="LiveId" clId="{3A8C6964-DBF2-450D-9644-7B64291DD03D}" dt="2023-11-12T12:38:28.094" v="1466" actId="1035"/>
          <ac:spMkLst>
            <pc:docMk/>
            <pc:sldMk cId="1793977519" sldId="473"/>
            <ac:spMk id="74" creationId="{27F2AE5A-7005-420E-A3DE-CC4CDBEBE4B7}"/>
          </ac:spMkLst>
        </pc:spChg>
        <pc:spChg chg="mod">
          <ac:chgData name="Sharif Zahdeh" userId="76695dcfea8304bd" providerId="LiveId" clId="{3A8C6964-DBF2-450D-9644-7B64291DD03D}" dt="2023-11-12T12:38:28.094" v="1466" actId="1035"/>
          <ac:spMkLst>
            <pc:docMk/>
            <pc:sldMk cId="1793977519" sldId="473"/>
            <ac:spMk id="75" creationId="{8F4DC01F-C7AF-8338-64DC-76A7992284AC}"/>
          </ac:spMkLst>
        </pc:spChg>
        <pc:spChg chg="mod">
          <ac:chgData name="Sharif Zahdeh" userId="76695dcfea8304bd" providerId="LiveId" clId="{3A8C6964-DBF2-450D-9644-7B64291DD03D}" dt="2023-11-12T12:38:28.094" v="1466" actId="1035"/>
          <ac:spMkLst>
            <pc:docMk/>
            <pc:sldMk cId="1793977519" sldId="473"/>
            <ac:spMk id="77" creationId="{9BD5A5EE-F1EB-4CB1-967A-42BC1EDD8255}"/>
          </ac:spMkLst>
        </pc:spChg>
        <pc:spChg chg="mod">
          <ac:chgData name="Sharif Zahdeh" userId="76695dcfea8304bd" providerId="LiveId" clId="{3A8C6964-DBF2-450D-9644-7B64291DD03D}" dt="2023-11-12T12:38:28.094" v="1466" actId="1035"/>
          <ac:spMkLst>
            <pc:docMk/>
            <pc:sldMk cId="1793977519" sldId="473"/>
            <ac:spMk id="78" creationId="{BAC210EC-EE86-DD37-EA45-A6BA7EA4E1F1}"/>
          </ac:spMkLst>
        </pc:spChg>
        <pc:spChg chg="mod">
          <ac:chgData name="Sharif Zahdeh" userId="76695dcfea8304bd" providerId="LiveId" clId="{3A8C6964-DBF2-450D-9644-7B64291DD03D}" dt="2023-11-12T12:38:28.094" v="1466" actId="1035"/>
          <ac:spMkLst>
            <pc:docMk/>
            <pc:sldMk cId="1793977519" sldId="473"/>
            <ac:spMk id="79" creationId="{E97DD66C-B82D-1D1A-DF08-6F9F5F84EC60}"/>
          </ac:spMkLst>
        </pc:spChg>
        <pc:spChg chg="mod">
          <ac:chgData name="Sharif Zahdeh" userId="76695dcfea8304bd" providerId="LiveId" clId="{3A8C6964-DBF2-450D-9644-7B64291DD03D}" dt="2023-11-12T12:38:28.094" v="1466" actId="1035"/>
          <ac:spMkLst>
            <pc:docMk/>
            <pc:sldMk cId="1793977519" sldId="473"/>
            <ac:spMk id="80" creationId="{9CB3EB4B-53E2-59D9-6AAB-C6D6DA2F9E0A}"/>
          </ac:spMkLst>
        </pc:spChg>
        <pc:spChg chg="mod">
          <ac:chgData name="Sharif Zahdeh" userId="76695dcfea8304bd" providerId="LiveId" clId="{3A8C6964-DBF2-450D-9644-7B64291DD03D}" dt="2023-11-12T12:38:28.094" v="1466" actId="1035"/>
          <ac:spMkLst>
            <pc:docMk/>
            <pc:sldMk cId="1793977519" sldId="473"/>
            <ac:spMk id="81" creationId="{AF4C09BC-278F-6895-BB90-3BDA5587F150}"/>
          </ac:spMkLst>
        </pc:spChg>
        <pc:spChg chg="mod">
          <ac:chgData name="Sharif Zahdeh" userId="76695dcfea8304bd" providerId="LiveId" clId="{3A8C6964-DBF2-450D-9644-7B64291DD03D}" dt="2023-11-12T12:38:28.094" v="1466" actId="1035"/>
          <ac:spMkLst>
            <pc:docMk/>
            <pc:sldMk cId="1793977519" sldId="473"/>
            <ac:spMk id="82" creationId="{234E9F15-BCEB-5A8C-3103-A951BC41A2DA}"/>
          </ac:spMkLst>
        </pc:spChg>
        <pc:spChg chg="mod">
          <ac:chgData name="Sharif Zahdeh" userId="76695dcfea8304bd" providerId="LiveId" clId="{3A8C6964-DBF2-450D-9644-7B64291DD03D}" dt="2023-11-12T12:38:28.094" v="1466" actId="1035"/>
          <ac:spMkLst>
            <pc:docMk/>
            <pc:sldMk cId="1793977519" sldId="473"/>
            <ac:spMk id="83" creationId="{8BE7EF0F-CC91-A041-AC00-94BC89BA6D10}"/>
          </ac:spMkLst>
        </pc:spChg>
        <pc:spChg chg="mod">
          <ac:chgData name="Sharif Zahdeh" userId="76695dcfea8304bd" providerId="LiveId" clId="{3A8C6964-DBF2-450D-9644-7B64291DD03D}" dt="2023-11-12T12:38:28.094" v="1466" actId="1035"/>
          <ac:spMkLst>
            <pc:docMk/>
            <pc:sldMk cId="1793977519" sldId="473"/>
            <ac:spMk id="84" creationId="{BB405303-862D-6E71-8166-10357DE6751A}"/>
          </ac:spMkLst>
        </pc:spChg>
        <pc:spChg chg="mod">
          <ac:chgData name="Sharif Zahdeh" userId="76695dcfea8304bd" providerId="LiveId" clId="{3A8C6964-DBF2-450D-9644-7B64291DD03D}" dt="2023-11-12T12:38:28.094" v="1466" actId="1035"/>
          <ac:spMkLst>
            <pc:docMk/>
            <pc:sldMk cId="1793977519" sldId="473"/>
            <ac:spMk id="85" creationId="{ABDB51C9-01B2-3C24-5059-33C908BEE895}"/>
          </ac:spMkLst>
        </pc:spChg>
        <pc:spChg chg="mod">
          <ac:chgData name="Sharif Zahdeh" userId="76695dcfea8304bd" providerId="LiveId" clId="{3A8C6964-DBF2-450D-9644-7B64291DD03D}" dt="2023-11-12T12:38:28.094" v="1466" actId="1035"/>
          <ac:spMkLst>
            <pc:docMk/>
            <pc:sldMk cId="1793977519" sldId="473"/>
            <ac:spMk id="86" creationId="{5F3D1709-6887-C64D-F32A-D48C860D1C24}"/>
          </ac:spMkLst>
        </pc:spChg>
        <pc:spChg chg="mod">
          <ac:chgData name="Sharif Zahdeh" userId="76695dcfea8304bd" providerId="LiveId" clId="{3A8C6964-DBF2-450D-9644-7B64291DD03D}" dt="2023-11-12T12:38:28.094" v="1466" actId="1035"/>
          <ac:spMkLst>
            <pc:docMk/>
            <pc:sldMk cId="1793977519" sldId="473"/>
            <ac:spMk id="87" creationId="{FF619E26-60C6-8933-1323-64E563BE4A4C}"/>
          </ac:spMkLst>
        </pc:spChg>
        <pc:spChg chg="mod">
          <ac:chgData name="Sharif Zahdeh" userId="76695dcfea8304bd" providerId="LiveId" clId="{3A8C6964-DBF2-450D-9644-7B64291DD03D}" dt="2023-11-12T12:38:28.094" v="1466" actId="1035"/>
          <ac:spMkLst>
            <pc:docMk/>
            <pc:sldMk cId="1793977519" sldId="473"/>
            <ac:spMk id="88" creationId="{B30FE247-BE9B-ED0E-7B89-015ECFE42CC0}"/>
          </ac:spMkLst>
        </pc:spChg>
        <pc:spChg chg="mod">
          <ac:chgData name="Sharif Zahdeh" userId="76695dcfea8304bd" providerId="LiveId" clId="{3A8C6964-DBF2-450D-9644-7B64291DD03D}" dt="2023-11-12T12:38:28.094" v="1466" actId="1035"/>
          <ac:spMkLst>
            <pc:docMk/>
            <pc:sldMk cId="1793977519" sldId="473"/>
            <ac:spMk id="89" creationId="{1930665E-1AC6-1383-6997-3BD5A1DC3C8C}"/>
          </ac:spMkLst>
        </pc:spChg>
        <pc:spChg chg="mod">
          <ac:chgData name="Sharif Zahdeh" userId="76695dcfea8304bd" providerId="LiveId" clId="{3A8C6964-DBF2-450D-9644-7B64291DD03D}" dt="2023-11-12T12:38:28.094" v="1466" actId="1035"/>
          <ac:spMkLst>
            <pc:docMk/>
            <pc:sldMk cId="1793977519" sldId="473"/>
            <ac:spMk id="90" creationId="{9214E565-A2CB-7D9F-4339-460944C65507}"/>
          </ac:spMkLst>
        </pc:spChg>
        <pc:spChg chg="mod">
          <ac:chgData name="Sharif Zahdeh" userId="76695dcfea8304bd" providerId="LiveId" clId="{3A8C6964-DBF2-450D-9644-7B64291DD03D}" dt="2023-11-12T12:38:28.094" v="1466" actId="1035"/>
          <ac:spMkLst>
            <pc:docMk/>
            <pc:sldMk cId="1793977519" sldId="473"/>
            <ac:spMk id="91" creationId="{A60B21D0-E0B9-827C-9EFD-9051B2354DE2}"/>
          </ac:spMkLst>
        </pc:spChg>
        <pc:spChg chg="mod">
          <ac:chgData name="Sharif Zahdeh" userId="76695dcfea8304bd" providerId="LiveId" clId="{3A8C6964-DBF2-450D-9644-7B64291DD03D}" dt="2023-11-12T12:38:28.094" v="1466" actId="1035"/>
          <ac:spMkLst>
            <pc:docMk/>
            <pc:sldMk cId="1793977519" sldId="473"/>
            <ac:spMk id="92" creationId="{E4BB101F-F84D-602D-AE3F-AA150AA040E2}"/>
          </ac:spMkLst>
        </pc:spChg>
        <pc:spChg chg="mod">
          <ac:chgData name="Sharif Zahdeh" userId="76695dcfea8304bd" providerId="LiveId" clId="{3A8C6964-DBF2-450D-9644-7B64291DD03D}" dt="2023-11-12T12:38:28.094" v="1466" actId="1035"/>
          <ac:spMkLst>
            <pc:docMk/>
            <pc:sldMk cId="1793977519" sldId="473"/>
            <ac:spMk id="93" creationId="{5098A9A4-43A2-9131-7124-745945563236}"/>
          </ac:spMkLst>
        </pc:spChg>
        <pc:spChg chg="mod">
          <ac:chgData name="Sharif Zahdeh" userId="76695dcfea8304bd" providerId="LiveId" clId="{3A8C6964-DBF2-450D-9644-7B64291DD03D}" dt="2023-11-12T12:38:28.094" v="1466" actId="1035"/>
          <ac:spMkLst>
            <pc:docMk/>
            <pc:sldMk cId="1793977519" sldId="473"/>
            <ac:spMk id="95" creationId="{282E2E5F-9BE3-A8FD-D4C3-E39071D7F940}"/>
          </ac:spMkLst>
        </pc:spChg>
        <pc:spChg chg="mod">
          <ac:chgData name="Sharif Zahdeh" userId="76695dcfea8304bd" providerId="LiveId" clId="{3A8C6964-DBF2-450D-9644-7B64291DD03D}" dt="2023-11-12T12:38:28.094" v="1466" actId="1035"/>
          <ac:spMkLst>
            <pc:docMk/>
            <pc:sldMk cId="1793977519" sldId="473"/>
            <ac:spMk id="96" creationId="{87B5186B-F67A-6EAA-9DF5-1DBA17F6D1DB}"/>
          </ac:spMkLst>
        </pc:spChg>
        <pc:spChg chg="mod">
          <ac:chgData name="Sharif Zahdeh" userId="76695dcfea8304bd" providerId="LiveId" clId="{3A8C6964-DBF2-450D-9644-7B64291DD03D}" dt="2023-11-12T12:38:28.094" v="1466" actId="1035"/>
          <ac:spMkLst>
            <pc:docMk/>
            <pc:sldMk cId="1793977519" sldId="473"/>
            <ac:spMk id="97" creationId="{C6BFB333-BCC3-FED3-B50F-329479A07234}"/>
          </ac:spMkLst>
        </pc:spChg>
        <pc:spChg chg="mod">
          <ac:chgData name="Sharif Zahdeh" userId="76695dcfea8304bd" providerId="LiveId" clId="{3A8C6964-DBF2-450D-9644-7B64291DD03D}" dt="2023-11-12T12:38:28.094" v="1466" actId="1035"/>
          <ac:spMkLst>
            <pc:docMk/>
            <pc:sldMk cId="1793977519" sldId="473"/>
            <ac:spMk id="98" creationId="{D6017DDC-C18D-63A1-5B09-86B24D88CDA3}"/>
          </ac:spMkLst>
        </pc:spChg>
        <pc:spChg chg="mod">
          <ac:chgData name="Sharif Zahdeh" userId="76695dcfea8304bd" providerId="LiveId" clId="{3A8C6964-DBF2-450D-9644-7B64291DD03D}" dt="2023-11-12T12:38:28.094" v="1466" actId="1035"/>
          <ac:spMkLst>
            <pc:docMk/>
            <pc:sldMk cId="1793977519" sldId="473"/>
            <ac:spMk id="99" creationId="{7C16D134-9E90-E485-0E4D-430548EC88D2}"/>
          </ac:spMkLst>
        </pc:spChg>
        <pc:spChg chg="mod">
          <ac:chgData name="Sharif Zahdeh" userId="76695dcfea8304bd" providerId="LiveId" clId="{3A8C6964-DBF2-450D-9644-7B64291DD03D}" dt="2023-11-12T12:38:28.094" v="1466" actId="1035"/>
          <ac:spMkLst>
            <pc:docMk/>
            <pc:sldMk cId="1793977519" sldId="473"/>
            <ac:spMk id="101" creationId="{DB1E76EA-1B3C-66D5-DBAA-7645DAC2B9D7}"/>
          </ac:spMkLst>
        </pc:spChg>
        <pc:spChg chg="mod">
          <ac:chgData name="Sharif Zahdeh" userId="76695dcfea8304bd" providerId="LiveId" clId="{3A8C6964-DBF2-450D-9644-7B64291DD03D}" dt="2023-11-12T12:38:28.094" v="1466" actId="1035"/>
          <ac:spMkLst>
            <pc:docMk/>
            <pc:sldMk cId="1793977519" sldId="473"/>
            <ac:spMk id="102" creationId="{13AAEEF4-AF75-2F52-46AA-0E4C6E504545}"/>
          </ac:spMkLst>
        </pc:spChg>
        <pc:spChg chg="mod">
          <ac:chgData name="Sharif Zahdeh" userId="76695dcfea8304bd" providerId="LiveId" clId="{3A8C6964-DBF2-450D-9644-7B64291DD03D}" dt="2023-11-12T12:38:28.094" v="1466" actId="1035"/>
          <ac:spMkLst>
            <pc:docMk/>
            <pc:sldMk cId="1793977519" sldId="473"/>
            <ac:spMk id="103" creationId="{7FD20B6C-3608-A1E1-85DC-E20ADFEFE74B}"/>
          </ac:spMkLst>
        </pc:spChg>
        <pc:spChg chg="mod">
          <ac:chgData name="Sharif Zahdeh" userId="76695dcfea8304bd" providerId="LiveId" clId="{3A8C6964-DBF2-450D-9644-7B64291DD03D}" dt="2023-11-12T12:38:28.094" v="1466" actId="1035"/>
          <ac:spMkLst>
            <pc:docMk/>
            <pc:sldMk cId="1793977519" sldId="473"/>
            <ac:spMk id="104" creationId="{B7847740-0472-B9D3-243F-95BFE8EFEAE7}"/>
          </ac:spMkLst>
        </pc:spChg>
        <pc:spChg chg="mod">
          <ac:chgData name="Sharif Zahdeh" userId="76695dcfea8304bd" providerId="LiveId" clId="{3A8C6964-DBF2-450D-9644-7B64291DD03D}" dt="2023-11-12T12:38:28.094" v="1466" actId="1035"/>
          <ac:spMkLst>
            <pc:docMk/>
            <pc:sldMk cId="1793977519" sldId="473"/>
            <ac:spMk id="105" creationId="{300EE7B1-8652-ED5F-C766-AFF5C65D9C67}"/>
          </ac:spMkLst>
        </pc:spChg>
        <pc:spChg chg="mod">
          <ac:chgData name="Sharif Zahdeh" userId="76695dcfea8304bd" providerId="LiveId" clId="{3A8C6964-DBF2-450D-9644-7B64291DD03D}" dt="2023-11-12T12:38:28.094" v="1466" actId="1035"/>
          <ac:spMkLst>
            <pc:docMk/>
            <pc:sldMk cId="1793977519" sldId="473"/>
            <ac:spMk id="106" creationId="{8069C42F-1325-D80F-D541-14895A94DDF1}"/>
          </ac:spMkLst>
        </pc:spChg>
        <pc:spChg chg="mod">
          <ac:chgData name="Sharif Zahdeh" userId="76695dcfea8304bd" providerId="LiveId" clId="{3A8C6964-DBF2-450D-9644-7B64291DD03D}" dt="2023-11-12T12:38:28.094" v="1466" actId="1035"/>
          <ac:spMkLst>
            <pc:docMk/>
            <pc:sldMk cId="1793977519" sldId="473"/>
            <ac:spMk id="108" creationId="{3CA36075-990C-2D77-8EDD-A2161D527B5C}"/>
          </ac:spMkLst>
        </pc:spChg>
        <pc:spChg chg="mod">
          <ac:chgData name="Sharif Zahdeh" userId="76695dcfea8304bd" providerId="LiveId" clId="{3A8C6964-DBF2-450D-9644-7B64291DD03D}" dt="2023-11-12T12:38:28.094" v="1466" actId="1035"/>
          <ac:spMkLst>
            <pc:docMk/>
            <pc:sldMk cId="1793977519" sldId="473"/>
            <ac:spMk id="110" creationId="{384A537C-1891-A773-9CC9-9AB169747E95}"/>
          </ac:spMkLst>
        </pc:spChg>
        <pc:spChg chg="mod">
          <ac:chgData name="Sharif Zahdeh" userId="76695dcfea8304bd" providerId="LiveId" clId="{3A8C6964-DBF2-450D-9644-7B64291DD03D}" dt="2023-11-12T12:38:28.094" v="1466" actId="1035"/>
          <ac:spMkLst>
            <pc:docMk/>
            <pc:sldMk cId="1793977519" sldId="473"/>
            <ac:spMk id="111" creationId="{39CBBBC2-7565-5086-3A2B-231982E8FFDB}"/>
          </ac:spMkLst>
        </pc:spChg>
        <pc:spChg chg="mod">
          <ac:chgData name="Sharif Zahdeh" userId="76695dcfea8304bd" providerId="LiveId" clId="{3A8C6964-DBF2-450D-9644-7B64291DD03D}" dt="2023-11-12T12:38:28.094" v="1466" actId="1035"/>
          <ac:spMkLst>
            <pc:docMk/>
            <pc:sldMk cId="1793977519" sldId="473"/>
            <ac:spMk id="112" creationId="{07E04D0B-1121-4066-58A4-DFEF1562F92B}"/>
          </ac:spMkLst>
        </pc:spChg>
        <pc:spChg chg="mod">
          <ac:chgData name="Sharif Zahdeh" userId="76695dcfea8304bd" providerId="LiveId" clId="{3A8C6964-DBF2-450D-9644-7B64291DD03D}" dt="2023-11-12T12:38:28.094" v="1466" actId="1035"/>
          <ac:spMkLst>
            <pc:docMk/>
            <pc:sldMk cId="1793977519" sldId="473"/>
            <ac:spMk id="114" creationId="{0C275537-37AE-1095-BE29-9962D5388A2F}"/>
          </ac:spMkLst>
        </pc:spChg>
        <pc:spChg chg="mod">
          <ac:chgData name="Sharif Zahdeh" userId="76695dcfea8304bd" providerId="LiveId" clId="{3A8C6964-DBF2-450D-9644-7B64291DD03D}" dt="2023-11-12T12:38:28.094" v="1466" actId="1035"/>
          <ac:spMkLst>
            <pc:docMk/>
            <pc:sldMk cId="1793977519" sldId="473"/>
            <ac:spMk id="115" creationId="{26421E34-8A8E-2BC2-C78C-89A2C2E9EF5E}"/>
          </ac:spMkLst>
        </pc:spChg>
        <pc:spChg chg="mod">
          <ac:chgData name="Sharif Zahdeh" userId="76695dcfea8304bd" providerId="LiveId" clId="{3A8C6964-DBF2-450D-9644-7B64291DD03D}" dt="2023-11-12T12:38:28.094" v="1466" actId="1035"/>
          <ac:spMkLst>
            <pc:docMk/>
            <pc:sldMk cId="1793977519" sldId="473"/>
            <ac:spMk id="116" creationId="{E4079471-E76C-E429-D3C2-D60F52229DF9}"/>
          </ac:spMkLst>
        </pc:spChg>
        <pc:spChg chg="mod">
          <ac:chgData name="Sharif Zahdeh" userId="76695dcfea8304bd" providerId="LiveId" clId="{3A8C6964-DBF2-450D-9644-7B64291DD03D}" dt="2023-11-12T12:38:28.094" v="1466" actId="1035"/>
          <ac:spMkLst>
            <pc:docMk/>
            <pc:sldMk cId="1793977519" sldId="473"/>
            <ac:spMk id="118" creationId="{77DE927E-3400-20F7-9C87-C3CA547AD68E}"/>
          </ac:spMkLst>
        </pc:spChg>
        <pc:spChg chg="mod">
          <ac:chgData name="Sharif Zahdeh" userId="76695dcfea8304bd" providerId="LiveId" clId="{3A8C6964-DBF2-450D-9644-7B64291DD03D}" dt="2023-11-12T12:38:28.094" v="1466" actId="1035"/>
          <ac:spMkLst>
            <pc:docMk/>
            <pc:sldMk cId="1793977519" sldId="473"/>
            <ac:spMk id="119" creationId="{2E449AB7-582A-0C8D-8640-9E95C08E7856}"/>
          </ac:spMkLst>
        </pc:spChg>
        <pc:spChg chg="mod">
          <ac:chgData name="Sharif Zahdeh" userId="76695dcfea8304bd" providerId="LiveId" clId="{3A8C6964-DBF2-450D-9644-7B64291DD03D}" dt="2023-11-12T12:38:28.094" v="1466" actId="1035"/>
          <ac:spMkLst>
            <pc:docMk/>
            <pc:sldMk cId="1793977519" sldId="473"/>
            <ac:spMk id="120" creationId="{6F544A42-2555-B439-A59A-763A9BCF6123}"/>
          </ac:spMkLst>
        </pc:spChg>
        <pc:spChg chg="del">
          <ac:chgData name="Sharif Zahdeh" userId="76695dcfea8304bd" providerId="LiveId" clId="{3A8C6964-DBF2-450D-9644-7B64291DD03D}" dt="2023-11-12T12:16:20.351" v="504" actId="478"/>
          <ac:spMkLst>
            <pc:docMk/>
            <pc:sldMk cId="1793977519" sldId="473"/>
            <ac:spMk id="121" creationId="{29632D0C-3008-8957-563D-B2ECC41442C5}"/>
          </ac:spMkLst>
        </pc:spChg>
        <pc:spChg chg="add mod">
          <ac:chgData name="Sharif Zahdeh" userId="76695dcfea8304bd" providerId="LiveId" clId="{3A8C6964-DBF2-450D-9644-7B64291DD03D}" dt="2023-11-12T12:38:28.094" v="1466" actId="1035"/>
          <ac:spMkLst>
            <pc:docMk/>
            <pc:sldMk cId="1793977519" sldId="473"/>
            <ac:spMk id="122" creationId="{7B557538-03E7-72AB-2D38-F392D68428EC}"/>
          </ac:spMkLst>
        </pc:spChg>
        <pc:spChg chg="add mod ord">
          <ac:chgData name="Sharif Zahdeh" userId="76695dcfea8304bd" providerId="LiveId" clId="{3A8C6964-DBF2-450D-9644-7B64291DD03D}" dt="2023-11-12T12:38:28.094" v="1466" actId="1035"/>
          <ac:spMkLst>
            <pc:docMk/>
            <pc:sldMk cId="1793977519" sldId="473"/>
            <ac:spMk id="125" creationId="{7E13027F-A54C-4A43-4895-706F6E539AF6}"/>
          </ac:spMkLst>
        </pc:spChg>
        <pc:spChg chg="add mod">
          <ac:chgData name="Sharif Zahdeh" userId="76695dcfea8304bd" providerId="LiveId" clId="{3A8C6964-DBF2-450D-9644-7B64291DD03D}" dt="2023-11-13T09:58:55.965" v="1785" actId="1076"/>
          <ac:spMkLst>
            <pc:docMk/>
            <pc:sldMk cId="1793977519" sldId="473"/>
            <ac:spMk id="127" creationId="{C4A0CD66-E32A-B895-B43C-2C083EC3FB04}"/>
          </ac:spMkLst>
        </pc:spChg>
        <pc:grpChg chg="mod">
          <ac:chgData name="Sharif Zahdeh" userId="76695dcfea8304bd" providerId="LiveId" clId="{3A8C6964-DBF2-450D-9644-7B64291DD03D}" dt="2023-11-12T12:38:28.094" v="1466" actId="1035"/>
          <ac:grpSpMkLst>
            <pc:docMk/>
            <pc:sldMk cId="1793977519" sldId="473"/>
            <ac:grpSpMk id="4" creationId="{DA7C4BBE-EA2C-C5E0-B561-ECF85AB1FC50}"/>
          </ac:grpSpMkLst>
        </pc:grpChg>
        <pc:grpChg chg="mod">
          <ac:chgData name="Sharif Zahdeh" userId="76695dcfea8304bd" providerId="LiveId" clId="{3A8C6964-DBF2-450D-9644-7B64291DD03D}" dt="2023-11-12T12:38:28.094" v="1466" actId="1035"/>
          <ac:grpSpMkLst>
            <pc:docMk/>
            <pc:sldMk cId="1793977519" sldId="473"/>
            <ac:grpSpMk id="5" creationId="{FE4431D7-D810-3807-B70B-49E980131F31}"/>
          </ac:grpSpMkLst>
        </pc:grpChg>
        <pc:grpChg chg="mod">
          <ac:chgData name="Sharif Zahdeh" userId="76695dcfea8304bd" providerId="LiveId" clId="{3A8C6964-DBF2-450D-9644-7B64291DD03D}" dt="2023-11-12T12:38:28.094" v="1466" actId="1035"/>
          <ac:grpSpMkLst>
            <pc:docMk/>
            <pc:sldMk cId="1793977519" sldId="473"/>
            <ac:grpSpMk id="21" creationId="{B6A3FF90-A7D3-D281-8A4C-E805704FF6C7}"/>
          </ac:grpSpMkLst>
        </pc:grpChg>
        <pc:grpChg chg="mod">
          <ac:chgData name="Sharif Zahdeh" userId="76695dcfea8304bd" providerId="LiveId" clId="{3A8C6964-DBF2-450D-9644-7B64291DD03D}" dt="2023-11-12T12:38:28.094" v="1466" actId="1035"/>
          <ac:grpSpMkLst>
            <pc:docMk/>
            <pc:sldMk cId="1793977519" sldId="473"/>
            <ac:grpSpMk id="94" creationId="{12EF0145-02C1-D272-C9B5-ECE19D509545}"/>
          </ac:grpSpMkLst>
        </pc:grpChg>
        <pc:grpChg chg="mod">
          <ac:chgData name="Sharif Zahdeh" userId="76695dcfea8304bd" providerId="LiveId" clId="{3A8C6964-DBF2-450D-9644-7B64291DD03D}" dt="2023-11-12T12:38:28.094" v="1466" actId="1035"/>
          <ac:grpSpMkLst>
            <pc:docMk/>
            <pc:sldMk cId="1793977519" sldId="473"/>
            <ac:grpSpMk id="109" creationId="{4882AA8B-E1D7-3D88-5EF6-4D748E741C94}"/>
          </ac:grpSpMkLst>
        </pc:grpChg>
        <pc:grpChg chg="mod">
          <ac:chgData name="Sharif Zahdeh" userId="76695dcfea8304bd" providerId="LiveId" clId="{3A8C6964-DBF2-450D-9644-7B64291DD03D}" dt="2023-11-12T12:38:28.094" v="1466" actId="1035"/>
          <ac:grpSpMkLst>
            <pc:docMk/>
            <pc:sldMk cId="1793977519" sldId="473"/>
            <ac:grpSpMk id="113" creationId="{E9D9C6BF-7B11-6377-6C5D-A7DBC6182F11}"/>
          </ac:grpSpMkLst>
        </pc:grpChg>
        <pc:grpChg chg="mod">
          <ac:chgData name="Sharif Zahdeh" userId="76695dcfea8304bd" providerId="LiveId" clId="{3A8C6964-DBF2-450D-9644-7B64291DD03D}" dt="2023-11-12T12:38:28.094" v="1466" actId="1035"/>
          <ac:grpSpMkLst>
            <pc:docMk/>
            <pc:sldMk cId="1793977519" sldId="473"/>
            <ac:grpSpMk id="117" creationId="{D2B79833-CAEB-0B18-DE83-FD75E5EEDD8A}"/>
          </ac:grpSpMkLst>
        </pc:grpChg>
        <pc:graphicFrameChg chg="mod modGraphic">
          <ac:chgData name="Sharif Zahdeh" userId="76695dcfea8304bd" providerId="LiveId" clId="{3A8C6964-DBF2-450D-9644-7B64291DD03D}" dt="2023-11-13T09:59:12.900" v="1787" actId="20577"/>
          <ac:graphicFrameMkLst>
            <pc:docMk/>
            <pc:sldMk cId="1793977519" sldId="473"/>
            <ac:graphicFrameMk id="54" creationId="{C2FE36DD-70EE-F4F5-B803-3962A98E633A}"/>
          </ac:graphicFrameMkLst>
        </pc:graphicFrameChg>
        <pc:graphicFrameChg chg="mod modGraphic">
          <ac:chgData name="Sharif Zahdeh" userId="76695dcfea8304bd" providerId="LiveId" clId="{3A8C6964-DBF2-450D-9644-7B64291DD03D}" dt="2023-11-12T12:41:22.315" v="1542" actId="121"/>
          <ac:graphicFrameMkLst>
            <pc:docMk/>
            <pc:sldMk cId="1793977519" sldId="473"/>
            <ac:graphicFrameMk id="57" creationId="{0F924B9B-4059-AE3B-E9FC-74E3752BAE9D}"/>
          </ac:graphicFrameMkLst>
        </pc:graphicFrameChg>
        <pc:graphicFrameChg chg="add mod modGraphic">
          <ac:chgData name="Sharif Zahdeh" userId="76695dcfea8304bd" providerId="LiveId" clId="{3A8C6964-DBF2-450D-9644-7B64291DD03D}" dt="2023-11-12T12:41:26.724" v="1543" actId="121"/>
          <ac:graphicFrameMkLst>
            <pc:docMk/>
            <pc:sldMk cId="1793977519" sldId="473"/>
            <ac:graphicFrameMk id="123" creationId="{E7227288-402D-C8F6-73A5-5BFE75C426B1}"/>
          </ac:graphicFrameMkLst>
        </pc:graphicFrameChg>
        <pc:graphicFrameChg chg="add mod modGraphic">
          <ac:chgData name="Sharif Zahdeh" userId="76695dcfea8304bd" providerId="LiveId" clId="{3A8C6964-DBF2-450D-9644-7B64291DD03D}" dt="2023-11-12T12:41:32.606" v="1544" actId="121"/>
          <ac:graphicFrameMkLst>
            <pc:docMk/>
            <pc:sldMk cId="1793977519" sldId="473"/>
            <ac:graphicFrameMk id="124" creationId="{4EC7A858-D1C1-4DE7-5697-3B5A0883A432}"/>
          </ac:graphicFrameMkLst>
        </pc:graphicFrameChg>
        <pc:graphicFrameChg chg="add mod modGraphic">
          <ac:chgData name="Sharif Zahdeh" userId="76695dcfea8304bd" providerId="LiveId" clId="{3A8C6964-DBF2-450D-9644-7B64291DD03D}" dt="2023-11-12T12:38:28.094" v="1466" actId="1035"/>
          <ac:graphicFrameMkLst>
            <pc:docMk/>
            <pc:sldMk cId="1793977519" sldId="473"/>
            <ac:graphicFrameMk id="126" creationId="{C5AA0F9D-5AF2-DE3E-21C5-5DE81305402A}"/>
          </ac:graphicFrameMkLst>
        </pc:graphicFrameChg>
        <pc:picChg chg="mod">
          <ac:chgData name="Sharif Zahdeh" userId="76695dcfea8304bd" providerId="LiveId" clId="{3A8C6964-DBF2-450D-9644-7B64291DD03D}" dt="2023-11-12T12:38:28.094" v="1466" actId="1035"/>
          <ac:picMkLst>
            <pc:docMk/>
            <pc:sldMk cId="1793977519" sldId="473"/>
            <ac:picMk id="100" creationId="{9DB287D8-F043-96C0-95AD-5EF187E8392D}"/>
          </ac:picMkLst>
        </pc:picChg>
        <pc:picChg chg="mod">
          <ac:chgData name="Sharif Zahdeh" userId="76695dcfea8304bd" providerId="LiveId" clId="{3A8C6964-DBF2-450D-9644-7B64291DD03D}" dt="2023-11-12T12:38:28.094" v="1466" actId="1035"/>
          <ac:picMkLst>
            <pc:docMk/>
            <pc:sldMk cId="1793977519" sldId="473"/>
            <ac:picMk id="107" creationId="{27BC342F-14A0-9B98-28BA-760B4CC02200}"/>
          </ac:picMkLst>
        </pc:picChg>
        <pc:cxnChg chg="mod">
          <ac:chgData name="Sharif Zahdeh" userId="76695dcfea8304bd" providerId="LiveId" clId="{3A8C6964-DBF2-450D-9644-7B64291DD03D}" dt="2023-11-12T12:38:28.094" v="1466" actId="1035"/>
          <ac:cxnSpMkLst>
            <pc:docMk/>
            <pc:sldMk cId="1793977519" sldId="473"/>
            <ac:cxnSpMk id="76" creationId="{B7F06CEB-5DDE-2D94-C30D-4C471F5423A0}"/>
          </ac:cxnSpMkLst>
        </pc:cxnChg>
      </pc:sldChg>
      <pc:sldChg chg="addSp delSp modSp mod addAnim delAnim">
        <pc:chgData name="Sharif Zahdeh" userId="76695dcfea8304bd" providerId="LiveId" clId="{3A8C6964-DBF2-450D-9644-7B64291DD03D}" dt="2023-11-13T13:01:36.533" v="3262" actId="14100"/>
        <pc:sldMkLst>
          <pc:docMk/>
          <pc:sldMk cId="2085447451" sldId="474"/>
        </pc:sldMkLst>
        <pc:spChg chg="mod">
          <ac:chgData name="Sharif Zahdeh" userId="76695dcfea8304bd" providerId="LiveId" clId="{3A8C6964-DBF2-450D-9644-7B64291DD03D}" dt="2023-11-13T10:52:07.727" v="2795" actId="1076"/>
          <ac:spMkLst>
            <pc:docMk/>
            <pc:sldMk cId="2085447451" sldId="474"/>
            <ac:spMk id="4" creationId="{3733E73A-19F0-2ECC-FF9E-88D862AA157F}"/>
          </ac:spMkLst>
        </pc:spChg>
        <pc:spChg chg="del">
          <ac:chgData name="Sharif Zahdeh" userId="76695dcfea8304bd" providerId="LiveId" clId="{3A8C6964-DBF2-450D-9644-7B64291DD03D}" dt="2023-11-13T10:33:35.666" v="1823" actId="478"/>
          <ac:spMkLst>
            <pc:docMk/>
            <pc:sldMk cId="2085447451" sldId="474"/>
            <ac:spMk id="6" creationId="{953940D2-6631-B9C8-59FE-3A8B12A070A1}"/>
          </ac:spMkLst>
        </pc:spChg>
        <pc:spChg chg="add del mod">
          <ac:chgData name="Sharif Zahdeh" userId="76695dcfea8304bd" providerId="LiveId" clId="{3A8C6964-DBF2-450D-9644-7B64291DD03D}" dt="2023-11-13T10:33:32.855" v="1822" actId="478"/>
          <ac:spMkLst>
            <pc:docMk/>
            <pc:sldMk cId="2085447451" sldId="474"/>
            <ac:spMk id="8" creationId="{9253D8AB-8DBD-59F7-0C11-41A1DA81B6E7}"/>
          </ac:spMkLst>
        </pc:spChg>
        <pc:spChg chg="add del mod">
          <ac:chgData name="Sharif Zahdeh" userId="76695dcfea8304bd" providerId="LiveId" clId="{3A8C6964-DBF2-450D-9644-7B64291DD03D}" dt="2023-11-13T10:34:27.564" v="1831"/>
          <ac:spMkLst>
            <pc:docMk/>
            <pc:sldMk cId="2085447451" sldId="474"/>
            <ac:spMk id="9" creationId="{71E41631-1044-0DC9-6013-235A1B8A4F76}"/>
          </ac:spMkLst>
        </pc:spChg>
        <pc:spChg chg="add del mod">
          <ac:chgData name="Sharif Zahdeh" userId="76695dcfea8304bd" providerId="LiveId" clId="{3A8C6964-DBF2-450D-9644-7B64291DD03D}" dt="2023-11-13T10:34:27.564" v="1831"/>
          <ac:spMkLst>
            <pc:docMk/>
            <pc:sldMk cId="2085447451" sldId="474"/>
            <ac:spMk id="10" creationId="{E59A4C27-4122-D21B-9C7C-CA916495DF31}"/>
          </ac:spMkLst>
        </pc:spChg>
        <pc:spChg chg="del">
          <ac:chgData name="Sharif Zahdeh" userId="76695dcfea8304bd" providerId="LiveId" clId="{3A8C6964-DBF2-450D-9644-7B64291DD03D}" dt="2023-11-13T10:38:10.615" v="2011" actId="478"/>
          <ac:spMkLst>
            <pc:docMk/>
            <pc:sldMk cId="2085447451" sldId="474"/>
            <ac:spMk id="11" creationId="{57AA8ABA-4F3E-70B1-5CBE-48BD0CF17184}"/>
          </ac:spMkLst>
        </pc:spChg>
        <pc:spChg chg="add del mod">
          <ac:chgData name="Sharif Zahdeh" userId="76695dcfea8304bd" providerId="LiveId" clId="{3A8C6964-DBF2-450D-9644-7B64291DD03D}" dt="2023-11-13T10:34:27.564" v="1831"/>
          <ac:spMkLst>
            <pc:docMk/>
            <pc:sldMk cId="2085447451" sldId="474"/>
            <ac:spMk id="12" creationId="{4057B75E-D6B9-9BFD-1D03-73860D69FDF8}"/>
          </ac:spMkLst>
        </pc:spChg>
        <pc:spChg chg="add del mod">
          <ac:chgData name="Sharif Zahdeh" userId="76695dcfea8304bd" providerId="LiveId" clId="{3A8C6964-DBF2-450D-9644-7B64291DD03D}" dt="2023-11-13T10:34:27.564" v="1831"/>
          <ac:spMkLst>
            <pc:docMk/>
            <pc:sldMk cId="2085447451" sldId="474"/>
            <ac:spMk id="13" creationId="{4ED51191-93B0-E859-9908-279EA0954211}"/>
          </ac:spMkLst>
        </pc:spChg>
        <pc:spChg chg="del mod">
          <ac:chgData name="Sharif Zahdeh" userId="76695dcfea8304bd" providerId="LiveId" clId="{3A8C6964-DBF2-450D-9644-7B64291DD03D}" dt="2023-11-13T10:33:41.703" v="1827" actId="478"/>
          <ac:spMkLst>
            <pc:docMk/>
            <pc:sldMk cId="2085447451" sldId="474"/>
            <ac:spMk id="14" creationId="{04791EED-7EEB-3051-336E-D855F1FECB51}"/>
          </ac:spMkLst>
        </pc:spChg>
        <pc:spChg chg="add del mod">
          <ac:chgData name="Sharif Zahdeh" userId="76695dcfea8304bd" providerId="LiveId" clId="{3A8C6964-DBF2-450D-9644-7B64291DD03D}" dt="2023-11-13T10:34:27.564" v="1831"/>
          <ac:spMkLst>
            <pc:docMk/>
            <pc:sldMk cId="2085447451" sldId="474"/>
            <ac:spMk id="15" creationId="{5951E9AC-A45E-5084-3DD9-69B17E6A1D4A}"/>
          </ac:spMkLst>
        </pc:spChg>
        <pc:spChg chg="del">
          <ac:chgData name="Sharif Zahdeh" userId="76695dcfea8304bd" providerId="LiveId" clId="{3A8C6964-DBF2-450D-9644-7B64291DD03D}" dt="2023-11-13T10:33:43.728" v="1828" actId="478"/>
          <ac:spMkLst>
            <pc:docMk/>
            <pc:sldMk cId="2085447451" sldId="474"/>
            <ac:spMk id="16" creationId="{A6614DA6-D16F-14BA-EEC9-81879A31288E}"/>
          </ac:spMkLst>
        </pc:spChg>
        <pc:spChg chg="mod">
          <ac:chgData name="Sharif Zahdeh" userId="76695dcfea8304bd" providerId="LiveId" clId="{3A8C6964-DBF2-450D-9644-7B64291DD03D}" dt="2023-11-13T10:34:19.542" v="1830"/>
          <ac:spMkLst>
            <pc:docMk/>
            <pc:sldMk cId="2085447451" sldId="474"/>
            <ac:spMk id="18" creationId="{35972CA6-4C40-99F6-0131-2A01BDF041B1}"/>
          </ac:spMkLst>
        </pc:spChg>
        <pc:spChg chg="mod">
          <ac:chgData name="Sharif Zahdeh" userId="76695dcfea8304bd" providerId="LiveId" clId="{3A8C6964-DBF2-450D-9644-7B64291DD03D}" dt="2023-11-13T10:34:19.542" v="1830"/>
          <ac:spMkLst>
            <pc:docMk/>
            <pc:sldMk cId="2085447451" sldId="474"/>
            <ac:spMk id="19" creationId="{FC884306-8899-1183-BF65-33F984901364}"/>
          </ac:spMkLst>
        </pc:spChg>
        <pc:spChg chg="mod">
          <ac:chgData name="Sharif Zahdeh" userId="76695dcfea8304bd" providerId="LiveId" clId="{3A8C6964-DBF2-450D-9644-7B64291DD03D}" dt="2023-11-13T10:34:19.542" v="1830"/>
          <ac:spMkLst>
            <pc:docMk/>
            <pc:sldMk cId="2085447451" sldId="474"/>
            <ac:spMk id="23" creationId="{22D86158-7412-3B57-0804-3DAD5A8DC56D}"/>
          </ac:spMkLst>
        </pc:spChg>
        <pc:spChg chg="mod">
          <ac:chgData name="Sharif Zahdeh" userId="76695dcfea8304bd" providerId="LiveId" clId="{3A8C6964-DBF2-450D-9644-7B64291DD03D}" dt="2023-11-13T10:34:19.542" v="1830"/>
          <ac:spMkLst>
            <pc:docMk/>
            <pc:sldMk cId="2085447451" sldId="474"/>
            <ac:spMk id="33" creationId="{23D1EE60-1295-284A-14BF-D50309D04CD4}"/>
          </ac:spMkLst>
        </pc:spChg>
        <pc:spChg chg="mod">
          <ac:chgData name="Sharif Zahdeh" userId="76695dcfea8304bd" providerId="LiveId" clId="{3A8C6964-DBF2-450D-9644-7B64291DD03D}" dt="2023-11-13T10:34:19.542" v="1830"/>
          <ac:spMkLst>
            <pc:docMk/>
            <pc:sldMk cId="2085447451" sldId="474"/>
            <ac:spMk id="36" creationId="{F2FC1C94-C864-9438-33CA-1F46038BB21B}"/>
          </ac:spMkLst>
        </pc:spChg>
        <pc:spChg chg="mod">
          <ac:chgData name="Sharif Zahdeh" userId="76695dcfea8304bd" providerId="LiveId" clId="{3A8C6964-DBF2-450D-9644-7B64291DD03D}" dt="2023-11-13T10:34:19.542" v="1830"/>
          <ac:spMkLst>
            <pc:docMk/>
            <pc:sldMk cId="2085447451" sldId="474"/>
            <ac:spMk id="37" creationId="{6A6B4FC4-69CA-CB40-7E06-91A0D0D0205A}"/>
          </ac:spMkLst>
        </pc:spChg>
        <pc:spChg chg="mod">
          <ac:chgData name="Sharif Zahdeh" userId="76695dcfea8304bd" providerId="LiveId" clId="{3A8C6964-DBF2-450D-9644-7B64291DD03D}" dt="2023-11-13T10:34:19.542" v="1830"/>
          <ac:spMkLst>
            <pc:docMk/>
            <pc:sldMk cId="2085447451" sldId="474"/>
            <ac:spMk id="39" creationId="{1FABAB59-3EDB-25D0-8E24-ED3B2DC4B5FB}"/>
          </ac:spMkLst>
        </pc:spChg>
        <pc:spChg chg="mod">
          <ac:chgData name="Sharif Zahdeh" userId="76695dcfea8304bd" providerId="LiveId" clId="{3A8C6964-DBF2-450D-9644-7B64291DD03D}" dt="2023-11-13T10:34:19.542" v="1830"/>
          <ac:spMkLst>
            <pc:docMk/>
            <pc:sldMk cId="2085447451" sldId="474"/>
            <ac:spMk id="40" creationId="{1E9F9D03-00FD-2019-9F17-C354C5D217C5}"/>
          </ac:spMkLst>
        </pc:spChg>
        <pc:spChg chg="mod">
          <ac:chgData name="Sharif Zahdeh" userId="76695dcfea8304bd" providerId="LiveId" clId="{3A8C6964-DBF2-450D-9644-7B64291DD03D}" dt="2023-11-13T10:34:19.542" v="1830"/>
          <ac:spMkLst>
            <pc:docMk/>
            <pc:sldMk cId="2085447451" sldId="474"/>
            <ac:spMk id="42" creationId="{EBF0B4B3-F879-0A83-95F1-F6F1F00068EA}"/>
          </ac:spMkLst>
        </pc:spChg>
        <pc:spChg chg="mod">
          <ac:chgData name="Sharif Zahdeh" userId="76695dcfea8304bd" providerId="LiveId" clId="{3A8C6964-DBF2-450D-9644-7B64291DD03D}" dt="2023-11-13T10:34:19.542" v="1830"/>
          <ac:spMkLst>
            <pc:docMk/>
            <pc:sldMk cId="2085447451" sldId="474"/>
            <ac:spMk id="43" creationId="{D3551486-A46D-4892-EB84-FB54DA9AEE71}"/>
          </ac:spMkLst>
        </pc:spChg>
        <pc:spChg chg="add del mod">
          <ac:chgData name="Sharif Zahdeh" userId="76695dcfea8304bd" providerId="LiveId" clId="{3A8C6964-DBF2-450D-9644-7B64291DD03D}" dt="2023-11-13T10:34:27.564" v="1831"/>
          <ac:spMkLst>
            <pc:docMk/>
            <pc:sldMk cId="2085447451" sldId="474"/>
            <ac:spMk id="44" creationId="{14033642-FBD2-F975-CB80-4BDBD05B4F86}"/>
          </ac:spMkLst>
        </pc:spChg>
        <pc:spChg chg="add del mod">
          <ac:chgData name="Sharif Zahdeh" userId="76695dcfea8304bd" providerId="LiveId" clId="{3A8C6964-DBF2-450D-9644-7B64291DD03D}" dt="2023-11-13T10:34:27.564" v="1831"/>
          <ac:spMkLst>
            <pc:docMk/>
            <pc:sldMk cId="2085447451" sldId="474"/>
            <ac:spMk id="45" creationId="{4F073953-A3A4-8855-6B0B-63B9338778B8}"/>
          </ac:spMkLst>
        </pc:spChg>
        <pc:spChg chg="add del mod">
          <ac:chgData name="Sharif Zahdeh" userId="76695dcfea8304bd" providerId="LiveId" clId="{3A8C6964-DBF2-450D-9644-7B64291DD03D}" dt="2023-11-13T10:34:27.564" v="1831"/>
          <ac:spMkLst>
            <pc:docMk/>
            <pc:sldMk cId="2085447451" sldId="474"/>
            <ac:spMk id="46" creationId="{45CEABAE-B26C-57B0-96E0-7C64BA52383D}"/>
          </ac:spMkLst>
        </pc:spChg>
        <pc:spChg chg="add del mod">
          <ac:chgData name="Sharif Zahdeh" userId="76695dcfea8304bd" providerId="LiveId" clId="{3A8C6964-DBF2-450D-9644-7B64291DD03D}" dt="2023-11-13T10:34:27.564" v="1831"/>
          <ac:spMkLst>
            <pc:docMk/>
            <pc:sldMk cId="2085447451" sldId="474"/>
            <ac:spMk id="47" creationId="{531FC406-25EA-86C4-B905-1E5053CF267F}"/>
          </ac:spMkLst>
        </pc:spChg>
        <pc:spChg chg="add del mod">
          <ac:chgData name="Sharif Zahdeh" userId="76695dcfea8304bd" providerId="LiveId" clId="{3A8C6964-DBF2-450D-9644-7B64291DD03D}" dt="2023-11-13T10:34:27.564" v="1831"/>
          <ac:spMkLst>
            <pc:docMk/>
            <pc:sldMk cId="2085447451" sldId="474"/>
            <ac:spMk id="48" creationId="{590CDC6D-C705-5386-FB1D-CAD851083303}"/>
          </ac:spMkLst>
        </pc:spChg>
        <pc:spChg chg="add mod">
          <ac:chgData name="Sharif Zahdeh" userId="76695dcfea8304bd" providerId="LiveId" clId="{3A8C6964-DBF2-450D-9644-7B64291DD03D}" dt="2023-11-13T10:34:42.628" v="1879" actId="1036"/>
          <ac:spMkLst>
            <pc:docMk/>
            <pc:sldMk cId="2085447451" sldId="474"/>
            <ac:spMk id="53" creationId="{2A9AF130-89EC-A3A3-6EE8-76F95A314A39}"/>
          </ac:spMkLst>
        </pc:spChg>
        <pc:spChg chg="add mod">
          <ac:chgData name="Sharif Zahdeh" userId="76695dcfea8304bd" providerId="LiveId" clId="{3A8C6964-DBF2-450D-9644-7B64291DD03D}" dt="2023-11-13T10:46:58.663" v="2559" actId="1035"/>
          <ac:spMkLst>
            <pc:docMk/>
            <pc:sldMk cId="2085447451" sldId="474"/>
            <ac:spMk id="54" creationId="{368318E3-592D-C473-7C1D-394A7DF2F5F0}"/>
          </ac:spMkLst>
        </pc:spChg>
        <pc:spChg chg="add mod">
          <ac:chgData name="Sharif Zahdeh" userId="76695dcfea8304bd" providerId="LiveId" clId="{3A8C6964-DBF2-450D-9644-7B64291DD03D}" dt="2023-11-13T10:46:58.663" v="2559" actId="1035"/>
          <ac:spMkLst>
            <pc:docMk/>
            <pc:sldMk cId="2085447451" sldId="474"/>
            <ac:spMk id="55" creationId="{51E0222C-691B-D5B1-AD71-C1C662832CFC}"/>
          </ac:spMkLst>
        </pc:spChg>
        <pc:spChg chg="add mod">
          <ac:chgData name="Sharif Zahdeh" userId="76695dcfea8304bd" providerId="LiveId" clId="{3A8C6964-DBF2-450D-9644-7B64291DD03D}" dt="2023-11-13T10:46:58.663" v="2559" actId="1035"/>
          <ac:spMkLst>
            <pc:docMk/>
            <pc:sldMk cId="2085447451" sldId="474"/>
            <ac:spMk id="56" creationId="{08C61324-B828-B898-491D-3E49D59D18BC}"/>
          </ac:spMkLst>
        </pc:spChg>
        <pc:spChg chg="add mod">
          <ac:chgData name="Sharif Zahdeh" userId="76695dcfea8304bd" providerId="LiveId" clId="{3A8C6964-DBF2-450D-9644-7B64291DD03D}" dt="2023-11-13T10:46:58.663" v="2559" actId="1035"/>
          <ac:spMkLst>
            <pc:docMk/>
            <pc:sldMk cId="2085447451" sldId="474"/>
            <ac:spMk id="57" creationId="{1DDF30C0-573D-D376-058C-A5224BCA4CAD}"/>
          </ac:spMkLst>
        </pc:spChg>
        <pc:spChg chg="mod">
          <ac:chgData name="Sharif Zahdeh" userId="76695dcfea8304bd" providerId="LiveId" clId="{3A8C6964-DBF2-450D-9644-7B64291DD03D}" dt="2023-11-13T10:34:42.628" v="1879" actId="1036"/>
          <ac:spMkLst>
            <pc:docMk/>
            <pc:sldMk cId="2085447451" sldId="474"/>
            <ac:spMk id="59" creationId="{D78010DF-7B6A-8FED-DC7D-65B1896377F7}"/>
          </ac:spMkLst>
        </pc:spChg>
        <pc:spChg chg="mod">
          <ac:chgData name="Sharif Zahdeh" userId="76695dcfea8304bd" providerId="LiveId" clId="{3A8C6964-DBF2-450D-9644-7B64291DD03D}" dt="2023-11-13T10:34:42.628" v="1879" actId="1036"/>
          <ac:spMkLst>
            <pc:docMk/>
            <pc:sldMk cId="2085447451" sldId="474"/>
            <ac:spMk id="60" creationId="{5CDE4CE2-FB50-0AAE-457C-372FBC57CE58}"/>
          </ac:spMkLst>
        </pc:spChg>
        <pc:spChg chg="mod">
          <ac:chgData name="Sharif Zahdeh" userId="76695dcfea8304bd" providerId="LiveId" clId="{3A8C6964-DBF2-450D-9644-7B64291DD03D}" dt="2023-11-13T10:34:42.628" v="1879" actId="1036"/>
          <ac:spMkLst>
            <pc:docMk/>
            <pc:sldMk cId="2085447451" sldId="474"/>
            <ac:spMk id="62" creationId="{8BABF88E-7A30-5177-D132-A70298CD8B6A}"/>
          </ac:spMkLst>
        </pc:spChg>
        <pc:spChg chg="mod">
          <ac:chgData name="Sharif Zahdeh" userId="76695dcfea8304bd" providerId="LiveId" clId="{3A8C6964-DBF2-450D-9644-7B64291DD03D}" dt="2023-11-13T10:34:42.628" v="1879" actId="1036"/>
          <ac:spMkLst>
            <pc:docMk/>
            <pc:sldMk cId="2085447451" sldId="474"/>
            <ac:spMk id="63" creationId="{A5618432-32B8-E6C3-9933-A83B90D17DAB}"/>
          </ac:spMkLst>
        </pc:spChg>
        <pc:spChg chg="mod">
          <ac:chgData name="Sharif Zahdeh" userId="76695dcfea8304bd" providerId="LiveId" clId="{3A8C6964-DBF2-450D-9644-7B64291DD03D}" dt="2023-11-13T10:34:42.628" v="1879" actId="1036"/>
          <ac:spMkLst>
            <pc:docMk/>
            <pc:sldMk cId="2085447451" sldId="474"/>
            <ac:spMk id="65" creationId="{AB0FE322-14C5-00A1-9820-ABA4514FC949}"/>
          </ac:spMkLst>
        </pc:spChg>
        <pc:spChg chg="mod">
          <ac:chgData name="Sharif Zahdeh" userId="76695dcfea8304bd" providerId="LiveId" clId="{3A8C6964-DBF2-450D-9644-7B64291DD03D}" dt="2023-11-13T10:34:42.628" v="1879" actId="1036"/>
          <ac:spMkLst>
            <pc:docMk/>
            <pc:sldMk cId="2085447451" sldId="474"/>
            <ac:spMk id="66" creationId="{DBBAAE42-F8EA-6C0F-5457-FC5FD5887E54}"/>
          </ac:spMkLst>
        </pc:spChg>
        <pc:spChg chg="mod">
          <ac:chgData name="Sharif Zahdeh" userId="76695dcfea8304bd" providerId="LiveId" clId="{3A8C6964-DBF2-450D-9644-7B64291DD03D}" dt="2023-11-13T10:34:42.628" v="1879" actId="1036"/>
          <ac:spMkLst>
            <pc:docMk/>
            <pc:sldMk cId="2085447451" sldId="474"/>
            <ac:spMk id="68" creationId="{F03C1FDD-0283-DACB-AAE6-567430EFACA5}"/>
          </ac:spMkLst>
        </pc:spChg>
        <pc:spChg chg="mod">
          <ac:chgData name="Sharif Zahdeh" userId="76695dcfea8304bd" providerId="LiveId" clId="{3A8C6964-DBF2-450D-9644-7B64291DD03D}" dt="2023-11-13T10:34:42.628" v="1879" actId="1036"/>
          <ac:spMkLst>
            <pc:docMk/>
            <pc:sldMk cId="2085447451" sldId="474"/>
            <ac:spMk id="69" creationId="{949E29D7-08CA-CF9F-D400-FB211EF974C7}"/>
          </ac:spMkLst>
        </pc:spChg>
        <pc:spChg chg="mod">
          <ac:chgData name="Sharif Zahdeh" userId="76695dcfea8304bd" providerId="LiveId" clId="{3A8C6964-DBF2-450D-9644-7B64291DD03D}" dt="2023-11-13T10:34:42.628" v="1879" actId="1036"/>
          <ac:spMkLst>
            <pc:docMk/>
            <pc:sldMk cId="2085447451" sldId="474"/>
            <ac:spMk id="71" creationId="{3EAB6EDE-990E-3FE7-0937-833182A7773B}"/>
          </ac:spMkLst>
        </pc:spChg>
        <pc:spChg chg="mod">
          <ac:chgData name="Sharif Zahdeh" userId="76695dcfea8304bd" providerId="LiveId" clId="{3A8C6964-DBF2-450D-9644-7B64291DD03D}" dt="2023-11-13T10:34:42.628" v="1879" actId="1036"/>
          <ac:spMkLst>
            <pc:docMk/>
            <pc:sldMk cId="2085447451" sldId="474"/>
            <ac:spMk id="72" creationId="{91D628CD-A661-5F1D-6F3B-88358541F130}"/>
          </ac:spMkLst>
        </pc:spChg>
        <pc:spChg chg="add mod">
          <ac:chgData name="Sharif Zahdeh" userId="76695dcfea8304bd" providerId="LiveId" clId="{3A8C6964-DBF2-450D-9644-7B64291DD03D}" dt="2023-11-13T10:46:58.663" v="2559" actId="1035"/>
          <ac:spMkLst>
            <pc:docMk/>
            <pc:sldMk cId="2085447451" sldId="474"/>
            <ac:spMk id="73" creationId="{A1FCADB6-2B3F-BE32-DEFA-285151040F38}"/>
          </ac:spMkLst>
        </pc:spChg>
        <pc:spChg chg="add mod">
          <ac:chgData name="Sharif Zahdeh" userId="76695dcfea8304bd" providerId="LiveId" clId="{3A8C6964-DBF2-450D-9644-7B64291DD03D}" dt="2023-11-13T10:46:58.663" v="2559" actId="1035"/>
          <ac:spMkLst>
            <pc:docMk/>
            <pc:sldMk cId="2085447451" sldId="474"/>
            <ac:spMk id="74" creationId="{DA9D7FD3-E0BC-FC2D-B8F6-381072E64C11}"/>
          </ac:spMkLst>
        </pc:spChg>
        <pc:spChg chg="add mod">
          <ac:chgData name="Sharif Zahdeh" userId="76695dcfea8304bd" providerId="LiveId" clId="{3A8C6964-DBF2-450D-9644-7B64291DD03D}" dt="2023-11-13T10:46:58.663" v="2559" actId="1035"/>
          <ac:spMkLst>
            <pc:docMk/>
            <pc:sldMk cId="2085447451" sldId="474"/>
            <ac:spMk id="75" creationId="{524B4C6C-FCEB-00CB-BECC-5C7C6331C7F5}"/>
          </ac:spMkLst>
        </pc:spChg>
        <pc:spChg chg="add mod">
          <ac:chgData name="Sharif Zahdeh" userId="76695dcfea8304bd" providerId="LiveId" clId="{3A8C6964-DBF2-450D-9644-7B64291DD03D}" dt="2023-11-13T10:46:58.663" v="2559" actId="1035"/>
          <ac:spMkLst>
            <pc:docMk/>
            <pc:sldMk cId="2085447451" sldId="474"/>
            <ac:spMk id="76" creationId="{C198BF03-0A67-EA7F-0D8B-05449A4AF441}"/>
          </ac:spMkLst>
        </pc:spChg>
        <pc:spChg chg="add mod">
          <ac:chgData name="Sharif Zahdeh" userId="76695dcfea8304bd" providerId="LiveId" clId="{3A8C6964-DBF2-450D-9644-7B64291DD03D}" dt="2023-11-13T10:46:58.663" v="2559" actId="1035"/>
          <ac:spMkLst>
            <pc:docMk/>
            <pc:sldMk cId="2085447451" sldId="474"/>
            <ac:spMk id="77" creationId="{E3B54106-C0BE-AEA6-A45C-6E979DD8254F}"/>
          </ac:spMkLst>
        </pc:spChg>
        <pc:spChg chg="mod">
          <ac:chgData name="Sharif Zahdeh" userId="76695dcfea8304bd" providerId="LiveId" clId="{3A8C6964-DBF2-450D-9644-7B64291DD03D}" dt="2023-11-13T10:51:10.762" v="2786"/>
          <ac:spMkLst>
            <pc:docMk/>
            <pc:sldMk cId="2085447451" sldId="474"/>
            <ac:spMk id="83" creationId="{66E42D89-62A8-59F3-D035-A9FB6B147715}"/>
          </ac:spMkLst>
        </pc:spChg>
        <pc:spChg chg="mod">
          <ac:chgData name="Sharif Zahdeh" userId="76695dcfea8304bd" providerId="LiveId" clId="{3A8C6964-DBF2-450D-9644-7B64291DD03D}" dt="2023-11-13T10:51:33.388" v="2791" actId="207"/>
          <ac:spMkLst>
            <pc:docMk/>
            <pc:sldMk cId="2085447451" sldId="474"/>
            <ac:spMk id="84" creationId="{8A9F7A89-056E-02F0-0A4B-CD30E6845C3B}"/>
          </ac:spMkLst>
        </pc:spChg>
        <pc:spChg chg="mod">
          <ac:chgData name="Sharif Zahdeh" userId="76695dcfea8304bd" providerId="LiveId" clId="{3A8C6964-DBF2-450D-9644-7B64291DD03D}" dt="2023-11-13T10:51:06.132" v="2785"/>
          <ac:spMkLst>
            <pc:docMk/>
            <pc:sldMk cId="2085447451" sldId="474"/>
            <ac:spMk id="86" creationId="{20F8DE28-9980-6262-AAF7-A793AE0D48F4}"/>
          </ac:spMkLst>
        </pc:spChg>
        <pc:spChg chg="mod">
          <ac:chgData name="Sharif Zahdeh" userId="76695dcfea8304bd" providerId="LiveId" clId="{3A8C6964-DBF2-450D-9644-7B64291DD03D}" dt="2023-11-13T10:51:29.991" v="2790" actId="207"/>
          <ac:spMkLst>
            <pc:docMk/>
            <pc:sldMk cId="2085447451" sldId="474"/>
            <ac:spMk id="87" creationId="{4A6ED3CD-C2E3-868D-0F78-9527D5823B79}"/>
          </ac:spMkLst>
        </pc:spChg>
        <pc:spChg chg="mod">
          <ac:chgData name="Sharif Zahdeh" userId="76695dcfea8304bd" providerId="LiveId" clId="{3A8C6964-DBF2-450D-9644-7B64291DD03D}" dt="2023-11-13T10:51:02.108" v="2784"/>
          <ac:spMkLst>
            <pc:docMk/>
            <pc:sldMk cId="2085447451" sldId="474"/>
            <ac:spMk id="89" creationId="{C432B29D-9328-B598-08C8-EA00E1FFB2BA}"/>
          </ac:spMkLst>
        </pc:spChg>
        <pc:spChg chg="mod">
          <ac:chgData name="Sharif Zahdeh" userId="76695dcfea8304bd" providerId="LiveId" clId="{3A8C6964-DBF2-450D-9644-7B64291DD03D}" dt="2023-11-13T10:51:26.586" v="2789" actId="207"/>
          <ac:spMkLst>
            <pc:docMk/>
            <pc:sldMk cId="2085447451" sldId="474"/>
            <ac:spMk id="90" creationId="{C9563315-FDFC-9C35-1B15-4F43C04CC346}"/>
          </ac:spMkLst>
        </pc:spChg>
        <pc:spChg chg="mod">
          <ac:chgData name="Sharif Zahdeh" userId="76695dcfea8304bd" providerId="LiveId" clId="{3A8C6964-DBF2-450D-9644-7B64291DD03D}" dt="2023-11-13T13:01:36.533" v="3262" actId="14100"/>
          <ac:spMkLst>
            <pc:docMk/>
            <pc:sldMk cId="2085447451" sldId="474"/>
            <ac:spMk id="92" creationId="{45DB2867-8451-F018-E855-7BDB46605FB5}"/>
          </ac:spMkLst>
        </pc:spChg>
        <pc:spChg chg="mod">
          <ac:chgData name="Sharif Zahdeh" userId="76695dcfea8304bd" providerId="LiveId" clId="{3A8C6964-DBF2-450D-9644-7B64291DD03D}" dt="2023-11-13T10:51:22.497" v="2788" actId="207"/>
          <ac:spMkLst>
            <pc:docMk/>
            <pc:sldMk cId="2085447451" sldId="474"/>
            <ac:spMk id="93" creationId="{C74E93F5-C022-AF41-9AA4-10FD6DCF0590}"/>
          </ac:spMkLst>
        </pc:spChg>
        <pc:spChg chg="mod">
          <ac:chgData name="Sharif Zahdeh" userId="76695dcfea8304bd" providerId="LiveId" clId="{3A8C6964-DBF2-450D-9644-7B64291DD03D}" dt="2023-11-13T10:50:40.704" v="2782" actId="207"/>
          <ac:spMkLst>
            <pc:docMk/>
            <pc:sldMk cId="2085447451" sldId="474"/>
            <ac:spMk id="95" creationId="{69AF2847-4CB5-E2F8-01FF-88454DA1EEA3}"/>
          </ac:spMkLst>
        </pc:spChg>
        <pc:spChg chg="mod">
          <ac:chgData name="Sharif Zahdeh" userId="76695dcfea8304bd" providerId="LiveId" clId="{3A8C6964-DBF2-450D-9644-7B64291DD03D}" dt="2023-11-13T10:51:17.124" v="2787" actId="207"/>
          <ac:spMkLst>
            <pc:docMk/>
            <pc:sldMk cId="2085447451" sldId="474"/>
            <ac:spMk id="96" creationId="{E10F8D0A-0289-A48E-D5B5-12BC1008E225}"/>
          </ac:spMkLst>
        </pc:spChg>
        <pc:grpChg chg="add del mod">
          <ac:chgData name="Sharif Zahdeh" userId="76695dcfea8304bd" providerId="LiveId" clId="{3A8C6964-DBF2-450D-9644-7B64291DD03D}" dt="2023-11-13T10:34:27.564" v="1831"/>
          <ac:grpSpMkLst>
            <pc:docMk/>
            <pc:sldMk cId="2085447451" sldId="474"/>
            <ac:grpSpMk id="17" creationId="{3EA32E1F-C425-6A81-C5BF-8D19B50ED824}"/>
          </ac:grpSpMkLst>
        </pc:grpChg>
        <pc:grpChg chg="add del mod">
          <ac:chgData name="Sharif Zahdeh" userId="76695dcfea8304bd" providerId="LiveId" clId="{3A8C6964-DBF2-450D-9644-7B64291DD03D}" dt="2023-11-13T10:34:27.564" v="1831"/>
          <ac:grpSpMkLst>
            <pc:docMk/>
            <pc:sldMk cId="2085447451" sldId="474"/>
            <ac:grpSpMk id="21" creationId="{4E360DC3-4C80-97B4-ABF8-A9A4508C0BFE}"/>
          </ac:grpSpMkLst>
        </pc:grpChg>
        <pc:grpChg chg="del">
          <ac:chgData name="Sharif Zahdeh" userId="76695dcfea8304bd" providerId="LiveId" clId="{3A8C6964-DBF2-450D-9644-7B64291DD03D}" dt="2023-11-13T10:33:37.690" v="1824" actId="478"/>
          <ac:grpSpMkLst>
            <pc:docMk/>
            <pc:sldMk cId="2085447451" sldId="474"/>
            <ac:grpSpMk id="30" creationId="{2ADA33AF-6128-F6D7-DEC5-E6CBA7BCE593}"/>
          </ac:grpSpMkLst>
        </pc:grpChg>
        <pc:grpChg chg="del">
          <ac:chgData name="Sharif Zahdeh" userId="76695dcfea8304bd" providerId="LiveId" clId="{3A8C6964-DBF2-450D-9644-7B64291DD03D}" dt="2023-11-13T10:33:39.239" v="1825" actId="478"/>
          <ac:grpSpMkLst>
            <pc:docMk/>
            <pc:sldMk cId="2085447451" sldId="474"/>
            <ac:grpSpMk id="31" creationId="{7904F2F1-4211-08CC-4F53-259B759E3E7F}"/>
          </ac:grpSpMkLst>
        </pc:grpChg>
        <pc:grpChg chg="del">
          <ac:chgData name="Sharif Zahdeh" userId="76695dcfea8304bd" providerId="LiveId" clId="{3A8C6964-DBF2-450D-9644-7B64291DD03D}" dt="2023-11-13T10:33:44.831" v="1829" actId="478"/>
          <ac:grpSpMkLst>
            <pc:docMk/>
            <pc:sldMk cId="2085447451" sldId="474"/>
            <ac:grpSpMk id="32" creationId="{C394C3AA-84F5-9F69-557A-CD1A733A257C}"/>
          </ac:grpSpMkLst>
        </pc:grpChg>
        <pc:grpChg chg="add del mod">
          <ac:chgData name="Sharif Zahdeh" userId="76695dcfea8304bd" providerId="LiveId" clId="{3A8C6964-DBF2-450D-9644-7B64291DD03D}" dt="2023-11-13T10:34:27.564" v="1831"/>
          <ac:grpSpMkLst>
            <pc:docMk/>
            <pc:sldMk cId="2085447451" sldId="474"/>
            <ac:grpSpMk id="34" creationId="{8D1B58B7-7995-15AD-A07A-7FF9599FC785}"/>
          </ac:grpSpMkLst>
        </pc:grpChg>
        <pc:grpChg chg="add del mod">
          <ac:chgData name="Sharif Zahdeh" userId="76695dcfea8304bd" providerId="LiveId" clId="{3A8C6964-DBF2-450D-9644-7B64291DD03D}" dt="2023-11-13T10:34:27.564" v="1831"/>
          <ac:grpSpMkLst>
            <pc:docMk/>
            <pc:sldMk cId="2085447451" sldId="474"/>
            <ac:grpSpMk id="38" creationId="{D3A7FEDA-8E79-0B7C-B00E-D9AD362E9D83}"/>
          </ac:grpSpMkLst>
        </pc:grpChg>
        <pc:grpChg chg="add del mod">
          <ac:chgData name="Sharif Zahdeh" userId="76695dcfea8304bd" providerId="LiveId" clId="{3A8C6964-DBF2-450D-9644-7B64291DD03D}" dt="2023-11-13T10:34:27.564" v="1831"/>
          <ac:grpSpMkLst>
            <pc:docMk/>
            <pc:sldMk cId="2085447451" sldId="474"/>
            <ac:grpSpMk id="41" creationId="{9197EB3B-22C7-FF64-FF0B-9592AC8B2E07}"/>
          </ac:grpSpMkLst>
        </pc:grpChg>
        <pc:grpChg chg="add mod">
          <ac:chgData name="Sharif Zahdeh" userId="76695dcfea8304bd" providerId="LiveId" clId="{3A8C6964-DBF2-450D-9644-7B64291DD03D}" dt="2023-11-13T10:34:42.628" v="1879" actId="1036"/>
          <ac:grpSpMkLst>
            <pc:docMk/>
            <pc:sldMk cId="2085447451" sldId="474"/>
            <ac:grpSpMk id="58" creationId="{3B41243B-EF98-E896-50E5-741DF9A2A4D1}"/>
          </ac:grpSpMkLst>
        </pc:grpChg>
        <pc:grpChg chg="add mod">
          <ac:chgData name="Sharif Zahdeh" userId="76695dcfea8304bd" providerId="LiveId" clId="{3A8C6964-DBF2-450D-9644-7B64291DD03D}" dt="2023-11-13T10:34:42.628" v="1879" actId="1036"/>
          <ac:grpSpMkLst>
            <pc:docMk/>
            <pc:sldMk cId="2085447451" sldId="474"/>
            <ac:grpSpMk id="61" creationId="{BD01EF7F-9D54-B369-9414-20F7FE01B44B}"/>
          </ac:grpSpMkLst>
        </pc:grpChg>
        <pc:grpChg chg="add mod">
          <ac:chgData name="Sharif Zahdeh" userId="76695dcfea8304bd" providerId="LiveId" clId="{3A8C6964-DBF2-450D-9644-7B64291DD03D}" dt="2023-11-13T10:34:42.628" v="1879" actId="1036"/>
          <ac:grpSpMkLst>
            <pc:docMk/>
            <pc:sldMk cId="2085447451" sldId="474"/>
            <ac:grpSpMk id="64" creationId="{8D9C4864-A943-1033-659E-FC0445E467DE}"/>
          </ac:grpSpMkLst>
        </pc:grpChg>
        <pc:grpChg chg="add mod">
          <ac:chgData name="Sharif Zahdeh" userId="76695dcfea8304bd" providerId="LiveId" clId="{3A8C6964-DBF2-450D-9644-7B64291DD03D}" dt="2023-11-13T10:34:42.628" v="1879" actId="1036"/>
          <ac:grpSpMkLst>
            <pc:docMk/>
            <pc:sldMk cId="2085447451" sldId="474"/>
            <ac:grpSpMk id="67" creationId="{8475DBC1-8B4E-A921-0CF8-611A06B3AEBB}"/>
          </ac:grpSpMkLst>
        </pc:grpChg>
        <pc:grpChg chg="add mod">
          <ac:chgData name="Sharif Zahdeh" userId="76695dcfea8304bd" providerId="LiveId" clId="{3A8C6964-DBF2-450D-9644-7B64291DD03D}" dt="2023-11-13T10:34:42.628" v="1879" actId="1036"/>
          <ac:grpSpMkLst>
            <pc:docMk/>
            <pc:sldMk cId="2085447451" sldId="474"/>
            <ac:grpSpMk id="70" creationId="{29612319-4E4D-9799-0932-4DA9F6D4EA48}"/>
          </ac:grpSpMkLst>
        </pc:grpChg>
        <pc:grpChg chg="add mod">
          <ac:chgData name="Sharif Zahdeh" userId="76695dcfea8304bd" providerId="LiveId" clId="{3A8C6964-DBF2-450D-9644-7B64291DD03D}" dt="2023-11-13T10:43:59.935" v="2437" actId="1035"/>
          <ac:grpSpMkLst>
            <pc:docMk/>
            <pc:sldMk cId="2085447451" sldId="474"/>
            <ac:grpSpMk id="82" creationId="{A7E3E8EB-B3C7-7DB0-E497-36A6A2C1BAD5}"/>
          </ac:grpSpMkLst>
        </pc:grpChg>
        <pc:grpChg chg="add mod">
          <ac:chgData name="Sharif Zahdeh" userId="76695dcfea8304bd" providerId="LiveId" clId="{3A8C6964-DBF2-450D-9644-7B64291DD03D}" dt="2023-11-13T10:43:54.087" v="2426" actId="1036"/>
          <ac:grpSpMkLst>
            <pc:docMk/>
            <pc:sldMk cId="2085447451" sldId="474"/>
            <ac:grpSpMk id="85" creationId="{8B975747-F862-6A51-5F1A-81FBFFF13470}"/>
          </ac:grpSpMkLst>
        </pc:grpChg>
        <pc:grpChg chg="add mod">
          <ac:chgData name="Sharif Zahdeh" userId="76695dcfea8304bd" providerId="LiveId" clId="{3A8C6964-DBF2-450D-9644-7B64291DD03D}" dt="2023-11-13T10:43:34.935" v="2405" actId="1035"/>
          <ac:grpSpMkLst>
            <pc:docMk/>
            <pc:sldMk cId="2085447451" sldId="474"/>
            <ac:grpSpMk id="88" creationId="{CE9CA1A1-8921-FEBB-5E3E-3B7BC7F2220B}"/>
          </ac:grpSpMkLst>
        </pc:grpChg>
        <pc:grpChg chg="add mod">
          <ac:chgData name="Sharif Zahdeh" userId="76695dcfea8304bd" providerId="LiveId" clId="{3A8C6964-DBF2-450D-9644-7B64291DD03D}" dt="2023-11-13T10:51:48.569" v="2794" actId="1035"/>
          <ac:grpSpMkLst>
            <pc:docMk/>
            <pc:sldMk cId="2085447451" sldId="474"/>
            <ac:grpSpMk id="91" creationId="{8593EDAA-5179-7679-33D1-242E910B9E71}"/>
          </ac:grpSpMkLst>
        </pc:grpChg>
        <pc:grpChg chg="add mod">
          <ac:chgData name="Sharif Zahdeh" userId="76695dcfea8304bd" providerId="LiveId" clId="{3A8C6964-DBF2-450D-9644-7B64291DD03D}" dt="2023-11-13T10:47:25.142" v="2610" actId="1036"/>
          <ac:grpSpMkLst>
            <pc:docMk/>
            <pc:sldMk cId="2085447451" sldId="474"/>
            <ac:grpSpMk id="94" creationId="{CCBFFD80-EAA6-FB8E-650E-B4D4B10999E8}"/>
          </ac:grpSpMkLst>
        </pc:grpChg>
        <pc:picChg chg="del">
          <ac:chgData name="Sharif Zahdeh" userId="76695dcfea8304bd" providerId="LiveId" clId="{3A8C6964-DBF2-450D-9644-7B64291DD03D}" dt="2023-11-13T10:33:30.576" v="1821" actId="478"/>
          <ac:picMkLst>
            <pc:docMk/>
            <pc:sldMk cId="2085447451" sldId="474"/>
            <ac:picMk id="35" creationId="{FB6308E8-6C81-D2FD-9D08-98C710C1BC65}"/>
          </ac:picMkLst>
        </pc:picChg>
        <pc:picChg chg="add del mod">
          <ac:chgData name="Sharif Zahdeh" userId="76695dcfea8304bd" providerId="LiveId" clId="{3A8C6964-DBF2-450D-9644-7B64291DD03D}" dt="2023-11-13T10:34:27.564" v="1831"/>
          <ac:picMkLst>
            <pc:docMk/>
            <pc:sldMk cId="2085447451" sldId="474"/>
            <ac:picMk id="49" creationId="{ECC8445D-A20C-0188-3144-967404E0A601}"/>
          </ac:picMkLst>
        </pc:picChg>
        <pc:picChg chg="add del mod">
          <ac:chgData name="Sharif Zahdeh" userId="76695dcfea8304bd" providerId="LiveId" clId="{3A8C6964-DBF2-450D-9644-7B64291DD03D}" dt="2023-11-13T10:34:27.564" v="1831"/>
          <ac:picMkLst>
            <pc:docMk/>
            <pc:sldMk cId="2085447451" sldId="474"/>
            <ac:picMk id="50" creationId="{6B1930B1-62EE-F1B9-68E9-8D9CEC59B4A4}"/>
          </ac:picMkLst>
        </pc:picChg>
        <pc:picChg chg="add del mod">
          <ac:chgData name="Sharif Zahdeh" userId="76695dcfea8304bd" providerId="LiveId" clId="{3A8C6964-DBF2-450D-9644-7B64291DD03D}" dt="2023-11-13T10:34:27.564" v="1831"/>
          <ac:picMkLst>
            <pc:docMk/>
            <pc:sldMk cId="2085447451" sldId="474"/>
            <ac:picMk id="51" creationId="{B423608C-1E4C-6A0E-835D-503DD0409AFC}"/>
          </ac:picMkLst>
        </pc:picChg>
        <pc:picChg chg="add del mod">
          <ac:chgData name="Sharif Zahdeh" userId="76695dcfea8304bd" providerId="LiveId" clId="{3A8C6964-DBF2-450D-9644-7B64291DD03D}" dt="2023-11-13T10:34:27.564" v="1831"/>
          <ac:picMkLst>
            <pc:docMk/>
            <pc:sldMk cId="2085447451" sldId="474"/>
            <ac:picMk id="52" creationId="{5AADCB86-BE16-B609-03DC-FF361BA69871}"/>
          </ac:picMkLst>
        </pc:picChg>
        <pc:picChg chg="add del mod">
          <ac:chgData name="Sharif Zahdeh" userId="76695dcfea8304bd" providerId="LiveId" clId="{3A8C6964-DBF2-450D-9644-7B64291DD03D}" dt="2023-11-13T10:41:02.518" v="2223" actId="478"/>
          <ac:picMkLst>
            <pc:docMk/>
            <pc:sldMk cId="2085447451" sldId="474"/>
            <ac:picMk id="78" creationId="{691BB945-B78E-C5AA-0E61-8A8B530046EB}"/>
          </ac:picMkLst>
        </pc:picChg>
        <pc:picChg chg="add del mod">
          <ac:chgData name="Sharif Zahdeh" userId="76695dcfea8304bd" providerId="LiveId" clId="{3A8C6964-DBF2-450D-9644-7B64291DD03D}" dt="2023-11-13T10:41:03.849" v="2224" actId="478"/>
          <ac:picMkLst>
            <pc:docMk/>
            <pc:sldMk cId="2085447451" sldId="474"/>
            <ac:picMk id="79" creationId="{7B747640-5F3A-5EBB-6F8B-41E151789571}"/>
          </ac:picMkLst>
        </pc:picChg>
        <pc:picChg chg="add del mod">
          <ac:chgData name="Sharif Zahdeh" userId="76695dcfea8304bd" providerId="LiveId" clId="{3A8C6964-DBF2-450D-9644-7B64291DD03D}" dt="2023-11-13T10:41:05.193" v="2225" actId="478"/>
          <ac:picMkLst>
            <pc:docMk/>
            <pc:sldMk cId="2085447451" sldId="474"/>
            <ac:picMk id="80" creationId="{21BB910C-E223-E434-1F41-870455DB8D6B}"/>
          </ac:picMkLst>
        </pc:picChg>
        <pc:picChg chg="add del mod">
          <ac:chgData name="Sharif Zahdeh" userId="76695dcfea8304bd" providerId="LiveId" clId="{3A8C6964-DBF2-450D-9644-7B64291DD03D}" dt="2023-11-13T10:41:06.474" v="2226" actId="478"/>
          <ac:picMkLst>
            <pc:docMk/>
            <pc:sldMk cId="2085447451" sldId="474"/>
            <ac:picMk id="81" creationId="{522859DB-C49A-E72F-2E71-F83208F396FA}"/>
          </ac:picMkLst>
        </pc:picChg>
        <pc:cxnChg chg="del">
          <ac:chgData name="Sharif Zahdeh" userId="76695dcfea8304bd" providerId="LiveId" clId="{3A8C6964-DBF2-450D-9644-7B64291DD03D}" dt="2023-11-13T10:46:35.511" v="2552" actId="478"/>
          <ac:cxnSpMkLst>
            <pc:docMk/>
            <pc:sldMk cId="2085447451" sldId="474"/>
            <ac:cxnSpMk id="5" creationId="{265314AD-0C8B-0495-82F4-AD6FC4C42BF0}"/>
          </ac:cxnSpMkLst>
        </pc:cxnChg>
        <pc:cxnChg chg="add del">
          <ac:chgData name="Sharif Zahdeh" userId="76695dcfea8304bd" providerId="LiveId" clId="{3A8C6964-DBF2-450D-9644-7B64291DD03D}" dt="2023-11-13T10:47:02.359" v="2561" actId="478"/>
          <ac:cxnSpMkLst>
            <pc:docMk/>
            <pc:sldMk cId="2085447451" sldId="474"/>
            <ac:cxnSpMk id="7" creationId="{6769F1D8-2055-1003-03FF-39897A55459B}"/>
          </ac:cxnSpMkLst>
        </pc:cxnChg>
      </pc:sldChg>
      <pc:sldChg chg="addSp delSp modSp mod ord delAnim modAnim">
        <pc:chgData name="Sharif Zahdeh" userId="76695dcfea8304bd" providerId="LiveId" clId="{3A8C6964-DBF2-450D-9644-7B64291DD03D}" dt="2023-11-13T18:00:12.239" v="6389" actId="20577"/>
        <pc:sldMkLst>
          <pc:docMk/>
          <pc:sldMk cId="278289355" sldId="475"/>
        </pc:sldMkLst>
        <pc:spChg chg="del mod">
          <ac:chgData name="Sharif Zahdeh" userId="76695dcfea8304bd" providerId="LiveId" clId="{3A8C6964-DBF2-450D-9644-7B64291DD03D}" dt="2023-11-13T12:40:12.713" v="3235" actId="478"/>
          <ac:spMkLst>
            <pc:docMk/>
            <pc:sldMk cId="278289355" sldId="475"/>
            <ac:spMk id="4" creationId="{3733E73A-19F0-2ECC-FF9E-88D862AA157F}"/>
          </ac:spMkLst>
        </pc:spChg>
        <pc:spChg chg="del">
          <ac:chgData name="Sharif Zahdeh" userId="76695dcfea8304bd" providerId="LiveId" clId="{3A8C6964-DBF2-450D-9644-7B64291DD03D}" dt="2023-11-13T11:09:47.039" v="2822" actId="478"/>
          <ac:spMkLst>
            <pc:docMk/>
            <pc:sldMk cId="278289355" sldId="475"/>
            <ac:spMk id="6" creationId="{953940D2-6631-B9C8-59FE-3A8B12A070A1}"/>
          </ac:spMkLst>
        </pc:spChg>
        <pc:spChg chg="add del mod">
          <ac:chgData name="Sharif Zahdeh" userId="76695dcfea8304bd" providerId="LiveId" clId="{3A8C6964-DBF2-450D-9644-7B64291DD03D}" dt="2023-11-13T11:09:49.655" v="2823" actId="478"/>
          <ac:spMkLst>
            <pc:docMk/>
            <pc:sldMk cId="278289355" sldId="475"/>
            <ac:spMk id="8" creationId="{EC83480D-038E-1223-1662-B513BD9B1F71}"/>
          </ac:spMkLst>
        </pc:spChg>
        <pc:spChg chg="del">
          <ac:chgData name="Sharif Zahdeh" userId="76695dcfea8304bd" providerId="LiveId" clId="{3A8C6964-DBF2-450D-9644-7B64291DD03D}" dt="2023-11-13T11:09:52.856" v="2824" actId="478"/>
          <ac:spMkLst>
            <pc:docMk/>
            <pc:sldMk cId="278289355" sldId="475"/>
            <ac:spMk id="11" creationId="{57AA8ABA-4F3E-70B1-5CBE-48BD0CF17184}"/>
          </ac:spMkLst>
        </pc:spChg>
        <pc:spChg chg="del">
          <ac:chgData name="Sharif Zahdeh" userId="76695dcfea8304bd" providerId="LiveId" clId="{3A8C6964-DBF2-450D-9644-7B64291DD03D}" dt="2023-11-13T11:09:56.804" v="2826" actId="478"/>
          <ac:spMkLst>
            <pc:docMk/>
            <pc:sldMk cId="278289355" sldId="475"/>
            <ac:spMk id="14" creationId="{04791EED-7EEB-3051-336E-D855F1FECB51}"/>
          </ac:spMkLst>
        </pc:spChg>
        <pc:spChg chg="del mod">
          <ac:chgData name="Sharif Zahdeh" userId="76695dcfea8304bd" providerId="LiveId" clId="{3A8C6964-DBF2-450D-9644-7B64291DD03D}" dt="2023-11-13T11:10:04.964" v="2830" actId="478"/>
          <ac:spMkLst>
            <pc:docMk/>
            <pc:sldMk cId="278289355" sldId="475"/>
            <ac:spMk id="16" creationId="{A6614DA6-D16F-14BA-EEC9-81879A31288E}"/>
          </ac:spMkLst>
        </pc:spChg>
        <pc:spChg chg="mod">
          <ac:chgData name="Sharif Zahdeh" userId="76695dcfea8304bd" providerId="LiveId" clId="{3A8C6964-DBF2-450D-9644-7B64291DD03D}" dt="2023-11-13T12:06:44.076" v="2948"/>
          <ac:spMkLst>
            <pc:docMk/>
            <pc:sldMk cId="278289355" sldId="475"/>
            <ac:spMk id="21" creationId="{6BF3AE5D-CD77-5CB9-403C-109545DE997A}"/>
          </ac:spMkLst>
        </pc:spChg>
        <pc:spChg chg="mod">
          <ac:chgData name="Sharif Zahdeh" userId="76695dcfea8304bd" providerId="LiveId" clId="{3A8C6964-DBF2-450D-9644-7B64291DD03D}" dt="2023-11-13T12:06:44.076" v="2948"/>
          <ac:spMkLst>
            <pc:docMk/>
            <pc:sldMk cId="278289355" sldId="475"/>
            <ac:spMk id="23" creationId="{9741C04A-19AA-604F-9AEA-8095E81EECAD}"/>
          </ac:spMkLst>
        </pc:spChg>
        <pc:spChg chg="mod">
          <ac:chgData name="Sharif Zahdeh" userId="76695dcfea8304bd" providerId="LiveId" clId="{3A8C6964-DBF2-450D-9644-7B64291DD03D}" dt="2023-11-13T12:06:44.076" v="2948"/>
          <ac:spMkLst>
            <pc:docMk/>
            <pc:sldMk cId="278289355" sldId="475"/>
            <ac:spMk id="33" creationId="{F5580B94-71F5-5FD2-0B91-804F19832ECE}"/>
          </ac:spMkLst>
        </pc:spChg>
        <pc:spChg chg="add mod">
          <ac:chgData name="Sharif Zahdeh" userId="76695dcfea8304bd" providerId="LiveId" clId="{3A8C6964-DBF2-450D-9644-7B64291DD03D}" dt="2023-11-13T17:52:37.213" v="6328" actId="403"/>
          <ac:spMkLst>
            <pc:docMk/>
            <pc:sldMk cId="278289355" sldId="475"/>
            <ac:spMk id="37" creationId="{1A71116A-ABA8-7F28-FB43-8C0C5FD64DEF}"/>
          </ac:spMkLst>
        </pc:spChg>
        <pc:spChg chg="add mod">
          <ac:chgData name="Sharif Zahdeh" userId="76695dcfea8304bd" providerId="LiveId" clId="{3A8C6964-DBF2-450D-9644-7B64291DD03D}" dt="2023-11-13T17:54:15.433" v="6344" actId="1076"/>
          <ac:spMkLst>
            <pc:docMk/>
            <pc:sldMk cId="278289355" sldId="475"/>
            <ac:spMk id="38" creationId="{92D5814B-2469-15AE-53BB-17138B993FCC}"/>
          </ac:spMkLst>
        </pc:spChg>
        <pc:spChg chg="add mod">
          <ac:chgData name="Sharif Zahdeh" userId="76695dcfea8304bd" providerId="LiveId" clId="{3A8C6964-DBF2-450D-9644-7B64291DD03D}" dt="2023-11-13T17:59:02.663" v="6380" actId="1076"/>
          <ac:spMkLst>
            <pc:docMk/>
            <pc:sldMk cId="278289355" sldId="475"/>
            <ac:spMk id="39" creationId="{DF50C112-B997-9B9F-9265-8E9422AE5636}"/>
          </ac:spMkLst>
        </pc:spChg>
        <pc:spChg chg="add mod">
          <ac:chgData name="Sharif Zahdeh" userId="76695dcfea8304bd" providerId="LiveId" clId="{3A8C6964-DBF2-450D-9644-7B64291DD03D}" dt="2023-11-13T17:59:27.695" v="6384" actId="1076"/>
          <ac:spMkLst>
            <pc:docMk/>
            <pc:sldMk cId="278289355" sldId="475"/>
            <ac:spMk id="40" creationId="{466237AF-322E-5000-9518-C8E0F0922F5E}"/>
          </ac:spMkLst>
        </pc:spChg>
        <pc:spChg chg="add mod">
          <ac:chgData name="Sharif Zahdeh" userId="76695dcfea8304bd" providerId="LiveId" clId="{3A8C6964-DBF2-450D-9644-7B64291DD03D}" dt="2023-11-13T17:59:20.845" v="6383" actId="1076"/>
          <ac:spMkLst>
            <pc:docMk/>
            <pc:sldMk cId="278289355" sldId="475"/>
            <ac:spMk id="41" creationId="{0A9B0947-A747-F576-2CC2-F825DF2AD9CF}"/>
          </ac:spMkLst>
        </pc:spChg>
        <pc:spChg chg="add mod">
          <ac:chgData name="Sharif Zahdeh" userId="76695dcfea8304bd" providerId="LiveId" clId="{3A8C6964-DBF2-450D-9644-7B64291DD03D}" dt="2023-11-13T17:59:36.007" v="6385" actId="1076"/>
          <ac:spMkLst>
            <pc:docMk/>
            <pc:sldMk cId="278289355" sldId="475"/>
            <ac:spMk id="42" creationId="{CF28C5F5-2B84-DEC3-E7C2-C821F79BA847}"/>
          </ac:spMkLst>
        </pc:spChg>
        <pc:spChg chg="add mod">
          <ac:chgData name="Sharif Zahdeh" userId="76695dcfea8304bd" providerId="LiveId" clId="{3A8C6964-DBF2-450D-9644-7B64291DD03D}" dt="2023-11-13T18:00:12.239" v="6389" actId="20577"/>
          <ac:spMkLst>
            <pc:docMk/>
            <pc:sldMk cId="278289355" sldId="475"/>
            <ac:spMk id="43" creationId="{0E5186EE-786F-E4E3-C9A6-D09A67F8A425}"/>
          </ac:spMkLst>
        </pc:spChg>
        <pc:grpChg chg="add mod">
          <ac:chgData name="Sharif Zahdeh" userId="76695dcfea8304bd" providerId="LiveId" clId="{3A8C6964-DBF2-450D-9644-7B64291DD03D}" dt="2023-11-13T17:55:51.641" v="6353" actId="1076"/>
          <ac:grpSpMkLst>
            <pc:docMk/>
            <pc:sldMk cId="278289355" sldId="475"/>
            <ac:grpSpMk id="19" creationId="{1C97C5A1-04E7-6828-BD98-C65199FD3752}"/>
          </ac:grpSpMkLst>
        </pc:grpChg>
        <pc:grpChg chg="del">
          <ac:chgData name="Sharif Zahdeh" userId="76695dcfea8304bd" providerId="LiveId" clId="{3A8C6964-DBF2-450D-9644-7B64291DD03D}" dt="2023-11-13T11:09:54.799" v="2825" actId="478"/>
          <ac:grpSpMkLst>
            <pc:docMk/>
            <pc:sldMk cId="278289355" sldId="475"/>
            <ac:grpSpMk id="30" creationId="{2ADA33AF-6128-F6D7-DEC5-E6CBA7BCE593}"/>
          </ac:grpSpMkLst>
        </pc:grpChg>
        <pc:grpChg chg="del">
          <ac:chgData name="Sharif Zahdeh" userId="76695dcfea8304bd" providerId="LiveId" clId="{3A8C6964-DBF2-450D-9644-7B64291DD03D}" dt="2023-11-13T11:09:59.363" v="2827" actId="478"/>
          <ac:grpSpMkLst>
            <pc:docMk/>
            <pc:sldMk cId="278289355" sldId="475"/>
            <ac:grpSpMk id="31" creationId="{7904F2F1-4211-08CC-4F53-259B759E3E7F}"/>
          </ac:grpSpMkLst>
        </pc:grpChg>
        <pc:grpChg chg="del">
          <ac:chgData name="Sharif Zahdeh" userId="76695dcfea8304bd" providerId="LiveId" clId="{3A8C6964-DBF2-450D-9644-7B64291DD03D}" dt="2023-11-13T11:10:00.900" v="2828" actId="478"/>
          <ac:grpSpMkLst>
            <pc:docMk/>
            <pc:sldMk cId="278289355" sldId="475"/>
            <ac:grpSpMk id="32" creationId="{C394C3AA-84F5-9F69-557A-CD1A733A257C}"/>
          </ac:grpSpMkLst>
        </pc:grpChg>
        <pc:graphicFrameChg chg="add del mod">
          <ac:chgData name="Sharif Zahdeh" userId="76695dcfea8304bd" providerId="LiveId" clId="{3A8C6964-DBF2-450D-9644-7B64291DD03D}" dt="2023-11-13T11:54:07.294" v="2880" actId="478"/>
          <ac:graphicFrameMkLst>
            <pc:docMk/>
            <pc:sldMk cId="278289355" sldId="475"/>
            <ac:graphicFrameMk id="9" creationId="{0C06E398-2167-619A-9E99-47F62CBD3A45}"/>
          </ac:graphicFrameMkLst>
        </pc:graphicFrameChg>
        <pc:graphicFrameChg chg="add mod">
          <ac:chgData name="Sharif Zahdeh" userId="76695dcfea8304bd" providerId="LiveId" clId="{3A8C6964-DBF2-450D-9644-7B64291DD03D}" dt="2023-11-13T17:54:10.922" v="6343" actId="1076"/>
          <ac:graphicFrameMkLst>
            <pc:docMk/>
            <pc:sldMk cId="278289355" sldId="475"/>
            <ac:graphicFrameMk id="10" creationId="{0309B862-39C7-1F15-C564-E9353A824FF9}"/>
          </ac:graphicFrameMkLst>
        </pc:graphicFrameChg>
        <pc:graphicFrameChg chg="add mod">
          <ac:chgData name="Sharif Zahdeh" userId="76695dcfea8304bd" providerId="LiveId" clId="{3A8C6964-DBF2-450D-9644-7B64291DD03D}" dt="2023-11-13T17:59:06.006" v="6381"/>
          <ac:graphicFrameMkLst>
            <pc:docMk/>
            <pc:sldMk cId="278289355" sldId="475"/>
            <ac:graphicFrameMk id="12" creationId="{AE40CEEB-8433-7505-D3DE-D20999E6BAA9}"/>
          </ac:graphicFrameMkLst>
        </pc:graphicFrameChg>
        <pc:graphicFrameChg chg="add mod">
          <ac:chgData name="Sharif Zahdeh" userId="76695dcfea8304bd" providerId="LiveId" clId="{3A8C6964-DBF2-450D-9644-7B64291DD03D}" dt="2023-11-13T17:58:00.604" v="6372"/>
          <ac:graphicFrameMkLst>
            <pc:docMk/>
            <pc:sldMk cId="278289355" sldId="475"/>
            <ac:graphicFrameMk id="13" creationId="{F4AACC7D-2748-08F9-CB1C-CD80CA44A19C}"/>
          </ac:graphicFrameMkLst>
        </pc:graphicFrameChg>
        <pc:graphicFrameChg chg="add mod">
          <ac:chgData name="Sharif Zahdeh" userId="76695dcfea8304bd" providerId="LiveId" clId="{3A8C6964-DBF2-450D-9644-7B64291DD03D}" dt="2023-11-13T17:58:34.781" v="6378" actId="339"/>
          <ac:graphicFrameMkLst>
            <pc:docMk/>
            <pc:sldMk cId="278289355" sldId="475"/>
            <ac:graphicFrameMk id="15" creationId="{B2AC66F9-5E2A-1D3F-5F92-834DA7D83009}"/>
          </ac:graphicFrameMkLst>
        </pc:graphicFrameChg>
        <pc:graphicFrameChg chg="add mod">
          <ac:chgData name="Sharif Zahdeh" userId="76695dcfea8304bd" providerId="LiveId" clId="{3A8C6964-DBF2-450D-9644-7B64291DD03D}" dt="2023-11-13T17:50:27.494" v="6325" actId="2711"/>
          <ac:graphicFrameMkLst>
            <pc:docMk/>
            <pc:sldMk cId="278289355" sldId="475"/>
            <ac:graphicFrameMk id="17" creationId="{57554BC9-A4B0-AE71-24D2-49788EB45A30}"/>
          </ac:graphicFrameMkLst>
        </pc:graphicFrameChg>
        <pc:graphicFrameChg chg="add mod">
          <ac:chgData name="Sharif Zahdeh" userId="76695dcfea8304bd" providerId="LiveId" clId="{3A8C6964-DBF2-450D-9644-7B64291DD03D}" dt="2023-11-13T17:55:31.450" v="6352" actId="339"/>
          <ac:graphicFrameMkLst>
            <pc:docMk/>
            <pc:sldMk cId="278289355" sldId="475"/>
            <ac:graphicFrameMk id="18" creationId="{D194534E-A627-13B2-376B-27A707A7378D}"/>
          </ac:graphicFrameMkLst>
        </pc:graphicFrameChg>
        <pc:picChg chg="del">
          <ac:chgData name="Sharif Zahdeh" userId="76695dcfea8304bd" providerId="LiveId" clId="{3A8C6964-DBF2-450D-9644-7B64291DD03D}" dt="2023-11-13T11:09:43.904" v="2821" actId="478"/>
          <ac:picMkLst>
            <pc:docMk/>
            <pc:sldMk cId="278289355" sldId="475"/>
            <ac:picMk id="35" creationId="{FB6308E8-6C81-D2FD-9D08-98C710C1BC65}"/>
          </ac:picMkLst>
        </pc:picChg>
        <pc:picChg chg="add mod">
          <ac:chgData name="Sharif Zahdeh" userId="76695dcfea8304bd" providerId="LiveId" clId="{3A8C6964-DBF2-450D-9644-7B64291DD03D}" dt="2023-11-13T12:10:12.466" v="2957" actId="14100"/>
          <ac:picMkLst>
            <pc:docMk/>
            <pc:sldMk cId="278289355" sldId="475"/>
            <ac:picMk id="36" creationId="{A4401B92-48D1-D69D-DFC6-44E0C4199A66}"/>
          </ac:picMkLst>
        </pc:picChg>
        <pc:picChg chg="add mod">
          <ac:chgData name="Sharif Zahdeh" userId="76695dcfea8304bd" providerId="LiveId" clId="{3A8C6964-DBF2-450D-9644-7B64291DD03D}" dt="2023-11-13T17:56:55.661" v="6366" actId="1076"/>
          <ac:picMkLst>
            <pc:docMk/>
            <pc:sldMk cId="278289355" sldId="475"/>
            <ac:picMk id="1026" creationId="{B607DC5A-CF26-6DE7-184A-31A09D757E5E}"/>
          </ac:picMkLst>
        </pc:picChg>
        <pc:picChg chg="add del mod">
          <ac:chgData name="Sharif Zahdeh" userId="76695dcfea8304bd" providerId="LiveId" clId="{3A8C6964-DBF2-450D-9644-7B64291DD03D}" dt="2023-11-13T12:15:06.420" v="2966" actId="478"/>
          <ac:picMkLst>
            <pc:docMk/>
            <pc:sldMk cId="278289355" sldId="475"/>
            <ac:picMk id="1028" creationId="{FD6BB1A0-C0B2-65A7-942E-490BD1B0CB4C}"/>
          </ac:picMkLst>
        </pc:picChg>
        <pc:picChg chg="add mod">
          <ac:chgData name="Sharif Zahdeh" userId="76695dcfea8304bd" providerId="LiveId" clId="{3A8C6964-DBF2-450D-9644-7B64291DD03D}" dt="2023-11-13T17:56:51.068" v="6365" actId="1076"/>
          <ac:picMkLst>
            <pc:docMk/>
            <pc:sldMk cId="278289355" sldId="475"/>
            <ac:picMk id="1030" creationId="{77B75F45-A134-7752-88B3-9D17ED873E2A}"/>
          </ac:picMkLst>
        </pc:picChg>
        <pc:picChg chg="add mod">
          <ac:chgData name="Sharif Zahdeh" userId="76695dcfea8304bd" providerId="LiveId" clId="{3A8C6964-DBF2-450D-9644-7B64291DD03D}" dt="2023-11-13T12:28:18.273" v="3066" actId="1076"/>
          <ac:picMkLst>
            <pc:docMk/>
            <pc:sldMk cId="278289355" sldId="475"/>
            <ac:picMk id="1032" creationId="{AB8CBF83-EC05-49B8-5620-E85A20E8512C}"/>
          </ac:picMkLst>
        </pc:picChg>
        <pc:picChg chg="add mod">
          <ac:chgData name="Sharif Zahdeh" userId="76695dcfea8304bd" providerId="LiveId" clId="{3A8C6964-DBF2-450D-9644-7B64291DD03D}" dt="2023-11-13T17:58:47.317" v="6379" actId="1076"/>
          <ac:picMkLst>
            <pc:docMk/>
            <pc:sldMk cId="278289355" sldId="475"/>
            <ac:picMk id="1034" creationId="{64AC6D38-A591-F6CF-5D44-36A80DF22949}"/>
          </ac:picMkLst>
        </pc:picChg>
        <pc:picChg chg="add del mod">
          <ac:chgData name="Sharif Zahdeh" userId="76695dcfea8304bd" providerId="LiveId" clId="{3A8C6964-DBF2-450D-9644-7B64291DD03D}" dt="2023-11-13T12:22:15.811" v="3003" actId="478"/>
          <ac:picMkLst>
            <pc:docMk/>
            <pc:sldMk cId="278289355" sldId="475"/>
            <ac:picMk id="1036" creationId="{1F2248DB-2579-4E1C-1E13-BCBB541CEFBA}"/>
          </ac:picMkLst>
        </pc:picChg>
        <pc:cxnChg chg="del">
          <ac:chgData name="Sharif Zahdeh" userId="76695dcfea8304bd" providerId="LiveId" clId="{3A8C6964-DBF2-450D-9644-7B64291DD03D}" dt="2023-11-13T11:10:10.846" v="2832" actId="478"/>
          <ac:cxnSpMkLst>
            <pc:docMk/>
            <pc:sldMk cId="278289355" sldId="475"/>
            <ac:cxnSpMk id="5" creationId="{265314AD-0C8B-0495-82F4-AD6FC4C42BF0}"/>
          </ac:cxnSpMkLst>
        </pc:cxnChg>
        <pc:cxnChg chg="del">
          <ac:chgData name="Sharif Zahdeh" userId="76695dcfea8304bd" providerId="LiveId" clId="{3A8C6964-DBF2-450D-9644-7B64291DD03D}" dt="2023-11-13T11:10:08.751" v="2831" actId="478"/>
          <ac:cxnSpMkLst>
            <pc:docMk/>
            <pc:sldMk cId="278289355" sldId="475"/>
            <ac:cxnSpMk id="7" creationId="{6769F1D8-2055-1003-03FF-39897A55459B}"/>
          </ac:cxnSpMkLst>
        </pc:cxnChg>
      </pc:sldChg>
      <pc:sldChg chg="modSp mod">
        <pc:chgData name="Sharif Zahdeh" userId="76695dcfea8304bd" providerId="LiveId" clId="{3A8C6964-DBF2-450D-9644-7B64291DD03D}" dt="2023-11-13T18:06:40.892" v="6424" actId="20577"/>
        <pc:sldMkLst>
          <pc:docMk/>
          <pc:sldMk cId="1100411804" sldId="476"/>
        </pc:sldMkLst>
        <pc:spChg chg="mod">
          <ac:chgData name="Sharif Zahdeh" userId="76695dcfea8304bd" providerId="LiveId" clId="{3A8C6964-DBF2-450D-9644-7B64291DD03D}" dt="2023-11-13T16:29:45.566" v="4537" actId="20577"/>
          <ac:spMkLst>
            <pc:docMk/>
            <pc:sldMk cId="1100411804" sldId="476"/>
            <ac:spMk id="5" creationId="{08648D78-077B-2B81-2084-39977AD7FE99}"/>
          </ac:spMkLst>
        </pc:spChg>
        <pc:spChg chg="mod">
          <ac:chgData name="Sharif Zahdeh" userId="76695dcfea8304bd" providerId="LiveId" clId="{3A8C6964-DBF2-450D-9644-7B64291DD03D}" dt="2023-11-13T16:41:06.880" v="4825" actId="20577"/>
          <ac:spMkLst>
            <pc:docMk/>
            <pc:sldMk cId="1100411804" sldId="476"/>
            <ac:spMk id="37" creationId="{14A03FFF-2F1C-118F-8E01-67EA5B07337F}"/>
          </ac:spMkLst>
        </pc:spChg>
        <pc:spChg chg="mod">
          <ac:chgData name="Sharif Zahdeh" userId="76695dcfea8304bd" providerId="LiveId" clId="{3A8C6964-DBF2-450D-9644-7B64291DD03D}" dt="2023-11-13T16:36:11.605" v="4600" actId="20577"/>
          <ac:spMkLst>
            <pc:docMk/>
            <pc:sldMk cId="1100411804" sldId="476"/>
            <ac:spMk id="38" creationId="{B1538C19-CB60-A64B-772A-2DEC5E06D670}"/>
          </ac:spMkLst>
        </pc:spChg>
        <pc:spChg chg="mod">
          <ac:chgData name="Sharif Zahdeh" userId="76695dcfea8304bd" providerId="LiveId" clId="{3A8C6964-DBF2-450D-9644-7B64291DD03D}" dt="2023-11-13T18:06:40.892" v="6424" actId="20577"/>
          <ac:spMkLst>
            <pc:docMk/>
            <pc:sldMk cId="1100411804" sldId="476"/>
            <ac:spMk id="40" creationId="{245FB7F2-7DC5-2E98-BF8C-D4F98BC11ACD}"/>
          </ac:spMkLst>
        </pc:spChg>
        <pc:spChg chg="mod">
          <ac:chgData name="Sharif Zahdeh" userId="76695dcfea8304bd" providerId="LiveId" clId="{3A8C6964-DBF2-450D-9644-7B64291DD03D}" dt="2023-11-13T16:00:17.907" v="3290" actId="20577"/>
          <ac:spMkLst>
            <pc:docMk/>
            <pc:sldMk cId="1100411804" sldId="476"/>
            <ac:spMk id="41" creationId="{8034C89F-02E8-80A5-3A1A-71EA59F25C0A}"/>
          </ac:spMkLst>
        </pc:spChg>
        <pc:spChg chg="mod">
          <ac:chgData name="Sharif Zahdeh" userId="76695dcfea8304bd" providerId="LiveId" clId="{3A8C6964-DBF2-450D-9644-7B64291DD03D}" dt="2023-11-13T16:08:15.656" v="3578" actId="313"/>
          <ac:spMkLst>
            <pc:docMk/>
            <pc:sldMk cId="1100411804" sldId="476"/>
            <ac:spMk id="42" creationId="{A4F2B4FA-9E11-EBFA-331E-7100CB6FFF1C}"/>
          </ac:spMkLst>
        </pc:spChg>
        <pc:spChg chg="mod">
          <ac:chgData name="Sharif Zahdeh" userId="76695dcfea8304bd" providerId="LiveId" clId="{3A8C6964-DBF2-450D-9644-7B64291DD03D}" dt="2023-11-13T16:18:07.780" v="4256" actId="1035"/>
          <ac:spMkLst>
            <pc:docMk/>
            <pc:sldMk cId="1100411804" sldId="476"/>
            <ac:spMk id="47" creationId="{14F0D458-5BB4-847A-C519-F0816E5452FB}"/>
          </ac:spMkLst>
        </pc:spChg>
        <pc:spChg chg="mod">
          <ac:chgData name="Sharif Zahdeh" userId="76695dcfea8304bd" providerId="LiveId" clId="{3A8C6964-DBF2-450D-9644-7B64291DD03D}" dt="2023-11-13T16:18:41.505" v="4328" actId="1035"/>
          <ac:spMkLst>
            <pc:docMk/>
            <pc:sldMk cId="1100411804" sldId="476"/>
            <ac:spMk id="48" creationId="{997C7CE9-AD47-E3AF-228A-C2551DB9BB44}"/>
          </ac:spMkLst>
        </pc:spChg>
        <pc:spChg chg="mod">
          <ac:chgData name="Sharif Zahdeh" userId="76695dcfea8304bd" providerId="LiveId" clId="{3A8C6964-DBF2-450D-9644-7B64291DD03D}" dt="2023-11-13T16:18:26.256" v="4295" actId="1035"/>
          <ac:spMkLst>
            <pc:docMk/>
            <pc:sldMk cId="1100411804" sldId="476"/>
            <ac:spMk id="50" creationId="{216E28E3-2EC9-6686-CAD0-9C8DF0F3EBA1}"/>
          </ac:spMkLst>
        </pc:spChg>
        <pc:spChg chg="mod">
          <ac:chgData name="Sharif Zahdeh" userId="76695dcfea8304bd" providerId="LiveId" clId="{3A8C6964-DBF2-450D-9644-7B64291DD03D}" dt="2023-11-13T18:04:15.993" v="6397" actId="20577"/>
          <ac:spMkLst>
            <pc:docMk/>
            <pc:sldMk cId="1100411804" sldId="476"/>
            <ac:spMk id="51" creationId="{0A231543-A554-D1EB-8FF6-D076D4E086F0}"/>
          </ac:spMkLst>
        </pc:spChg>
        <pc:grpChg chg="mod">
          <ac:chgData name="Sharif Zahdeh" userId="76695dcfea8304bd" providerId="LiveId" clId="{3A8C6964-DBF2-450D-9644-7B64291DD03D}" dt="2023-11-13T16:18:07.780" v="4256" actId="1035"/>
          <ac:grpSpMkLst>
            <pc:docMk/>
            <pc:sldMk cId="1100411804" sldId="476"/>
            <ac:grpSpMk id="62" creationId="{149013FE-5AFF-3DF8-CAF1-79518681F429}"/>
          </ac:grpSpMkLst>
        </pc:grpChg>
        <pc:grpChg chg="mod">
          <ac:chgData name="Sharif Zahdeh" userId="76695dcfea8304bd" providerId="LiveId" clId="{3A8C6964-DBF2-450D-9644-7B64291DD03D}" dt="2023-11-13T16:18:26.256" v="4295" actId="1035"/>
          <ac:grpSpMkLst>
            <pc:docMk/>
            <pc:sldMk cId="1100411804" sldId="476"/>
            <ac:grpSpMk id="65" creationId="{4C1BE75E-3D77-6C04-E9BA-FC19793195AE}"/>
          </ac:grpSpMkLst>
        </pc:grpChg>
      </pc:sldChg>
      <pc:sldChg chg="addSp delSp modSp mod">
        <pc:chgData name="Sharif Zahdeh" userId="76695dcfea8304bd" providerId="LiveId" clId="{3A8C6964-DBF2-450D-9644-7B64291DD03D}" dt="2023-11-19T11:24:27.663" v="9043" actId="6549"/>
        <pc:sldMkLst>
          <pc:docMk/>
          <pc:sldMk cId="181627938" sldId="477"/>
        </pc:sldMkLst>
        <pc:spChg chg="mod">
          <ac:chgData name="Sharif Zahdeh" userId="76695dcfea8304bd" providerId="LiveId" clId="{3A8C6964-DBF2-450D-9644-7B64291DD03D}" dt="2023-11-13T17:45:42.679" v="6279" actId="1035"/>
          <ac:spMkLst>
            <pc:docMk/>
            <pc:sldMk cId="181627938" sldId="477"/>
            <ac:spMk id="5" creationId="{08648D78-077B-2B81-2084-39977AD7FE99}"/>
          </ac:spMkLst>
        </pc:spChg>
        <pc:spChg chg="add del mod">
          <ac:chgData name="Sharif Zahdeh" userId="76695dcfea8304bd" providerId="LiveId" clId="{3A8C6964-DBF2-450D-9644-7B64291DD03D}" dt="2023-11-19T11:24:27.663" v="9043" actId="6549"/>
          <ac:spMkLst>
            <pc:docMk/>
            <pc:sldMk cId="181627938" sldId="477"/>
            <ac:spMk id="37" creationId="{14A03FFF-2F1C-118F-8E01-67EA5B07337F}"/>
          </ac:spMkLst>
        </pc:spChg>
        <pc:spChg chg="del mod">
          <ac:chgData name="Sharif Zahdeh" userId="76695dcfea8304bd" providerId="LiveId" clId="{3A8C6964-DBF2-450D-9644-7B64291DD03D}" dt="2023-11-13T17:47:30.621" v="6316" actId="478"/>
          <ac:spMkLst>
            <pc:docMk/>
            <pc:sldMk cId="181627938" sldId="477"/>
            <ac:spMk id="38" creationId="{B1538C19-CB60-A64B-772A-2DEC5E06D670}"/>
          </ac:spMkLst>
        </pc:spChg>
        <pc:spChg chg="del">
          <ac:chgData name="Sharif Zahdeh" userId="76695dcfea8304bd" providerId="LiveId" clId="{3A8C6964-DBF2-450D-9644-7B64291DD03D}" dt="2023-11-13T17:47:25.231" v="6314" actId="478"/>
          <ac:spMkLst>
            <pc:docMk/>
            <pc:sldMk cId="181627938" sldId="477"/>
            <ac:spMk id="40" creationId="{245FB7F2-7DC5-2E98-BF8C-D4F98BC11ACD}"/>
          </ac:spMkLst>
        </pc:spChg>
        <pc:spChg chg="mod">
          <ac:chgData name="Sharif Zahdeh" userId="76695dcfea8304bd" providerId="LiveId" clId="{3A8C6964-DBF2-450D-9644-7B64291DD03D}" dt="2023-11-13T17:29:00.528" v="5411" actId="20577"/>
          <ac:spMkLst>
            <pc:docMk/>
            <pc:sldMk cId="181627938" sldId="477"/>
            <ac:spMk id="41" creationId="{8034C89F-02E8-80A5-3A1A-71EA59F25C0A}"/>
          </ac:spMkLst>
        </pc:spChg>
        <pc:spChg chg="mod">
          <ac:chgData name="Sharif Zahdeh" userId="76695dcfea8304bd" providerId="LiveId" clId="{3A8C6964-DBF2-450D-9644-7B64291DD03D}" dt="2023-11-13T17:27:18.551" v="5293" actId="20577"/>
          <ac:spMkLst>
            <pc:docMk/>
            <pc:sldMk cId="181627938" sldId="477"/>
            <ac:spMk id="42" creationId="{A4F2B4FA-9E11-EBFA-331E-7100CB6FFF1C}"/>
          </ac:spMkLst>
        </pc:spChg>
        <pc:spChg chg="del">
          <ac:chgData name="Sharif Zahdeh" userId="76695dcfea8304bd" providerId="LiveId" clId="{3A8C6964-DBF2-450D-9644-7B64291DD03D}" dt="2023-11-13T17:27:39.355" v="5295" actId="478"/>
          <ac:spMkLst>
            <pc:docMk/>
            <pc:sldMk cId="181627938" sldId="477"/>
            <ac:spMk id="47" creationId="{14F0D458-5BB4-847A-C519-F0816E5452FB}"/>
          </ac:spMkLst>
        </pc:spChg>
        <pc:spChg chg="del">
          <ac:chgData name="Sharif Zahdeh" userId="76695dcfea8304bd" providerId="LiveId" clId="{3A8C6964-DBF2-450D-9644-7B64291DD03D}" dt="2023-11-13T17:27:33.160" v="5294" actId="478"/>
          <ac:spMkLst>
            <pc:docMk/>
            <pc:sldMk cId="181627938" sldId="477"/>
            <ac:spMk id="48" creationId="{997C7CE9-AD47-E3AF-228A-C2551DB9BB44}"/>
          </ac:spMkLst>
        </pc:spChg>
        <pc:spChg chg="mod">
          <ac:chgData name="Sharif Zahdeh" userId="76695dcfea8304bd" providerId="LiveId" clId="{3A8C6964-DBF2-450D-9644-7B64291DD03D}" dt="2023-11-13T17:33:09.885" v="5801" actId="1035"/>
          <ac:spMkLst>
            <pc:docMk/>
            <pc:sldMk cId="181627938" sldId="477"/>
            <ac:spMk id="50" creationId="{216E28E3-2EC9-6686-CAD0-9C8DF0F3EBA1}"/>
          </ac:spMkLst>
        </pc:spChg>
        <pc:spChg chg="mod">
          <ac:chgData name="Sharif Zahdeh" userId="76695dcfea8304bd" providerId="LiveId" clId="{3A8C6964-DBF2-450D-9644-7B64291DD03D}" dt="2023-11-14T09:07:19.908" v="6436" actId="20577"/>
          <ac:spMkLst>
            <pc:docMk/>
            <pc:sldMk cId="181627938" sldId="477"/>
            <ac:spMk id="51" creationId="{0A231543-A554-D1EB-8FF6-D076D4E086F0}"/>
          </ac:spMkLst>
        </pc:spChg>
        <pc:grpChg chg="del">
          <ac:chgData name="Sharif Zahdeh" userId="76695dcfea8304bd" providerId="LiveId" clId="{3A8C6964-DBF2-450D-9644-7B64291DD03D}" dt="2023-11-13T17:27:42.840" v="5296" actId="478"/>
          <ac:grpSpMkLst>
            <pc:docMk/>
            <pc:sldMk cId="181627938" sldId="477"/>
            <ac:grpSpMk id="62" creationId="{149013FE-5AFF-3DF8-CAF1-79518681F429}"/>
          </ac:grpSpMkLst>
        </pc:grpChg>
        <pc:grpChg chg="mod">
          <ac:chgData name="Sharif Zahdeh" userId="76695dcfea8304bd" providerId="LiveId" clId="{3A8C6964-DBF2-450D-9644-7B64291DD03D}" dt="2023-11-13T17:33:09.885" v="5801" actId="1035"/>
          <ac:grpSpMkLst>
            <pc:docMk/>
            <pc:sldMk cId="181627938" sldId="477"/>
            <ac:grpSpMk id="65" creationId="{4C1BE75E-3D77-6C04-E9BA-FC19793195AE}"/>
          </ac:grpSpMkLst>
        </pc:grpChg>
        <pc:grpChg chg="mod">
          <ac:chgData name="Sharif Zahdeh" userId="76695dcfea8304bd" providerId="LiveId" clId="{3A8C6964-DBF2-450D-9644-7B64291DD03D}" dt="2023-11-13T17:45:42.679" v="6279" actId="1035"/>
          <ac:grpSpMkLst>
            <pc:docMk/>
            <pc:sldMk cId="181627938" sldId="477"/>
            <ac:grpSpMk id="68" creationId="{FE98DE5C-B569-7648-E2FB-99A95A883F43}"/>
          </ac:grpSpMkLst>
        </pc:grpChg>
        <pc:grpChg chg="del">
          <ac:chgData name="Sharif Zahdeh" userId="76695dcfea8304bd" providerId="LiveId" clId="{3A8C6964-DBF2-450D-9644-7B64291DD03D}" dt="2023-11-13T17:47:33.366" v="6317" actId="478"/>
          <ac:grpSpMkLst>
            <pc:docMk/>
            <pc:sldMk cId="181627938" sldId="477"/>
            <ac:grpSpMk id="71" creationId="{610F0965-1706-DF2F-6AF3-5616EFFFC780}"/>
          </ac:grpSpMkLst>
        </pc:grpChg>
        <pc:picChg chg="add del mod">
          <ac:chgData name="Sharif Zahdeh" userId="76695dcfea8304bd" providerId="LiveId" clId="{3A8C6964-DBF2-450D-9644-7B64291DD03D}" dt="2023-11-13T17:48:37.247" v="6323" actId="478"/>
          <ac:picMkLst>
            <pc:docMk/>
            <pc:sldMk cId="181627938" sldId="477"/>
            <ac:picMk id="43" creationId="{F30C3CB5-2B29-693E-C11E-363C888E7523}"/>
          </ac:picMkLst>
        </pc:picChg>
      </pc:sldChg>
      <pc:sldChg chg="new del">
        <pc:chgData name="Sharif Zahdeh" userId="76695dcfea8304bd" providerId="LiveId" clId="{3A8C6964-DBF2-450D-9644-7B64291DD03D}" dt="2023-11-19T10:12:56.576" v="6444" actId="47"/>
        <pc:sldMkLst>
          <pc:docMk/>
          <pc:sldMk cId="2201593757" sldId="478"/>
        </pc:sldMkLst>
      </pc:sldChg>
      <pc:sldChg chg="addSp delSp modSp mod">
        <pc:chgData name="Sharif Zahdeh" userId="76695dcfea8304bd" providerId="LiveId" clId="{3A8C6964-DBF2-450D-9644-7B64291DD03D}" dt="2023-11-19T12:10:53.579" v="9441" actId="5793"/>
        <pc:sldMkLst>
          <pc:docMk/>
          <pc:sldMk cId="3781396532" sldId="478"/>
        </pc:sldMkLst>
        <pc:spChg chg="mod">
          <ac:chgData name="Sharif Zahdeh" userId="76695dcfea8304bd" providerId="LiveId" clId="{3A8C6964-DBF2-450D-9644-7B64291DD03D}" dt="2023-11-19T10:15:16.163" v="6458"/>
          <ac:spMkLst>
            <pc:docMk/>
            <pc:sldMk cId="3781396532" sldId="478"/>
            <ac:spMk id="3" creationId="{FBBE537B-DF2A-AD2E-0010-4CBCFA064AD1}"/>
          </ac:spMkLst>
        </pc:spChg>
        <pc:spChg chg="mod">
          <ac:chgData name="Sharif Zahdeh" userId="76695dcfea8304bd" providerId="LiveId" clId="{3A8C6964-DBF2-450D-9644-7B64291DD03D}" dt="2023-11-19T10:18:54.047" v="6666" actId="207"/>
          <ac:spMkLst>
            <pc:docMk/>
            <pc:sldMk cId="3781396532" sldId="478"/>
            <ac:spMk id="5" creationId="{EEE5E3A8-A0F5-BAA3-81C8-A08861B7E99C}"/>
          </ac:spMkLst>
        </pc:spChg>
        <pc:spChg chg="del">
          <ac:chgData name="Sharif Zahdeh" userId="76695dcfea8304bd" providerId="LiveId" clId="{3A8C6964-DBF2-450D-9644-7B64291DD03D}" dt="2023-11-19T10:14:28.448" v="6448" actId="478"/>
          <ac:spMkLst>
            <pc:docMk/>
            <pc:sldMk cId="3781396532" sldId="478"/>
            <ac:spMk id="37" creationId="{675B5D04-3D73-5CAB-C52E-2236405A6BB3}"/>
          </ac:spMkLst>
        </pc:spChg>
        <pc:spChg chg="mod">
          <ac:chgData name="Sharif Zahdeh" userId="76695dcfea8304bd" providerId="LiveId" clId="{3A8C6964-DBF2-450D-9644-7B64291DD03D}" dt="2023-11-19T10:15:16.163" v="6458"/>
          <ac:spMkLst>
            <pc:docMk/>
            <pc:sldMk cId="3781396532" sldId="478"/>
            <ac:spMk id="38" creationId="{CAB77EA1-681F-BA09-44AC-5DDE7679AC39}"/>
          </ac:spMkLst>
        </pc:spChg>
        <pc:spChg chg="del mod">
          <ac:chgData name="Sharif Zahdeh" userId="76695dcfea8304bd" providerId="LiveId" clId="{3A8C6964-DBF2-450D-9644-7B64291DD03D}" dt="2023-11-19T11:10:37.727" v="8424" actId="478"/>
          <ac:spMkLst>
            <pc:docMk/>
            <pc:sldMk cId="3781396532" sldId="478"/>
            <ac:spMk id="40" creationId="{EBB5BEB3-04EC-03F1-F064-18F872A94347}"/>
          </ac:spMkLst>
        </pc:spChg>
        <pc:spChg chg="del mod">
          <ac:chgData name="Sharif Zahdeh" userId="76695dcfea8304bd" providerId="LiveId" clId="{3A8C6964-DBF2-450D-9644-7B64291DD03D}" dt="2023-11-19T10:14:37.420" v="6451" actId="478"/>
          <ac:spMkLst>
            <pc:docMk/>
            <pc:sldMk cId="3781396532" sldId="478"/>
            <ac:spMk id="41" creationId="{C39A9ADE-B014-4911-FF98-10335EE8D1BC}"/>
          </ac:spMkLst>
        </pc:spChg>
        <pc:spChg chg="mod">
          <ac:chgData name="Sharif Zahdeh" userId="76695dcfea8304bd" providerId="LiveId" clId="{3A8C6964-DBF2-450D-9644-7B64291DD03D}" dt="2023-11-19T11:30:05.707" v="9177" actId="1076"/>
          <ac:spMkLst>
            <pc:docMk/>
            <pc:sldMk cId="3781396532" sldId="478"/>
            <ac:spMk id="44" creationId="{F40BCD17-3F0D-FC9B-B369-EB47F689B024}"/>
          </ac:spMkLst>
        </pc:spChg>
        <pc:spChg chg="mod">
          <ac:chgData name="Sharif Zahdeh" userId="76695dcfea8304bd" providerId="LiveId" clId="{3A8C6964-DBF2-450D-9644-7B64291DD03D}" dt="2023-11-19T10:15:16.163" v="6458"/>
          <ac:spMkLst>
            <pc:docMk/>
            <pc:sldMk cId="3781396532" sldId="478"/>
            <ac:spMk id="45" creationId="{DB150F01-ECB9-425D-0018-CC86AA1F3D3B}"/>
          </ac:spMkLst>
        </pc:spChg>
        <pc:spChg chg="mod">
          <ac:chgData name="Sharif Zahdeh" userId="76695dcfea8304bd" providerId="LiveId" clId="{3A8C6964-DBF2-450D-9644-7B64291DD03D}" dt="2023-11-19T10:15:16.163" v="6458"/>
          <ac:spMkLst>
            <pc:docMk/>
            <pc:sldMk cId="3781396532" sldId="478"/>
            <ac:spMk id="46" creationId="{D42D2D61-F920-7643-9A0D-4A08BEA14963}"/>
          </ac:spMkLst>
        </pc:spChg>
        <pc:spChg chg="mod">
          <ac:chgData name="Sharif Zahdeh" userId="76695dcfea8304bd" providerId="LiveId" clId="{3A8C6964-DBF2-450D-9644-7B64291DD03D}" dt="2023-11-19T10:44:14.725" v="7470" actId="207"/>
          <ac:spMkLst>
            <pc:docMk/>
            <pc:sldMk cId="3781396532" sldId="478"/>
            <ac:spMk id="47" creationId="{770BAA06-FFFE-5B53-CB9A-1C5DF8E7038C}"/>
          </ac:spMkLst>
        </pc:spChg>
        <pc:spChg chg="mod">
          <ac:chgData name="Sharif Zahdeh" userId="76695dcfea8304bd" providerId="LiveId" clId="{3A8C6964-DBF2-450D-9644-7B64291DD03D}" dt="2023-11-19T11:30:29.004" v="9178" actId="207"/>
          <ac:spMkLst>
            <pc:docMk/>
            <pc:sldMk cId="3781396532" sldId="478"/>
            <ac:spMk id="50" creationId="{78837CE2-F520-C57A-AFD2-CD799A441B80}"/>
          </ac:spMkLst>
        </pc:spChg>
        <pc:spChg chg="mod">
          <ac:chgData name="Sharif Zahdeh" userId="76695dcfea8304bd" providerId="LiveId" clId="{3A8C6964-DBF2-450D-9644-7B64291DD03D}" dt="2023-11-19T11:30:29.004" v="9178" actId="207"/>
          <ac:spMkLst>
            <pc:docMk/>
            <pc:sldMk cId="3781396532" sldId="478"/>
            <ac:spMk id="51" creationId="{25BB1F68-698C-6B9F-A797-8D12C1EEDE1D}"/>
          </ac:spMkLst>
        </pc:spChg>
        <pc:spChg chg="mod">
          <ac:chgData name="Sharif Zahdeh" userId="76695dcfea8304bd" providerId="LiveId" clId="{3A8C6964-DBF2-450D-9644-7B64291DD03D}" dt="2023-11-19T11:30:29.004" v="9178" actId="207"/>
          <ac:spMkLst>
            <pc:docMk/>
            <pc:sldMk cId="3781396532" sldId="478"/>
            <ac:spMk id="52" creationId="{1821CD10-DD6A-224F-D656-A6277BBAE82D}"/>
          </ac:spMkLst>
        </pc:spChg>
        <pc:spChg chg="mod">
          <ac:chgData name="Sharif Zahdeh" userId="76695dcfea8304bd" providerId="LiveId" clId="{3A8C6964-DBF2-450D-9644-7B64291DD03D}" dt="2023-11-19T11:30:29.004" v="9178" actId="207"/>
          <ac:spMkLst>
            <pc:docMk/>
            <pc:sldMk cId="3781396532" sldId="478"/>
            <ac:spMk id="53" creationId="{271712FA-2865-A0F8-A7DD-CCB2A0EEC7E8}"/>
          </ac:spMkLst>
        </pc:spChg>
        <pc:spChg chg="del mod topLvl">
          <ac:chgData name="Sharif Zahdeh" userId="76695dcfea8304bd" providerId="LiveId" clId="{3A8C6964-DBF2-450D-9644-7B64291DD03D}" dt="2023-11-19T11:04:22.055" v="8119" actId="478"/>
          <ac:spMkLst>
            <pc:docMk/>
            <pc:sldMk cId="3781396532" sldId="478"/>
            <ac:spMk id="55" creationId="{7ADB77FF-1D70-C35B-239B-A7AF2F765119}"/>
          </ac:spMkLst>
        </pc:spChg>
        <pc:spChg chg="del mod topLvl">
          <ac:chgData name="Sharif Zahdeh" userId="76695dcfea8304bd" providerId="LiveId" clId="{3A8C6964-DBF2-450D-9644-7B64291DD03D}" dt="2023-11-19T11:04:25.063" v="8120" actId="478"/>
          <ac:spMkLst>
            <pc:docMk/>
            <pc:sldMk cId="3781396532" sldId="478"/>
            <ac:spMk id="56" creationId="{801905DA-DEA5-377F-DE34-7ED8120589A1}"/>
          </ac:spMkLst>
        </pc:spChg>
        <pc:spChg chg="del mod topLvl">
          <ac:chgData name="Sharif Zahdeh" userId="76695dcfea8304bd" providerId="LiveId" clId="{3A8C6964-DBF2-450D-9644-7B64291DD03D}" dt="2023-11-19T11:04:29.023" v="8121" actId="478"/>
          <ac:spMkLst>
            <pc:docMk/>
            <pc:sldMk cId="3781396532" sldId="478"/>
            <ac:spMk id="58" creationId="{4F39E133-97B7-86B8-56F8-DC900E88DDE5}"/>
          </ac:spMkLst>
        </pc:spChg>
        <pc:spChg chg="del mod topLvl">
          <ac:chgData name="Sharif Zahdeh" userId="76695dcfea8304bd" providerId="LiveId" clId="{3A8C6964-DBF2-450D-9644-7B64291DD03D}" dt="2023-11-19T11:04:31.463" v="8122" actId="478"/>
          <ac:spMkLst>
            <pc:docMk/>
            <pc:sldMk cId="3781396532" sldId="478"/>
            <ac:spMk id="59" creationId="{E3E92C2D-75BA-1997-8236-0DD05B2AB0E1}"/>
          </ac:spMkLst>
        </pc:spChg>
        <pc:spChg chg="mod">
          <ac:chgData name="Sharif Zahdeh" userId="76695dcfea8304bd" providerId="LiveId" clId="{3A8C6964-DBF2-450D-9644-7B64291DD03D}" dt="2023-11-19T11:09:13.523" v="8363" actId="6549"/>
          <ac:spMkLst>
            <pc:docMk/>
            <pc:sldMk cId="3781396532" sldId="478"/>
            <ac:spMk id="61" creationId="{E8CED022-269D-CBAA-751B-D6A61FF2C4F9}"/>
          </ac:spMkLst>
        </pc:spChg>
        <pc:spChg chg="mod">
          <ac:chgData name="Sharif Zahdeh" userId="76695dcfea8304bd" providerId="LiveId" clId="{3A8C6964-DBF2-450D-9644-7B64291DD03D}" dt="2023-11-19T10:15:16.163" v="6458"/>
          <ac:spMkLst>
            <pc:docMk/>
            <pc:sldMk cId="3781396532" sldId="478"/>
            <ac:spMk id="62" creationId="{A6870D4B-4EF0-8E82-FCA6-E361B2A2BE7D}"/>
          </ac:spMkLst>
        </pc:spChg>
        <pc:spChg chg="mod">
          <ac:chgData name="Sharif Zahdeh" userId="76695dcfea8304bd" providerId="LiveId" clId="{3A8C6964-DBF2-450D-9644-7B64291DD03D}" dt="2023-11-19T10:15:16.163" v="6458"/>
          <ac:spMkLst>
            <pc:docMk/>
            <pc:sldMk cId="3781396532" sldId="478"/>
            <ac:spMk id="64" creationId="{B2ECC996-5D05-E457-2682-AB7C9D4E855D}"/>
          </ac:spMkLst>
        </pc:spChg>
        <pc:spChg chg="mod">
          <ac:chgData name="Sharif Zahdeh" userId="76695dcfea8304bd" providerId="LiveId" clId="{3A8C6964-DBF2-450D-9644-7B64291DD03D}" dt="2023-11-19T10:15:16.163" v="6458"/>
          <ac:spMkLst>
            <pc:docMk/>
            <pc:sldMk cId="3781396532" sldId="478"/>
            <ac:spMk id="65" creationId="{D3E610E4-B018-CCDB-12A7-5906FFD3C57D}"/>
          </ac:spMkLst>
        </pc:spChg>
        <pc:spChg chg="mod">
          <ac:chgData name="Sharif Zahdeh" userId="76695dcfea8304bd" providerId="LiveId" clId="{3A8C6964-DBF2-450D-9644-7B64291DD03D}" dt="2023-11-19T11:27:46.589" v="9148" actId="404"/>
          <ac:spMkLst>
            <pc:docMk/>
            <pc:sldMk cId="3781396532" sldId="478"/>
            <ac:spMk id="67" creationId="{97B0882A-E9B5-AB83-DA28-41EE97F8CAAB}"/>
          </ac:spMkLst>
        </pc:spChg>
        <pc:spChg chg="mod">
          <ac:chgData name="Sharif Zahdeh" userId="76695dcfea8304bd" providerId="LiveId" clId="{3A8C6964-DBF2-450D-9644-7B64291DD03D}" dt="2023-11-19T12:10:53.579" v="9441" actId="5793"/>
          <ac:spMkLst>
            <pc:docMk/>
            <pc:sldMk cId="3781396532" sldId="478"/>
            <ac:spMk id="68" creationId="{F2066A1A-3D5A-B3C4-1694-9047A2A5ABE6}"/>
          </ac:spMkLst>
        </pc:spChg>
        <pc:spChg chg="mod">
          <ac:chgData name="Sharif Zahdeh" userId="76695dcfea8304bd" providerId="LiveId" clId="{3A8C6964-DBF2-450D-9644-7B64291DD03D}" dt="2023-11-19T11:33:26.518" v="9179" actId="20577"/>
          <ac:spMkLst>
            <pc:docMk/>
            <pc:sldMk cId="3781396532" sldId="478"/>
            <ac:spMk id="70" creationId="{3C0627F0-D3E4-6480-C29A-53513DD6E23A}"/>
          </ac:spMkLst>
        </pc:spChg>
        <pc:spChg chg="mod">
          <ac:chgData name="Sharif Zahdeh" userId="76695dcfea8304bd" providerId="LiveId" clId="{3A8C6964-DBF2-450D-9644-7B64291DD03D}" dt="2023-11-19T12:04:59.512" v="9319" actId="6549"/>
          <ac:spMkLst>
            <pc:docMk/>
            <pc:sldMk cId="3781396532" sldId="478"/>
            <ac:spMk id="71" creationId="{7BDB1E0C-B33C-1C5F-ABF3-C1880D166431}"/>
          </ac:spMkLst>
        </pc:spChg>
        <pc:spChg chg="del">
          <ac:chgData name="Sharif Zahdeh" userId="76695dcfea8304bd" providerId="LiveId" clId="{3A8C6964-DBF2-450D-9644-7B64291DD03D}" dt="2023-11-19T10:14:39.436" v="6452" actId="478"/>
          <ac:spMkLst>
            <pc:docMk/>
            <pc:sldMk cId="3781396532" sldId="478"/>
            <ac:spMk id="77" creationId="{79C68693-060E-BB7B-E099-FB778E999322}"/>
          </ac:spMkLst>
        </pc:spChg>
        <pc:spChg chg="del">
          <ac:chgData name="Sharif Zahdeh" userId="76695dcfea8304bd" providerId="LiveId" clId="{3A8C6964-DBF2-450D-9644-7B64291DD03D}" dt="2023-11-19T10:14:46.420" v="6454" actId="478"/>
          <ac:spMkLst>
            <pc:docMk/>
            <pc:sldMk cId="3781396532" sldId="478"/>
            <ac:spMk id="85" creationId="{86C5333F-B774-FA28-0041-8D9A48370C3D}"/>
          </ac:spMkLst>
        </pc:spChg>
        <pc:spChg chg="del mod">
          <ac:chgData name="Sharif Zahdeh" userId="76695dcfea8304bd" providerId="LiveId" clId="{3A8C6964-DBF2-450D-9644-7B64291DD03D}" dt="2023-11-19T10:17:18.696" v="6648" actId="478"/>
          <ac:spMkLst>
            <pc:docMk/>
            <pc:sldMk cId="3781396532" sldId="478"/>
            <ac:spMk id="109" creationId="{0D93B570-5C09-BEF7-6708-9956FF7BB3A3}"/>
          </ac:spMkLst>
        </pc:spChg>
        <pc:spChg chg="del">
          <ac:chgData name="Sharif Zahdeh" userId="76695dcfea8304bd" providerId="LiveId" clId="{3A8C6964-DBF2-450D-9644-7B64291DD03D}" dt="2023-11-19T10:14:50.044" v="6456" actId="478"/>
          <ac:spMkLst>
            <pc:docMk/>
            <pc:sldMk cId="3781396532" sldId="478"/>
            <ac:spMk id="120" creationId="{88E6DEDE-94D2-DE00-045F-9C64186499D2}"/>
          </ac:spMkLst>
        </pc:spChg>
        <pc:grpChg chg="add mod">
          <ac:chgData name="Sharif Zahdeh" userId="76695dcfea8304bd" providerId="LiveId" clId="{3A8C6964-DBF2-450D-9644-7B64291DD03D}" dt="2023-11-19T11:27:01.681" v="9089" actId="1038"/>
          <ac:grpSpMkLst>
            <pc:docMk/>
            <pc:sldMk cId="3781396532" sldId="478"/>
            <ac:grpSpMk id="2" creationId="{201BB802-929A-497A-F3EB-EAA6FCD55822}"/>
          </ac:grpSpMkLst>
        </pc:grpChg>
        <pc:grpChg chg="add mod">
          <ac:chgData name="Sharif Zahdeh" userId="76695dcfea8304bd" providerId="LiveId" clId="{3A8C6964-DBF2-450D-9644-7B64291DD03D}" dt="2023-11-19T11:28:13.623" v="9164" actId="1038"/>
          <ac:grpSpMkLst>
            <pc:docMk/>
            <pc:sldMk cId="3781396532" sldId="478"/>
            <ac:grpSpMk id="42" creationId="{E8E8FE28-02B4-9981-7E98-95B5E6E675AD}"/>
          </ac:grpSpMkLst>
        </pc:grpChg>
        <pc:grpChg chg="mod">
          <ac:chgData name="Sharif Zahdeh" userId="76695dcfea8304bd" providerId="LiveId" clId="{3A8C6964-DBF2-450D-9644-7B64291DD03D}" dt="2023-11-19T10:15:16.163" v="6458"/>
          <ac:grpSpMkLst>
            <pc:docMk/>
            <pc:sldMk cId="3781396532" sldId="478"/>
            <ac:grpSpMk id="43" creationId="{B376F624-D8AB-3FC1-EF8C-B8B530D0CF5F}"/>
          </ac:grpSpMkLst>
        </pc:grpChg>
        <pc:grpChg chg="add mod">
          <ac:chgData name="Sharif Zahdeh" userId="76695dcfea8304bd" providerId="LiveId" clId="{3A8C6964-DBF2-450D-9644-7B64291DD03D}" dt="2023-11-19T11:30:29.004" v="9178" actId="207"/>
          <ac:grpSpMkLst>
            <pc:docMk/>
            <pc:sldMk cId="3781396532" sldId="478"/>
            <ac:grpSpMk id="48" creationId="{151EC2CB-3689-8EFE-5BE2-7616BF989644}"/>
          </ac:grpSpMkLst>
        </pc:grpChg>
        <pc:grpChg chg="mod">
          <ac:chgData name="Sharif Zahdeh" userId="76695dcfea8304bd" providerId="LiveId" clId="{3A8C6964-DBF2-450D-9644-7B64291DD03D}" dt="2023-11-19T11:30:29.004" v="9178" actId="207"/>
          <ac:grpSpMkLst>
            <pc:docMk/>
            <pc:sldMk cId="3781396532" sldId="478"/>
            <ac:grpSpMk id="49" creationId="{A19D3B98-8188-A17A-33DB-B04CA3E64183}"/>
          </ac:grpSpMkLst>
        </pc:grpChg>
        <pc:grpChg chg="add del mod">
          <ac:chgData name="Sharif Zahdeh" userId="76695dcfea8304bd" providerId="LiveId" clId="{3A8C6964-DBF2-450D-9644-7B64291DD03D}" dt="2023-11-19T11:04:22.055" v="8119" actId="478"/>
          <ac:grpSpMkLst>
            <pc:docMk/>
            <pc:sldMk cId="3781396532" sldId="478"/>
            <ac:grpSpMk id="54" creationId="{F8B5342E-B523-B2F0-7116-ABC28A815205}"/>
          </ac:grpSpMkLst>
        </pc:grpChg>
        <pc:grpChg chg="add del mod">
          <ac:chgData name="Sharif Zahdeh" userId="76695dcfea8304bd" providerId="LiveId" clId="{3A8C6964-DBF2-450D-9644-7B64291DD03D}" dt="2023-11-19T11:04:29.023" v="8121" actId="478"/>
          <ac:grpSpMkLst>
            <pc:docMk/>
            <pc:sldMk cId="3781396532" sldId="478"/>
            <ac:grpSpMk id="57" creationId="{0BBEA6AB-4BA2-043B-D71F-986152817C30}"/>
          </ac:grpSpMkLst>
        </pc:grpChg>
        <pc:grpChg chg="add del mod">
          <ac:chgData name="Sharif Zahdeh" userId="76695dcfea8304bd" providerId="LiveId" clId="{3A8C6964-DBF2-450D-9644-7B64291DD03D}" dt="2023-11-19T11:09:15.895" v="8364" actId="478"/>
          <ac:grpSpMkLst>
            <pc:docMk/>
            <pc:sldMk cId="3781396532" sldId="478"/>
            <ac:grpSpMk id="60" creationId="{AEF74071-F826-BA43-762D-4B802D426CD5}"/>
          </ac:grpSpMkLst>
        </pc:grpChg>
        <pc:grpChg chg="add del mod">
          <ac:chgData name="Sharif Zahdeh" userId="76695dcfea8304bd" providerId="LiveId" clId="{3A8C6964-DBF2-450D-9644-7B64291DD03D}" dt="2023-11-19T11:09:18.958" v="8365" actId="478"/>
          <ac:grpSpMkLst>
            <pc:docMk/>
            <pc:sldMk cId="3781396532" sldId="478"/>
            <ac:grpSpMk id="63" creationId="{D08899D1-0F9A-A114-B529-584F5BCA2369}"/>
          </ac:grpSpMkLst>
        </pc:grpChg>
        <pc:grpChg chg="add mod">
          <ac:chgData name="Sharif Zahdeh" userId="76695dcfea8304bd" providerId="LiveId" clId="{3A8C6964-DBF2-450D-9644-7B64291DD03D}" dt="2023-11-19T11:11:15.565" v="8429" actId="14100"/>
          <ac:grpSpMkLst>
            <pc:docMk/>
            <pc:sldMk cId="3781396532" sldId="478"/>
            <ac:grpSpMk id="66" creationId="{8426E81B-8A47-8503-C900-A64237F9F571}"/>
          </ac:grpSpMkLst>
        </pc:grpChg>
        <pc:grpChg chg="add mod">
          <ac:chgData name="Sharif Zahdeh" userId="76695dcfea8304bd" providerId="LiveId" clId="{3A8C6964-DBF2-450D-9644-7B64291DD03D}" dt="2023-11-19T11:49:27.326" v="9230" actId="14100"/>
          <ac:grpSpMkLst>
            <pc:docMk/>
            <pc:sldMk cId="3781396532" sldId="478"/>
            <ac:grpSpMk id="69" creationId="{2F9B8084-382E-2729-D2CB-64DF05285FAB}"/>
          </ac:grpSpMkLst>
        </pc:grpChg>
        <pc:grpChg chg="del">
          <ac:chgData name="Sharif Zahdeh" userId="76695dcfea8304bd" providerId="LiveId" clId="{3A8C6964-DBF2-450D-9644-7B64291DD03D}" dt="2023-11-19T10:13:25.296" v="6445" actId="478"/>
          <ac:grpSpMkLst>
            <pc:docMk/>
            <pc:sldMk cId="3781396532" sldId="478"/>
            <ac:grpSpMk id="97" creationId="{0D3BF1DA-7C1E-8C88-3CCD-21D27590ADE6}"/>
          </ac:grpSpMkLst>
        </pc:grpChg>
        <pc:grpChg chg="del">
          <ac:chgData name="Sharif Zahdeh" userId="76695dcfea8304bd" providerId="LiveId" clId="{3A8C6964-DBF2-450D-9644-7B64291DD03D}" dt="2023-11-19T10:14:31.087" v="6449" actId="478"/>
          <ac:grpSpMkLst>
            <pc:docMk/>
            <pc:sldMk cId="3781396532" sldId="478"/>
            <ac:grpSpMk id="99" creationId="{BDA4B3A3-526A-F135-7271-53D2254890A4}"/>
          </ac:grpSpMkLst>
        </pc:grpChg>
        <pc:grpChg chg="del">
          <ac:chgData name="Sharif Zahdeh" userId="76695dcfea8304bd" providerId="LiveId" clId="{3A8C6964-DBF2-450D-9644-7B64291DD03D}" dt="2023-11-19T10:14:51.284" v="6457" actId="478"/>
          <ac:grpSpMkLst>
            <pc:docMk/>
            <pc:sldMk cId="3781396532" sldId="478"/>
            <ac:grpSpMk id="102" creationId="{B82AF551-CD5D-CF8C-46E4-BD01F5679266}"/>
          </ac:grpSpMkLst>
        </pc:grpChg>
        <pc:grpChg chg="mod">
          <ac:chgData name="Sharif Zahdeh" userId="76695dcfea8304bd" providerId="LiveId" clId="{3A8C6964-DBF2-450D-9644-7B64291DD03D}" dt="2023-11-19T10:13:38.246" v="6446" actId="1076"/>
          <ac:grpSpMkLst>
            <pc:docMk/>
            <pc:sldMk cId="3781396532" sldId="478"/>
            <ac:grpSpMk id="1273" creationId="{CA737FB2-99D4-34D1-D198-F5839B005D29}"/>
          </ac:grpSpMkLst>
        </pc:grpChg>
        <pc:picChg chg="add mod">
          <ac:chgData name="Sharif Zahdeh" userId="76695dcfea8304bd" providerId="LiveId" clId="{3A8C6964-DBF2-450D-9644-7B64291DD03D}" dt="2023-11-19T11:25:43.192" v="9061" actId="1076"/>
          <ac:picMkLst>
            <pc:docMk/>
            <pc:sldMk cId="3781396532" sldId="478"/>
            <ac:picMk id="72" creationId="{05505AE5-E4A9-BA77-B9B7-A0497E1D3226}"/>
          </ac:picMkLst>
        </pc:picChg>
        <pc:picChg chg="add del mod">
          <ac:chgData name="Sharif Zahdeh" userId="76695dcfea8304bd" providerId="LiveId" clId="{3A8C6964-DBF2-450D-9644-7B64291DD03D}" dt="2023-11-19T11:10:54.067" v="8426" actId="478"/>
          <ac:picMkLst>
            <pc:docMk/>
            <pc:sldMk cId="3781396532" sldId="478"/>
            <ac:picMk id="73" creationId="{4DD5CF67-D2F7-ED6E-16EE-E932373AE777}"/>
          </ac:picMkLst>
        </pc:picChg>
        <pc:picChg chg="add del mod">
          <ac:chgData name="Sharif Zahdeh" userId="76695dcfea8304bd" providerId="LiveId" clId="{3A8C6964-DBF2-450D-9644-7B64291DD03D}" dt="2023-11-19T11:10:55.731" v="8427" actId="478"/>
          <ac:picMkLst>
            <pc:docMk/>
            <pc:sldMk cId="3781396532" sldId="478"/>
            <ac:picMk id="78" creationId="{E485316C-7619-D577-D7C9-83BEC766568B}"/>
          </ac:picMkLst>
        </pc:picChg>
        <pc:picChg chg="add mod">
          <ac:chgData name="Sharif Zahdeh" userId="76695dcfea8304bd" providerId="LiveId" clId="{3A8C6964-DBF2-450D-9644-7B64291DD03D}" dt="2023-11-19T11:26:01.771" v="9063" actId="1076"/>
          <ac:picMkLst>
            <pc:docMk/>
            <pc:sldMk cId="3781396532" sldId="478"/>
            <ac:picMk id="79" creationId="{A9B24CC8-A358-0E34-E61C-B4EE89708061}"/>
          </ac:picMkLst>
        </pc:picChg>
        <pc:picChg chg="del">
          <ac:chgData name="Sharif Zahdeh" userId="76695dcfea8304bd" providerId="LiveId" clId="{3A8C6964-DBF2-450D-9644-7B64291DD03D}" dt="2023-11-19T10:14:27.456" v="6447" actId="478"/>
          <ac:picMkLst>
            <pc:docMk/>
            <pc:sldMk cId="3781396532" sldId="478"/>
            <ac:picMk id="1263" creationId="{98292DF9-A632-743D-C989-C6197CB451B1}"/>
          </ac:picMkLst>
        </pc:picChg>
        <pc:cxnChg chg="del">
          <ac:chgData name="Sharif Zahdeh" userId="76695dcfea8304bd" providerId="LiveId" clId="{3A8C6964-DBF2-450D-9644-7B64291DD03D}" dt="2023-11-19T10:14:40.596" v="6453" actId="478"/>
          <ac:cxnSpMkLst>
            <pc:docMk/>
            <pc:sldMk cId="3781396532" sldId="478"/>
            <ac:cxnSpMk id="107" creationId="{B955B2A6-5DF6-EB20-5901-A1FBD330A6E9}"/>
          </ac:cxnSpMkLst>
        </pc:cxnChg>
        <pc:cxnChg chg="del">
          <ac:chgData name="Sharif Zahdeh" userId="76695dcfea8304bd" providerId="LiveId" clId="{3A8C6964-DBF2-450D-9644-7B64291DD03D}" dt="2023-11-19T10:14:47.843" v="6455" actId="478"/>
          <ac:cxnSpMkLst>
            <pc:docMk/>
            <pc:sldMk cId="3781396532" sldId="478"/>
            <ac:cxnSpMk id="108" creationId="{88CD0BA4-1A04-8D34-ED3D-10215F752BFB}"/>
          </ac:cxnSpMkLst>
        </pc:cxnChg>
      </pc:sldChg>
      <pc:sldMasterChg chg="del delSldLayout">
        <pc:chgData name="Sharif Zahdeh" userId="76695dcfea8304bd" providerId="LiveId" clId="{3A8C6964-DBF2-450D-9644-7B64291DD03D}" dt="2023-11-12T11:20:34.962" v="277" actId="47"/>
        <pc:sldMasterMkLst>
          <pc:docMk/>
          <pc:sldMasterMk cId="2371639108" sldId="2147483707"/>
        </pc:sldMasterMkLst>
        <pc:sldLayoutChg chg="del">
          <pc:chgData name="Sharif Zahdeh" userId="76695dcfea8304bd" providerId="LiveId" clId="{3A8C6964-DBF2-450D-9644-7B64291DD03D}" dt="2023-11-12T11:20:34.962" v="277" actId="47"/>
          <pc:sldLayoutMkLst>
            <pc:docMk/>
            <pc:sldMasterMk cId="2371639108" sldId="2147483707"/>
            <pc:sldLayoutMk cId="2187490622" sldId="2147483708"/>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723385865" sldId="2147483709"/>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664357372" sldId="2147483710"/>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2131806233" sldId="2147483711"/>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099239555" sldId="2147483712"/>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066645112" sldId="2147483713"/>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2884458053" sldId="2147483714"/>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780184500" sldId="2147483715"/>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365372171" sldId="2147483716"/>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898220743" sldId="2147483717"/>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192745136" sldId="2147483718"/>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615768077" sldId="2147483719"/>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13690643" sldId="2147483720"/>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298126134" sldId="2147483721"/>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725123792" sldId="2147483722"/>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922546529" sldId="2147483723"/>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277925908" sldId="2147483724"/>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4065542114" sldId="2147483725"/>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199026204" sldId="2147483726"/>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2514737725" sldId="2147483727"/>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75312427" sldId="2147483728"/>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676732706" sldId="2147483729"/>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569256960" sldId="2147483730"/>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600944946" sldId="2147483731"/>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79578056" sldId="2147483732"/>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612451613" sldId="2147483733"/>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726990158" sldId="2147483734"/>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10235083" sldId="2147483735"/>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874874787" sldId="2147483736"/>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1746245367" sldId="2147483737"/>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4248589733" sldId="2147483738"/>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3582434730" sldId="2147483739"/>
          </pc:sldLayoutMkLst>
        </pc:sldLayoutChg>
        <pc:sldLayoutChg chg="del">
          <pc:chgData name="Sharif Zahdeh" userId="76695dcfea8304bd" providerId="LiveId" clId="{3A8C6964-DBF2-450D-9644-7B64291DD03D}" dt="2023-11-12T11:20:34.962" v="277" actId="47"/>
          <pc:sldLayoutMkLst>
            <pc:docMk/>
            <pc:sldMasterMk cId="2371639108" sldId="2147483707"/>
            <pc:sldLayoutMk cId="58095617" sldId="214748374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Number of people in millions</c:v>
                </c:pt>
              </c:strCache>
            </c:strRef>
          </c:tx>
          <c:spPr>
            <a:solidFill>
              <a:srgbClr val="02AEF1"/>
            </a:solidFill>
            <a:ln>
              <a:noFill/>
            </a:ln>
            <a:effectLst/>
          </c:spPr>
          <c:invertIfNegative val="0"/>
          <c:dPt>
            <c:idx val="5"/>
            <c:invertIfNegative val="0"/>
            <c:bubble3D val="0"/>
            <c:spPr>
              <a:solidFill>
                <a:srgbClr val="334591"/>
              </a:solidFill>
              <a:ln>
                <a:noFill/>
              </a:ln>
              <a:effectLst/>
            </c:spPr>
            <c:extLst>
              <c:ext xmlns:c16="http://schemas.microsoft.com/office/drawing/2014/chart" uri="{C3380CC4-5D6E-409C-BE32-E72D297353CC}">
                <c16:uniqueId val="{00000003-3FC4-4AA1-8E90-9BEE87F331B7}"/>
              </c:ext>
            </c:extLst>
          </c:dPt>
          <c:dLbls>
            <c:dLbl>
              <c:idx val="5"/>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334591"/>
                      </a:solidFill>
                      <a:latin typeface="Poppins Medium" panose="00000600000000000000" pitchFamily="2" charset="0"/>
                      <a:ea typeface="+mn-ea"/>
                      <a:cs typeface="Poppins Medium" panose="00000600000000000000" pitchFamily="2"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3FC4-4AA1-8E90-9BEE87F331B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02AEF1"/>
                    </a:solidFill>
                    <a:latin typeface="Poppins Medium" panose="00000600000000000000" pitchFamily="2" charset="0"/>
                    <a:ea typeface="+mn-ea"/>
                    <a:cs typeface="Poppins Medium" panose="000006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8</c:f>
              <c:numCache>
                <c:formatCode>General</c:formatCode>
                <c:ptCount val="7"/>
                <c:pt idx="0">
                  <c:v>2020</c:v>
                </c:pt>
                <c:pt idx="1">
                  <c:v>2025</c:v>
                </c:pt>
                <c:pt idx="2">
                  <c:v>2030</c:v>
                </c:pt>
                <c:pt idx="3">
                  <c:v>2035</c:v>
                </c:pt>
                <c:pt idx="4">
                  <c:v>2040</c:v>
                </c:pt>
                <c:pt idx="5">
                  <c:v>2045</c:v>
                </c:pt>
                <c:pt idx="6">
                  <c:v>2050</c:v>
                </c:pt>
              </c:numCache>
            </c:numRef>
          </c:cat>
          <c:val>
            <c:numRef>
              <c:f>Hoja1!$B$2:$B$8</c:f>
              <c:numCache>
                <c:formatCode>0.00</c:formatCode>
                <c:ptCount val="7"/>
                <c:pt idx="0">
                  <c:v>1340.6</c:v>
                </c:pt>
                <c:pt idx="1">
                  <c:v>1508.94</c:v>
                </c:pt>
                <c:pt idx="2">
                  <c:v>1688.32</c:v>
                </c:pt>
                <c:pt idx="3">
                  <c:v>1878.19</c:v>
                </c:pt>
                <c:pt idx="4">
                  <c:v>2076.75</c:v>
                </c:pt>
                <c:pt idx="5">
                  <c:v>2281.4499999999998</c:v>
                </c:pt>
                <c:pt idx="6">
                  <c:v>2489.2800000000002</c:v>
                </c:pt>
              </c:numCache>
            </c:numRef>
          </c:val>
          <c:extLst>
            <c:ext xmlns:c16="http://schemas.microsoft.com/office/drawing/2014/chart" uri="{C3380CC4-5D6E-409C-BE32-E72D297353CC}">
              <c16:uniqueId val="{00000000-3FC4-4AA1-8E90-9BEE87F331B7}"/>
            </c:ext>
          </c:extLst>
        </c:ser>
        <c:dLbls>
          <c:showLegendKey val="0"/>
          <c:showVal val="0"/>
          <c:showCatName val="0"/>
          <c:showSerName val="0"/>
          <c:showPercent val="0"/>
          <c:showBubbleSize val="0"/>
        </c:dLbls>
        <c:gapWidth val="169"/>
        <c:overlap val="-27"/>
        <c:axId val="2008320719"/>
        <c:axId val="2008331535"/>
      </c:barChart>
      <c:catAx>
        <c:axId val="2008320719"/>
        <c:scaling>
          <c:orientation val="minMax"/>
        </c:scaling>
        <c:delete val="0"/>
        <c:axPos val="b"/>
        <c:numFmt formatCode="General" sourceLinked="1"/>
        <c:majorTickMark val="none"/>
        <c:minorTickMark val="none"/>
        <c:tickLblPos val="nextTo"/>
        <c:spPr>
          <a:noFill/>
          <a:ln w="6350" cap="rnd" cmpd="sng" algn="ctr">
            <a:solidFill>
              <a:schemeClr val="bg1">
                <a:lumMod val="75000"/>
              </a:schemeClr>
            </a:solidFill>
            <a:round/>
          </a:ln>
          <a:effectLst/>
        </c:spPr>
        <c:txPr>
          <a:bodyPr rot="-60000000" spcFirstLastPara="1" vertOverflow="ellipsis" vert="horz" wrap="square" anchor="ctr" anchorCtr="1"/>
          <a:lstStyle/>
          <a:p>
            <a:pPr>
              <a:defRPr sz="500" b="0" i="0" u="none" strike="noStrike" kern="1200" baseline="0">
                <a:solidFill>
                  <a:schemeClr val="bg1">
                    <a:lumMod val="65000"/>
                  </a:schemeClr>
                </a:solidFill>
                <a:latin typeface="Poppins Light" panose="00000400000000000000" pitchFamily="2" charset="0"/>
                <a:ea typeface="+mn-ea"/>
                <a:cs typeface="Poppins Light" panose="00000400000000000000" pitchFamily="2" charset="0"/>
              </a:defRPr>
            </a:pPr>
            <a:endParaRPr lang="en-US"/>
          </a:p>
        </c:txPr>
        <c:crossAx val="2008331535"/>
        <c:crosses val="autoZero"/>
        <c:auto val="1"/>
        <c:lblAlgn val="ctr"/>
        <c:lblOffset val="100"/>
        <c:noMultiLvlLbl val="0"/>
      </c:catAx>
      <c:valAx>
        <c:axId val="2008331535"/>
        <c:scaling>
          <c:orientation val="minMax"/>
        </c:scaling>
        <c:delete val="0"/>
        <c:axPos val="l"/>
        <c:majorGridlines>
          <c:spPr>
            <a:ln w="3175" cap="rnd" cmpd="sng" algn="ctr">
              <a:solidFill>
                <a:schemeClr val="bg1">
                  <a:lumMod val="75000"/>
                </a:schemeClr>
              </a:solidFill>
              <a:prstDash val="sysDot"/>
              <a:round/>
            </a:ln>
            <a:effectLst/>
          </c:spPr>
        </c:majorGridlines>
        <c:title>
          <c:tx>
            <c:rich>
              <a:bodyPr rot="-5400000" spcFirstLastPara="1" vertOverflow="ellipsis" vert="horz" wrap="square" anchor="ctr" anchorCtr="1"/>
              <a:lstStyle/>
              <a:p>
                <a:pPr>
                  <a:defRPr sz="500" b="0" i="0" u="none" strike="noStrike" kern="1200" spc="100" baseline="0">
                    <a:solidFill>
                      <a:schemeClr val="bg1">
                        <a:lumMod val="65000"/>
                      </a:schemeClr>
                    </a:solidFill>
                    <a:latin typeface="Poppins" panose="00000500000000000000" pitchFamily="2" charset="0"/>
                    <a:ea typeface="+mn-ea"/>
                    <a:cs typeface="Poppins" panose="00000500000000000000" pitchFamily="2" charset="0"/>
                  </a:defRPr>
                </a:pPr>
                <a:r>
                  <a:rPr lang="en-US" sz="500" spc="100" baseline="0" dirty="0">
                    <a:latin typeface="Poppins" panose="00000500000000000000" pitchFamily="2" charset="0"/>
                    <a:cs typeface="Poppins" panose="00000500000000000000" pitchFamily="2" charset="0"/>
                  </a:rPr>
                  <a:t>Number of people in millions</a:t>
                </a:r>
              </a:p>
            </c:rich>
          </c:tx>
          <c:layout>
            <c:manualLayout>
              <c:xMode val="edge"/>
              <c:yMode val="edge"/>
              <c:x val="2.1919119599288578E-2"/>
              <c:y val="0.20911885643551212"/>
            </c:manualLayout>
          </c:layout>
          <c:overlay val="0"/>
          <c:spPr>
            <a:noFill/>
            <a:ln>
              <a:noFill/>
            </a:ln>
            <a:effectLst/>
          </c:spPr>
          <c:txPr>
            <a:bodyPr rot="-5400000" spcFirstLastPara="1" vertOverflow="ellipsis" vert="horz" wrap="square" anchor="ctr" anchorCtr="1"/>
            <a:lstStyle/>
            <a:p>
              <a:pPr>
                <a:defRPr sz="500" b="0" i="0" u="none" strike="noStrike" kern="1200" spc="100" baseline="0">
                  <a:solidFill>
                    <a:schemeClr val="bg1">
                      <a:lumMod val="65000"/>
                    </a:schemeClr>
                  </a:solidFill>
                  <a:latin typeface="Poppins" panose="00000500000000000000" pitchFamily="2" charset="0"/>
                  <a:ea typeface="+mn-ea"/>
                  <a:cs typeface="Poppins" panose="00000500000000000000" pitchFamily="2" charset="0"/>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lumMod val="65000"/>
                  </a:schemeClr>
                </a:solidFill>
                <a:latin typeface="Poppins Light" panose="00000400000000000000" pitchFamily="2" charset="0"/>
                <a:ea typeface="+mn-ea"/>
                <a:cs typeface="Poppins Light" panose="00000400000000000000" pitchFamily="2" charset="0"/>
              </a:defRPr>
            </a:pPr>
            <a:endParaRPr lang="en-US"/>
          </a:p>
        </c:txPr>
        <c:crossAx val="20083207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bg1">
              <a:lumMod val="65000"/>
            </a:schemeClr>
          </a:solidFill>
          <a:latin typeface="Poppins Light" panose="00000400000000000000" pitchFamily="2" charset="0"/>
          <a:cs typeface="Poppins Light" panose="00000400000000000000" pitchFamily="2"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31"/>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0161-4803-90EA-0D26F7522184}"/>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0161-4803-90EA-0D26F7522184}"/>
              </c:ext>
            </c:extLst>
          </c:dPt>
          <c:dLbls>
            <c:dLbl>
              <c:idx val="0"/>
              <c:layout>
                <c:manualLayout>
                  <c:x val="-8.6084216977891106E-2"/>
                  <c:y val="-6.0327542135594991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ABF0625-8BFE-45C7-AD46-BE678EBC92FF}" type="CATEGORYNAME">
                      <a:rPr lang="en-US" sz="1200"/>
                      <a:pPr>
                        <a:defRPr/>
                      </a:pPr>
                      <a:t>[CATEGORY NAME]</a:t>
                    </a:fld>
                    <a:r>
                      <a:rPr lang="en-US" sz="1200" baseline="0" dirty="0"/>
                      <a:t>
</a:t>
                    </a:r>
                    <a:fld id="{8110677D-97F0-4880-9AD5-B70670A856BE}" type="PERCENTAGE">
                      <a:rPr lang="en-US" sz="1200" baseline="0"/>
                      <a:pPr>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161-4803-90EA-0D26F7522184}"/>
                </c:ext>
              </c:extLst>
            </c:dLbl>
            <c:dLbl>
              <c:idx val="1"/>
              <c:tx>
                <c:rich>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fld id="{A65EC2E3-DC64-40BF-B984-9A3B47D95AB3}" type="CATEGORYNAME">
                      <a:rPr lang="en-US" sz="1200">
                        <a:solidFill>
                          <a:srgbClr val="FF0000"/>
                        </a:solidFill>
                      </a:rPr>
                      <a:pPr>
                        <a:defRPr>
                          <a:solidFill>
                            <a:srgbClr val="FF0000"/>
                          </a:solidFill>
                        </a:defRPr>
                      </a:pPr>
                      <a:t>[CATEGORY NAME]</a:t>
                    </a:fld>
                    <a:r>
                      <a:rPr lang="en-US" sz="1200" baseline="0" dirty="0">
                        <a:solidFill>
                          <a:srgbClr val="FF0000"/>
                        </a:solidFill>
                      </a:rPr>
                      <a:t>
</a:t>
                    </a:r>
                    <a:fld id="{236ED015-855F-4A58-8DBC-786A954AD5AB}" type="PERCENTAGE">
                      <a:rPr lang="en-US" sz="1200" baseline="0">
                        <a:solidFill>
                          <a:srgbClr val="FF0000"/>
                        </a:solidFill>
                      </a:rPr>
                      <a:pPr>
                        <a:defRPr>
                          <a:solidFill>
                            <a:srgbClr val="FF0000"/>
                          </a:solidFill>
                        </a:defRPr>
                      </a:pPr>
                      <a:t>[PERCENTAGE]</a:t>
                    </a:fld>
                    <a:endParaRPr lang="en-US" sz="1200" baseline="0" dirty="0">
                      <a:solidFill>
                        <a:srgbClr val="FF0000"/>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161-4803-90EA-0D26F7522184}"/>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3</c:v>
                </c:pt>
                <c:pt idx="1">
                  <c:v>0.7</c:v>
                </c:pt>
              </c:numCache>
            </c:numRef>
          </c:val>
          <c:extLst>
            <c:ext xmlns:c16="http://schemas.microsoft.com/office/drawing/2014/chart" uri="{C3380CC4-5D6E-409C-BE32-E72D297353CC}">
              <c16:uniqueId val="{00000004-0161-4803-90EA-0D26F7522184}"/>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3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31"/>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2C1-40E8-B1D8-BDB61D448423}"/>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92C1-40E8-B1D8-BDB61D448423}"/>
              </c:ext>
            </c:extLst>
          </c:dPt>
          <c:dLbls>
            <c:dLbl>
              <c:idx val="0"/>
              <c:layout>
                <c:manualLayout>
                  <c:x val="-8.6084216977891106E-2"/>
                  <c:y val="-6.0327542135594991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ABF0625-8BFE-45C7-AD46-BE678EBC92FF}" type="CATEGORYNAME">
                      <a:rPr lang="en-US" sz="1200"/>
                      <a:pPr>
                        <a:defRPr/>
                      </a:pPr>
                      <a:t>[CATEGORY NAME]</a:t>
                    </a:fld>
                    <a:r>
                      <a:rPr lang="en-US" sz="1200" baseline="0" dirty="0"/>
                      <a:t>
</a:t>
                    </a:r>
                    <a:fld id="{8110677D-97F0-4880-9AD5-B70670A856BE}" type="PERCENTAGE">
                      <a:rPr lang="en-US" sz="1200" baseline="0"/>
                      <a:pPr>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2C1-40E8-B1D8-BDB61D448423}"/>
                </c:ext>
              </c:extLst>
            </c:dLbl>
            <c:dLbl>
              <c:idx val="1"/>
              <c:tx>
                <c:rich>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fld id="{A65EC2E3-DC64-40BF-B984-9A3B47D95AB3}" type="CATEGORYNAME">
                      <a:rPr lang="en-US" sz="1200">
                        <a:solidFill>
                          <a:srgbClr val="FF0000"/>
                        </a:solidFill>
                      </a:rPr>
                      <a:pPr>
                        <a:defRPr>
                          <a:solidFill>
                            <a:srgbClr val="FF0000"/>
                          </a:solidFill>
                        </a:defRPr>
                      </a:pPr>
                      <a:t>[CATEGORY NAME]</a:t>
                    </a:fld>
                    <a:r>
                      <a:rPr lang="en-US" sz="1200" baseline="0" dirty="0">
                        <a:solidFill>
                          <a:srgbClr val="FF0000"/>
                        </a:solidFill>
                      </a:rPr>
                      <a:t>
</a:t>
                    </a:r>
                    <a:fld id="{236ED015-855F-4A58-8DBC-786A954AD5AB}" type="PERCENTAGE">
                      <a:rPr lang="en-US" sz="1200" baseline="0">
                        <a:solidFill>
                          <a:srgbClr val="FF0000"/>
                        </a:solidFill>
                      </a:rPr>
                      <a:pPr>
                        <a:defRPr>
                          <a:solidFill>
                            <a:srgbClr val="FF0000"/>
                          </a:solidFill>
                        </a:defRPr>
                      </a:pPr>
                      <a:t>[PERCENTAGE]</a:t>
                    </a:fld>
                    <a:endParaRPr lang="en-US" sz="1200" baseline="0" dirty="0">
                      <a:solidFill>
                        <a:srgbClr val="FF0000"/>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2C1-40E8-B1D8-BDB61D448423}"/>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17</c:v>
                </c:pt>
                <c:pt idx="1">
                  <c:v>0.83</c:v>
                </c:pt>
              </c:numCache>
            </c:numRef>
          </c:val>
          <c:extLst>
            <c:ext xmlns:c16="http://schemas.microsoft.com/office/drawing/2014/chart" uri="{C3380CC4-5D6E-409C-BE32-E72D297353CC}">
              <c16:uniqueId val="{00000004-92C1-40E8-B1D8-BDB61D448423}"/>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2227602419081"/>
          <c:y val="0.10570063297806122"/>
          <c:w val="0.75835744375908332"/>
          <c:h val="0.78859873404387759"/>
        </c:manualLayout>
      </c:layout>
      <c:doughnutChart>
        <c:varyColors val="1"/>
        <c:ser>
          <c:idx val="0"/>
          <c:order val="0"/>
          <c:tx>
            <c:strRef>
              <c:f>Hoja1!$B$1</c:f>
              <c:strCache>
                <c:ptCount val="1"/>
                <c:pt idx="0">
                  <c:v>Columna1</c:v>
                </c:pt>
              </c:strCache>
            </c:strRef>
          </c:tx>
          <c:spPr>
            <a:ln>
              <a:noFill/>
            </a:ln>
          </c:spPr>
          <c:dPt>
            <c:idx val="0"/>
            <c:bubble3D val="0"/>
            <c:spPr>
              <a:solidFill>
                <a:srgbClr val="EC2129"/>
              </a:solidFill>
              <a:ln w="19050">
                <a:noFill/>
              </a:ln>
              <a:effectLst/>
            </c:spPr>
            <c:extLst>
              <c:ext xmlns:c16="http://schemas.microsoft.com/office/drawing/2014/chart" uri="{C3380CC4-5D6E-409C-BE32-E72D297353CC}">
                <c16:uniqueId val="{00000002-02BB-4B98-A0B4-BCB3803A4812}"/>
              </c:ext>
            </c:extLst>
          </c:dPt>
          <c:dPt>
            <c:idx val="1"/>
            <c:bubble3D val="0"/>
            <c:spPr>
              <a:solidFill>
                <a:schemeClr val="bg2"/>
              </a:solidFill>
              <a:ln w="19050">
                <a:noFill/>
              </a:ln>
              <a:effectLst/>
            </c:spPr>
            <c:extLst>
              <c:ext xmlns:c16="http://schemas.microsoft.com/office/drawing/2014/chart" uri="{C3380CC4-5D6E-409C-BE32-E72D297353CC}">
                <c16:uniqueId val="{00000001-02BB-4B98-A0B4-BCB3803A4812}"/>
              </c:ext>
            </c:extLst>
          </c:dPt>
          <c:cat>
            <c:numRef>
              <c:f>Hoja1!$A$2:$A$3</c:f>
              <c:numCache>
                <c:formatCode>General</c:formatCode>
                <c:ptCount val="2"/>
                <c:pt idx="0">
                  <c:v>1</c:v>
                </c:pt>
                <c:pt idx="1">
                  <c:v>2</c:v>
                </c:pt>
              </c:numCache>
            </c:numRef>
          </c:cat>
          <c:val>
            <c:numRef>
              <c:f>Hoja1!$B$2:$B$3</c:f>
              <c:numCache>
                <c:formatCode>0.0%</c:formatCode>
                <c:ptCount val="2"/>
                <c:pt idx="0">
                  <c:v>5.2999999999999999E-2</c:v>
                </c:pt>
                <c:pt idx="1">
                  <c:v>0.94699999999999995</c:v>
                </c:pt>
              </c:numCache>
            </c:numRef>
          </c:val>
          <c:extLst>
            <c:ext xmlns:c16="http://schemas.microsoft.com/office/drawing/2014/chart" uri="{C3380CC4-5D6E-409C-BE32-E72D297353CC}">
              <c16:uniqueId val="{00000000-02BB-4B98-A0B4-BCB3803A4812}"/>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2227602419081"/>
          <c:y val="0.10570063297806122"/>
          <c:w val="0.75835744375908332"/>
          <c:h val="0.78859873404387759"/>
        </c:manualLayout>
      </c:layout>
      <c:doughnutChart>
        <c:varyColors val="1"/>
        <c:ser>
          <c:idx val="0"/>
          <c:order val="0"/>
          <c:tx>
            <c:strRef>
              <c:f>Hoja1!$B$1</c:f>
              <c:strCache>
                <c:ptCount val="1"/>
                <c:pt idx="0">
                  <c:v>Columna1</c:v>
                </c:pt>
              </c:strCache>
            </c:strRef>
          </c:tx>
          <c:spPr>
            <a:ln>
              <a:noFill/>
            </a:ln>
          </c:spPr>
          <c:dPt>
            <c:idx val="0"/>
            <c:bubble3D val="0"/>
            <c:spPr>
              <a:solidFill>
                <a:srgbClr val="860C12"/>
              </a:solidFill>
              <a:ln w="19050">
                <a:noFill/>
              </a:ln>
              <a:effectLst/>
            </c:spPr>
            <c:extLst>
              <c:ext xmlns:c16="http://schemas.microsoft.com/office/drawing/2014/chart" uri="{C3380CC4-5D6E-409C-BE32-E72D297353CC}">
                <c16:uniqueId val="{00000002-02BB-4B98-A0B4-BCB3803A4812}"/>
              </c:ext>
            </c:extLst>
          </c:dPt>
          <c:dPt>
            <c:idx val="1"/>
            <c:bubble3D val="0"/>
            <c:spPr>
              <a:solidFill>
                <a:schemeClr val="bg2"/>
              </a:solidFill>
              <a:ln w="19050">
                <a:noFill/>
              </a:ln>
              <a:effectLst/>
            </c:spPr>
            <c:extLst>
              <c:ext xmlns:c16="http://schemas.microsoft.com/office/drawing/2014/chart" uri="{C3380CC4-5D6E-409C-BE32-E72D297353CC}">
                <c16:uniqueId val="{00000001-02BB-4B98-A0B4-BCB3803A4812}"/>
              </c:ext>
            </c:extLst>
          </c:dPt>
          <c:cat>
            <c:numRef>
              <c:f>Hoja1!$A$2:$A$3</c:f>
              <c:numCache>
                <c:formatCode>General</c:formatCode>
                <c:ptCount val="2"/>
                <c:pt idx="0">
                  <c:v>1</c:v>
                </c:pt>
                <c:pt idx="1">
                  <c:v>2</c:v>
                </c:pt>
              </c:numCache>
            </c:numRef>
          </c:cat>
          <c:val>
            <c:numRef>
              <c:f>Hoja1!$B$2:$B$3</c:f>
              <c:numCache>
                <c:formatCode>0.0%</c:formatCode>
                <c:ptCount val="2"/>
                <c:pt idx="0">
                  <c:v>0.06</c:v>
                </c:pt>
                <c:pt idx="1">
                  <c:v>0.94</c:v>
                </c:pt>
              </c:numCache>
            </c:numRef>
          </c:val>
          <c:extLst>
            <c:ext xmlns:c16="http://schemas.microsoft.com/office/drawing/2014/chart" uri="{C3380CC4-5D6E-409C-BE32-E72D297353CC}">
              <c16:uniqueId val="{00000000-02BB-4B98-A0B4-BCB3803A4812}"/>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2227602419081"/>
          <c:y val="0.10570063297806122"/>
          <c:w val="0.75835744375908332"/>
          <c:h val="0.78859873404387759"/>
        </c:manualLayout>
      </c:layout>
      <c:doughnutChart>
        <c:varyColors val="1"/>
        <c:ser>
          <c:idx val="0"/>
          <c:order val="0"/>
          <c:tx>
            <c:strRef>
              <c:f>Hoja1!$B$1</c:f>
              <c:strCache>
                <c:ptCount val="1"/>
                <c:pt idx="0">
                  <c:v>Columna1</c:v>
                </c:pt>
              </c:strCache>
            </c:strRef>
          </c:tx>
          <c:spPr>
            <a:ln>
              <a:noFill/>
            </a:ln>
          </c:spPr>
          <c:dPt>
            <c:idx val="0"/>
            <c:bubble3D val="0"/>
            <c:spPr>
              <a:solidFill>
                <a:srgbClr val="02AEF1"/>
              </a:solidFill>
              <a:ln w="19050">
                <a:noFill/>
              </a:ln>
              <a:effectLst/>
            </c:spPr>
            <c:extLst>
              <c:ext xmlns:c16="http://schemas.microsoft.com/office/drawing/2014/chart" uri="{C3380CC4-5D6E-409C-BE32-E72D297353CC}">
                <c16:uniqueId val="{00000002-02BB-4B98-A0B4-BCB3803A4812}"/>
              </c:ext>
            </c:extLst>
          </c:dPt>
          <c:dPt>
            <c:idx val="1"/>
            <c:bubble3D val="0"/>
            <c:spPr>
              <a:solidFill>
                <a:schemeClr val="bg2"/>
              </a:solidFill>
              <a:ln w="19050">
                <a:noFill/>
              </a:ln>
              <a:effectLst/>
            </c:spPr>
            <c:extLst>
              <c:ext xmlns:c16="http://schemas.microsoft.com/office/drawing/2014/chart" uri="{C3380CC4-5D6E-409C-BE32-E72D297353CC}">
                <c16:uniqueId val="{00000001-02BB-4B98-A0B4-BCB3803A4812}"/>
              </c:ext>
            </c:extLst>
          </c:dPt>
          <c:cat>
            <c:numRef>
              <c:f>Hoja1!$A$2:$A$3</c:f>
              <c:numCache>
                <c:formatCode>General</c:formatCode>
                <c:ptCount val="2"/>
                <c:pt idx="0">
                  <c:v>1</c:v>
                </c:pt>
                <c:pt idx="1">
                  <c:v>2</c:v>
                </c:pt>
              </c:numCache>
            </c:numRef>
          </c:cat>
          <c:val>
            <c:numRef>
              <c:f>Hoja1!$B$2:$B$3</c:f>
              <c:numCache>
                <c:formatCode>0.0%</c:formatCode>
                <c:ptCount val="2"/>
                <c:pt idx="0">
                  <c:v>6.9000000000000006E-2</c:v>
                </c:pt>
                <c:pt idx="1">
                  <c:v>0.93100000000000005</c:v>
                </c:pt>
              </c:numCache>
            </c:numRef>
          </c:val>
          <c:extLst>
            <c:ext xmlns:c16="http://schemas.microsoft.com/office/drawing/2014/chart" uri="{C3380CC4-5D6E-409C-BE32-E72D297353CC}">
              <c16:uniqueId val="{00000000-02BB-4B98-A0B4-BCB3803A4812}"/>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2227602419081"/>
          <c:y val="0.10570063297806122"/>
          <c:w val="0.75835744375908332"/>
          <c:h val="0.78859873404387759"/>
        </c:manualLayout>
      </c:layout>
      <c:doughnutChart>
        <c:varyColors val="1"/>
        <c:ser>
          <c:idx val="0"/>
          <c:order val="0"/>
          <c:tx>
            <c:strRef>
              <c:f>Hoja1!$B$1</c:f>
              <c:strCache>
                <c:ptCount val="1"/>
                <c:pt idx="0">
                  <c:v>Columna1</c:v>
                </c:pt>
              </c:strCache>
            </c:strRef>
          </c:tx>
          <c:spPr>
            <a:ln>
              <a:noFill/>
            </a:ln>
          </c:spPr>
          <c:dPt>
            <c:idx val="0"/>
            <c:bubble3D val="0"/>
            <c:spPr>
              <a:solidFill>
                <a:srgbClr val="334591"/>
              </a:solidFill>
              <a:ln w="19050">
                <a:noFill/>
              </a:ln>
              <a:effectLst/>
            </c:spPr>
            <c:extLst>
              <c:ext xmlns:c16="http://schemas.microsoft.com/office/drawing/2014/chart" uri="{C3380CC4-5D6E-409C-BE32-E72D297353CC}">
                <c16:uniqueId val="{00000002-02BB-4B98-A0B4-BCB3803A4812}"/>
              </c:ext>
            </c:extLst>
          </c:dPt>
          <c:dPt>
            <c:idx val="1"/>
            <c:bubble3D val="0"/>
            <c:spPr>
              <a:solidFill>
                <a:schemeClr val="bg2"/>
              </a:solidFill>
              <a:ln w="19050">
                <a:noFill/>
              </a:ln>
              <a:effectLst/>
            </c:spPr>
            <c:extLst>
              <c:ext xmlns:c16="http://schemas.microsoft.com/office/drawing/2014/chart" uri="{C3380CC4-5D6E-409C-BE32-E72D297353CC}">
                <c16:uniqueId val="{00000001-02BB-4B98-A0B4-BCB3803A4812}"/>
              </c:ext>
            </c:extLst>
          </c:dPt>
          <c:cat>
            <c:numRef>
              <c:f>Hoja1!$A$2:$A$3</c:f>
              <c:numCache>
                <c:formatCode>General</c:formatCode>
                <c:ptCount val="2"/>
                <c:pt idx="0">
                  <c:v>1</c:v>
                </c:pt>
                <c:pt idx="1">
                  <c:v>2</c:v>
                </c:pt>
              </c:numCache>
            </c:numRef>
          </c:cat>
          <c:val>
            <c:numRef>
              <c:f>Hoja1!$B$2:$B$3</c:f>
              <c:numCache>
                <c:formatCode>0.0%</c:formatCode>
                <c:ptCount val="2"/>
                <c:pt idx="0">
                  <c:v>6.3E-2</c:v>
                </c:pt>
                <c:pt idx="1">
                  <c:v>0.93700000000000006</c:v>
                </c:pt>
              </c:numCache>
            </c:numRef>
          </c:val>
          <c:extLst>
            <c:ext xmlns:c16="http://schemas.microsoft.com/office/drawing/2014/chart" uri="{C3380CC4-5D6E-409C-BE32-E72D297353CC}">
              <c16:uniqueId val="{00000000-02BB-4B98-A0B4-BCB3803A4812}"/>
            </c:ext>
          </c:extLst>
        </c:ser>
        <c:dLbls>
          <c:showLegendKey val="0"/>
          <c:showVal val="0"/>
          <c:showCatName val="0"/>
          <c:showSerName val="0"/>
          <c:showPercent val="0"/>
          <c:showBubbleSize val="0"/>
          <c:showLeaderLines val="1"/>
        </c:dLbls>
        <c:firstSliceAng val="0"/>
        <c:holeSize val="8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31"/>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604F-4C7B-8CDD-A2A19A600F63}"/>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604F-4C7B-8CDD-A2A19A600F63}"/>
              </c:ext>
            </c:extLst>
          </c:dPt>
          <c:dLbls>
            <c:dLbl>
              <c:idx val="0"/>
              <c:layout>
                <c:manualLayout>
                  <c:x val="0.25825265093367317"/>
                  <c:y val="4.6921421661018328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ABF0625-8BFE-45C7-AD46-BE678EBC92FF}" type="CATEGORYNAME">
                      <a:rPr lang="en-US" sz="1200"/>
                      <a:pPr>
                        <a:defRPr/>
                      </a:pPr>
                      <a:t>[CATEGORY NAME]</a:t>
                    </a:fld>
                    <a:r>
                      <a:rPr lang="en-US" sz="1200" baseline="0" dirty="0"/>
                      <a:t>
</a:t>
                    </a:r>
                    <a:fld id="{8110677D-97F0-4880-9AD5-B70670A856BE}" type="PERCENTAGE">
                      <a:rPr lang="en-US" sz="1200" baseline="0"/>
                      <a:pPr>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04F-4C7B-8CDD-A2A19A600F63}"/>
                </c:ext>
              </c:extLst>
            </c:dLbl>
            <c:dLbl>
              <c:idx val="1"/>
              <c:layout>
                <c:manualLayout>
                  <c:x val="-0.33074462312558128"/>
                  <c:y val="-9.3842843322036781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A65EC2E3-DC64-40BF-B984-9A3B47D95AB3}" type="CATEGORYNAME">
                      <a:rPr lang="en-US" sz="1200"/>
                      <a:pPr>
                        <a:defRPr>
                          <a:solidFill>
                            <a:schemeClr val="accent1"/>
                          </a:solidFill>
                        </a:defRPr>
                      </a:pPr>
                      <a:t>[CATEGORY NAME]</a:t>
                    </a:fld>
                    <a:r>
                      <a:rPr lang="en-US" sz="1200" baseline="0" dirty="0"/>
                      <a:t>
</a:t>
                    </a:r>
                    <a:fld id="{236ED015-855F-4A58-8DBC-786A954AD5AB}" type="PERCENTAGE">
                      <a:rPr lang="en-US" sz="1200" baseline="0"/>
                      <a:pPr>
                        <a:defRPr>
                          <a:solidFill>
                            <a:schemeClr val="accent1"/>
                          </a:solidFill>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4F-4C7B-8CDD-A2A19A600F63}"/>
                </c:ext>
              </c:extLst>
            </c:dLbl>
            <c:spPr>
              <a:noFill/>
              <a:ln>
                <a:no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c:v>
                </c:pt>
                <c:pt idx="1">
                  <c:v>1</c:v>
                </c:pt>
              </c:numCache>
            </c:numRef>
          </c:val>
          <c:extLst>
            <c:ext xmlns:c16="http://schemas.microsoft.com/office/drawing/2014/chart" uri="{C3380CC4-5D6E-409C-BE32-E72D297353CC}">
              <c16:uniqueId val="{00000004-604F-4C7B-8CDD-A2A19A600F63}"/>
            </c:ext>
          </c:extLst>
        </c:ser>
        <c:dLbls>
          <c:dLblPos val="outEnd"/>
          <c:showLegendKey val="0"/>
          <c:showVal val="0"/>
          <c:showCatName val="0"/>
          <c:showSerName val="0"/>
          <c:showPercent val="1"/>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31"/>
          <c:dPt>
            <c:idx val="0"/>
            <c:bubble3D val="0"/>
            <c:explosion val="1"/>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927-4E15-A7AC-F2F985289D02}"/>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9927-4E15-A7AC-F2F985289D02}"/>
              </c:ext>
            </c:extLst>
          </c:dPt>
          <c:dLbls>
            <c:dLbl>
              <c:idx val="0"/>
              <c:layout>
                <c:manualLayout>
                  <c:x val="-6.79612239299138E-2"/>
                  <c:y val="-0.15417038545763165"/>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ABF0625-8BFE-45C7-AD46-BE678EBC92FF}" type="CATEGORYNAME">
                      <a:rPr lang="en-US" sz="1200"/>
                      <a:pPr>
                        <a:defRPr/>
                      </a:pPr>
                      <a:t>[CATEGORY NAME]</a:t>
                    </a:fld>
                    <a:r>
                      <a:rPr lang="en-US" sz="1200" baseline="0" dirty="0"/>
                      <a:t>
</a:t>
                    </a:r>
                    <a:fld id="{8110677D-97F0-4880-9AD5-B70670A856BE}" type="PERCENTAGE">
                      <a:rPr lang="en-US" sz="1200" baseline="0"/>
                      <a:pPr>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927-4E15-A7AC-F2F985289D02}"/>
                </c:ext>
              </c:extLst>
            </c:dLbl>
            <c:dLbl>
              <c:idx val="1"/>
              <c:layout>
                <c:manualLayout>
                  <c:x val="1.8122993047977057E-2"/>
                  <c:y val="-0.36866831305085829"/>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fld id="{A65EC2E3-DC64-40BF-B984-9A3B47D95AB3}" type="CATEGORYNAME">
                      <a:rPr lang="en-US" sz="1200">
                        <a:solidFill>
                          <a:srgbClr val="FF0000"/>
                        </a:solidFill>
                      </a:rPr>
                      <a:pPr>
                        <a:defRPr>
                          <a:solidFill>
                            <a:srgbClr val="FF0000"/>
                          </a:solidFill>
                        </a:defRPr>
                      </a:pPr>
                      <a:t>[CATEGORY NAME]</a:t>
                    </a:fld>
                    <a:r>
                      <a:rPr lang="en-US" sz="1200" baseline="0" dirty="0">
                        <a:solidFill>
                          <a:srgbClr val="FF0000"/>
                        </a:solidFill>
                      </a:rPr>
                      <a:t>
</a:t>
                    </a:r>
                    <a:fld id="{236ED015-855F-4A58-8DBC-786A954AD5AB}" type="PERCENTAGE">
                      <a:rPr lang="en-US" sz="1200" baseline="0">
                        <a:solidFill>
                          <a:srgbClr val="FF0000"/>
                        </a:solidFill>
                      </a:rPr>
                      <a:pPr>
                        <a:defRPr>
                          <a:solidFill>
                            <a:srgbClr val="FF0000"/>
                          </a:solidFill>
                        </a:defRPr>
                      </a:pPr>
                      <a:t>[PERCENTAGE]</a:t>
                    </a:fld>
                    <a:endParaRPr lang="en-US" sz="1200" baseline="0" dirty="0">
                      <a:solidFill>
                        <a:srgbClr val="FF0000"/>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927-4E15-A7AC-F2F985289D02}"/>
                </c:ext>
              </c:extLst>
            </c:dLbl>
            <c:spPr>
              <a:noFill/>
              <a:ln>
                <a:no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4</c:v>
                </c:pt>
                <c:pt idx="1">
                  <c:v>0.6</c:v>
                </c:pt>
              </c:numCache>
            </c:numRef>
          </c:val>
          <c:extLst>
            <c:ext xmlns:c16="http://schemas.microsoft.com/office/drawing/2014/chart" uri="{C3380CC4-5D6E-409C-BE32-E72D297353CC}">
              <c16:uniqueId val="{00000004-9927-4E15-A7AC-F2F985289D02}"/>
            </c:ext>
          </c:extLst>
        </c:ser>
        <c:dLbls>
          <c:dLblPos val="outEnd"/>
          <c:showLegendKey val="0"/>
          <c:showVal val="0"/>
          <c:showCatName val="0"/>
          <c:showSerName val="0"/>
          <c:showPercent val="1"/>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3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31"/>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4073-4259-98D4-2144ED36B374}"/>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4073-4259-98D4-2144ED36B374}"/>
              </c:ext>
            </c:extLst>
          </c:dPt>
          <c:dLbls>
            <c:dLbl>
              <c:idx val="0"/>
              <c:layout>
                <c:manualLayout>
                  <c:x val="9.5346146153772737E-2"/>
                  <c:y val="0"/>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75000"/>
                          </a:schemeClr>
                        </a:solidFill>
                        <a:latin typeface="+mn-lt"/>
                        <a:ea typeface="+mn-ea"/>
                        <a:cs typeface="+mn-cs"/>
                      </a:defRPr>
                    </a:pPr>
                    <a:fld id="{4ABF0625-8BFE-45C7-AD46-BE678EBC92FF}" type="CATEGORYNAME">
                      <a:rPr lang="en-US" sz="1200" baseline="0">
                        <a:solidFill>
                          <a:schemeClr val="accent1"/>
                        </a:solidFill>
                      </a:rPr>
                      <a:pPr>
                        <a:defRPr>
                          <a:solidFill>
                            <a:schemeClr val="accent1">
                              <a:lumMod val="75000"/>
                            </a:schemeClr>
                          </a:solidFill>
                        </a:defRPr>
                      </a:pPr>
                      <a:t>[CATEGORY NAME]</a:t>
                    </a:fld>
                    <a:r>
                      <a:rPr lang="en-US" sz="1200" baseline="0" dirty="0">
                        <a:solidFill>
                          <a:schemeClr val="accent1"/>
                        </a:solidFill>
                      </a:rPr>
                      <a:t>
</a:t>
                    </a:r>
                    <a:fld id="{8110677D-97F0-4880-9AD5-B70670A856BE}" type="PERCENTAGE">
                      <a:rPr lang="en-US" sz="1200" baseline="0">
                        <a:solidFill>
                          <a:schemeClr val="accent1"/>
                        </a:solidFill>
                      </a:rPr>
                      <a:pPr>
                        <a:defRPr>
                          <a:solidFill>
                            <a:schemeClr val="accent1">
                              <a:lumMod val="75000"/>
                            </a:schemeClr>
                          </a:solidFill>
                        </a:defRPr>
                      </a:pPr>
                      <a:t>[PERCENTAGE]</a:t>
                    </a:fld>
                    <a:endParaRPr lang="en-US" sz="1200" baseline="0" dirty="0">
                      <a:solidFill>
                        <a:schemeClr val="accent1"/>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7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073-4259-98D4-2144ED36B374}"/>
                </c:ext>
              </c:extLst>
            </c:dLbl>
            <c:dLbl>
              <c:idx val="1"/>
              <c:layout>
                <c:manualLayout>
                  <c:x val="6.0476766445394715E-2"/>
                  <c:y val="0.15417064935764099"/>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fld id="{A65EC2E3-DC64-40BF-B984-9A3B47D95AB3}" type="CATEGORYNAME">
                      <a:rPr lang="en-US" sz="1200" b="0" cap="none" spc="0" baseline="0">
                        <a:ln w="0"/>
                        <a:solidFill>
                          <a:srgbClr val="FF0000"/>
                        </a:solidFill>
                        <a:effectLst>
                          <a:outerShdw blurRad="38100" dist="25400" dir="5400000" algn="ctr" rotWithShape="0">
                            <a:srgbClr val="6E747A">
                              <a:alpha val="43000"/>
                            </a:srgbClr>
                          </a:outerShdw>
                        </a:effectLst>
                      </a:rPr>
                      <a:pPr>
                        <a:defRPr>
                          <a:solidFill>
                            <a:srgbClr val="FF0000"/>
                          </a:solidFill>
                        </a:defRPr>
                      </a:pPr>
                      <a:t>[CATEGORY NAME]</a:t>
                    </a:fld>
                    <a:r>
                      <a:rPr lang="en-US" sz="1200" baseline="0" dirty="0">
                        <a:solidFill>
                          <a:srgbClr val="FF0000"/>
                        </a:solidFill>
                      </a:rPr>
                      <a:t>
</a:t>
                    </a:r>
                    <a:fld id="{236ED015-855F-4A58-8DBC-786A954AD5AB}" type="PERCENTAGE">
                      <a:rPr lang="en-US" sz="1200" baseline="0">
                        <a:solidFill>
                          <a:srgbClr val="FF0000"/>
                        </a:solidFill>
                      </a:rPr>
                      <a:pPr>
                        <a:defRPr>
                          <a:solidFill>
                            <a:srgbClr val="FF0000"/>
                          </a:solidFill>
                        </a:defRPr>
                      </a:pPr>
                      <a:t>[PERCENTAGE]</a:t>
                    </a:fld>
                    <a:endParaRPr lang="en-US" sz="1200" baseline="0" dirty="0">
                      <a:solidFill>
                        <a:srgbClr val="FF0000"/>
                      </a:solidFill>
                    </a:endParaRPr>
                  </a:p>
                </c:rich>
              </c:tx>
              <c:spPr>
                <a:solidFill>
                  <a:sysClr val="window" lastClr="FFFFFF"/>
                </a:solid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7229381776425082"/>
                      <c:h val="0.21650884566441311"/>
                    </c:manualLayout>
                  </c15:layout>
                  <c15:dlblFieldTable/>
                  <c15:showDataLabelsRange val="0"/>
                </c:ext>
                <c:ext xmlns:c16="http://schemas.microsoft.com/office/drawing/2014/chart" uri="{C3380CC4-5D6E-409C-BE32-E72D297353CC}">
                  <c16:uniqueId val="{00000003-4073-4259-98D4-2144ED36B374}"/>
                </c:ext>
              </c:extLst>
            </c:dLbl>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7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17</c:v>
                </c:pt>
                <c:pt idx="1">
                  <c:v>0.83</c:v>
                </c:pt>
              </c:numCache>
            </c:numRef>
          </c:val>
          <c:extLst>
            <c:ext xmlns:c16="http://schemas.microsoft.com/office/drawing/2014/chart" uri="{C3380CC4-5D6E-409C-BE32-E72D297353CC}">
              <c16:uniqueId val="{00000004-4073-4259-98D4-2144ED36B374}"/>
            </c:ext>
          </c:extLst>
        </c:ser>
        <c:dLbls>
          <c:dLblPos val="outEnd"/>
          <c:showLegendKey val="0"/>
          <c:showVal val="0"/>
          <c:showCatName val="0"/>
          <c:showSerName val="0"/>
          <c:showPercent val="1"/>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40"/>
      <c:rotY val="4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explosion val="47"/>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BBBB-486D-8ED7-DE8EC51F7E30}"/>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BBBB-486D-8ED7-DE8EC51F7E30}"/>
              </c:ext>
            </c:extLst>
          </c:dPt>
          <c:dLbls>
            <c:dLbl>
              <c:idx val="0"/>
              <c:layout>
                <c:manualLayout>
                  <c:x val="7.7022720453902405E-2"/>
                  <c:y val="0.1273581445084783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ABF0625-8BFE-45C7-AD46-BE678EBC92FF}" type="CATEGORYNAME">
                      <a:rPr lang="en-US" sz="1200"/>
                      <a:pPr>
                        <a:defRPr/>
                      </a:pPr>
                      <a:t>[CATEGORY NAME]</a:t>
                    </a:fld>
                    <a:r>
                      <a:rPr lang="en-US" sz="1200" baseline="0" dirty="0"/>
                      <a:t>
</a:t>
                    </a:r>
                    <a:fld id="{8110677D-97F0-4880-9AD5-B70670A856BE}" type="PERCENTAGE">
                      <a:rPr lang="en-US" sz="1200" baseline="0"/>
                      <a:pPr>
                        <a:defRPr/>
                      </a:pPr>
                      <a:t>[PERCENTAGE]</a:t>
                    </a:fld>
                    <a:endParaRPr lang="en-US" sz="1200"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BBB-486D-8ED7-DE8EC51F7E30}"/>
                </c:ext>
              </c:extLst>
            </c:dLbl>
            <c:dLbl>
              <c:idx val="1"/>
              <c:layout>
                <c:manualLayout>
                  <c:x val="-0.14951469264581072"/>
                  <c:y val="-9.3842843322036656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fld id="{A65EC2E3-DC64-40BF-B984-9A3B47D95AB3}" type="CATEGORYNAME">
                      <a:rPr lang="en-US" sz="1200">
                        <a:solidFill>
                          <a:srgbClr val="FF0000"/>
                        </a:solidFill>
                      </a:rPr>
                      <a:pPr>
                        <a:defRPr>
                          <a:solidFill>
                            <a:srgbClr val="FF0000"/>
                          </a:solidFill>
                        </a:defRPr>
                      </a:pPr>
                      <a:t>[CATEGORY NAME]</a:t>
                    </a:fld>
                    <a:r>
                      <a:rPr lang="en-US" sz="1200" baseline="0" dirty="0">
                        <a:solidFill>
                          <a:srgbClr val="FF0000"/>
                        </a:solidFill>
                      </a:rPr>
                      <a:t>
</a:t>
                    </a:r>
                    <a:fld id="{236ED015-855F-4A58-8DBC-786A954AD5AB}" type="PERCENTAGE">
                      <a:rPr lang="en-US" sz="1200" baseline="0">
                        <a:solidFill>
                          <a:srgbClr val="FF0000"/>
                        </a:solidFill>
                      </a:rPr>
                      <a:pPr>
                        <a:defRPr>
                          <a:solidFill>
                            <a:srgbClr val="FF0000"/>
                          </a:solidFill>
                        </a:defRPr>
                      </a:pPr>
                      <a:t>[PERCENTAGE]</a:t>
                    </a:fld>
                    <a:endParaRPr lang="en-US" sz="1200" baseline="0" dirty="0">
                      <a:solidFill>
                        <a:srgbClr val="FF0000"/>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FF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BBB-486D-8ED7-DE8EC51F7E30}"/>
                </c:ext>
              </c:extLst>
            </c:dLbl>
            <c:spPr>
              <a:noFill/>
              <a:ln>
                <a:no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14:$A$15</c:f>
              <c:strCache>
                <c:ptCount val="2"/>
                <c:pt idx="0">
                  <c:v>Tender </c:v>
                </c:pt>
                <c:pt idx="1">
                  <c:v>Private</c:v>
                </c:pt>
              </c:strCache>
            </c:strRef>
          </c:cat>
          <c:val>
            <c:numRef>
              <c:f>Sheet1!$B$14:$B$15</c:f>
              <c:numCache>
                <c:formatCode>0%</c:formatCode>
                <c:ptCount val="2"/>
                <c:pt idx="0">
                  <c:v>0.1</c:v>
                </c:pt>
                <c:pt idx="1">
                  <c:v>0.9</c:v>
                </c:pt>
              </c:numCache>
            </c:numRef>
          </c:val>
          <c:extLst>
            <c:ext xmlns:c16="http://schemas.microsoft.com/office/drawing/2014/chart" uri="{C3380CC4-5D6E-409C-BE32-E72D297353CC}">
              <c16:uniqueId val="{00000004-BBBB-486D-8ED7-DE8EC51F7E30}"/>
            </c:ext>
          </c:extLst>
        </c:ser>
        <c:dLbls>
          <c:dLblPos val="outEnd"/>
          <c:showLegendKey val="0"/>
          <c:showVal val="0"/>
          <c:showCatName val="0"/>
          <c:showSerName val="0"/>
          <c:showPercent val="1"/>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161E9-22A7-F9B0-95F2-757686C1E8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9B6230F-3814-22FB-0962-3FA53A3DEF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FE13238-9D50-8CCC-62B7-BAC195C3579C}"/>
              </a:ext>
            </a:extLst>
          </p:cNvPr>
          <p:cNvSpPr>
            <a:spLocks noGrp="1"/>
          </p:cNvSpPr>
          <p:nvPr>
            <p:ph type="dt" sz="half" idx="10"/>
          </p:nvPr>
        </p:nvSpPr>
        <p:spPr/>
        <p:txBody>
          <a:bodyPr/>
          <a:lstStyle/>
          <a:p>
            <a:fld id="{9448F1DD-0677-4C42-AEA2-8E8A665C6E79}" type="datetime1">
              <a:rPr lang="en-US" smtClean="0"/>
              <a:t>2023-11-22</a:t>
            </a:fld>
            <a:endParaRPr lang="en-US"/>
          </a:p>
        </p:txBody>
      </p:sp>
      <p:sp>
        <p:nvSpPr>
          <p:cNvPr id="5" name="Footer Placeholder 4">
            <a:extLst>
              <a:ext uri="{FF2B5EF4-FFF2-40B4-BE49-F238E27FC236}">
                <a16:creationId xmlns:a16="http://schemas.microsoft.com/office/drawing/2014/main" id="{DEFD4D19-3E24-CAFB-FEA9-CFBE87F534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FD438-082A-E1B4-D30F-F9CECE137D3B}"/>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2640112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9BB69A-6D6F-7D42-929D-9D93535A50B8}"/>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3ED6047C-AE4D-A21F-AE24-43B42FAF8BE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9DECDB3-A935-3BE0-37C7-D51D99D13EDD}"/>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9" name="Picture Placeholder 8">
            <a:extLst>
              <a:ext uri="{FF2B5EF4-FFF2-40B4-BE49-F238E27FC236}">
                <a16:creationId xmlns:a16="http://schemas.microsoft.com/office/drawing/2014/main" id="{2B83F390-2EC9-FC1F-5306-9C529F76F801}"/>
              </a:ext>
            </a:extLst>
          </p:cNvPr>
          <p:cNvSpPr>
            <a:spLocks noGrp="1"/>
          </p:cNvSpPr>
          <p:nvPr>
            <p:ph type="pic" sz="quarter" idx="13"/>
          </p:nvPr>
        </p:nvSpPr>
        <p:spPr>
          <a:xfrm>
            <a:off x="3142003" y="1668239"/>
            <a:ext cx="3555336" cy="3555336"/>
          </a:xfrm>
          <a:custGeom>
            <a:avLst/>
            <a:gdLst>
              <a:gd name="connsiteX0" fmla="*/ 1777668 w 3555336"/>
              <a:gd name="connsiteY0" fmla="*/ 0 h 3555336"/>
              <a:gd name="connsiteX1" fmla="*/ 3555336 w 3555336"/>
              <a:gd name="connsiteY1" fmla="*/ 1777668 h 3555336"/>
              <a:gd name="connsiteX2" fmla="*/ 1777668 w 3555336"/>
              <a:gd name="connsiteY2" fmla="*/ 3555336 h 3555336"/>
              <a:gd name="connsiteX3" fmla="*/ 0 w 3555336"/>
              <a:gd name="connsiteY3" fmla="*/ 1777668 h 3555336"/>
              <a:gd name="connsiteX4" fmla="*/ 1777668 w 3555336"/>
              <a:gd name="connsiteY4" fmla="*/ 0 h 3555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336" h="3555336">
                <a:moveTo>
                  <a:pt x="1777668" y="0"/>
                </a:moveTo>
                <a:cubicBezTo>
                  <a:pt x="2759447" y="0"/>
                  <a:pt x="3555336" y="795889"/>
                  <a:pt x="3555336" y="1777668"/>
                </a:cubicBezTo>
                <a:cubicBezTo>
                  <a:pt x="3555336" y="2759447"/>
                  <a:pt x="2759447" y="3555336"/>
                  <a:pt x="1777668" y="3555336"/>
                </a:cubicBezTo>
                <a:cubicBezTo>
                  <a:pt x="795889" y="3555336"/>
                  <a:pt x="0" y="2759447"/>
                  <a:pt x="0" y="1777668"/>
                </a:cubicBezTo>
                <a:cubicBezTo>
                  <a:pt x="0" y="795889"/>
                  <a:pt x="795889" y="0"/>
                  <a:pt x="1777668" y="0"/>
                </a:cubicBezTo>
                <a:close/>
              </a:path>
            </a:pathLst>
          </a:custGeom>
          <a:solidFill>
            <a:schemeClr val="bg1">
              <a:lumMod val="75000"/>
            </a:schemeClr>
          </a:solidFill>
        </p:spPr>
        <p:txBody>
          <a:bodyPr wrap="square">
            <a:noAutofit/>
          </a:bodyPr>
          <a:lstStyle/>
          <a:p>
            <a:endParaRPr lang="en-US"/>
          </a:p>
        </p:txBody>
      </p:sp>
    </p:spTree>
    <p:extLst>
      <p:ext uri="{BB962C8B-B14F-4D97-AF65-F5344CB8AC3E}">
        <p14:creationId xmlns:p14="http://schemas.microsoft.com/office/powerpoint/2010/main" val="17846873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D3F2675-CB25-9DD6-C9EC-832CC832A836}"/>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788CF00C-25AA-5935-DB4C-EA8AAA1A994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3C99840-31A7-3635-2D1A-F1FEE0EA18CD}"/>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9" name="Picture Placeholder 8">
            <a:extLst>
              <a:ext uri="{FF2B5EF4-FFF2-40B4-BE49-F238E27FC236}">
                <a16:creationId xmlns:a16="http://schemas.microsoft.com/office/drawing/2014/main" id="{19F93EF8-4815-4763-9B8C-B5BDDFA45737}"/>
              </a:ext>
            </a:extLst>
          </p:cNvPr>
          <p:cNvSpPr>
            <a:spLocks noGrp="1"/>
          </p:cNvSpPr>
          <p:nvPr>
            <p:ph type="pic" sz="quarter" idx="13"/>
          </p:nvPr>
        </p:nvSpPr>
        <p:spPr>
          <a:xfrm>
            <a:off x="759281" y="1134709"/>
            <a:ext cx="5047599" cy="4588585"/>
          </a:xfrm>
          <a:custGeom>
            <a:avLst/>
            <a:gdLst>
              <a:gd name="connsiteX0" fmla="*/ 3122369 w 5047599"/>
              <a:gd name="connsiteY0" fmla="*/ 4269463 h 4588585"/>
              <a:gd name="connsiteX1" fmla="*/ 3122368 w 5047599"/>
              <a:gd name="connsiteY1" fmla="*/ 4269501 h 4588585"/>
              <a:gd name="connsiteX2" fmla="*/ 3123233 w 5047599"/>
              <a:gd name="connsiteY2" fmla="*/ 4271697 h 4588585"/>
              <a:gd name="connsiteX3" fmla="*/ 3124668 w 5047599"/>
              <a:gd name="connsiteY3" fmla="*/ 4274210 h 4588585"/>
              <a:gd name="connsiteX4" fmla="*/ 3125872 w 5047599"/>
              <a:gd name="connsiteY4" fmla="*/ 4274843 h 4588585"/>
              <a:gd name="connsiteX5" fmla="*/ 3127223 w 5047599"/>
              <a:gd name="connsiteY5" fmla="*/ 4275772 h 4588585"/>
              <a:gd name="connsiteX6" fmla="*/ 3130813 w 5047599"/>
              <a:gd name="connsiteY6" fmla="*/ 4277525 h 4588585"/>
              <a:gd name="connsiteX7" fmla="*/ 3131678 w 5047599"/>
              <a:gd name="connsiteY7" fmla="*/ 4278686 h 4588585"/>
              <a:gd name="connsiteX8" fmla="*/ 3134191 w 5047599"/>
              <a:gd name="connsiteY8" fmla="*/ 4280776 h 4588585"/>
              <a:gd name="connsiteX9" fmla="*/ 3136598 w 5047599"/>
              <a:gd name="connsiteY9" fmla="*/ 4284577 h 4588585"/>
              <a:gd name="connsiteX10" fmla="*/ 3141159 w 5047599"/>
              <a:gd name="connsiteY10" fmla="*/ 4289792 h 4588585"/>
              <a:gd name="connsiteX11" fmla="*/ 3146290 w 5047599"/>
              <a:gd name="connsiteY11" fmla="*/ 4293762 h 4588585"/>
              <a:gd name="connsiteX12" fmla="*/ 3155095 w 5047599"/>
              <a:gd name="connsiteY12" fmla="*/ 4295388 h 4588585"/>
              <a:gd name="connsiteX13" fmla="*/ 3161978 w 5047599"/>
              <a:gd name="connsiteY13" fmla="*/ 4296676 h 4588585"/>
              <a:gd name="connsiteX14" fmla="*/ 3164259 w 5047599"/>
              <a:gd name="connsiteY14" fmla="*/ 4295894 h 4588585"/>
              <a:gd name="connsiteX15" fmla="*/ 3166602 w 5047599"/>
              <a:gd name="connsiteY15" fmla="*/ 4292685 h 4588585"/>
              <a:gd name="connsiteX16" fmla="*/ 3168524 w 5047599"/>
              <a:gd name="connsiteY16" fmla="*/ 4288609 h 4588585"/>
              <a:gd name="connsiteX17" fmla="*/ 3168529 w 5047599"/>
              <a:gd name="connsiteY17" fmla="*/ 4288557 h 4588585"/>
              <a:gd name="connsiteX18" fmla="*/ 3166624 w 5047599"/>
              <a:gd name="connsiteY18" fmla="*/ 4292621 h 4588585"/>
              <a:gd name="connsiteX19" fmla="*/ 3164259 w 5047599"/>
              <a:gd name="connsiteY19" fmla="*/ 4295810 h 4588585"/>
              <a:gd name="connsiteX20" fmla="*/ 3161979 w 5047599"/>
              <a:gd name="connsiteY20" fmla="*/ 4296590 h 4588585"/>
              <a:gd name="connsiteX21" fmla="*/ 3155096 w 5047599"/>
              <a:gd name="connsiteY21" fmla="*/ 4295324 h 4588585"/>
              <a:gd name="connsiteX22" fmla="*/ 3146270 w 5047599"/>
              <a:gd name="connsiteY22" fmla="*/ 4293698 h 4588585"/>
              <a:gd name="connsiteX23" fmla="*/ 3141139 w 5047599"/>
              <a:gd name="connsiteY23" fmla="*/ 4289728 h 4588585"/>
              <a:gd name="connsiteX24" fmla="*/ 3136578 w 5047599"/>
              <a:gd name="connsiteY24" fmla="*/ 4284492 h 4588585"/>
              <a:gd name="connsiteX25" fmla="*/ 3134192 w 5047599"/>
              <a:gd name="connsiteY25" fmla="*/ 4280691 h 4588585"/>
              <a:gd name="connsiteX26" fmla="*/ 3131658 w 5047599"/>
              <a:gd name="connsiteY26" fmla="*/ 4278622 h 4588585"/>
              <a:gd name="connsiteX27" fmla="*/ 3130792 w 5047599"/>
              <a:gd name="connsiteY27" fmla="*/ 4277461 h 4588585"/>
              <a:gd name="connsiteX28" fmla="*/ 3127224 w 5047599"/>
              <a:gd name="connsiteY28" fmla="*/ 4275708 h 4588585"/>
              <a:gd name="connsiteX29" fmla="*/ 3125873 w 5047599"/>
              <a:gd name="connsiteY29" fmla="*/ 4274800 h 4588585"/>
              <a:gd name="connsiteX30" fmla="*/ 3124669 w 5047599"/>
              <a:gd name="connsiteY30" fmla="*/ 4274145 h 4588585"/>
              <a:gd name="connsiteX31" fmla="*/ 3123234 w 5047599"/>
              <a:gd name="connsiteY31" fmla="*/ 4271634 h 4588585"/>
              <a:gd name="connsiteX32" fmla="*/ 3225957 w 5047599"/>
              <a:gd name="connsiteY32" fmla="*/ 4246967 h 4588585"/>
              <a:gd name="connsiteX33" fmla="*/ 3221881 w 5047599"/>
              <a:gd name="connsiteY33" fmla="*/ 4250265 h 4588585"/>
              <a:gd name="connsiteX34" fmla="*/ 3218713 w 5047599"/>
              <a:gd name="connsiteY34" fmla="*/ 4252440 h 4588585"/>
              <a:gd name="connsiteX35" fmla="*/ 3214301 w 5047599"/>
              <a:gd name="connsiteY35" fmla="*/ 4255122 h 4588585"/>
              <a:gd name="connsiteX36" fmla="*/ 3204567 w 5047599"/>
              <a:gd name="connsiteY36" fmla="*/ 4259471 h 4588585"/>
              <a:gd name="connsiteX37" fmla="*/ 3199246 w 5047599"/>
              <a:gd name="connsiteY37" fmla="*/ 4261181 h 4588585"/>
              <a:gd name="connsiteX38" fmla="*/ 3198507 w 5047599"/>
              <a:gd name="connsiteY38" fmla="*/ 4261308 h 4588585"/>
              <a:gd name="connsiteX39" fmla="*/ 3195066 w 5047599"/>
              <a:gd name="connsiteY39" fmla="*/ 4260928 h 4588585"/>
              <a:gd name="connsiteX40" fmla="*/ 3190505 w 5047599"/>
              <a:gd name="connsiteY40" fmla="*/ 4261329 h 4588585"/>
              <a:gd name="connsiteX41" fmla="*/ 3186936 w 5047599"/>
              <a:gd name="connsiteY41" fmla="*/ 4262258 h 4588585"/>
              <a:gd name="connsiteX42" fmla="*/ 3184148 w 5047599"/>
              <a:gd name="connsiteY42" fmla="*/ 4262618 h 4588585"/>
              <a:gd name="connsiteX43" fmla="*/ 3179610 w 5047599"/>
              <a:gd name="connsiteY43" fmla="*/ 4267473 h 4588585"/>
              <a:gd name="connsiteX44" fmla="*/ 3171332 w 5047599"/>
              <a:gd name="connsiteY44" fmla="*/ 4280586 h 4588585"/>
              <a:gd name="connsiteX45" fmla="*/ 3169136 w 5047599"/>
              <a:gd name="connsiteY45" fmla="*/ 4283351 h 4588585"/>
              <a:gd name="connsiteX46" fmla="*/ 3168897 w 5047599"/>
              <a:gd name="connsiteY46" fmla="*/ 4285444 h 4588585"/>
              <a:gd name="connsiteX47" fmla="*/ 3169136 w 5047599"/>
              <a:gd name="connsiteY47" fmla="*/ 4283416 h 4588585"/>
              <a:gd name="connsiteX48" fmla="*/ 3171332 w 5047599"/>
              <a:gd name="connsiteY48" fmla="*/ 4280671 h 4588585"/>
              <a:gd name="connsiteX49" fmla="*/ 3179588 w 5047599"/>
              <a:gd name="connsiteY49" fmla="*/ 4267537 h 4588585"/>
              <a:gd name="connsiteX50" fmla="*/ 3184127 w 5047599"/>
              <a:gd name="connsiteY50" fmla="*/ 4262660 h 4588585"/>
              <a:gd name="connsiteX51" fmla="*/ 3186915 w 5047599"/>
              <a:gd name="connsiteY51" fmla="*/ 4262301 h 4588585"/>
              <a:gd name="connsiteX52" fmla="*/ 3190483 w 5047599"/>
              <a:gd name="connsiteY52" fmla="*/ 4261372 h 4588585"/>
              <a:gd name="connsiteX53" fmla="*/ 3195043 w 5047599"/>
              <a:gd name="connsiteY53" fmla="*/ 4260971 h 4588585"/>
              <a:gd name="connsiteX54" fmla="*/ 3198465 w 5047599"/>
              <a:gd name="connsiteY54" fmla="*/ 4261372 h 4588585"/>
              <a:gd name="connsiteX55" fmla="*/ 3199204 w 5047599"/>
              <a:gd name="connsiteY55" fmla="*/ 4261224 h 4588585"/>
              <a:gd name="connsiteX56" fmla="*/ 3204566 w 5047599"/>
              <a:gd name="connsiteY56" fmla="*/ 4259492 h 4588585"/>
              <a:gd name="connsiteX57" fmla="*/ 3204566 w 5047599"/>
              <a:gd name="connsiteY57" fmla="*/ 4259472 h 4588585"/>
              <a:gd name="connsiteX58" fmla="*/ 3214301 w 5047599"/>
              <a:gd name="connsiteY58" fmla="*/ 4255122 h 4588585"/>
              <a:gd name="connsiteX59" fmla="*/ 3218692 w 5047599"/>
              <a:gd name="connsiteY59" fmla="*/ 4252483 h 4588585"/>
              <a:gd name="connsiteX60" fmla="*/ 3221859 w 5047599"/>
              <a:gd name="connsiteY60" fmla="*/ 4250287 h 4588585"/>
              <a:gd name="connsiteX61" fmla="*/ 3225956 w 5047599"/>
              <a:gd name="connsiteY61" fmla="*/ 4246972 h 4588585"/>
              <a:gd name="connsiteX62" fmla="*/ 3104717 w 5047599"/>
              <a:gd name="connsiteY62" fmla="*/ 4229555 h 4588585"/>
              <a:gd name="connsiteX63" fmla="*/ 3104715 w 5047599"/>
              <a:gd name="connsiteY63" fmla="*/ 4229573 h 4588585"/>
              <a:gd name="connsiteX64" fmla="*/ 3107080 w 5047599"/>
              <a:gd name="connsiteY64" fmla="*/ 4235696 h 4588585"/>
              <a:gd name="connsiteX65" fmla="*/ 3109360 w 5047599"/>
              <a:gd name="connsiteY65" fmla="*/ 4241588 h 4588585"/>
              <a:gd name="connsiteX66" fmla="*/ 3113098 w 5047599"/>
              <a:gd name="connsiteY66" fmla="*/ 4248514 h 4588585"/>
              <a:gd name="connsiteX67" fmla="*/ 3115842 w 5047599"/>
              <a:gd name="connsiteY67" fmla="*/ 4253580 h 4588585"/>
              <a:gd name="connsiteX68" fmla="*/ 3120171 w 5047599"/>
              <a:gd name="connsiteY68" fmla="*/ 4259789 h 4588585"/>
              <a:gd name="connsiteX69" fmla="*/ 3122703 w 5047599"/>
              <a:gd name="connsiteY69" fmla="*/ 4263396 h 4588585"/>
              <a:gd name="connsiteX70" fmla="*/ 3122706 w 5047599"/>
              <a:gd name="connsiteY70" fmla="*/ 4263356 h 4588585"/>
              <a:gd name="connsiteX71" fmla="*/ 3120172 w 5047599"/>
              <a:gd name="connsiteY71" fmla="*/ 4259725 h 4588585"/>
              <a:gd name="connsiteX72" fmla="*/ 3115843 w 5047599"/>
              <a:gd name="connsiteY72" fmla="*/ 4253559 h 4588585"/>
              <a:gd name="connsiteX73" fmla="*/ 3113119 w 5047599"/>
              <a:gd name="connsiteY73" fmla="*/ 4248470 h 4588585"/>
              <a:gd name="connsiteX74" fmla="*/ 3109382 w 5047599"/>
              <a:gd name="connsiteY74" fmla="*/ 4241566 h 4588585"/>
              <a:gd name="connsiteX75" fmla="*/ 3107081 w 5047599"/>
              <a:gd name="connsiteY75" fmla="*/ 4235653 h 4588585"/>
              <a:gd name="connsiteX76" fmla="*/ 3231464 w 5047599"/>
              <a:gd name="connsiteY76" fmla="*/ 4228982 h 4588585"/>
              <a:gd name="connsiteX77" fmla="*/ 3228595 w 5047599"/>
              <a:gd name="connsiteY77" fmla="*/ 4232064 h 4588585"/>
              <a:gd name="connsiteX78" fmla="*/ 3228591 w 5047599"/>
              <a:gd name="connsiteY78" fmla="*/ 4232088 h 4588585"/>
              <a:gd name="connsiteX79" fmla="*/ 3236632 w 5047599"/>
              <a:gd name="connsiteY79" fmla="*/ 4224172 h 4588585"/>
              <a:gd name="connsiteX80" fmla="*/ 3234930 w 5047599"/>
              <a:gd name="connsiteY80" fmla="*/ 4226448 h 4588585"/>
              <a:gd name="connsiteX81" fmla="*/ 3231720 w 5047599"/>
              <a:gd name="connsiteY81" fmla="*/ 4228707 h 4588585"/>
              <a:gd name="connsiteX82" fmla="*/ 3231702 w 5047599"/>
              <a:gd name="connsiteY82" fmla="*/ 4228726 h 4588585"/>
              <a:gd name="connsiteX83" fmla="*/ 3234909 w 5047599"/>
              <a:gd name="connsiteY83" fmla="*/ 4226490 h 4588585"/>
              <a:gd name="connsiteX84" fmla="*/ 2646166 w 5047599"/>
              <a:gd name="connsiteY84" fmla="*/ 4166363 h 4588585"/>
              <a:gd name="connsiteX85" fmla="*/ 2646106 w 5047599"/>
              <a:gd name="connsiteY85" fmla="*/ 4166377 h 4588585"/>
              <a:gd name="connsiteX86" fmla="*/ 2643636 w 5047599"/>
              <a:gd name="connsiteY86" fmla="*/ 4169355 h 4588585"/>
              <a:gd name="connsiteX87" fmla="*/ 2644311 w 5047599"/>
              <a:gd name="connsiteY87" fmla="*/ 4174126 h 4588585"/>
              <a:gd name="connsiteX88" fmla="*/ 2642137 w 5047599"/>
              <a:gd name="connsiteY88" fmla="*/ 4177737 h 4588585"/>
              <a:gd name="connsiteX89" fmla="*/ 2642020 w 5047599"/>
              <a:gd name="connsiteY89" fmla="*/ 4177797 h 4588585"/>
              <a:gd name="connsiteX90" fmla="*/ 2642220 w 5047599"/>
              <a:gd name="connsiteY90" fmla="*/ 4177695 h 4588585"/>
              <a:gd name="connsiteX91" fmla="*/ 2644395 w 5047599"/>
              <a:gd name="connsiteY91" fmla="*/ 4174063 h 4588585"/>
              <a:gd name="connsiteX92" fmla="*/ 2643720 w 5047599"/>
              <a:gd name="connsiteY92" fmla="*/ 4169312 h 4588585"/>
              <a:gd name="connsiteX93" fmla="*/ 2653467 w 5047599"/>
              <a:gd name="connsiteY93" fmla="*/ 4163706 h 4588585"/>
              <a:gd name="connsiteX94" fmla="*/ 2651771 w 5047599"/>
              <a:gd name="connsiteY94" fmla="*/ 4165051 h 4588585"/>
              <a:gd name="connsiteX95" fmla="*/ 2651785 w 5047599"/>
              <a:gd name="connsiteY95" fmla="*/ 4165047 h 4588585"/>
              <a:gd name="connsiteX96" fmla="*/ 2659636 w 5047599"/>
              <a:gd name="connsiteY96" fmla="*/ 4155615 h 4588585"/>
              <a:gd name="connsiteX97" fmla="*/ 2659577 w 5047599"/>
              <a:gd name="connsiteY97" fmla="*/ 4155651 h 4588585"/>
              <a:gd name="connsiteX98" fmla="*/ 2656212 w 5047599"/>
              <a:gd name="connsiteY98" fmla="*/ 4161518 h 4588585"/>
              <a:gd name="connsiteX99" fmla="*/ 2656262 w 5047599"/>
              <a:gd name="connsiteY99" fmla="*/ 4161478 h 4588585"/>
              <a:gd name="connsiteX100" fmla="*/ 2508257 w 5047599"/>
              <a:gd name="connsiteY100" fmla="*/ 4120540 h 4588585"/>
              <a:gd name="connsiteX101" fmla="*/ 2505124 w 5047599"/>
              <a:gd name="connsiteY101" fmla="*/ 4121656 h 4588585"/>
              <a:gd name="connsiteX102" fmla="*/ 2501682 w 5047599"/>
              <a:gd name="connsiteY102" fmla="*/ 4125584 h 4588585"/>
              <a:gd name="connsiteX103" fmla="*/ 2499655 w 5047599"/>
              <a:gd name="connsiteY103" fmla="*/ 4131685 h 4588585"/>
              <a:gd name="connsiteX104" fmla="*/ 2497818 w 5047599"/>
              <a:gd name="connsiteY104" fmla="*/ 4134768 h 4588585"/>
              <a:gd name="connsiteX105" fmla="*/ 2496889 w 5047599"/>
              <a:gd name="connsiteY105" fmla="*/ 4139878 h 4588585"/>
              <a:gd name="connsiteX106" fmla="*/ 2496466 w 5047599"/>
              <a:gd name="connsiteY106" fmla="*/ 4143510 h 4588585"/>
              <a:gd name="connsiteX107" fmla="*/ 2494608 w 5047599"/>
              <a:gd name="connsiteY107" fmla="*/ 4147396 h 4588585"/>
              <a:gd name="connsiteX108" fmla="*/ 2492685 w 5047599"/>
              <a:gd name="connsiteY108" fmla="*/ 4148942 h 4588585"/>
              <a:gd name="connsiteX109" fmla="*/ 2492729 w 5047599"/>
              <a:gd name="connsiteY109" fmla="*/ 4148958 h 4588585"/>
              <a:gd name="connsiteX110" fmla="*/ 2494672 w 5047599"/>
              <a:gd name="connsiteY110" fmla="*/ 4147396 h 4588585"/>
              <a:gd name="connsiteX111" fmla="*/ 2496551 w 5047599"/>
              <a:gd name="connsiteY111" fmla="*/ 4143510 h 4588585"/>
              <a:gd name="connsiteX112" fmla="*/ 2496973 w 5047599"/>
              <a:gd name="connsiteY112" fmla="*/ 4139878 h 4588585"/>
              <a:gd name="connsiteX113" fmla="*/ 2497903 w 5047599"/>
              <a:gd name="connsiteY113" fmla="*/ 4134747 h 4588585"/>
              <a:gd name="connsiteX114" fmla="*/ 2499739 w 5047599"/>
              <a:gd name="connsiteY114" fmla="*/ 4131664 h 4588585"/>
              <a:gd name="connsiteX115" fmla="*/ 2501766 w 5047599"/>
              <a:gd name="connsiteY115" fmla="*/ 4125563 h 4588585"/>
              <a:gd name="connsiteX116" fmla="*/ 2505207 w 5047599"/>
              <a:gd name="connsiteY116" fmla="*/ 4121635 h 4588585"/>
              <a:gd name="connsiteX117" fmla="*/ 3406328 w 5047599"/>
              <a:gd name="connsiteY117" fmla="*/ 4039366 h 4588585"/>
              <a:gd name="connsiteX118" fmla="*/ 3404680 w 5047599"/>
              <a:gd name="connsiteY118" fmla="*/ 4039494 h 4588585"/>
              <a:gd name="connsiteX119" fmla="*/ 3404691 w 5047599"/>
              <a:gd name="connsiteY119" fmla="*/ 4039500 h 4588585"/>
              <a:gd name="connsiteX120" fmla="*/ 2773068 w 5047599"/>
              <a:gd name="connsiteY120" fmla="*/ 4039055 h 4588585"/>
              <a:gd name="connsiteX121" fmla="*/ 2750317 w 5047599"/>
              <a:gd name="connsiteY121" fmla="*/ 4040302 h 4588585"/>
              <a:gd name="connsiteX122" fmla="*/ 2750391 w 5047599"/>
              <a:gd name="connsiteY122" fmla="*/ 4040323 h 4588585"/>
              <a:gd name="connsiteX123" fmla="*/ 2773086 w 5047599"/>
              <a:gd name="connsiteY123" fmla="*/ 4039060 h 4588585"/>
              <a:gd name="connsiteX124" fmla="*/ 3397680 w 5047599"/>
              <a:gd name="connsiteY124" fmla="*/ 4038028 h 4588585"/>
              <a:gd name="connsiteX125" fmla="*/ 3397617 w 5047599"/>
              <a:gd name="connsiteY125" fmla="*/ 4038042 h 4588585"/>
              <a:gd name="connsiteX126" fmla="*/ 3395992 w 5047599"/>
              <a:gd name="connsiteY126" fmla="*/ 4047565 h 4588585"/>
              <a:gd name="connsiteX127" fmla="*/ 3394725 w 5047599"/>
              <a:gd name="connsiteY127" fmla="*/ 4061733 h 4588585"/>
              <a:gd name="connsiteX128" fmla="*/ 3395483 w 5047599"/>
              <a:gd name="connsiteY128" fmla="*/ 4070518 h 4588585"/>
              <a:gd name="connsiteX129" fmla="*/ 3395527 w 5047599"/>
              <a:gd name="connsiteY129" fmla="*/ 4070517 h 4588585"/>
              <a:gd name="connsiteX130" fmla="*/ 3394789 w 5047599"/>
              <a:gd name="connsiteY130" fmla="*/ 4061691 h 4588585"/>
              <a:gd name="connsiteX131" fmla="*/ 3396055 w 5047599"/>
              <a:gd name="connsiteY131" fmla="*/ 4047523 h 4588585"/>
              <a:gd name="connsiteX132" fmla="*/ 2738440 w 5047599"/>
              <a:gd name="connsiteY132" fmla="*/ 4037451 h 4588585"/>
              <a:gd name="connsiteX133" fmla="*/ 2730753 w 5047599"/>
              <a:gd name="connsiteY133" fmla="*/ 4040111 h 4588585"/>
              <a:gd name="connsiteX134" fmla="*/ 2730754 w 5047599"/>
              <a:gd name="connsiteY134" fmla="*/ 4040111 h 4588585"/>
              <a:gd name="connsiteX135" fmla="*/ 2738497 w 5047599"/>
              <a:gd name="connsiteY135" fmla="*/ 4037461 h 4588585"/>
              <a:gd name="connsiteX136" fmla="*/ 2805599 w 5047599"/>
              <a:gd name="connsiteY136" fmla="*/ 4026129 h 4588585"/>
              <a:gd name="connsiteX137" fmla="*/ 2800306 w 5047599"/>
              <a:gd name="connsiteY137" fmla="*/ 4027717 h 4588585"/>
              <a:gd name="connsiteX138" fmla="*/ 2795470 w 5047599"/>
              <a:gd name="connsiteY138" fmla="*/ 4028794 h 4588585"/>
              <a:gd name="connsiteX139" fmla="*/ 2792810 w 5047599"/>
              <a:gd name="connsiteY139" fmla="*/ 4030927 h 4588585"/>
              <a:gd name="connsiteX140" fmla="*/ 2789833 w 5047599"/>
              <a:gd name="connsiteY140" fmla="*/ 4037324 h 4588585"/>
              <a:gd name="connsiteX141" fmla="*/ 2787257 w 5047599"/>
              <a:gd name="connsiteY141" fmla="*/ 4039605 h 4588585"/>
              <a:gd name="connsiteX142" fmla="*/ 2784406 w 5047599"/>
              <a:gd name="connsiteY142" fmla="*/ 4040471 h 4588585"/>
              <a:gd name="connsiteX143" fmla="*/ 2775813 w 5047599"/>
              <a:gd name="connsiteY143" fmla="*/ 4039710 h 4588585"/>
              <a:gd name="connsiteX144" fmla="*/ 2775649 w 5047599"/>
              <a:gd name="connsiteY144" fmla="*/ 4039672 h 4588585"/>
              <a:gd name="connsiteX145" fmla="*/ 2775897 w 5047599"/>
              <a:gd name="connsiteY145" fmla="*/ 4039732 h 4588585"/>
              <a:gd name="connsiteX146" fmla="*/ 2784491 w 5047599"/>
              <a:gd name="connsiteY146" fmla="*/ 4040492 h 4588585"/>
              <a:gd name="connsiteX147" fmla="*/ 2787363 w 5047599"/>
              <a:gd name="connsiteY147" fmla="*/ 4039605 h 4588585"/>
              <a:gd name="connsiteX148" fmla="*/ 2789938 w 5047599"/>
              <a:gd name="connsiteY148" fmla="*/ 4037325 h 4588585"/>
              <a:gd name="connsiteX149" fmla="*/ 2792915 w 5047599"/>
              <a:gd name="connsiteY149" fmla="*/ 4030927 h 4588585"/>
              <a:gd name="connsiteX150" fmla="*/ 2795576 w 5047599"/>
              <a:gd name="connsiteY150" fmla="*/ 4028794 h 4588585"/>
              <a:gd name="connsiteX151" fmla="*/ 2800411 w 5047599"/>
              <a:gd name="connsiteY151" fmla="*/ 4027718 h 4588585"/>
              <a:gd name="connsiteX152" fmla="*/ 3395757 w 5047599"/>
              <a:gd name="connsiteY152" fmla="*/ 3981891 h 4588585"/>
              <a:gd name="connsiteX153" fmla="*/ 3396055 w 5047599"/>
              <a:gd name="connsiteY153" fmla="*/ 3982131 h 4588585"/>
              <a:gd name="connsiteX154" fmla="*/ 3400396 w 5047599"/>
              <a:gd name="connsiteY154" fmla="*/ 3984545 h 4588585"/>
              <a:gd name="connsiteX155" fmla="*/ 3396034 w 5047599"/>
              <a:gd name="connsiteY155" fmla="*/ 3982110 h 4588585"/>
              <a:gd name="connsiteX156" fmla="*/ 3347032 w 5047599"/>
              <a:gd name="connsiteY156" fmla="*/ 3978705 h 4588585"/>
              <a:gd name="connsiteX157" fmla="*/ 3343944 w 5047599"/>
              <a:gd name="connsiteY157" fmla="*/ 3982659 h 4588585"/>
              <a:gd name="connsiteX158" fmla="*/ 3343936 w 5047599"/>
              <a:gd name="connsiteY158" fmla="*/ 3982679 h 4588585"/>
              <a:gd name="connsiteX159" fmla="*/ 3361385 w 5047599"/>
              <a:gd name="connsiteY159" fmla="*/ 3967013 h 4588585"/>
              <a:gd name="connsiteX160" fmla="*/ 3358576 w 5047599"/>
              <a:gd name="connsiteY160" fmla="*/ 3967837 h 4588585"/>
              <a:gd name="connsiteX161" fmla="*/ 3351018 w 5047599"/>
              <a:gd name="connsiteY161" fmla="*/ 3973601 h 4588585"/>
              <a:gd name="connsiteX162" fmla="*/ 3350998 w 5047599"/>
              <a:gd name="connsiteY162" fmla="*/ 3973626 h 4588585"/>
              <a:gd name="connsiteX163" fmla="*/ 3358535 w 5047599"/>
              <a:gd name="connsiteY163" fmla="*/ 3967879 h 4588585"/>
              <a:gd name="connsiteX164" fmla="*/ 3361343 w 5047599"/>
              <a:gd name="connsiteY164" fmla="*/ 3967055 h 4588585"/>
              <a:gd name="connsiteX165" fmla="*/ 3363286 w 5047599"/>
              <a:gd name="connsiteY165" fmla="*/ 3967288 h 4588585"/>
              <a:gd name="connsiteX166" fmla="*/ 3376630 w 5047599"/>
              <a:gd name="connsiteY166" fmla="*/ 3975226 h 4588585"/>
              <a:gd name="connsiteX167" fmla="*/ 3390312 w 5047599"/>
              <a:gd name="connsiteY167" fmla="*/ 3982765 h 4588585"/>
              <a:gd name="connsiteX168" fmla="*/ 3393310 w 5047599"/>
              <a:gd name="connsiteY168" fmla="*/ 3981920 h 4588585"/>
              <a:gd name="connsiteX169" fmla="*/ 3394862 w 5047599"/>
              <a:gd name="connsiteY169" fmla="*/ 3981186 h 4588585"/>
              <a:gd name="connsiteX170" fmla="*/ 3394831 w 5047599"/>
              <a:gd name="connsiteY170" fmla="*/ 3981160 h 4588585"/>
              <a:gd name="connsiteX171" fmla="*/ 3394830 w 5047599"/>
              <a:gd name="connsiteY171" fmla="*/ 3981159 h 4588585"/>
              <a:gd name="connsiteX172" fmla="*/ 3393310 w 5047599"/>
              <a:gd name="connsiteY172" fmla="*/ 3981877 h 4588585"/>
              <a:gd name="connsiteX173" fmla="*/ 3390333 w 5047599"/>
              <a:gd name="connsiteY173" fmla="*/ 3982743 h 4588585"/>
              <a:gd name="connsiteX174" fmla="*/ 3376650 w 5047599"/>
              <a:gd name="connsiteY174" fmla="*/ 3975206 h 4588585"/>
              <a:gd name="connsiteX175" fmla="*/ 3363306 w 5047599"/>
              <a:gd name="connsiteY175" fmla="*/ 3967245 h 4588585"/>
              <a:gd name="connsiteX176" fmla="*/ 2880372 w 5047599"/>
              <a:gd name="connsiteY176" fmla="*/ 3935784 h 4588585"/>
              <a:gd name="connsiteX177" fmla="*/ 2873426 w 5047599"/>
              <a:gd name="connsiteY177" fmla="*/ 3937220 h 4588585"/>
              <a:gd name="connsiteX178" fmla="*/ 2868021 w 5047599"/>
              <a:gd name="connsiteY178" fmla="*/ 3938761 h 4588585"/>
              <a:gd name="connsiteX179" fmla="*/ 2865930 w 5047599"/>
              <a:gd name="connsiteY179" fmla="*/ 3939543 h 4588585"/>
              <a:gd name="connsiteX180" fmla="*/ 2861729 w 5047599"/>
              <a:gd name="connsiteY180" fmla="*/ 3942562 h 4588585"/>
              <a:gd name="connsiteX181" fmla="*/ 2857442 w 5047599"/>
              <a:gd name="connsiteY181" fmla="*/ 3948326 h 4588585"/>
              <a:gd name="connsiteX182" fmla="*/ 2853873 w 5047599"/>
              <a:gd name="connsiteY182" fmla="*/ 3957321 h 4588585"/>
              <a:gd name="connsiteX183" fmla="*/ 2852523 w 5047599"/>
              <a:gd name="connsiteY183" fmla="*/ 3962832 h 4588585"/>
              <a:gd name="connsiteX184" fmla="*/ 2848552 w 5047599"/>
              <a:gd name="connsiteY184" fmla="*/ 3974572 h 4588585"/>
              <a:gd name="connsiteX185" fmla="*/ 2843295 w 5047599"/>
              <a:gd name="connsiteY185" fmla="*/ 3988676 h 4588585"/>
              <a:gd name="connsiteX186" fmla="*/ 2840783 w 5047599"/>
              <a:gd name="connsiteY186" fmla="*/ 3992730 h 4588585"/>
              <a:gd name="connsiteX187" fmla="*/ 2837868 w 5047599"/>
              <a:gd name="connsiteY187" fmla="*/ 3995729 h 4588585"/>
              <a:gd name="connsiteX188" fmla="*/ 2833265 w 5047599"/>
              <a:gd name="connsiteY188" fmla="*/ 3998410 h 4588585"/>
              <a:gd name="connsiteX189" fmla="*/ 2818253 w 5047599"/>
              <a:gd name="connsiteY189" fmla="*/ 4009643 h 4588585"/>
              <a:gd name="connsiteX190" fmla="*/ 2810736 w 5047599"/>
              <a:gd name="connsiteY190" fmla="*/ 4022312 h 4588585"/>
              <a:gd name="connsiteX191" fmla="*/ 2806012 w 5047599"/>
              <a:gd name="connsiteY191" fmla="*/ 4026003 h 4588585"/>
              <a:gd name="connsiteX192" fmla="*/ 2806133 w 5047599"/>
              <a:gd name="connsiteY192" fmla="*/ 4025965 h 4588585"/>
              <a:gd name="connsiteX193" fmla="*/ 2810863 w 5047599"/>
              <a:gd name="connsiteY193" fmla="*/ 4022270 h 4588585"/>
              <a:gd name="connsiteX194" fmla="*/ 2818359 w 5047599"/>
              <a:gd name="connsiteY194" fmla="*/ 4009601 h 4588585"/>
              <a:gd name="connsiteX195" fmla="*/ 2833371 w 5047599"/>
              <a:gd name="connsiteY195" fmla="*/ 3998389 h 4588585"/>
              <a:gd name="connsiteX196" fmla="*/ 2837974 w 5047599"/>
              <a:gd name="connsiteY196" fmla="*/ 3995708 h 4588585"/>
              <a:gd name="connsiteX197" fmla="*/ 2840888 w 5047599"/>
              <a:gd name="connsiteY197" fmla="*/ 3992688 h 4588585"/>
              <a:gd name="connsiteX198" fmla="*/ 2843422 w 5047599"/>
              <a:gd name="connsiteY198" fmla="*/ 3988635 h 4588585"/>
              <a:gd name="connsiteX199" fmla="*/ 2848679 w 5047599"/>
              <a:gd name="connsiteY199" fmla="*/ 3974551 h 4588585"/>
              <a:gd name="connsiteX200" fmla="*/ 2852649 w 5047599"/>
              <a:gd name="connsiteY200" fmla="*/ 3962833 h 4588585"/>
              <a:gd name="connsiteX201" fmla="*/ 2854000 w 5047599"/>
              <a:gd name="connsiteY201" fmla="*/ 3957322 h 4588585"/>
              <a:gd name="connsiteX202" fmla="*/ 2857548 w 5047599"/>
              <a:gd name="connsiteY202" fmla="*/ 3948305 h 4588585"/>
              <a:gd name="connsiteX203" fmla="*/ 2861833 w 5047599"/>
              <a:gd name="connsiteY203" fmla="*/ 3942562 h 4588585"/>
              <a:gd name="connsiteX204" fmla="*/ 2866036 w 5047599"/>
              <a:gd name="connsiteY204" fmla="*/ 3939522 h 4588585"/>
              <a:gd name="connsiteX205" fmla="*/ 2868147 w 5047599"/>
              <a:gd name="connsiteY205" fmla="*/ 3938762 h 4588585"/>
              <a:gd name="connsiteX206" fmla="*/ 2873552 w 5047599"/>
              <a:gd name="connsiteY206" fmla="*/ 3937220 h 4588585"/>
              <a:gd name="connsiteX207" fmla="*/ 2880387 w 5047599"/>
              <a:gd name="connsiteY207" fmla="*/ 3935787 h 4588585"/>
              <a:gd name="connsiteX208" fmla="*/ 2685674 w 5047599"/>
              <a:gd name="connsiteY208" fmla="*/ 3903754 h 4588585"/>
              <a:gd name="connsiteX209" fmla="*/ 2685674 w 5047599"/>
              <a:gd name="connsiteY209" fmla="*/ 3931203 h 4588585"/>
              <a:gd name="connsiteX210" fmla="*/ 2685674 w 5047599"/>
              <a:gd name="connsiteY210" fmla="*/ 3960383 h 4588585"/>
              <a:gd name="connsiteX211" fmla="*/ 2685674 w 5047599"/>
              <a:gd name="connsiteY211" fmla="*/ 3989669 h 4588585"/>
              <a:gd name="connsiteX212" fmla="*/ 2685674 w 5047599"/>
              <a:gd name="connsiteY212" fmla="*/ 4019081 h 4588585"/>
              <a:gd name="connsiteX213" fmla="*/ 2685674 w 5047599"/>
              <a:gd name="connsiteY213" fmla="*/ 4048600 h 4588585"/>
              <a:gd name="connsiteX214" fmla="*/ 2685674 w 5047599"/>
              <a:gd name="connsiteY214" fmla="*/ 4078223 h 4588585"/>
              <a:gd name="connsiteX215" fmla="*/ 2685674 w 5047599"/>
              <a:gd name="connsiteY215" fmla="*/ 4107953 h 4588585"/>
              <a:gd name="connsiteX216" fmla="*/ 2685674 w 5047599"/>
              <a:gd name="connsiteY216" fmla="*/ 4137852 h 4588585"/>
              <a:gd name="connsiteX217" fmla="*/ 2685674 w 5047599"/>
              <a:gd name="connsiteY217" fmla="*/ 4147289 h 4588585"/>
              <a:gd name="connsiteX218" fmla="*/ 2685738 w 5047599"/>
              <a:gd name="connsiteY218" fmla="*/ 4147290 h 4588585"/>
              <a:gd name="connsiteX219" fmla="*/ 2685738 w 5047599"/>
              <a:gd name="connsiteY219" fmla="*/ 4137809 h 4588585"/>
              <a:gd name="connsiteX220" fmla="*/ 2685738 w 5047599"/>
              <a:gd name="connsiteY220" fmla="*/ 4107911 h 4588585"/>
              <a:gd name="connsiteX221" fmla="*/ 2685738 w 5047599"/>
              <a:gd name="connsiteY221" fmla="*/ 4078182 h 4588585"/>
              <a:gd name="connsiteX222" fmla="*/ 2685738 w 5047599"/>
              <a:gd name="connsiteY222" fmla="*/ 4048558 h 4588585"/>
              <a:gd name="connsiteX223" fmla="*/ 2685738 w 5047599"/>
              <a:gd name="connsiteY223" fmla="*/ 4019019 h 4588585"/>
              <a:gd name="connsiteX224" fmla="*/ 2685738 w 5047599"/>
              <a:gd name="connsiteY224" fmla="*/ 3989627 h 4588585"/>
              <a:gd name="connsiteX225" fmla="*/ 2685738 w 5047599"/>
              <a:gd name="connsiteY225" fmla="*/ 3960362 h 4588585"/>
              <a:gd name="connsiteX226" fmla="*/ 2685738 w 5047599"/>
              <a:gd name="connsiteY226" fmla="*/ 3931182 h 4588585"/>
              <a:gd name="connsiteX227" fmla="*/ 2685738 w 5047599"/>
              <a:gd name="connsiteY227" fmla="*/ 3903797 h 4588585"/>
              <a:gd name="connsiteX228" fmla="*/ 3037199 w 5047599"/>
              <a:gd name="connsiteY228" fmla="*/ 3901841 h 4588585"/>
              <a:gd name="connsiteX229" fmla="*/ 3037169 w 5047599"/>
              <a:gd name="connsiteY229" fmla="*/ 3901853 h 4588585"/>
              <a:gd name="connsiteX230" fmla="*/ 3035396 w 5047599"/>
              <a:gd name="connsiteY230" fmla="*/ 3904471 h 4588585"/>
              <a:gd name="connsiteX231" fmla="*/ 3033643 w 5047599"/>
              <a:gd name="connsiteY231" fmla="*/ 3914120 h 4588585"/>
              <a:gd name="connsiteX232" fmla="*/ 3028745 w 5047599"/>
              <a:gd name="connsiteY232" fmla="*/ 3927908 h 4588585"/>
              <a:gd name="connsiteX233" fmla="*/ 3024775 w 5047599"/>
              <a:gd name="connsiteY233" fmla="*/ 3938106 h 4588585"/>
              <a:gd name="connsiteX234" fmla="*/ 3022199 w 5047599"/>
              <a:gd name="connsiteY234" fmla="*/ 3947017 h 4588585"/>
              <a:gd name="connsiteX235" fmla="*/ 3017723 w 5047599"/>
              <a:gd name="connsiteY235" fmla="*/ 3958060 h 4588585"/>
              <a:gd name="connsiteX236" fmla="*/ 3013838 w 5047599"/>
              <a:gd name="connsiteY236" fmla="*/ 3961776 h 4588585"/>
              <a:gd name="connsiteX237" fmla="*/ 3009460 w 5047599"/>
              <a:gd name="connsiteY237" fmla="*/ 3965149 h 4588585"/>
              <a:gd name="connsiteX238" fmla="*/ 3009510 w 5047599"/>
              <a:gd name="connsiteY238" fmla="*/ 3965134 h 4588585"/>
              <a:gd name="connsiteX239" fmla="*/ 3013923 w 5047599"/>
              <a:gd name="connsiteY239" fmla="*/ 3961735 h 4588585"/>
              <a:gd name="connsiteX240" fmla="*/ 3017807 w 5047599"/>
              <a:gd name="connsiteY240" fmla="*/ 3958018 h 4588585"/>
              <a:gd name="connsiteX241" fmla="*/ 3022284 w 5047599"/>
              <a:gd name="connsiteY241" fmla="*/ 3946954 h 4588585"/>
              <a:gd name="connsiteX242" fmla="*/ 3024860 w 5047599"/>
              <a:gd name="connsiteY242" fmla="*/ 3938086 h 4588585"/>
              <a:gd name="connsiteX243" fmla="*/ 3028829 w 5047599"/>
              <a:gd name="connsiteY243" fmla="*/ 3927887 h 4588585"/>
              <a:gd name="connsiteX244" fmla="*/ 3033707 w 5047599"/>
              <a:gd name="connsiteY244" fmla="*/ 3914058 h 4588585"/>
              <a:gd name="connsiteX245" fmla="*/ 3035459 w 5047599"/>
              <a:gd name="connsiteY245" fmla="*/ 3904451 h 4588585"/>
              <a:gd name="connsiteX246" fmla="*/ 3072120 w 5047599"/>
              <a:gd name="connsiteY246" fmla="*/ 3886581 h 4588585"/>
              <a:gd name="connsiteX247" fmla="*/ 3072114 w 5047599"/>
              <a:gd name="connsiteY247" fmla="*/ 3886587 h 4588585"/>
              <a:gd name="connsiteX248" fmla="*/ 3069175 w 5047599"/>
              <a:gd name="connsiteY248" fmla="*/ 3891080 h 4588585"/>
              <a:gd name="connsiteX249" fmla="*/ 3069200 w 5047599"/>
              <a:gd name="connsiteY249" fmla="*/ 3891064 h 4588585"/>
              <a:gd name="connsiteX250" fmla="*/ 3079011 w 5047599"/>
              <a:gd name="connsiteY250" fmla="*/ 3878913 h 4588585"/>
              <a:gd name="connsiteX251" fmla="*/ 3078998 w 5047599"/>
              <a:gd name="connsiteY251" fmla="*/ 3878923 h 4588585"/>
              <a:gd name="connsiteX252" fmla="*/ 3077411 w 5047599"/>
              <a:gd name="connsiteY252" fmla="*/ 3880690 h 4588585"/>
              <a:gd name="connsiteX253" fmla="*/ 3104223 w 5047599"/>
              <a:gd name="connsiteY253" fmla="*/ 3829424 h 4588585"/>
              <a:gd name="connsiteX254" fmla="*/ 3100872 w 5047599"/>
              <a:gd name="connsiteY254" fmla="*/ 3834117 h 4588585"/>
              <a:gd name="connsiteX255" fmla="*/ 3099902 w 5047599"/>
              <a:gd name="connsiteY255" fmla="*/ 3837918 h 4588585"/>
              <a:gd name="connsiteX256" fmla="*/ 3091878 w 5047599"/>
              <a:gd name="connsiteY256" fmla="*/ 3868851 h 4588585"/>
              <a:gd name="connsiteX257" fmla="*/ 3088902 w 5047599"/>
              <a:gd name="connsiteY257" fmla="*/ 3871340 h 4588585"/>
              <a:gd name="connsiteX258" fmla="*/ 3091920 w 5047599"/>
              <a:gd name="connsiteY258" fmla="*/ 3868830 h 4588585"/>
              <a:gd name="connsiteX259" fmla="*/ 3099944 w 5047599"/>
              <a:gd name="connsiteY259" fmla="*/ 3837898 h 4588585"/>
              <a:gd name="connsiteX260" fmla="*/ 3100915 w 5047599"/>
              <a:gd name="connsiteY260" fmla="*/ 3834075 h 4588585"/>
              <a:gd name="connsiteX261" fmla="*/ 3136804 w 5047599"/>
              <a:gd name="connsiteY261" fmla="*/ 3804910 h 4588585"/>
              <a:gd name="connsiteX262" fmla="*/ 3136767 w 5047599"/>
              <a:gd name="connsiteY262" fmla="*/ 3804937 h 4588585"/>
              <a:gd name="connsiteX263" fmla="*/ 3135020 w 5047599"/>
              <a:gd name="connsiteY263" fmla="*/ 3809546 h 4588585"/>
              <a:gd name="connsiteX264" fmla="*/ 3135057 w 5047599"/>
              <a:gd name="connsiteY264" fmla="*/ 3809519 h 4588585"/>
              <a:gd name="connsiteX265" fmla="*/ 3139808 w 5047599"/>
              <a:gd name="connsiteY265" fmla="*/ 3802657 h 4588585"/>
              <a:gd name="connsiteX266" fmla="*/ 3138332 w 5047599"/>
              <a:gd name="connsiteY266" fmla="*/ 3803763 h 4588585"/>
              <a:gd name="connsiteX267" fmla="*/ 3139821 w 5047599"/>
              <a:gd name="connsiteY267" fmla="*/ 3802658 h 4588585"/>
              <a:gd name="connsiteX268" fmla="*/ 3149835 w 5047599"/>
              <a:gd name="connsiteY268" fmla="*/ 3795585 h 4588585"/>
              <a:gd name="connsiteX269" fmla="*/ 3149795 w 5047599"/>
              <a:gd name="connsiteY269" fmla="*/ 3795604 h 4588585"/>
              <a:gd name="connsiteX270" fmla="*/ 3147177 w 5047599"/>
              <a:gd name="connsiteY270" fmla="*/ 3798244 h 4588585"/>
              <a:gd name="connsiteX271" fmla="*/ 3146586 w 5047599"/>
              <a:gd name="connsiteY271" fmla="*/ 3801326 h 4588585"/>
              <a:gd name="connsiteX272" fmla="*/ 3144152 w 5047599"/>
              <a:gd name="connsiteY272" fmla="*/ 3802761 h 4588585"/>
              <a:gd name="connsiteX273" fmla="*/ 3144179 w 5047599"/>
              <a:gd name="connsiteY273" fmla="*/ 3802762 h 4588585"/>
              <a:gd name="connsiteX274" fmla="*/ 3146649 w 5047599"/>
              <a:gd name="connsiteY274" fmla="*/ 3801306 h 4588585"/>
              <a:gd name="connsiteX275" fmla="*/ 3147240 w 5047599"/>
              <a:gd name="connsiteY275" fmla="*/ 3798223 h 4588585"/>
              <a:gd name="connsiteX276" fmla="*/ 2685548 w 5047599"/>
              <a:gd name="connsiteY276" fmla="*/ 3776812 h 4588585"/>
              <a:gd name="connsiteX277" fmla="*/ 2685548 w 5047599"/>
              <a:gd name="connsiteY277" fmla="*/ 3776813 h 4588585"/>
              <a:gd name="connsiteX278" fmla="*/ 2685569 w 5047599"/>
              <a:gd name="connsiteY278" fmla="*/ 3795267 h 4588585"/>
              <a:gd name="connsiteX279" fmla="*/ 2685590 w 5047599"/>
              <a:gd name="connsiteY279" fmla="*/ 3813721 h 4588585"/>
              <a:gd name="connsiteX280" fmla="*/ 2685611 w 5047599"/>
              <a:gd name="connsiteY280" fmla="*/ 3832260 h 4588585"/>
              <a:gd name="connsiteX281" fmla="*/ 2685632 w 5047599"/>
              <a:gd name="connsiteY281" fmla="*/ 3850798 h 4588585"/>
              <a:gd name="connsiteX282" fmla="*/ 2685653 w 5047599"/>
              <a:gd name="connsiteY282" fmla="*/ 3869421 h 4588585"/>
              <a:gd name="connsiteX283" fmla="*/ 2685674 w 5047599"/>
              <a:gd name="connsiteY283" fmla="*/ 3888065 h 4588585"/>
              <a:gd name="connsiteX284" fmla="*/ 2685674 w 5047599"/>
              <a:gd name="connsiteY284" fmla="*/ 3888044 h 4588585"/>
              <a:gd name="connsiteX285" fmla="*/ 2685653 w 5047599"/>
              <a:gd name="connsiteY285" fmla="*/ 3869400 h 4588585"/>
              <a:gd name="connsiteX286" fmla="*/ 2685632 w 5047599"/>
              <a:gd name="connsiteY286" fmla="*/ 3850798 h 4588585"/>
              <a:gd name="connsiteX287" fmla="*/ 2685611 w 5047599"/>
              <a:gd name="connsiteY287" fmla="*/ 3832238 h 4588585"/>
              <a:gd name="connsiteX288" fmla="*/ 2685590 w 5047599"/>
              <a:gd name="connsiteY288" fmla="*/ 3813721 h 4588585"/>
              <a:gd name="connsiteX289" fmla="*/ 2685569 w 5047599"/>
              <a:gd name="connsiteY289" fmla="*/ 3795245 h 4588585"/>
              <a:gd name="connsiteX290" fmla="*/ 3178877 w 5047599"/>
              <a:gd name="connsiteY290" fmla="*/ 3765478 h 4588585"/>
              <a:gd name="connsiteX291" fmla="*/ 3173359 w 5047599"/>
              <a:gd name="connsiteY291" fmla="*/ 3768958 h 4588585"/>
              <a:gd name="connsiteX292" fmla="*/ 3162570 w 5047599"/>
              <a:gd name="connsiteY292" fmla="*/ 3780529 h 4588585"/>
              <a:gd name="connsiteX293" fmla="*/ 3157058 w 5047599"/>
              <a:gd name="connsiteY293" fmla="*/ 3787813 h 4588585"/>
              <a:gd name="connsiteX294" fmla="*/ 3156826 w 5047599"/>
              <a:gd name="connsiteY294" fmla="*/ 3790811 h 4588585"/>
              <a:gd name="connsiteX295" fmla="*/ 3154419 w 5047599"/>
              <a:gd name="connsiteY295" fmla="*/ 3793408 h 4588585"/>
              <a:gd name="connsiteX296" fmla="*/ 3152515 w 5047599"/>
              <a:gd name="connsiteY296" fmla="*/ 3794312 h 4588585"/>
              <a:gd name="connsiteX297" fmla="*/ 3154482 w 5047599"/>
              <a:gd name="connsiteY297" fmla="*/ 3793387 h 4588585"/>
              <a:gd name="connsiteX298" fmla="*/ 3156889 w 5047599"/>
              <a:gd name="connsiteY298" fmla="*/ 3790770 h 4588585"/>
              <a:gd name="connsiteX299" fmla="*/ 3157122 w 5047599"/>
              <a:gd name="connsiteY299" fmla="*/ 3787771 h 4588585"/>
              <a:gd name="connsiteX300" fmla="*/ 3162633 w 5047599"/>
              <a:gd name="connsiteY300" fmla="*/ 3780508 h 4588585"/>
              <a:gd name="connsiteX301" fmla="*/ 3173422 w 5047599"/>
              <a:gd name="connsiteY301" fmla="*/ 3768937 h 4588585"/>
              <a:gd name="connsiteX302" fmla="*/ 3221011 w 5047599"/>
              <a:gd name="connsiteY302" fmla="*/ 3742318 h 4588585"/>
              <a:gd name="connsiteX303" fmla="*/ 3220952 w 5047599"/>
              <a:gd name="connsiteY303" fmla="*/ 3742353 h 4588585"/>
              <a:gd name="connsiteX304" fmla="*/ 3216960 w 5047599"/>
              <a:gd name="connsiteY304" fmla="*/ 3749806 h 4588585"/>
              <a:gd name="connsiteX305" fmla="*/ 3210703 w 5047599"/>
              <a:gd name="connsiteY305" fmla="*/ 3755288 h 4588585"/>
              <a:gd name="connsiteX306" fmla="*/ 3210732 w 5047599"/>
              <a:gd name="connsiteY306" fmla="*/ 3755276 h 4588585"/>
              <a:gd name="connsiteX307" fmla="*/ 3217002 w 5047599"/>
              <a:gd name="connsiteY307" fmla="*/ 3749786 h 4588585"/>
              <a:gd name="connsiteX308" fmla="*/ 2685527 w 5047599"/>
              <a:gd name="connsiteY308" fmla="*/ 3740052 h 4588585"/>
              <a:gd name="connsiteX309" fmla="*/ 2685548 w 5047599"/>
              <a:gd name="connsiteY309" fmla="*/ 3758422 h 4588585"/>
              <a:gd name="connsiteX310" fmla="*/ 2685548 w 5047599"/>
              <a:gd name="connsiteY310" fmla="*/ 3758401 h 4588585"/>
              <a:gd name="connsiteX311" fmla="*/ 3222100 w 5047599"/>
              <a:gd name="connsiteY311" fmla="*/ 3724515 h 4588585"/>
              <a:gd name="connsiteX312" fmla="*/ 3222683 w 5047599"/>
              <a:gd name="connsiteY312" fmla="*/ 3725736 h 4588585"/>
              <a:gd name="connsiteX313" fmla="*/ 3222683 w 5047599"/>
              <a:gd name="connsiteY313" fmla="*/ 3725737 h 4588585"/>
              <a:gd name="connsiteX314" fmla="*/ 3222684 w 5047599"/>
              <a:gd name="connsiteY314" fmla="*/ 3725737 h 4588585"/>
              <a:gd name="connsiteX315" fmla="*/ 3224414 w 5047599"/>
              <a:gd name="connsiteY315" fmla="*/ 3727594 h 4588585"/>
              <a:gd name="connsiteX316" fmla="*/ 3222683 w 5047599"/>
              <a:gd name="connsiteY316" fmla="*/ 3725737 h 4588585"/>
              <a:gd name="connsiteX317" fmla="*/ 3222363 w 5047599"/>
              <a:gd name="connsiteY317" fmla="*/ 3712515 h 4588585"/>
              <a:gd name="connsiteX318" fmla="*/ 3221099 w 5047599"/>
              <a:gd name="connsiteY318" fmla="*/ 3720689 h 4588585"/>
              <a:gd name="connsiteX319" fmla="*/ 3221101 w 5047599"/>
              <a:gd name="connsiteY319" fmla="*/ 3720700 h 4588585"/>
              <a:gd name="connsiteX320" fmla="*/ 3222367 w 5047599"/>
              <a:gd name="connsiteY320" fmla="*/ 3712519 h 4588585"/>
              <a:gd name="connsiteX321" fmla="*/ 3420325 w 5047599"/>
              <a:gd name="connsiteY321" fmla="*/ 3681929 h 4588585"/>
              <a:gd name="connsiteX322" fmla="*/ 3419936 w 5047599"/>
              <a:gd name="connsiteY322" fmla="*/ 3682157 h 4588585"/>
              <a:gd name="connsiteX323" fmla="*/ 3419930 w 5047599"/>
              <a:gd name="connsiteY323" fmla="*/ 3682164 h 4588585"/>
              <a:gd name="connsiteX324" fmla="*/ 3423356 w 5047599"/>
              <a:gd name="connsiteY324" fmla="*/ 3679790 h 4588585"/>
              <a:gd name="connsiteX325" fmla="*/ 3423312 w 5047599"/>
              <a:gd name="connsiteY325" fmla="*/ 3679831 h 4588585"/>
              <a:gd name="connsiteX326" fmla="*/ 3423357 w 5047599"/>
              <a:gd name="connsiteY326" fmla="*/ 3679791 h 4588585"/>
              <a:gd name="connsiteX327" fmla="*/ 3141990 w 5047599"/>
              <a:gd name="connsiteY327" fmla="*/ 3666375 h 4588585"/>
              <a:gd name="connsiteX328" fmla="*/ 3142742 w 5047599"/>
              <a:gd name="connsiteY328" fmla="*/ 3667945 h 4588585"/>
              <a:gd name="connsiteX329" fmla="*/ 3142743 w 5047599"/>
              <a:gd name="connsiteY329" fmla="*/ 3667946 h 4588585"/>
              <a:gd name="connsiteX330" fmla="*/ 3142743 w 5047599"/>
              <a:gd name="connsiteY330" fmla="*/ 3667946 h 4588585"/>
              <a:gd name="connsiteX331" fmla="*/ 3143562 w 5047599"/>
              <a:gd name="connsiteY331" fmla="*/ 3668824 h 4588585"/>
              <a:gd name="connsiteX332" fmla="*/ 3142743 w 5047599"/>
              <a:gd name="connsiteY332" fmla="*/ 3667946 h 4588585"/>
              <a:gd name="connsiteX333" fmla="*/ 4787551 w 5047599"/>
              <a:gd name="connsiteY333" fmla="*/ 3652363 h 4588585"/>
              <a:gd name="connsiteX334" fmla="*/ 4796209 w 5047599"/>
              <a:gd name="connsiteY334" fmla="*/ 3653271 h 4588585"/>
              <a:gd name="connsiteX335" fmla="*/ 4800093 w 5047599"/>
              <a:gd name="connsiteY335" fmla="*/ 3654960 h 4588585"/>
              <a:gd name="connsiteX336" fmla="*/ 4804675 w 5047599"/>
              <a:gd name="connsiteY336" fmla="*/ 3662266 h 4588585"/>
              <a:gd name="connsiteX337" fmla="*/ 4810587 w 5047599"/>
              <a:gd name="connsiteY337" fmla="*/ 3669698 h 4588585"/>
              <a:gd name="connsiteX338" fmla="*/ 4809595 w 5047599"/>
              <a:gd name="connsiteY338" fmla="*/ 3678524 h 4588585"/>
              <a:gd name="connsiteX339" fmla="*/ 4808117 w 5047599"/>
              <a:gd name="connsiteY339" fmla="*/ 3682452 h 4588585"/>
              <a:gd name="connsiteX340" fmla="*/ 4799734 w 5047599"/>
              <a:gd name="connsiteY340" fmla="*/ 3684352 h 4588585"/>
              <a:gd name="connsiteX341" fmla="*/ 4793907 w 5047599"/>
              <a:gd name="connsiteY341" fmla="*/ 3683655 h 4588585"/>
              <a:gd name="connsiteX342" fmla="*/ 4782357 w 5047599"/>
              <a:gd name="connsiteY342" fmla="*/ 3678271 h 4588585"/>
              <a:gd name="connsiteX343" fmla="*/ 4779274 w 5047599"/>
              <a:gd name="connsiteY343" fmla="*/ 3674681 h 4588585"/>
              <a:gd name="connsiteX344" fmla="*/ 4774671 w 5047599"/>
              <a:gd name="connsiteY344" fmla="*/ 3664610 h 4588585"/>
              <a:gd name="connsiteX345" fmla="*/ 4775685 w 5047599"/>
              <a:gd name="connsiteY345" fmla="*/ 3661062 h 4588585"/>
              <a:gd name="connsiteX346" fmla="*/ 4779316 w 5047599"/>
              <a:gd name="connsiteY346" fmla="*/ 3654812 h 4588585"/>
              <a:gd name="connsiteX347" fmla="*/ 3143375 w 5047599"/>
              <a:gd name="connsiteY347" fmla="*/ 3646096 h 4588585"/>
              <a:gd name="connsiteX348" fmla="*/ 3142426 w 5047599"/>
              <a:gd name="connsiteY348" fmla="*/ 3651286 h 4588585"/>
              <a:gd name="connsiteX349" fmla="*/ 3141772 w 5047599"/>
              <a:gd name="connsiteY349" fmla="*/ 3657388 h 4588585"/>
              <a:gd name="connsiteX350" fmla="*/ 3141328 w 5047599"/>
              <a:gd name="connsiteY350" fmla="*/ 3664989 h 4588585"/>
              <a:gd name="connsiteX351" fmla="*/ 3141772 w 5047599"/>
              <a:gd name="connsiteY351" fmla="*/ 3657389 h 4588585"/>
              <a:gd name="connsiteX352" fmla="*/ 3142426 w 5047599"/>
              <a:gd name="connsiteY352" fmla="*/ 3651286 h 4588585"/>
              <a:gd name="connsiteX353" fmla="*/ 3143377 w 5047599"/>
              <a:gd name="connsiteY353" fmla="*/ 3646114 h 4588585"/>
              <a:gd name="connsiteX354" fmla="*/ 3142712 w 5047599"/>
              <a:gd name="connsiteY354" fmla="*/ 3630618 h 4588585"/>
              <a:gd name="connsiteX355" fmla="*/ 3143101 w 5047599"/>
              <a:gd name="connsiteY355" fmla="*/ 3631185 h 4588585"/>
              <a:gd name="connsiteX356" fmla="*/ 3142827 w 5047599"/>
              <a:gd name="connsiteY356" fmla="*/ 3635217 h 4588585"/>
              <a:gd name="connsiteX357" fmla="*/ 3142952 w 5047599"/>
              <a:gd name="connsiteY357" fmla="*/ 3641101 h 4588585"/>
              <a:gd name="connsiteX358" fmla="*/ 3142828 w 5047599"/>
              <a:gd name="connsiteY358" fmla="*/ 3635218 h 4588585"/>
              <a:gd name="connsiteX359" fmla="*/ 3143102 w 5047599"/>
              <a:gd name="connsiteY359" fmla="*/ 3631185 h 4588585"/>
              <a:gd name="connsiteX360" fmla="*/ 3437769 w 5047599"/>
              <a:gd name="connsiteY360" fmla="*/ 3630279 h 4588585"/>
              <a:gd name="connsiteX361" fmla="*/ 3429311 w 5047599"/>
              <a:gd name="connsiteY361" fmla="*/ 3636401 h 4588585"/>
              <a:gd name="connsiteX362" fmla="*/ 3429293 w 5047599"/>
              <a:gd name="connsiteY362" fmla="*/ 3636425 h 4588585"/>
              <a:gd name="connsiteX363" fmla="*/ 3437756 w 5047599"/>
              <a:gd name="connsiteY363" fmla="*/ 3630298 h 4588585"/>
              <a:gd name="connsiteX364" fmla="*/ 3138178 w 5047599"/>
              <a:gd name="connsiteY364" fmla="*/ 3628179 h 4588585"/>
              <a:gd name="connsiteX365" fmla="*/ 3138667 w 5047599"/>
              <a:gd name="connsiteY365" fmla="*/ 3628208 h 4588585"/>
              <a:gd name="connsiteX366" fmla="*/ 3139566 w 5047599"/>
              <a:gd name="connsiteY366" fmla="*/ 3628549 h 4588585"/>
              <a:gd name="connsiteX367" fmla="*/ 3138668 w 5047599"/>
              <a:gd name="connsiteY367" fmla="*/ 3628208 h 4588585"/>
              <a:gd name="connsiteX368" fmla="*/ 3114370 w 5047599"/>
              <a:gd name="connsiteY368" fmla="*/ 3606424 h 4588585"/>
              <a:gd name="connsiteX369" fmla="*/ 3114787 w 5047599"/>
              <a:gd name="connsiteY369" fmla="*/ 3606882 h 4588585"/>
              <a:gd name="connsiteX370" fmla="*/ 3116856 w 5047599"/>
              <a:gd name="connsiteY370" fmla="*/ 3612309 h 4588585"/>
              <a:gd name="connsiteX371" fmla="*/ 3114788 w 5047599"/>
              <a:gd name="connsiteY371" fmla="*/ 3606883 h 4588585"/>
              <a:gd name="connsiteX372" fmla="*/ 3114787 w 5047599"/>
              <a:gd name="connsiteY372" fmla="*/ 3606882 h 4588585"/>
              <a:gd name="connsiteX373" fmla="*/ 3114787 w 5047599"/>
              <a:gd name="connsiteY373" fmla="*/ 3606882 h 4588585"/>
              <a:gd name="connsiteX374" fmla="*/ 4918293 w 5047599"/>
              <a:gd name="connsiteY374" fmla="*/ 3597043 h 4588585"/>
              <a:gd name="connsiteX375" fmla="*/ 4923065 w 5047599"/>
              <a:gd name="connsiteY375" fmla="*/ 3603884 h 4588585"/>
              <a:gd name="connsiteX376" fmla="*/ 4926317 w 5047599"/>
              <a:gd name="connsiteY376" fmla="*/ 3611084 h 4588585"/>
              <a:gd name="connsiteX377" fmla="*/ 4925641 w 5047599"/>
              <a:gd name="connsiteY377" fmla="*/ 3618326 h 4588585"/>
              <a:gd name="connsiteX378" fmla="*/ 4922347 w 5047599"/>
              <a:gd name="connsiteY378" fmla="*/ 3620944 h 4588585"/>
              <a:gd name="connsiteX379" fmla="*/ 4921249 w 5047599"/>
              <a:gd name="connsiteY379" fmla="*/ 3625126 h 4588585"/>
              <a:gd name="connsiteX380" fmla="*/ 4917976 w 5047599"/>
              <a:gd name="connsiteY380" fmla="*/ 3628292 h 4588585"/>
              <a:gd name="connsiteX381" fmla="*/ 4910502 w 5047599"/>
              <a:gd name="connsiteY381" fmla="*/ 3630066 h 4588585"/>
              <a:gd name="connsiteX382" fmla="*/ 4902098 w 5047599"/>
              <a:gd name="connsiteY382" fmla="*/ 3629454 h 4588585"/>
              <a:gd name="connsiteX383" fmla="*/ 4898847 w 5047599"/>
              <a:gd name="connsiteY383" fmla="*/ 3626075 h 4588585"/>
              <a:gd name="connsiteX384" fmla="*/ 4898213 w 5047599"/>
              <a:gd name="connsiteY384" fmla="*/ 3624661 h 4588585"/>
              <a:gd name="connsiteX385" fmla="*/ 4901021 w 5047599"/>
              <a:gd name="connsiteY385" fmla="*/ 3623330 h 4588585"/>
              <a:gd name="connsiteX386" fmla="*/ 4900852 w 5047599"/>
              <a:gd name="connsiteY386" fmla="*/ 3618981 h 4588585"/>
              <a:gd name="connsiteX387" fmla="*/ 4902246 w 5047599"/>
              <a:gd name="connsiteY387" fmla="*/ 3612097 h 4588585"/>
              <a:gd name="connsiteX388" fmla="*/ 4904040 w 5047599"/>
              <a:gd name="connsiteY388" fmla="*/ 3609268 h 4588585"/>
              <a:gd name="connsiteX389" fmla="*/ 4908200 w 5047599"/>
              <a:gd name="connsiteY389" fmla="*/ 3606755 h 4588585"/>
              <a:gd name="connsiteX390" fmla="*/ 4909911 w 5047599"/>
              <a:gd name="connsiteY390" fmla="*/ 3601202 h 4588585"/>
              <a:gd name="connsiteX391" fmla="*/ 4913500 w 5047599"/>
              <a:gd name="connsiteY391" fmla="*/ 3597508 h 4588585"/>
              <a:gd name="connsiteX392" fmla="*/ 3039261 w 5047599"/>
              <a:gd name="connsiteY392" fmla="*/ 3532183 h 4588585"/>
              <a:gd name="connsiteX393" fmla="*/ 3039978 w 5047599"/>
              <a:gd name="connsiteY393" fmla="*/ 3533973 h 4588585"/>
              <a:gd name="connsiteX394" fmla="*/ 3039472 w 5047599"/>
              <a:gd name="connsiteY394" fmla="*/ 3539970 h 4588585"/>
              <a:gd name="connsiteX395" fmla="*/ 3039473 w 5047599"/>
              <a:gd name="connsiteY395" fmla="*/ 3539973 h 4588585"/>
              <a:gd name="connsiteX396" fmla="*/ 3039979 w 5047599"/>
              <a:gd name="connsiteY396" fmla="*/ 3533974 h 4588585"/>
              <a:gd name="connsiteX397" fmla="*/ 3030210 w 5047599"/>
              <a:gd name="connsiteY397" fmla="*/ 3519337 h 4588585"/>
              <a:gd name="connsiteX398" fmla="*/ 3031236 w 5047599"/>
              <a:gd name="connsiteY398" fmla="*/ 3522170 h 4588585"/>
              <a:gd name="connsiteX399" fmla="*/ 3031237 w 5047599"/>
              <a:gd name="connsiteY399" fmla="*/ 3522171 h 4588585"/>
              <a:gd name="connsiteX400" fmla="*/ 3031237 w 5047599"/>
              <a:gd name="connsiteY400" fmla="*/ 3522171 h 4588585"/>
              <a:gd name="connsiteX401" fmla="*/ 3031995 w 5047599"/>
              <a:gd name="connsiteY401" fmla="*/ 3523058 h 4588585"/>
              <a:gd name="connsiteX402" fmla="*/ 3031237 w 5047599"/>
              <a:gd name="connsiteY402" fmla="*/ 3522171 h 4588585"/>
              <a:gd name="connsiteX403" fmla="*/ 2744563 w 5047599"/>
              <a:gd name="connsiteY403" fmla="*/ 3492315 h 4588585"/>
              <a:gd name="connsiteX404" fmla="*/ 2744585 w 5047599"/>
              <a:gd name="connsiteY404" fmla="*/ 3504878 h 4588585"/>
              <a:gd name="connsiteX405" fmla="*/ 2744606 w 5047599"/>
              <a:gd name="connsiteY405" fmla="*/ 3530405 h 4588585"/>
              <a:gd name="connsiteX406" fmla="*/ 2744648 w 5047599"/>
              <a:gd name="connsiteY406" fmla="*/ 3555954 h 4588585"/>
              <a:gd name="connsiteX407" fmla="*/ 2744690 w 5047599"/>
              <a:gd name="connsiteY407" fmla="*/ 3581608 h 4588585"/>
              <a:gd name="connsiteX408" fmla="*/ 2744732 w 5047599"/>
              <a:gd name="connsiteY408" fmla="*/ 3607283 h 4588585"/>
              <a:gd name="connsiteX409" fmla="*/ 2744753 w 5047599"/>
              <a:gd name="connsiteY409" fmla="*/ 3633043 h 4588585"/>
              <a:gd name="connsiteX410" fmla="*/ 2744796 w 5047599"/>
              <a:gd name="connsiteY410" fmla="*/ 3658866 h 4588585"/>
              <a:gd name="connsiteX411" fmla="*/ 2744838 w 5047599"/>
              <a:gd name="connsiteY411" fmla="*/ 3684795 h 4588585"/>
              <a:gd name="connsiteX412" fmla="*/ 2744840 w 5047599"/>
              <a:gd name="connsiteY412" fmla="*/ 3685788 h 4588585"/>
              <a:gd name="connsiteX413" fmla="*/ 2744838 w 5047599"/>
              <a:gd name="connsiteY413" fmla="*/ 3684773 h 4588585"/>
              <a:gd name="connsiteX414" fmla="*/ 2744796 w 5047599"/>
              <a:gd name="connsiteY414" fmla="*/ 3658866 h 4588585"/>
              <a:gd name="connsiteX415" fmla="*/ 2744753 w 5047599"/>
              <a:gd name="connsiteY415" fmla="*/ 3633042 h 4588585"/>
              <a:gd name="connsiteX416" fmla="*/ 2744732 w 5047599"/>
              <a:gd name="connsiteY416" fmla="*/ 3607262 h 4588585"/>
              <a:gd name="connsiteX417" fmla="*/ 2744690 w 5047599"/>
              <a:gd name="connsiteY417" fmla="*/ 3581587 h 4588585"/>
              <a:gd name="connsiteX418" fmla="*/ 2744648 w 5047599"/>
              <a:gd name="connsiteY418" fmla="*/ 3555954 h 4588585"/>
              <a:gd name="connsiteX419" fmla="*/ 2744606 w 5047599"/>
              <a:gd name="connsiteY419" fmla="*/ 3530383 h 4588585"/>
              <a:gd name="connsiteX420" fmla="*/ 2744585 w 5047599"/>
              <a:gd name="connsiteY420" fmla="*/ 3504856 h 4588585"/>
              <a:gd name="connsiteX421" fmla="*/ 3005898 w 5047599"/>
              <a:gd name="connsiteY421" fmla="*/ 3481271 h 4588585"/>
              <a:gd name="connsiteX422" fmla="*/ 3006011 w 5047599"/>
              <a:gd name="connsiteY422" fmla="*/ 3481482 h 4588585"/>
              <a:gd name="connsiteX423" fmla="*/ 3005899 w 5047599"/>
              <a:gd name="connsiteY423" fmla="*/ 3481272 h 4588585"/>
              <a:gd name="connsiteX424" fmla="*/ 2882315 w 5047599"/>
              <a:gd name="connsiteY424" fmla="*/ 3474135 h 4588585"/>
              <a:gd name="connsiteX425" fmla="*/ 2891859 w 5047599"/>
              <a:gd name="connsiteY425" fmla="*/ 3486824 h 4588585"/>
              <a:gd name="connsiteX426" fmla="*/ 2892222 w 5047599"/>
              <a:gd name="connsiteY426" fmla="*/ 3487416 h 4588585"/>
              <a:gd name="connsiteX427" fmla="*/ 2891860 w 5047599"/>
              <a:gd name="connsiteY427" fmla="*/ 3486824 h 4588585"/>
              <a:gd name="connsiteX428" fmla="*/ 2882315 w 5047599"/>
              <a:gd name="connsiteY428" fmla="*/ 3474135 h 4588585"/>
              <a:gd name="connsiteX429" fmla="*/ 2945152 w 5047599"/>
              <a:gd name="connsiteY429" fmla="*/ 3471073 h 4588585"/>
              <a:gd name="connsiteX430" fmla="*/ 2945683 w 5047599"/>
              <a:gd name="connsiteY430" fmla="*/ 3471191 h 4588585"/>
              <a:gd name="connsiteX431" fmla="*/ 2945153 w 5047599"/>
              <a:gd name="connsiteY431" fmla="*/ 3471073 h 4588585"/>
              <a:gd name="connsiteX432" fmla="*/ 2752693 w 5047599"/>
              <a:gd name="connsiteY432" fmla="*/ 3469701 h 4588585"/>
              <a:gd name="connsiteX433" fmla="*/ 2746440 w 5047599"/>
              <a:gd name="connsiteY433" fmla="*/ 3471319 h 4588585"/>
              <a:gd name="connsiteX434" fmla="*/ 2752730 w 5047599"/>
              <a:gd name="connsiteY434" fmla="*/ 3469703 h 4588585"/>
              <a:gd name="connsiteX435" fmla="*/ 3050661 w 5047599"/>
              <a:gd name="connsiteY435" fmla="*/ 3466935 h 4588585"/>
              <a:gd name="connsiteX436" fmla="*/ 3042152 w 5047599"/>
              <a:gd name="connsiteY436" fmla="*/ 3470546 h 4588585"/>
              <a:gd name="connsiteX437" fmla="*/ 3042153 w 5047599"/>
              <a:gd name="connsiteY437" fmla="*/ 3470546 h 4588585"/>
              <a:gd name="connsiteX438" fmla="*/ 3050662 w 5047599"/>
              <a:gd name="connsiteY438" fmla="*/ 3466957 h 4588585"/>
              <a:gd name="connsiteX439" fmla="*/ 3062149 w 5047599"/>
              <a:gd name="connsiteY439" fmla="*/ 3468054 h 4588585"/>
              <a:gd name="connsiteX440" fmla="*/ 3076365 w 5047599"/>
              <a:gd name="connsiteY440" fmla="*/ 3473740 h 4588585"/>
              <a:gd name="connsiteX441" fmla="*/ 3062148 w 5047599"/>
              <a:gd name="connsiteY441" fmla="*/ 3468033 h 4588585"/>
              <a:gd name="connsiteX442" fmla="*/ 2998467 w 5047599"/>
              <a:gd name="connsiteY442" fmla="*/ 3459608 h 4588585"/>
              <a:gd name="connsiteX443" fmla="*/ 2997305 w 5047599"/>
              <a:gd name="connsiteY443" fmla="*/ 3462669 h 4588585"/>
              <a:gd name="connsiteX444" fmla="*/ 2996398 w 5047599"/>
              <a:gd name="connsiteY444" fmla="*/ 3467145 h 4588585"/>
              <a:gd name="connsiteX445" fmla="*/ 2996400 w 5047599"/>
              <a:gd name="connsiteY445" fmla="*/ 3467153 h 4588585"/>
              <a:gd name="connsiteX446" fmla="*/ 2997306 w 5047599"/>
              <a:gd name="connsiteY446" fmla="*/ 3462691 h 4588585"/>
              <a:gd name="connsiteX447" fmla="*/ 2998467 w 5047599"/>
              <a:gd name="connsiteY447" fmla="*/ 3459609 h 4588585"/>
              <a:gd name="connsiteX448" fmla="*/ 3009890 w 5047599"/>
              <a:gd name="connsiteY448" fmla="*/ 3462796 h 4588585"/>
              <a:gd name="connsiteX449" fmla="*/ 3016140 w 5047599"/>
              <a:gd name="connsiteY449" fmla="*/ 3463071 h 4588585"/>
              <a:gd name="connsiteX450" fmla="*/ 3021038 w 5047599"/>
              <a:gd name="connsiteY450" fmla="*/ 3461488 h 4588585"/>
              <a:gd name="connsiteX451" fmla="*/ 3016139 w 5047599"/>
              <a:gd name="connsiteY451" fmla="*/ 3463050 h 4588585"/>
              <a:gd name="connsiteX452" fmla="*/ 3009889 w 5047599"/>
              <a:gd name="connsiteY452" fmla="*/ 3462775 h 4588585"/>
              <a:gd name="connsiteX453" fmla="*/ 2841185 w 5047599"/>
              <a:gd name="connsiteY453" fmla="*/ 3459054 h 4588585"/>
              <a:gd name="connsiteX454" fmla="*/ 2824483 w 5047599"/>
              <a:gd name="connsiteY454" fmla="*/ 3462310 h 4588585"/>
              <a:gd name="connsiteX455" fmla="*/ 2802925 w 5047599"/>
              <a:gd name="connsiteY455" fmla="*/ 3466533 h 4588585"/>
              <a:gd name="connsiteX456" fmla="*/ 2789848 w 5047599"/>
              <a:gd name="connsiteY456" fmla="*/ 3468957 h 4588585"/>
              <a:gd name="connsiteX457" fmla="*/ 2803030 w 5047599"/>
              <a:gd name="connsiteY457" fmla="*/ 3466533 h 4588585"/>
              <a:gd name="connsiteX458" fmla="*/ 2824587 w 5047599"/>
              <a:gd name="connsiteY458" fmla="*/ 3462310 h 4588585"/>
              <a:gd name="connsiteX459" fmla="*/ 2212474 w 5047599"/>
              <a:gd name="connsiteY459" fmla="*/ 3421401 h 4588585"/>
              <a:gd name="connsiteX460" fmla="*/ 2206960 w 5047599"/>
              <a:gd name="connsiteY460" fmla="*/ 3424396 h 4588585"/>
              <a:gd name="connsiteX461" fmla="*/ 2207006 w 5047599"/>
              <a:gd name="connsiteY461" fmla="*/ 3424389 h 4588585"/>
              <a:gd name="connsiteX462" fmla="*/ 2263541 w 5047599"/>
              <a:gd name="connsiteY462" fmla="*/ 3414334 h 4588585"/>
              <a:gd name="connsiteX463" fmla="*/ 2263531 w 5047599"/>
              <a:gd name="connsiteY463" fmla="*/ 3414339 h 4588585"/>
              <a:gd name="connsiteX464" fmla="*/ 2259299 w 5047599"/>
              <a:gd name="connsiteY464" fmla="*/ 3417065 h 4588585"/>
              <a:gd name="connsiteX465" fmla="*/ 2259307 w 5047599"/>
              <a:gd name="connsiteY465" fmla="*/ 3417062 h 4588585"/>
              <a:gd name="connsiteX466" fmla="*/ 4034245 w 5047599"/>
              <a:gd name="connsiteY466" fmla="*/ 3413578 h 4588585"/>
              <a:gd name="connsiteX467" fmla="*/ 4035617 w 5047599"/>
              <a:gd name="connsiteY467" fmla="*/ 3414401 h 4588585"/>
              <a:gd name="connsiteX468" fmla="*/ 4035427 w 5047599"/>
              <a:gd name="connsiteY468" fmla="*/ 3414993 h 4588585"/>
              <a:gd name="connsiteX469" fmla="*/ 4035068 w 5047599"/>
              <a:gd name="connsiteY469" fmla="*/ 3415077 h 4588585"/>
              <a:gd name="connsiteX470" fmla="*/ 4034456 w 5047599"/>
              <a:gd name="connsiteY470" fmla="*/ 3414950 h 4588585"/>
              <a:gd name="connsiteX471" fmla="*/ 4033421 w 5047599"/>
              <a:gd name="connsiteY471" fmla="*/ 3413958 h 4588585"/>
              <a:gd name="connsiteX472" fmla="*/ 4465954 w 5047599"/>
              <a:gd name="connsiteY472" fmla="*/ 3391534 h 4588585"/>
              <a:gd name="connsiteX473" fmla="*/ 4460824 w 5047599"/>
              <a:gd name="connsiteY473" fmla="*/ 3404350 h 4588585"/>
              <a:gd name="connsiteX474" fmla="*/ 4454173 w 5047599"/>
              <a:gd name="connsiteY474" fmla="*/ 3415731 h 4588585"/>
              <a:gd name="connsiteX475" fmla="*/ 4456052 w 5047599"/>
              <a:gd name="connsiteY475" fmla="*/ 3406251 h 4588585"/>
              <a:gd name="connsiteX476" fmla="*/ 4463759 w 5047599"/>
              <a:gd name="connsiteY476" fmla="*/ 3392569 h 4588585"/>
              <a:gd name="connsiteX477" fmla="*/ 1163457 w 5047599"/>
              <a:gd name="connsiteY477" fmla="*/ 3342844 h 4588585"/>
              <a:gd name="connsiteX478" fmla="*/ 1166139 w 5047599"/>
              <a:gd name="connsiteY478" fmla="*/ 3343245 h 4588585"/>
              <a:gd name="connsiteX479" fmla="*/ 1166308 w 5047599"/>
              <a:gd name="connsiteY479" fmla="*/ 3346814 h 4588585"/>
              <a:gd name="connsiteX480" fmla="*/ 1164387 w 5047599"/>
              <a:gd name="connsiteY480" fmla="*/ 3348461 h 4588585"/>
              <a:gd name="connsiteX481" fmla="*/ 1159044 w 5047599"/>
              <a:gd name="connsiteY481" fmla="*/ 3348862 h 4588585"/>
              <a:gd name="connsiteX482" fmla="*/ 1159488 w 5047599"/>
              <a:gd name="connsiteY482" fmla="*/ 3345948 h 4588585"/>
              <a:gd name="connsiteX483" fmla="*/ 3293204 w 5047599"/>
              <a:gd name="connsiteY483" fmla="*/ 3286579 h 4588585"/>
              <a:gd name="connsiteX484" fmla="*/ 3293163 w 5047599"/>
              <a:gd name="connsiteY484" fmla="*/ 3286595 h 4588585"/>
              <a:gd name="connsiteX485" fmla="*/ 3292572 w 5047599"/>
              <a:gd name="connsiteY485" fmla="*/ 3287820 h 4588585"/>
              <a:gd name="connsiteX486" fmla="*/ 3292741 w 5047599"/>
              <a:gd name="connsiteY486" fmla="*/ 3291282 h 4588585"/>
              <a:gd name="connsiteX487" fmla="*/ 3294367 w 5047599"/>
              <a:gd name="connsiteY487" fmla="*/ 3298419 h 4588585"/>
              <a:gd name="connsiteX488" fmla="*/ 3297534 w 5047599"/>
              <a:gd name="connsiteY488" fmla="*/ 3304880 h 4588585"/>
              <a:gd name="connsiteX489" fmla="*/ 3300194 w 5047599"/>
              <a:gd name="connsiteY489" fmla="*/ 3308618 h 4588585"/>
              <a:gd name="connsiteX490" fmla="*/ 3301925 w 5047599"/>
              <a:gd name="connsiteY490" fmla="*/ 3318224 h 4588585"/>
              <a:gd name="connsiteX491" fmla="*/ 3302897 w 5047599"/>
              <a:gd name="connsiteY491" fmla="*/ 3326650 h 4588585"/>
              <a:gd name="connsiteX492" fmla="*/ 3294282 w 5047599"/>
              <a:gd name="connsiteY492" fmla="*/ 3326671 h 4588585"/>
              <a:gd name="connsiteX493" fmla="*/ 3279121 w 5047599"/>
              <a:gd name="connsiteY493" fmla="*/ 3326712 h 4588585"/>
              <a:gd name="connsiteX494" fmla="*/ 3263392 w 5047599"/>
              <a:gd name="connsiteY494" fmla="*/ 3326734 h 4588585"/>
              <a:gd name="connsiteX495" fmla="*/ 3249034 w 5047599"/>
              <a:gd name="connsiteY495" fmla="*/ 3329964 h 4588585"/>
              <a:gd name="connsiteX496" fmla="*/ 3237230 w 5047599"/>
              <a:gd name="connsiteY496" fmla="*/ 3334863 h 4588585"/>
              <a:gd name="connsiteX497" fmla="*/ 3223147 w 5047599"/>
              <a:gd name="connsiteY497" fmla="*/ 3342528 h 4588585"/>
              <a:gd name="connsiteX498" fmla="*/ 3218566 w 5047599"/>
              <a:gd name="connsiteY498" fmla="*/ 3345526 h 4588585"/>
              <a:gd name="connsiteX499" fmla="*/ 3215018 w 5047599"/>
              <a:gd name="connsiteY499" fmla="*/ 3347848 h 4588585"/>
              <a:gd name="connsiteX500" fmla="*/ 3212780 w 5047599"/>
              <a:gd name="connsiteY500" fmla="*/ 3350847 h 4588585"/>
              <a:gd name="connsiteX501" fmla="*/ 3211681 w 5047599"/>
              <a:gd name="connsiteY501" fmla="*/ 3357371 h 4588585"/>
              <a:gd name="connsiteX502" fmla="*/ 3211681 w 5047599"/>
              <a:gd name="connsiteY502" fmla="*/ 3367485 h 4588585"/>
              <a:gd name="connsiteX503" fmla="*/ 3210246 w 5047599"/>
              <a:gd name="connsiteY503" fmla="*/ 3374748 h 4588585"/>
              <a:gd name="connsiteX504" fmla="*/ 3205981 w 5047599"/>
              <a:gd name="connsiteY504" fmla="*/ 3381420 h 4588585"/>
              <a:gd name="connsiteX505" fmla="*/ 3205981 w 5047599"/>
              <a:gd name="connsiteY505" fmla="*/ 3381399 h 4588585"/>
              <a:gd name="connsiteX506" fmla="*/ 3184592 w 5047599"/>
              <a:gd name="connsiteY506" fmla="*/ 3389487 h 4588585"/>
              <a:gd name="connsiteX507" fmla="*/ 3170614 w 5047599"/>
              <a:gd name="connsiteY507" fmla="*/ 3396096 h 4588585"/>
              <a:gd name="connsiteX508" fmla="*/ 3156889 w 5047599"/>
              <a:gd name="connsiteY508" fmla="*/ 3403929 h 4588585"/>
              <a:gd name="connsiteX509" fmla="*/ 3146480 w 5047599"/>
              <a:gd name="connsiteY509" fmla="*/ 3414085 h 4588585"/>
              <a:gd name="connsiteX510" fmla="*/ 3139386 w 5047599"/>
              <a:gd name="connsiteY510" fmla="*/ 3426585 h 4588585"/>
              <a:gd name="connsiteX511" fmla="*/ 3127603 w 5047599"/>
              <a:gd name="connsiteY511" fmla="*/ 3442083 h 4588585"/>
              <a:gd name="connsiteX512" fmla="*/ 3115611 w 5047599"/>
              <a:gd name="connsiteY512" fmla="*/ 3455512 h 4588585"/>
              <a:gd name="connsiteX513" fmla="*/ 3102878 w 5047599"/>
              <a:gd name="connsiteY513" fmla="*/ 3469828 h 4588585"/>
              <a:gd name="connsiteX514" fmla="*/ 3088604 w 5047599"/>
              <a:gd name="connsiteY514" fmla="*/ 3475001 h 4588585"/>
              <a:gd name="connsiteX515" fmla="*/ 3088605 w 5047599"/>
              <a:gd name="connsiteY515" fmla="*/ 3475001 h 4588585"/>
              <a:gd name="connsiteX516" fmla="*/ 3102879 w 5047599"/>
              <a:gd name="connsiteY516" fmla="*/ 3469828 h 4588585"/>
              <a:gd name="connsiteX517" fmla="*/ 3115611 w 5047599"/>
              <a:gd name="connsiteY517" fmla="*/ 3455534 h 4588585"/>
              <a:gd name="connsiteX518" fmla="*/ 3127604 w 5047599"/>
              <a:gd name="connsiteY518" fmla="*/ 3442083 h 4588585"/>
              <a:gd name="connsiteX519" fmla="*/ 3139386 w 5047599"/>
              <a:gd name="connsiteY519" fmla="*/ 3426606 h 4588585"/>
              <a:gd name="connsiteX520" fmla="*/ 3146480 w 5047599"/>
              <a:gd name="connsiteY520" fmla="*/ 3414085 h 4588585"/>
              <a:gd name="connsiteX521" fmla="*/ 3156890 w 5047599"/>
              <a:gd name="connsiteY521" fmla="*/ 3403929 h 4588585"/>
              <a:gd name="connsiteX522" fmla="*/ 3170615 w 5047599"/>
              <a:gd name="connsiteY522" fmla="*/ 3396096 h 4588585"/>
              <a:gd name="connsiteX523" fmla="*/ 3184592 w 5047599"/>
              <a:gd name="connsiteY523" fmla="*/ 3389487 h 4588585"/>
              <a:gd name="connsiteX524" fmla="*/ 3205982 w 5047599"/>
              <a:gd name="connsiteY524" fmla="*/ 3381420 h 4588585"/>
              <a:gd name="connsiteX525" fmla="*/ 3205982 w 5047599"/>
              <a:gd name="connsiteY525" fmla="*/ 3381442 h 4588585"/>
              <a:gd name="connsiteX526" fmla="*/ 3210247 w 5047599"/>
              <a:gd name="connsiteY526" fmla="*/ 3374749 h 4588585"/>
              <a:gd name="connsiteX527" fmla="*/ 3211682 w 5047599"/>
              <a:gd name="connsiteY527" fmla="*/ 3367485 h 4588585"/>
              <a:gd name="connsiteX528" fmla="*/ 3211682 w 5047599"/>
              <a:gd name="connsiteY528" fmla="*/ 3357392 h 4588585"/>
              <a:gd name="connsiteX529" fmla="*/ 3212781 w 5047599"/>
              <a:gd name="connsiteY529" fmla="*/ 3350847 h 4588585"/>
              <a:gd name="connsiteX530" fmla="*/ 3215019 w 5047599"/>
              <a:gd name="connsiteY530" fmla="*/ 3347848 h 4588585"/>
              <a:gd name="connsiteX531" fmla="*/ 3218566 w 5047599"/>
              <a:gd name="connsiteY531" fmla="*/ 3345548 h 4588585"/>
              <a:gd name="connsiteX532" fmla="*/ 3223148 w 5047599"/>
              <a:gd name="connsiteY532" fmla="*/ 3342528 h 4588585"/>
              <a:gd name="connsiteX533" fmla="*/ 3237231 w 5047599"/>
              <a:gd name="connsiteY533" fmla="*/ 3334863 h 4588585"/>
              <a:gd name="connsiteX534" fmla="*/ 3249035 w 5047599"/>
              <a:gd name="connsiteY534" fmla="*/ 3329964 h 4588585"/>
              <a:gd name="connsiteX535" fmla="*/ 3263392 w 5047599"/>
              <a:gd name="connsiteY535" fmla="*/ 3326734 h 4588585"/>
              <a:gd name="connsiteX536" fmla="*/ 3279122 w 5047599"/>
              <a:gd name="connsiteY536" fmla="*/ 3326713 h 4588585"/>
              <a:gd name="connsiteX537" fmla="*/ 3294282 w 5047599"/>
              <a:gd name="connsiteY537" fmla="*/ 3326671 h 4588585"/>
              <a:gd name="connsiteX538" fmla="*/ 3302898 w 5047599"/>
              <a:gd name="connsiteY538" fmla="*/ 3326650 h 4588585"/>
              <a:gd name="connsiteX539" fmla="*/ 3303025 w 5047599"/>
              <a:gd name="connsiteY539" fmla="*/ 3336362 h 4588585"/>
              <a:gd name="connsiteX540" fmla="*/ 3303679 w 5047599"/>
              <a:gd name="connsiteY540" fmla="*/ 3347279 h 4588585"/>
              <a:gd name="connsiteX541" fmla="*/ 3305368 w 5047599"/>
              <a:gd name="connsiteY541" fmla="*/ 3348313 h 4588585"/>
              <a:gd name="connsiteX542" fmla="*/ 3316770 w 5047599"/>
              <a:gd name="connsiteY542" fmla="*/ 3348545 h 4588585"/>
              <a:gd name="connsiteX543" fmla="*/ 3335055 w 5047599"/>
              <a:gd name="connsiteY543" fmla="*/ 3349348 h 4588585"/>
              <a:gd name="connsiteX544" fmla="*/ 3352686 w 5047599"/>
              <a:gd name="connsiteY544" fmla="*/ 3350065 h 4588585"/>
              <a:gd name="connsiteX545" fmla="*/ 3363940 w 5047599"/>
              <a:gd name="connsiteY545" fmla="*/ 3358005 h 4588585"/>
              <a:gd name="connsiteX546" fmla="*/ 3367720 w 5047599"/>
              <a:gd name="connsiteY546" fmla="*/ 3359694 h 4588585"/>
              <a:gd name="connsiteX547" fmla="*/ 3379417 w 5047599"/>
              <a:gd name="connsiteY547" fmla="*/ 3361826 h 4588585"/>
              <a:gd name="connsiteX548" fmla="*/ 3394366 w 5047599"/>
              <a:gd name="connsiteY548" fmla="*/ 3375044 h 4588585"/>
              <a:gd name="connsiteX549" fmla="*/ 3412356 w 5047599"/>
              <a:gd name="connsiteY549" fmla="*/ 3376269 h 4588585"/>
              <a:gd name="connsiteX550" fmla="*/ 3424730 w 5047599"/>
              <a:gd name="connsiteY550" fmla="*/ 3380407 h 4588585"/>
              <a:gd name="connsiteX551" fmla="*/ 3435625 w 5047599"/>
              <a:gd name="connsiteY551" fmla="*/ 3384947 h 4588585"/>
              <a:gd name="connsiteX552" fmla="*/ 3441895 w 5047599"/>
              <a:gd name="connsiteY552" fmla="*/ 3390416 h 4588585"/>
              <a:gd name="connsiteX553" fmla="*/ 3445949 w 5047599"/>
              <a:gd name="connsiteY553" fmla="*/ 3391640 h 4588585"/>
              <a:gd name="connsiteX554" fmla="*/ 3451439 w 5047599"/>
              <a:gd name="connsiteY554" fmla="*/ 3392042 h 4588585"/>
              <a:gd name="connsiteX555" fmla="*/ 3454099 w 5047599"/>
              <a:gd name="connsiteY555" fmla="*/ 3392549 h 4588585"/>
              <a:gd name="connsiteX556" fmla="*/ 3453530 w 5047599"/>
              <a:gd name="connsiteY556" fmla="*/ 3396476 h 4588585"/>
              <a:gd name="connsiteX557" fmla="*/ 3449855 w 5047599"/>
              <a:gd name="connsiteY557" fmla="*/ 3403148 h 4588585"/>
              <a:gd name="connsiteX558" fmla="*/ 3450341 w 5047599"/>
              <a:gd name="connsiteY558" fmla="*/ 3412692 h 4588585"/>
              <a:gd name="connsiteX559" fmla="*/ 3455388 w 5047599"/>
              <a:gd name="connsiteY559" fmla="*/ 3425931 h 4588585"/>
              <a:gd name="connsiteX560" fmla="*/ 3456064 w 5047599"/>
              <a:gd name="connsiteY560" fmla="*/ 3437480 h 4588585"/>
              <a:gd name="connsiteX561" fmla="*/ 3454522 w 5047599"/>
              <a:gd name="connsiteY561" fmla="*/ 3457834 h 4588585"/>
              <a:gd name="connsiteX562" fmla="*/ 3454564 w 5047599"/>
              <a:gd name="connsiteY562" fmla="*/ 3477598 h 4588585"/>
              <a:gd name="connsiteX563" fmla="*/ 3455092 w 5047599"/>
              <a:gd name="connsiteY563" fmla="*/ 3484671 h 4588585"/>
              <a:gd name="connsiteX564" fmla="*/ 3455916 w 5047599"/>
              <a:gd name="connsiteY564" fmla="*/ 3489337 h 4588585"/>
              <a:gd name="connsiteX565" fmla="*/ 3456992 w 5047599"/>
              <a:gd name="connsiteY565" fmla="*/ 3491913 h 4588585"/>
              <a:gd name="connsiteX566" fmla="*/ 3456781 w 5047599"/>
              <a:gd name="connsiteY566" fmla="*/ 3494827 h 4588585"/>
              <a:gd name="connsiteX567" fmla="*/ 3453783 w 5047599"/>
              <a:gd name="connsiteY567" fmla="*/ 3503146 h 4588585"/>
              <a:gd name="connsiteX568" fmla="*/ 3451376 w 5047599"/>
              <a:gd name="connsiteY568" fmla="*/ 3511888 h 4588585"/>
              <a:gd name="connsiteX569" fmla="*/ 3451292 w 5047599"/>
              <a:gd name="connsiteY569" fmla="*/ 3515393 h 4588585"/>
              <a:gd name="connsiteX570" fmla="*/ 3450362 w 5047599"/>
              <a:gd name="connsiteY570" fmla="*/ 3517885 h 4588585"/>
              <a:gd name="connsiteX571" fmla="*/ 3448568 w 5047599"/>
              <a:gd name="connsiteY571" fmla="*/ 3520060 h 4588585"/>
              <a:gd name="connsiteX572" fmla="*/ 3440712 w 5047599"/>
              <a:gd name="connsiteY572" fmla="*/ 3524113 h 4588585"/>
              <a:gd name="connsiteX573" fmla="*/ 3439383 w 5047599"/>
              <a:gd name="connsiteY573" fmla="*/ 3526626 h 4588585"/>
              <a:gd name="connsiteX574" fmla="*/ 3439404 w 5047599"/>
              <a:gd name="connsiteY574" fmla="*/ 3531166 h 4588585"/>
              <a:gd name="connsiteX575" fmla="*/ 3440396 w 5047599"/>
              <a:gd name="connsiteY575" fmla="*/ 3534987 h 4588585"/>
              <a:gd name="connsiteX576" fmla="*/ 3443352 w 5047599"/>
              <a:gd name="connsiteY576" fmla="*/ 3536381 h 4588585"/>
              <a:gd name="connsiteX577" fmla="*/ 3446899 w 5047599"/>
              <a:gd name="connsiteY577" fmla="*/ 3538555 h 4588585"/>
              <a:gd name="connsiteX578" fmla="*/ 3448293 w 5047599"/>
              <a:gd name="connsiteY578" fmla="*/ 3541406 h 4588585"/>
              <a:gd name="connsiteX579" fmla="*/ 3448314 w 5047599"/>
              <a:gd name="connsiteY579" fmla="*/ 3544405 h 4588585"/>
              <a:gd name="connsiteX580" fmla="*/ 3447173 w 5047599"/>
              <a:gd name="connsiteY580" fmla="*/ 3550000 h 4588585"/>
              <a:gd name="connsiteX581" fmla="*/ 3444007 w 5047599"/>
              <a:gd name="connsiteY581" fmla="*/ 3559227 h 4588585"/>
              <a:gd name="connsiteX582" fmla="*/ 3447173 w 5047599"/>
              <a:gd name="connsiteY582" fmla="*/ 3569890 h 4588585"/>
              <a:gd name="connsiteX583" fmla="*/ 3450700 w 5047599"/>
              <a:gd name="connsiteY583" fmla="*/ 3576794 h 4588585"/>
              <a:gd name="connsiteX584" fmla="*/ 3455578 w 5047599"/>
              <a:gd name="connsiteY584" fmla="*/ 3584776 h 4588585"/>
              <a:gd name="connsiteX585" fmla="*/ 3455590 w 5047599"/>
              <a:gd name="connsiteY585" fmla="*/ 3584805 h 4588585"/>
              <a:gd name="connsiteX586" fmla="*/ 3455578 w 5047599"/>
              <a:gd name="connsiteY586" fmla="*/ 3584775 h 4588585"/>
              <a:gd name="connsiteX587" fmla="*/ 3450721 w 5047599"/>
              <a:gd name="connsiteY587" fmla="*/ 3576773 h 4588585"/>
              <a:gd name="connsiteX588" fmla="*/ 3447195 w 5047599"/>
              <a:gd name="connsiteY588" fmla="*/ 3569847 h 4588585"/>
              <a:gd name="connsiteX589" fmla="*/ 3444049 w 5047599"/>
              <a:gd name="connsiteY589" fmla="*/ 3559227 h 4588585"/>
              <a:gd name="connsiteX590" fmla="*/ 3447216 w 5047599"/>
              <a:gd name="connsiteY590" fmla="*/ 3550000 h 4588585"/>
              <a:gd name="connsiteX591" fmla="*/ 3448335 w 5047599"/>
              <a:gd name="connsiteY591" fmla="*/ 3544405 h 4588585"/>
              <a:gd name="connsiteX592" fmla="*/ 3448335 w 5047599"/>
              <a:gd name="connsiteY592" fmla="*/ 3541385 h 4588585"/>
              <a:gd name="connsiteX593" fmla="*/ 3446941 w 5047599"/>
              <a:gd name="connsiteY593" fmla="*/ 3538555 h 4588585"/>
              <a:gd name="connsiteX594" fmla="*/ 3443394 w 5047599"/>
              <a:gd name="connsiteY594" fmla="*/ 3536381 h 4588585"/>
              <a:gd name="connsiteX595" fmla="*/ 3440438 w 5047599"/>
              <a:gd name="connsiteY595" fmla="*/ 3534987 h 4588585"/>
              <a:gd name="connsiteX596" fmla="*/ 3439446 w 5047599"/>
              <a:gd name="connsiteY596" fmla="*/ 3531166 h 4588585"/>
              <a:gd name="connsiteX597" fmla="*/ 3439425 w 5047599"/>
              <a:gd name="connsiteY597" fmla="*/ 3526646 h 4588585"/>
              <a:gd name="connsiteX598" fmla="*/ 3440755 w 5047599"/>
              <a:gd name="connsiteY598" fmla="*/ 3524135 h 4588585"/>
              <a:gd name="connsiteX599" fmla="*/ 3448610 w 5047599"/>
              <a:gd name="connsiteY599" fmla="*/ 3520080 h 4588585"/>
              <a:gd name="connsiteX600" fmla="*/ 3450383 w 5047599"/>
              <a:gd name="connsiteY600" fmla="*/ 3517884 h 4588585"/>
              <a:gd name="connsiteX601" fmla="*/ 3451312 w 5047599"/>
              <a:gd name="connsiteY601" fmla="*/ 3515414 h 4588585"/>
              <a:gd name="connsiteX602" fmla="*/ 3451397 w 5047599"/>
              <a:gd name="connsiteY602" fmla="*/ 3511909 h 4588585"/>
              <a:gd name="connsiteX603" fmla="*/ 3453825 w 5047599"/>
              <a:gd name="connsiteY603" fmla="*/ 3503146 h 4588585"/>
              <a:gd name="connsiteX604" fmla="*/ 3456823 w 5047599"/>
              <a:gd name="connsiteY604" fmla="*/ 3494827 h 4588585"/>
              <a:gd name="connsiteX605" fmla="*/ 3457034 w 5047599"/>
              <a:gd name="connsiteY605" fmla="*/ 3491892 h 4588585"/>
              <a:gd name="connsiteX606" fmla="*/ 3455978 w 5047599"/>
              <a:gd name="connsiteY606" fmla="*/ 3489337 h 4588585"/>
              <a:gd name="connsiteX607" fmla="*/ 3455155 w 5047599"/>
              <a:gd name="connsiteY607" fmla="*/ 3484650 h 4588585"/>
              <a:gd name="connsiteX608" fmla="*/ 3454627 w 5047599"/>
              <a:gd name="connsiteY608" fmla="*/ 3477576 h 4588585"/>
              <a:gd name="connsiteX609" fmla="*/ 3454585 w 5047599"/>
              <a:gd name="connsiteY609" fmla="*/ 3457813 h 4588585"/>
              <a:gd name="connsiteX610" fmla="*/ 3456127 w 5047599"/>
              <a:gd name="connsiteY610" fmla="*/ 3437459 h 4588585"/>
              <a:gd name="connsiteX611" fmla="*/ 3455451 w 5047599"/>
              <a:gd name="connsiteY611" fmla="*/ 3425930 h 4588585"/>
              <a:gd name="connsiteX612" fmla="*/ 3450426 w 5047599"/>
              <a:gd name="connsiteY612" fmla="*/ 3412691 h 4588585"/>
              <a:gd name="connsiteX613" fmla="*/ 3449940 w 5047599"/>
              <a:gd name="connsiteY613" fmla="*/ 3403148 h 4588585"/>
              <a:gd name="connsiteX614" fmla="*/ 3453592 w 5047599"/>
              <a:gd name="connsiteY614" fmla="*/ 3396475 h 4588585"/>
              <a:gd name="connsiteX615" fmla="*/ 3454184 w 5047599"/>
              <a:gd name="connsiteY615" fmla="*/ 3392548 h 4588585"/>
              <a:gd name="connsiteX616" fmla="*/ 3451524 w 5047599"/>
              <a:gd name="connsiteY616" fmla="*/ 3392041 h 4588585"/>
              <a:gd name="connsiteX617" fmla="*/ 3446034 w 5047599"/>
              <a:gd name="connsiteY617" fmla="*/ 3391640 h 4588585"/>
              <a:gd name="connsiteX618" fmla="*/ 3441980 w 5047599"/>
              <a:gd name="connsiteY618" fmla="*/ 3390415 h 4588585"/>
              <a:gd name="connsiteX619" fmla="*/ 3435708 w 5047599"/>
              <a:gd name="connsiteY619" fmla="*/ 3384947 h 4588585"/>
              <a:gd name="connsiteX620" fmla="*/ 3424813 w 5047599"/>
              <a:gd name="connsiteY620" fmla="*/ 3380407 h 4588585"/>
              <a:gd name="connsiteX621" fmla="*/ 3412440 w 5047599"/>
              <a:gd name="connsiteY621" fmla="*/ 3376268 h 4588585"/>
              <a:gd name="connsiteX622" fmla="*/ 3394451 w 5047599"/>
              <a:gd name="connsiteY622" fmla="*/ 3375044 h 4588585"/>
              <a:gd name="connsiteX623" fmla="*/ 3379501 w 5047599"/>
              <a:gd name="connsiteY623" fmla="*/ 3361805 h 4588585"/>
              <a:gd name="connsiteX624" fmla="*/ 3367783 w 5047599"/>
              <a:gd name="connsiteY624" fmla="*/ 3359673 h 4588585"/>
              <a:gd name="connsiteX625" fmla="*/ 3364003 w 5047599"/>
              <a:gd name="connsiteY625" fmla="*/ 3357984 h 4588585"/>
              <a:gd name="connsiteX626" fmla="*/ 3352749 w 5047599"/>
              <a:gd name="connsiteY626" fmla="*/ 3350044 h 4588585"/>
              <a:gd name="connsiteX627" fmla="*/ 3335118 w 5047599"/>
              <a:gd name="connsiteY627" fmla="*/ 3349306 h 4588585"/>
              <a:gd name="connsiteX628" fmla="*/ 3316833 w 5047599"/>
              <a:gd name="connsiteY628" fmla="*/ 3348503 h 4588585"/>
              <a:gd name="connsiteX629" fmla="*/ 3305431 w 5047599"/>
              <a:gd name="connsiteY629" fmla="*/ 3348271 h 4588585"/>
              <a:gd name="connsiteX630" fmla="*/ 3303742 w 5047599"/>
              <a:gd name="connsiteY630" fmla="*/ 3347214 h 4588585"/>
              <a:gd name="connsiteX631" fmla="*/ 3303088 w 5047599"/>
              <a:gd name="connsiteY631" fmla="*/ 3336277 h 4588585"/>
              <a:gd name="connsiteX632" fmla="*/ 3302960 w 5047599"/>
              <a:gd name="connsiteY632" fmla="*/ 3326586 h 4588585"/>
              <a:gd name="connsiteX633" fmla="*/ 3301990 w 5047599"/>
              <a:gd name="connsiteY633" fmla="*/ 3318161 h 4588585"/>
              <a:gd name="connsiteX634" fmla="*/ 3300258 w 5047599"/>
              <a:gd name="connsiteY634" fmla="*/ 3308575 h 4588585"/>
              <a:gd name="connsiteX635" fmla="*/ 3297598 w 5047599"/>
              <a:gd name="connsiteY635" fmla="*/ 3304838 h 4588585"/>
              <a:gd name="connsiteX636" fmla="*/ 3294430 w 5047599"/>
              <a:gd name="connsiteY636" fmla="*/ 3298355 h 4588585"/>
              <a:gd name="connsiteX637" fmla="*/ 3292826 w 5047599"/>
              <a:gd name="connsiteY637" fmla="*/ 3291219 h 4588585"/>
              <a:gd name="connsiteX638" fmla="*/ 3292636 w 5047599"/>
              <a:gd name="connsiteY638" fmla="*/ 3287777 h 4588585"/>
              <a:gd name="connsiteX639" fmla="*/ 3319346 w 5047599"/>
              <a:gd name="connsiteY639" fmla="*/ 3276074 h 4588585"/>
              <a:gd name="connsiteX640" fmla="*/ 3319324 w 5047599"/>
              <a:gd name="connsiteY640" fmla="*/ 3276080 h 4588585"/>
              <a:gd name="connsiteX641" fmla="*/ 3318676 w 5047599"/>
              <a:gd name="connsiteY641" fmla="*/ 3276315 h 4588585"/>
              <a:gd name="connsiteX642" fmla="*/ 3381928 w 5047599"/>
              <a:gd name="connsiteY642" fmla="*/ 3256316 h 4588585"/>
              <a:gd name="connsiteX643" fmla="*/ 3381866 w 5047599"/>
              <a:gd name="connsiteY643" fmla="*/ 3256338 h 4588585"/>
              <a:gd name="connsiteX644" fmla="*/ 3375595 w 5047599"/>
              <a:gd name="connsiteY644" fmla="*/ 3258808 h 4588585"/>
              <a:gd name="connsiteX645" fmla="*/ 3370559 w 5047599"/>
              <a:gd name="connsiteY645" fmla="*/ 3261294 h 4588585"/>
              <a:gd name="connsiteX646" fmla="*/ 3370612 w 5047599"/>
              <a:gd name="connsiteY646" fmla="*/ 3261279 h 4588585"/>
              <a:gd name="connsiteX647" fmla="*/ 3375658 w 5047599"/>
              <a:gd name="connsiteY647" fmla="*/ 3258787 h 4588585"/>
              <a:gd name="connsiteX648" fmla="*/ 3536130 w 5047599"/>
              <a:gd name="connsiteY648" fmla="*/ 3250954 h 4588585"/>
              <a:gd name="connsiteX649" fmla="*/ 3528803 w 5047599"/>
              <a:gd name="connsiteY649" fmla="*/ 3251904 h 4588585"/>
              <a:gd name="connsiteX650" fmla="*/ 3522469 w 5047599"/>
              <a:gd name="connsiteY650" fmla="*/ 3253446 h 4588585"/>
              <a:gd name="connsiteX651" fmla="*/ 3519365 w 5047599"/>
              <a:gd name="connsiteY651" fmla="*/ 3255663 h 4588585"/>
              <a:gd name="connsiteX652" fmla="*/ 3514656 w 5047599"/>
              <a:gd name="connsiteY652" fmla="*/ 3255768 h 4588585"/>
              <a:gd name="connsiteX653" fmla="*/ 3502304 w 5047599"/>
              <a:gd name="connsiteY653" fmla="*/ 3257605 h 4588585"/>
              <a:gd name="connsiteX654" fmla="*/ 3498419 w 5047599"/>
              <a:gd name="connsiteY654" fmla="*/ 3258386 h 4588585"/>
              <a:gd name="connsiteX655" fmla="*/ 3496181 w 5047599"/>
              <a:gd name="connsiteY655" fmla="*/ 3260308 h 4588585"/>
              <a:gd name="connsiteX656" fmla="*/ 3494953 w 5047599"/>
              <a:gd name="connsiteY656" fmla="*/ 3260683 h 4588585"/>
              <a:gd name="connsiteX657" fmla="*/ 3494977 w 5047599"/>
              <a:gd name="connsiteY657" fmla="*/ 3260708 h 4588585"/>
              <a:gd name="connsiteX658" fmla="*/ 3496286 w 5047599"/>
              <a:gd name="connsiteY658" fmla="*/ 3260307 h 4588585"/>
              <a:gd name="connsiteX659" fmla="*/ 3498525 w 5047599"/>
              <a:gd name="connsiteY659" fmla="*/ 3258386 h 4588585"/>
              <a:gd name="connsiteX660" fmla="*/ 3502410 w 5047599"/>
              <a:gd name="connsiteY660" fmla="*/ 3257604 h 4588585"/>
              <a:gd name="connsiteX661" fmla="*/ 3514761 w 5047599"/>
              <a:gd name="connsiteY661" fmla="*/ 3255767 h 4588585"/>
              <a:gd name="connsiteX662" fmla="*/ 3519470 w 5047599"/>
              <a:gd name="connsiteY662" fmla="*/ 3255662 h 4588585"/>
              <a:gd name="connsiteX663" fmla="*/ 3522574 w 5047599"/>
              <a:gd name="connsiteY663" fmla="*/ 3253445 h 4588585"/>
              <a:gd name="connsiteX664" fmla="*/ 3528909 w 5047599"/>
              <a:gd name="connsiteY664" fmla="*/ 3251904 h 4588585"/>
              <a:gd name="connsiteX665" fmla="*/ 3536193 w 5047599"/>
              <a:gd name="connsiteY665" fmla="*/ 3250980 h 4588585"/>
              <a:gd name="connsiteX666" fmla="*/ 3401224 w 5047599"/>
              <a:gd name="connsiteY666" fmla="*/ 3249604 h 4588585"/>
              <a:gd name="connsiteX667" fmla="*/ 3401164 w 5047599"/>
              <a:gd name="connsiteY667" fmla="*/ 3249623 h 4588585"/>
              <a:gd name="connsiteX668" fmla="*/ 3396878 w 5047599"/>
              <a:gd name="connsiteY668" fmla="*/ 3251333 h 4588585"/>
              <a:gd name="connsiteX669" fmla="*/ 3381940 w 5047599"/>
              <a:gd name="connsiteY669" fmla="*/ 3256313 h 4588585"/>
              <a:gd name="connsiteX670" fmla="*/ 3396942 w 5047599"/>
              <a:gd name="connsiteY670" fmla="*/ 3251333 h 4588585"/>
              <a:gd name="connsiteX671" fmla="*/ 3413081 w 5047599"/>
              <a:gd name="connsiteY671" fmla="*/ 3246015 h 4588585"/>
              <a:gd name="connsiteX672" fmla="*/ 3409779 w 5047599"/>
              <a:gd name="connsiteY672" fmla="*/ 3246836 h 4588585"/>
              <a:gd name="connsiteX673" fmla="*/ 3401359 w 5047599"/>
              <a:gd name="connsiteY673" fmla="*/ 3249561 h 4588585"/>
              <a:gd name="connsiteX674" fmla="*/ 3409843 w 5047599"/>
              <a:gd name="connsiteY674" fmla="*/ 3246836 h 4588585"/>
              <a:gd name="connsiteX675" fmla="*/ 3456071 w 5047599"/>
              <a:gd name="connsiteY675" fmla="*/ 3226597 h 4588585"/>
              <a:gd name="connsiteX676" fmla="*/ 3456084 w 5047599"/>
              <a:gd name="connsiteY676" fmla="*/ 3226629 h 4588585"/>
              <a:gd name="connsiteX677" fmla="*/ 3456653 w 5047599"/>
              <a:gd name="connsiteY677" fmla="*/ 3227311 h 4588585"/>
              <a:gd name="connsiteX678" fmla="*/ 3465966 w 5047599"/>
              <a:gd name="connsiteY678" fmla="*/ 3222407 h 4588585"/>
              <a:gd name="connsiteX679" fmla="*/ 3463326 w 5047599"/>
              <a:gd name="connsiteY679" fmla="*/ 3223526 h 4588585"/>
              <a:gd name="connsiteX680" fmla="*/ 3459695 w 5047599"/>
              <a:gd name="connsiteY680" fmla="*/ 3226608 h 4588585"/>
              <a:gd name="connsiteX681" fmla="*/ 3457731 w 5047599"/>
              <a:gd name="connsiteY681" fmla="*/ 3227474 h 4588585"/>
              <a:gd name="connsiteX682" fmla="*/ 3456720 w 5047599"/>
              <a:gd name="connsiteY682" fmla="*/ 3227390 h 4588585"/>
              <a:gd name="connsiteX683" fmla="*/ 3456738 w 5047599"/>
              <a:gd name="connsiteY683" fmla="*/ 3227411 h 4588585"/>
              <a:gd name="connsiteX684" fmla="*/ 3457752 w 5047599"/>
              <a:gd name="connsiteY684" fmla="*/ 3227495 h 4588585"/>
              <a:gd name="connsiteX685" fmla="*/ 3459715 w 5047599"/>
              <a:gd name="connsiteY685" fmla="*/ 3226629 h 4588585"/>
              <a:gd name="connsiteX686" fmla="*/ 3463325 w 5047599"/>
              <a:gd name="connsiteY686" fmla="*/ 3223547 h 4588585"/>
              <a:gd name="connsiteX687" fmla="*/ 3465965 w 5047599"/>
              <a:gd name="connsiteY687" fmla="*/ 3222427 h 4588585"/>
              <a:gd name="connsiteX688" fmla="*/ 3469154 w 5047599"/>
              <a:gd name="connsiteY688" fmla="*/ 3226861 h 4588585"/>
              <a:gd name="connsiteX689" fmla="*/ 3456422 w 5047599"/>
              <a:gd name="connsiteY689" fmla="*/ 3231232 h 4588585"/>
              <a:gd name="connsiteX690" fmla="*/ 3449750 w 5047599"/>
              <a:gd name="connsiteY690" fmla="*/ 3233513 h 4588585"/>
              <a:gd name="connsiteX691" fmla="*/ 3430725 w 5047599"/>
              <a:gd name="connsiteY691" fmla="*/ 3240058 h 4588585"/>
              <a:gd name="connsiteX692" fmla="*/ 3414164 w 5047599"/>
              <a:gd name="connsiteY692" fmla="*/ 3245740 h 4588585"/>
              <a:gd name="connsiteX693" fmla="*/ 3414172 w 5047599"/>
              <a:gd name="connsiteY693" fmla="*/ 3245738 h 4588585"/>
              <a:gd name="connsiteX694" fmla="*/ 3430789 w 5047599"/>
              <a:gd name="connsiteY694" fmla="*/ 3240037 h 4588585"/>
              <a:gd name="connsiteX695" fmla="*/ 3449834 w 5047599"/>
              <a:gd name="connsiteY695" fmla="*/ 3233491 h 4588585"/>
              <a:gd name="connsiteX696" fmla="*/ 3456506 w 5047599"/>
              <a:gd name="connsiteY696" fmla="*/ 3231211 h 4588585"/>
              <a:gd name="connsiteX697" fmla="*/ 3469185 w 5047599"/>
              <a:gd name="connsiteY697" fmla="*/ 3226859 h 4588585"/>
              <a:gd name="connsiteX698" fmla="*/ 3469133 w 5047599"/>
              <a:gd name="connsiteY698" fmla="*/ 3226820 h 4588585"/>
              <a:gd name="connsiteX699" fmla="*/ 3437753 w 5047599"/>
              <a:gd name="connsiteY699" fmla="*/ 3202272 h 4588585"/>
              <a:gd name="connsiteX700" fmla="*/ 3437756 w 5047599"/>
              <a:gd name="connsiteY700" fmla="*/ 3202305 h 4588585"/>
              <a:gd name="connsiteX701" fmla="*/ 3443661 w 5047599"/>
              <a:gd name="connsiteY701" fmla="*/ 3205090 h 4588585"/>
              <a:gd name="connsiteX702" fmla="*/ 3443648 w 5047599"/>
              <a:gd name="connsiteY702" fmla="*/ 3205071 h 4588585"/>
              <a:gd name="connsiteX703" fmla="*/ 3258535 w 5047599"/>
              <a:gd name="connsiteY703" fmla="*/ 3187842 h 4588585"/>
              <a:gd name="connsiteX704" fmla="*/ 3258789 w 5047599"/>
              <a:gd name="connsiteY704" fmla="*/ 3190376 h 4588585"/>
              <a:gd name="connsiteX705" fmla="*/ 3262808 w 5047599"/>
              <a:gd name="connsiteY705" fmla="*/ 3192658 h 4588585"/>
              <a:gd name="connsiteX706" fmla="*/ 3258789 w 5047599"/>
              <a:gd name="connsiteY706" fmla="*/ 3190355 h 4588585"/>
              <a:gd name="connsiteX707" fmla="*/ 3253003 w 5047599"/>
              <a:gd name="connsiteY707" fmla="*/ 3180283 h 4588585"/>
              <a:gd name="connsiteX708" fmla="*/ 3255558 w 5047599"/>
              <a:gd name="connsiteY708" fmla="*/ 3181001 h 4588585"/>
              <a:gd name="connsiteX709" fmla="*/ 3253004 w 5047599"/>
              <a:gd name="connsiteY709" fmla="*/ 3180283 h 4588585"/>
              <a:gd name="connsiteX710" fmla="*/ 4364393 w 5047599"/>
              <a:gd name="connsiteY710" fmla="*/ 3177221 h 4588585"/>
              <a:gd name="connsiteX711" fmla="*/ 4366906 w 5047599"/>
              <a:gd name="connsiteY711" fmla="*/ 3183999 h 4588585"/>
              <a:gd name="connsiteX712" fmla="*/ 4366336 w 5047599"/>
              <a:gd name="connsiteY712" fmla="*/ 3187292 h 4588585"/>
              <a:gd name="connsiteX713" fmla="*/ 4366420 w 5047599"/>
              <a:gd name="connsiteY713" fmla="*/ 3189509 h 4588585"/>
              <a:gd name="connsiteX714" fmla="*/ 4358628 w 5047599"/>
              <a:gd name="connsiteY714" fmla="*/ 3188581 h 4588585"/>
              <a:gd name="connsiteX715" fmla="*/ 4357404 w 5047599"/>
              <a:gd name="connsiteY715" fmla="*/ 3180958 h 4588585"/>
              <a:gd name="connsiteX716" fmla="*/ 4361226 w 5047599"/>
              <a:gd name="connsiteY716" fmla="*/ 3180726 h 4588585"/>
              <a:gd name="connsiteX717" fmla="*/ 4362071 w 5047599"/>
              <a:gd name="connsiteY717" fmla="*/ 3177622 h 4588585"/>
              <a:gd name="connsiteX718" fmla="*/ 3267340 w 5047599"/>
              <a:gd name="connsiteY718" fmla="*/ 3175342 h 4588585"/>
              <a:gd name="connsiteX719" fmla="*/ 3267340 w 5047599"/>
              <a:gd name="connsiteY719" fmla="*/ 3175343 h 4588585"/>
              <a:gd name="connsiteX720" fmla="*/ 3267361 w 5047599"/>
              <a:gd name="connsiteY720" fmla="*/ 3187652 h 4588585"/>
              <a:gd name="connsiteX721" fmla="*/ 3211788 w 5047599"/>
              <a:gd name="connsiteY721" fmla="*/ 3172429 h 4588585"/>
              <a:gd name="connsiteX722" fmla="*/ 3215525 w 5047599"/>
              <a:gd name="connsiteY722" fmla="*/ 3178214 h 4588585"/>
              <a:gd name="connsiteX723" fmla="*/ 3216749 w 5047599"/>
              <a:gd name="connsiteY723" fmla="*/ 3183830 h 4588585"/>
              <a:gd name="connsiteX724" fmla="*/ 3216750 w 5047599"/>
              <a:gd name="connsiteY724" fmla="*/ 3183831 h 4588585"/>
              <a:gd name="connsiteX725" fmla="*/ 3215525 w 5047599"/>
              <a:gd name="connsiteY725" fmla="*/ 3178193 h 4588585"/>
              <a:gd name="connsiteX726" fmla="*/ 2804086 w 5047599"/>
              <a:gd name="connsiteY726" fmla="*/ 3165271 h 4588585"/>
              <a:gd name="connsiteX727" fmla="*/ 2804086 w 5047599"/>
              <a:gd name="connsiteY727" fmla="*/ 3174729 h 4588585"/>
              <a:gd name="connsiteX728" fmla="*/ 2804086 w 5047599"/>
              <a:gd name="connsiteY728" fmla="*/ 3194261 h 4588585"/>
              <a:gd name="connsiteX729" fmla="*/ 2804086 w 5047599"/>
              <a:gd name="connsiteY729" fmla="*/ 3213813 h 4588585"/>
              <a:gd name="connsiteX730" fmla="*/ 2804086 w 5047599"/>
              <a:gd name="connsiteY730" fmla="*/ 3233365 h 4588585"/>
              <a:gd name="connsiteX731" fmla="*/ 2804086 w 5047599"/>
              <a:gd name="connsiteY731" fmla="*/ 3252981 h 4588585"/>
              <a:gd name="connsiteX732" fmla="*/ 2804086 w 5047599"/>
              <a:gd name="connsiteY732" fmla="*/ 3272617 h 4588585"/>
              <a:gd name="connsiteX733" fmla="*/ 2804086 w 5047599"/>
              <a:gd name="connsiteY733" fmla="*/ 3292275 h 4588585"/>
              <a:gd name="connsiteX734" fmla="*/ 2804086 w 5047599"/>
              <a:gd name="connsiteY734" fmla="*/ 3311953 h 4588585"/>
              <a:gd name="connsiteX735" fmla="*/ 2804086 w 5047599"/>
              <a:gd name="connsiteY735" fmla="*/ 3331654 h 4588585"/>
              <a:gd name="connsiteX736" fmla="*/ 2804086 w 5047599"/>
              <a:gd name="connsiteY736" fmla="*/ 3345906 h 4588585"/>
              <a:gd name="connsiteX737" fmla="*/ 2807654 w 5047599"/>
              <a:gd name="connsiteY737" fmla="*/ 3364846 h 4588585"/>
              <a:gd name="connsiteX738" fmla="*/ 2814199 w 5047599"/>
              <a:gd name="connsiteY738" fmla="*/ 3385474 h 4588585"/>
              <a:gd name="connsiteX739" fmla="*/ 2816754 w 5047599"/>
              <a:gd name="connsiteY739" fmla="*/ 3387375 h 4588585"/>
              <a:gd name="connsiteX740" fmla="*/ 2823342 w 5047599"/>
              <a:gd name="connsiteY740" fmla="*/ 3391176 h 4588585"/>
              <a:gd name="connsiteX741" fmla="*/ 2832485 w 5047599"/>
              <a:gd name="connsiteY741" fmla="*/ 3398945 h 4588585"/>
              <a:gd name="connsiteX742" fmla="*/ 2837616 w 5047599"/>
              <a:gd name="connsiteY742" fmla="*/ 3404816 h 4588585"/>
              <a:gd name="connsiteX743" fmla="*/ 2848046 w 5047599"/>
              <a:gd name="connsiteY743" fmla="*/ 3415036 h 4588585"/>
              <a:gd name="connsiteX744" fmla="*/ 2861919 w 5047599"/>
              <a:gd name="connsiteY744" fmla="*/ 3428062 h 4588585"/>
              <a:gd name="connsiteX745" fmla="*/ 2875284 w 5047599"/>
              <a:gd name="connsiteY745" fmla="*/ 3439760 h 4588585"/>
              <a:gd name="connsiteX746" fmla="*/ 2887088 w 5047599"/>
              <a:gd name="connsiteY746" fmla="*/ 3450065 h 4588585"/>
              <a:gd name="connsiteX747" fmla="*/ 2868570 w 5047599"/>
              <a:gd name="connsiteY747" fmla="*/ 3453696 h 4588585"/>
              <a:gd name="connsiteX748" fmla="*/ 2844336 w 5047599"/>
              <a:gd name="connsiteY748" fmla="*/ 3458439 h 4588585"/>
              <a:gd name="connsiteX749" fmla="*/ 2868654 w 5047599"/>
              <a:gd name="connsiteY749" fmla="*/ 3453696 h 4588585"/>
              <a:gd name="connsiteX750" fmla="*/ 2887172 w 5047599"/>
              <a:gd name="connsiteY750" fmla="*/ 3450065 h 4588585"/>
              <a:gd name="connsiteX751" fmla="*/ 2889561 w 5047599"/>
              <a:gd name="connsiteY751" fmla="*/ 3449588 h 4588585"/>
              <a:gd name="connsiteX752" fmla="*/ 2887171 w 5047599"/>
              <a:gd name="connsiteY752" fmla="*/ 3450065 h 4588585"/>
              <a:gd name="connsiteX753" fmla="*/ 2875368 w 5047599"/>
              <a:gd name="connsiteY753" fmla="*/ 3439760 h 4588585"/>
              <a:gd name="connsiteX754" fmla="*/ 2862002 w 5047599"/>
              <a:gd name="connsiteY754" fmla="*/ 3428062 h 4588585"/>
              <a:gd name="connsiteX755" fmla="*/ 2848131 w 5047599"/>
              <a:gd name="connsiteY755" fmla="*/ 3415014 h 4588585"/>
              <a:gd name="connsiteX756" fmla="*/ 2837721 w 5047599"/>
              <a:gd name="connsiteY756" fmla="*/ 3404795 h 4588585"/>
              <a:gd name="connsiteX757" fmla="*/ 2832568 w 5047599"/>
              <a:gd name="connsiteY757" fmla="*/ 3398925 h 4588585"/>
              <a:gd name="connsiteX758" fmla="*/ 2823426 w 5047599"/>
              <a:gd name="connsiteY758" fmla="*/ 3391155 h 4588585"/>
              <a:gd name="connsiteX759" fmla="*/ 2816838 w 5047599"/>
              <a:gd name="connsiteY759" fmla="*/ 3387354 h 4588585"/>
              <a:gd name="connsiteX760" fmla="*/ 2814283 w 5047599"/>
              <a:gd name="connsiteY760" fmla="*/ 3385432 h 4588585"/>
              <a:gd name="connsiteX761" fmla="*/ 2807738 w 5047599"/>
              <a:gd name="connsiteY761" fmla="*/ 3364804 h 4588585"/>
              <a:gd name="connsiteX762" fmla="*/ 2804170 w 5047599"/>
              <a:gd name="connsiteY762" fmla="*/ 3345885 h 4588585"/>
              <a:gd name="connsiteX763" fmla="*/ 2804170 w 5047599"/>
              <a:gd name="connsiteY763" fmla="*/ 3331632 h 4588585"/>
              <a:gd name="connsiteX764" fmla="*/ 2804148 w 5047599"/>
              <a:gd name="connsiteY764" fmla="*/ 3311911 h 4588585"/>
              <a:gd name="connsiteX765" fmla="*/ 2804148 w 5047599"/>
              <a:gd name="connsiteY765" fmla="*/ 3292232 h 4588585"/>
              <a:gd name="connsiteX766" fmla="*/ 2804148 w 5047599"/>
              <a:gd name="connsiteY766" fmla="*/ 3272575 h 4588585"/>
              <a:gd name="connsiteX767" fmla="*/ 2804127 w 5047599"/>
              <a:gd name="connsiteY767" fmla="*/ 3252939 h 4588585"/>
              <a:gd name="connsiteX768" fmla="*/ 2804127 w 5047599"/>
              <a:gd name="connsiteY768" fmla="*/ 3233322 h 4588585"/>
              <a:gd name="connsiteX769" fmla="*/ 2804127 w 5047599"/>
              <a:gd name="connsiteY769" fmla="*/ 3213771 h 4588585"/>
              <a:gd name="connsiteX770" fmla="*/ 2804106 w 5047599"/>
              <a:gd name="connsiteY770" fmla="*/ 3194240 h 4588585"/>
              <a:gd name="connsiteX771" fmla="*/ 2804106 w 5047599"/>
              <a:gd name="connsiteY771" fmla="*/ 3174709 h 4588585"/>
              <a:gd name="connsiteX772" fmla="*/ 2804106 w 5047599"/>
              <a:gd name="connsiteY772" fmla="*/ 3165271 h 4588585"/>
              <a:gd name="connsiteX773" fmla="*/ 3455423 w 5047599"/>
              <a:gd name="connsiteY773" fmla="*/ 3156906 h 4588585"/>
              <a:gd name="connsiteX774" fmla="*/ 3455450 w 5047599"/>
              <a:gd name="connsiteY774" fmla="*/ 3156973 h 4588585"/>
              <a:gd name="connsiteX775" fmla="*/ 3457159 w 5047599"/>
              <a:gd name="connsiteY775" fmla="*/ 3159037 h 4588585"/>
              <a:gd name="connsiteX776" fmla="*/ 3457161 w 5047599"/>
              <a:gd name="connsiteY776" fmla="*/ 3159021 h 4588585"/>
              <a:gd name="connsiteX777" fmla="*/ 3200787 w 5047599"/>
              <a:gd name="connsiteY777" fmla="*/ 3156741 h 4588585"/>
              <a:gd name="connsiteX778" fmla="*/ 3204165 w 5047599"/>
              <a:gd name="connsiteY778" fmla="*/ 3160646 h 4588585"/>
              <a:gd name="connsiteX779" fmla="*/ 3205641 w 5047599"/>
              <a:gd name="connsiteY779" fmla="*/ 3162623 h 4588585"/>
              <a:gd name="connsiteX780" fmla="*/ 3204166 w 5047599"/>
              <a:gd name="connsiteY780" fmla="*/ 3160646 h 4588585"/>
              <a:gd name="connsiteX781" fmla="*/ 3267319 w 5047599"/>
              <a:gd name="connsiteY781" fmla="*/ 3154670 h 4588585"/>
              <a:gd name="connsiteX782" fmla="*/ 3267319 w 5047599"/>
              <a:gd name="connsiteY782" fmla="*/ 3154671 h 4588585"/>
              <a:gd name="connsiteX783" fmla="*/ 3267320 w 5047599"/>
              <a:gd name="connsiteY783" fmla="*/ 3155106 h 4588585"/>
              <a:gd name="connsiteX784" fmla="*/ 4173770 w 5047599"/>
              <a:gd name="connsiteY784" fmla="*/ 3144113 h 4588585"/>
              <a:gd name="connsiteX785" fmla="*/ 4176283 w 5047599"/>
              <a:gd name="connsiteY785" fmla="*/ 3147512 h 4588585"/>
              <a:gd name="connsiteX786" fmla="*/ 4177719 w 5047599"/>
              <a:gd name="connsiteY786" fmla="*/ 3147745 h 4588585"/>
              <a:gd name="connsiteX787" fmla="*/ 4181519 w 5047599"/>
              <a:gd name="connsiteY787" fmla="*/ 3150131 h 4588585"/>
              <a:gd name="connsiteX788" fmla="*/ 4180400 w 5047599"/>
              <a:gd name="connsiteY788" fmla="*/ 3154501 h 4588585"/>
              <a:gd name="connsiteX789" fmla="*/ 4180654 w 5047599"/>
              <a:gd name="connsiteY789" fmla="*/ 3155938 h 4588585"/>
              <a:gd name="connsiteX790" fmla="*/ 4178922 w 5047599"/>
              <a:gd name="connsiteY790" fmla="*/ 3160309 h 4588585"/>
              <a:gd name="connsiteX791" fmla="*/ 4178986 w 5047599"/>
              <a:gd name="connsiteY791" fmla="*/ 3163750 h 4588585"/>
              <a:gd name="connsiteX792" fmla="*/ 4175248 w 5047599"/>
              <a:gd name="connsiteY792" fmla="*/ 3164257 h 4588585"/>
              <a:gd name="connsiteX793" fmla="*/ 4173496 w 5047599"/>
              <a:gd name="connsiteY793" fmla="*/ 3162652 h 4588585"/>
              <a:gd name="connsiteX794" fmla="*/ 4172418 w 5047599"/>
              <a:gd name="connsiteY794" fmla="*/ 3158831 h 4588585"/>
              <a:gd name="connsiteX795" fmla="*/ 4173517 w 5047599"/>
              <a:gd name="connsiteY795" fmla="*/ 3155156 h 4588585"/>
              <a:gd name="connsiteX796" fmla="*/ 4173834 w 5047599"/>
              <a:gd name="connsiteY796" fmla="*/ 3152179 h 4588585"/>
              <a:gd name="connsiteX797" fmla="*/ 4170814 w 5047599"/>
              <a:gd name="connsiteY797" fmla="*/ 3147028 h 4588585"/>
              <a:gd name="connsiteX798" fmla="*/ 3175251 w 5047599"/>
              <a:gd name="connsiteY798" fmla="*/ 3130970 h 4588585"/>
              <a:gd name="connsiteX799" fmla="*/ 3182100 w 5047599"/>
              <a:gd name="connsiteY799" fmla="*/ 3133746 h 4588585"/>
              <a:gd name="connsiteX800" fmla="*/ 3185373 w 5047599"/>
              <a:gd name="connsiteY800" fmla="*/ 3135921 h 4588585"/>
              <a:gd name="connsiteX801" fmla="*/ 3187653 w 5047599"/>
              <a:gd name="connsiteY801" fmla="*/ 3139510 h 4588585"/>
              <a:gd name="connsiteX802" fmla="*/ 3189005 w 5047599"/>
              <a:gd name="connsiteY802" fmla="*/ 3142298 h 4588585"/>
              <a:gd name="connsiteX803" fmla="*/ 3191201 w 5047599"/>
              <a:gd name="connsiteY803" fmla="*/ 3149519 h 4588585"/>
              <a:gd name="connsiteX804" fmla="*/ 3193545 w 5047599"/>
              <a:gd name="connsiteY804" fmla="*/ 3155220 h 4588585"/>
              <a:gd name="connsiteX805" fmla="*/ 3191201 w 5047599"/>
              <a:gd name="connsiteY805" fmla="*/ 3149498 h 4588585"/>
              <a:gd name="connsiteX806" fmla="*/ 3189005 w 5047599"/>
              <a:gd name="connsiteY806" fmla="*/ 3142298 h 4588585"/>
              <a:gd name="connsiteX807" fmla="*/ 3187654 w 5047599"/>
              <a:gd name="connsiteY807" fmla="*/ 3139510 h 4588585"/>
              <a:gd name="connsiteX808" fmla="*/ 3185374 w 5047599"/>
              <a:gd name="connsiteY808" fmla="*/ 3135921 h 4588585"/>
              <a:gd name="connsiteX809" fmla="*/ 3182100 w 5047599"/>
              <a:gd name="connsiteY809" fmla="*/ 3133725 h 4588585"/>
              <a:gd name="connsiteX810" fmla="*/ 3240525 w 5047599"/>
              <a:gd name="connsiteY810" fmla="*/ 3129059 h 4588585"/>
              <a:gd name="connsiteX811" fmla="*/ 3245508 w 5047599"/>
              <a:gd name="connsiteY811" fmla="*/ 3130664 h 4588585"/>
              <a:gd name="connsiteX812" fmla="*/ 3248929 w 5047599"/>
              <a:gd name="connsiteY812" fmla="*/ 3129883 h 4588585"/>
              <a:gd name="connsiteX813" fmla="*/ 3249060 w 5047599"/>
              <a:gd name="connsiteY813" fmla="*/ 3129660 h 4588585"/>
              <a:gd name="connsiteX814" fmla="*/ 3248928 w 5047599"/>
              <a:gd name="connsiteY814" fmla="*/ 3129882 h 4588585"/>
              <a:gd name="connsiteX815" fmla="*/ 3245508 w 5047599"/>
              <a:gd name="connsiteY815" fmla="*/ 3130663 h 4588585"/>
              <a:gd name="connsiteX816" fmla="*/ 2923644 w 5047599"/>
              <a:gd name="connsiteY816" fmla="*/ 3125986 h 4588585"/>
              <a:gd name="connsiteX817" fmla="*/ 2923341 w 5047599"/>
              <a:gd name="connsiteY817" fmla="*/ 3130115 h 4588585"/>
              <a:gd name="connsiteX818" fmla="*/ 2920575 w 5047599"/>
              <a:gd name="connsiteY818" fmla="*/ 3137505 h 4588585"/>
              <a:gd name="connsiteX819" fmla="*/ 2918485 w 5047599"/>
              <a:gd name="connsiteY819" fmla="*/ 3143100 h 4588585"/>
              <a:gd name="connsiteX820" fmla="*/ 2917134 w 5047599"/>
              <a:gd name="connsiteY820" fmla="*/ 3149604 h 4588585"/>
              <a:gd name="connsiteX821" fmla="*/ 2916880 w 5047599"/>
              <a:gd name="connsiteY821" fmla="*/ 3153003 h 4588585"/>
              <a:gd name="connsiteX822" fmla="*/ 2921947 w 5047599"/>
              <a:gd name="connsiteY822" fmla="*/ 3162589 h 4588585"/>
              <a:gd name="connsiteX823" fmla="*/ 2921654 w 5047599"/>
              <a:gd name="connsiteY823" fmla="*/ 3164474 h 4588585"/>
              <a:gd name="connsiteX824" fmla="*/ 2921694 w 5047599"/>
              <a:gd name="connsiteY824" fmla="*/ 3164468 h 4588585"/>
              <a:gd name="connsiteX825" fmla="*/ 2921968 w 5047599"/>
              <a:gd name="connsiteY825" fmla="*/ 3162547 h 4588585"/>
              <a:gd name="connsiteX826" fmla="*/ 2916901 w 5047599"/>
              <a:gd name="connsiteY826" fmla="*/ 3152960 h 4588585"/>
              <a:gd name="connsiteX827" fmla="*/ 2917154 w 5047599"/>
              <a:gd name="connsiteY827" fmla="*/ 3149583 h 4588585"/>
              <a:gd name="connsiteX828" fmla="*/ 2918505 w 5047599"/>
              <a:gd name="connsiteY828" fmla="*/ 3143079 h 4588585"/>
              <a:gd name="connsiteX829" fmla="*/ 2920595 w 5047599"/>
              <a:gd name="connsiteY829" fmla="*/ 3137483 h 4588585"/>
              <a:gd name="connsiteX830" fmla="*/ 2923362 w 5047599"/>
              <a:gd name="connsiteY830" fmla="*/ 3130114 h 4588585"/>
              <a:gd name="connsiteX831" fmla="*/ 3223982 w 5047599"/>
              <a:gd name="connsiteY831" fmla="*/ 3125672 h 4588585"/>
              <a:gd name="connsiteX832" fmla="*/ 3223992 w 5047599"/>
              <a:gd name="connsiteY832" fmla="*/ 3125681 h 4588585"/>
              <a:gd name="connsiteX833" fmla="*/ 3231509 w 5047599"/>
              <a:gd name="connsiteY833" fmla="*/ 3126969 h 4588585"/>
              <a:gd name="connsiteX834" fmla="*/ 3223992 w 5047599"/>
              <a:gd name="connsiteY834" fmla="*/ 3125680 h 4588585"/>
              <a:gd name="connsiteX835" fmla="*/ 3161149 w 5047599"/>
              <a:gd name="connsiteY835" fmla="*/ 3125294 h 4588585"/>
              <a:gd name="connsiteX836" fmla="*/ 3164997 w 5047599"/>
              <a:gd name="connsiteY836" fmla="*/ 3126842 h 4588585"/>
              <a:gd name="connsiteX837" fmla="*/ 3168056 w 5047599"/>
              <a:gd name="connsiteY837" fmla="*/ 3128074 h 4588585"/>
              <a:gd name="connsiteX838" fmla="*/ 3164998 w 5047599"/>
              <a:gd name="connsiteY838" fmla="*/ 3126842 h 4588585"/>
              <a:gd name="connsiteX839" fmla="*/ 3477337 w 5047599"/>
              <a:gd name="connsiteY839" fmla="*/ 3123193 h 4588585"/>
              <a:gd name="connsiteX840" fmla="*/ 3477346 w 5047599"/>
              <a:gd name="connsiteY840" fmla="*/ 3123211 h 4588585"/>
              <a:gd name="connsiteX841" fmla="*/ 3479119 w 5047599"/>
              <a:gd name="connsiteY841" fmla="*/ 3124519 h 4588585"/>
              <a:gd name="connsiteX842" fmla="*/ 3486319 w 5047599"/>
              <a:gd name="connsiteY842" fmla="*/ 3124604 h 4588585"/>
              <a:gd name="connsiteX843" fmla="*/ 3487515 w 5047599"/>
              <a:gd name="connsiteY843" fmla="*/ 3125573 h 4588585"/>
              <a:gd name="connsiteX844" fmla="*/ 3487524 w 5047599"/>
              <a:gd name="connsiteY844" fmla="*/ 3125554 h 4588585"/>
              <a:gd name="connsiteX845" fmla="*/ 3486278 w 5047599"/>
              <a:gd name="connsiteY845" fmla="*/ 3124562 h 4588585"/>
              <a:gd name="connsiteX846" fmla="*/ 3479078 w 5047599"/>
              <a:gd name="connsiteY846" fmla="*/ 3124477 h 4588585"/>
              <a:gd name="connsiteX847" fmla="*/ 3249355 w 5047599"/>
              <a:gd name="connsiteY847" fmla="*/ 3120851 h 4588585"/>
              <a:gd name="connsiteX848" fmla="*/ 3249921 w 5047599"/>
              <a:gd name="connsiteY848" fmla="*/ 3123780 h 4588585"/>
              <a:gd name="connsiteX849" fmla="*/ 3250088 w 5047599"/>
              <a:gd name="connsiteY849" fmla="*/ 3127922 h 4588585"/>
              <a:gd name="connsiteX850" fmla="*/ 3250090 w 5047599"/>
              <a:gd name="connsiteY850" fmla="*/ 3127919 h 4588585"/>
              <a:gd name="connsiteX851" fmla="*/ 3249921 w 5047599"/>
              <a:gd name="connsiteY851" fmla="*/ 3123759 h 4588585"/>
              <a:gd name="connsiteX852" fmla="*/ 3140095 w 5047599"/>
              <a:gd name="connsiteY852" fmla="*/ 3120711 h 4588585"/>
              <a:gd name="connsiteX853" fmla="*/ 3146501 w 5047599"/>
              <a:gd name="connsiteY853" fmla="*/ 3121542 h 4588585"/>
              <a:gd name="connsiteX854" fmla="*/ 3152205 w 5047599"/>
              <a:gd name="connsiteY854" fmla="*/ 3121785 h 4588585"/>
              <a:gd name="connsiteX855" fmla="*/ 3146501 w 5047599"/>
              <a:gd name="connsiteY855" fmla="*/ 3121522 h 4588585"/>
              <a:gd name="connsiteX856" fmla="*/ 4087201 w 5047599"/>
              <a:gd name="connsiteY856" fmla="*/ 3119494 h 4588585"/>
              <a:gd name="connsiteX857" fmla="*/ 4091528 w 5047599"/>
              <a:gd name="connsiteY857" fmla="*/ 3120043 h 4588585"/>
              <a:gd name="connsiteX858" fmla="*/ 4096512 w 5047599"/>
              <a:gd name="connsiteY858" fmla="*/ 3123125 h 4588585"/>
              <a:gd name="connsiteX859" fmla="*/ 4100672 w 5047599"/>
              <a:gd name="connsiteY859" fmla="*/ 3126842 h 4588585"/>
              <a:gd name="connsiteX860" fmla="*/ 4089101 w 5047599"/>
              <a:gd name="connsiteY860" fmla="*/ 3125322 h 4588585"/>
              <a:gd name="connsiteX861" fmla="*/ 4087284 w 5047599"/>
              <a:gd name="connsiteY861" fmla="*/ 3121964 h 4588585"/>
              <a:gd name="connsiteX862" fmla="*/ 3253668 w 5047599"/>
              <a:gd name="connsiteY862" fmla="*/ 3116802 h 4588585"/>
              <a:gd name="connsiteX863" fmla="*/ 3253341 w 5047599"/>
              <a:gd name="connsiteY863" fmla="*/ 3116812 h 4588585"/>
              <a:gd name="connsiteX864" fmla="*/ 3250279 w 5047599"/>
              <a:gd name="connsiteY864" fmla="*/ 3118354 h 4588585"/>
              <a:gd name="connsiteX865" fmla="*/ 3249329 w 5047599"/>
              <a:gd name="connsiteY865" fmla="*/ 3120718 h 4588585"/>
              <a:gd name="connsiteX866" fmla="*/ 3249329 w 5047599"/>
              <a:gd name="connsiteY866" fmla="*/ 3120719 h 4588585"/>
              <a:gd name="connsiteX867" fmla="*/ 3250280 w 5047599"/>
              <a:gd name="connsiteY867" fmla="*/ 3118354 h 4588585"/>
              <a:gd name="connsiteX868" fmla="*/ 3253342 w 5047599"/>
              <a:gd name="connsiteY868" fmla="*/ 3116813 h 4588585"/>
              <a:gd name="connsiteX869" fmla="*/ 3267277 w 5047599"/>
              <a:gd name="connsiteY869" fmla="*/ 3113962 h 4588585"/>
              <a:gd name="connsiteX870" fmla="*/ 3264574 w 5047599"/>
              <a:gd name="connsiteY870" fmla="*/ 3114468 h 4588585"/>
              <a:gd name="connsiteX871" fmla="*/ 3264351 w 5047599"/>
              <a:gd name="connsiteY871" fmla="*/ 3114606 h 4588585"/>
              <a:gd name="connsiteX872" fmla="*/ 3264575 w 5047599"/>
              <a:gd name="connsiteY872" fmla="*/ 3114469 h 4588585"/>
              <a:gd name="connsiteX873" fmla="*/ 3267277 w 5047599"/>
              <a:gd name="connsiteY873" fmla="*/ 3113962 h 4588585"/>
              <a:gd name="connsiteX874" fmla="*/ 3267298 w 5047599"/>
              <a:gd name="connsiteY874" fmla="*/ 3123084 h 4588585"/>
              <a:gd name="connsiteX875" fmla="*/ 3267298 w 5047599"/>
              <a:gd name="connsiteY875" fmla="*/ 3123083 h 4588585"/>
              <a:gd name="connsiteX876" fmla="*/ 2921442 w 5047599"/>
              <a:gd name="connsiteY876" fmla="*/ 3111671 h 4588585"/>
              <a:gd name="connsiteX877" fmla="*/ 2921441 w 5047599"/>
              <a:gd name="connsiteY877" fmla="*/ 3111703 h 4588585"/>
              <a:gd name="connsiteX878" fmla="*/ 2923342 w 5047599"/>
              <a:gd name="connsiteY878" fmla="*/ 3123778 h 4588585"/>
              <a:gd name="connsiteX879" fmla="*/ 4417623 w 5047599"/>
              <a:gd name="connsiteY879" fmla="*/ 3109548 h 4588585"/>
              <a:gd name="connsiteX880" fmla="*/ 4420959 w 5047599"/>
              <a:gd name="connsiteY880" fmla="*/ 3109570 h 4588585"/>
              <a:gd name="connsiteX881" fmla="*/ 4423830 w 5047599"/>
              <a:gd name="connsiteY881" fmla="*/ 3112230 h 4588585"/>
              <a:gd name="connsiteX882" fmla="*/ 4424908 w 5047599"/>
              <a:gd name="connsiteY882" fmla="*/ 3116157 h 4588585"/>
              <a:gd name="connsiteX883" fmla="*/ 4426935 w 5047599"/>
              <a:gd name="connsiteY883" fmla="*/ 3119050 h 4588585"/>
              <a:gd name="connsiteX884" fmla="*/ 4433797 w 5047599"/>
              <a:gd name="connsiteY884" fmla="*/ 3125828 h 4588585"/>
              <a:gd name="connsiteX885" fmla="*/ 4437238 w 5047599"/>
              <a:gd name="connsiteY885" fmla="*/ 3130726 h 4588585"/>
              <a:gd name="connsiteX886" fmla="*/ 4437238 w 5047599"/>
              <a:gd name="connsiteY886" fmla="*/ 3130706 h 4588585"/>
              <a:gd name="connsiteX887" fmla="*/ 4439962 w 5047599"/>
              <a:gd name="connsiteY887" fmla="*/ 3137061 h 4588585"/>
              <a:gd name="connsiteX888" fmla="*/ 4443130 w 5047599"/>
              <a:gd name="connsiteY888" fmla="*/ 3143142 h 4588585"/>
              <a:gd name="connsiteX889" fmla="*/ 4453032 w 5047599"/>
              <a:gd name="connsiteY889" fmla="*/ 3157879 h 4588585"/>
              <a:gd name="connsiteX890" fmla="*/ 4457276 w 5047599"/>
              <a:gd name="connsiteY890" fmla="*/ 3163539 h 4588585"/>
              <a:gd name="connsiteX891" fmla="*/ 4460887 w 5047599"/>
              <a:gd name="connsiteY891" fmla="*/ 3169577 h 4588585"/>
              <a:gd name="connsiteX892" fmla="*/ 4462639 w 5047599"/>
              <a:gd name="connsiteY892" fmla="*/ 3181613 h 4588585"/>
              <a:gd name="connsiteX893" fmla="*/ 4468952 w 5047599"/>
              <a:gd name="connsiteY893" fmla="*/ 3200320 h 4588585"/>
              <a:gd name="connsiteX894" fmla="*/ 4474885 w 5047599"/>
              <a:gd name="connsiteY894" fmla="*/ 3228508 h 4588585"/>
              <a:gd name="connsiteX895" fmla="*/ 4476702 w 5047599"/>
              <a:gd name="connsiteY895" fmla="*/ 3257477 h 4588585"/>
              <a:gd name="connsiteX896" fmla="*/ 4478539 w 5047599"/>
              <a:gd name="connsiteY896" fmla="*/ 3270779 h 4588585"/>
              <a:gd name="connsiteX897" fmla="*/ 4483163 w 5047599"/>
              <a:gd name="connsiteY897" fmla="*/ 3283321 h 4588585"/>
              <a:gd name="connsiteX898" fmla="*/ 4490743 w 5047599"/>
              <a:gd name="connsiteY898" fmla="*/ 3296370 h 4588585"/>
              <a:gd name="connsiteX899" fmla="*/ 4493192 w 5047599"/>
              <a:gd name="connsiteY899" fmla="*/ 3310855 h 4588585"/>
              <a:gd name="connsiteX900" fmla="*/ 4488547 w 5047599"/>
              <a:gd name="connsiteY900" fmla="*/ 3325825 h 4588585"/>
              <a:gd name="connsiteX901" fmla="*/ 4481853 w 5047599"/>
              <a:gd name="connsiteY901" fmla="*/ 3339930 h 4588585"/>
              <a:gd name="connsiteX902" fmla="*/ 4480122 w 5047599"/>
              <a:gd name="connsiteY902" fmla="*/ 3342590 h 4588585"/>
              <a:gd name="connsiteX903" fmla="*/ 4476976 w 5047599"/>
              <a:gd name="connsiteY903" fmla="*/ 3346222 h 4588585"/>
              <a:gd name="connsiteX904" fmla="*/ 4475561 w 5047599"/>
              <a:gd name="connsiteY904" fmla="*/ 3346074 h 4588585"/>
              <a:gd name="connsiteX905" fmla="*/ 4470199 w 5047599"/>
              <a:gd name="connsiteY905" fmla="*/ 3342421 h 4588585"/>
              <a:gd name="connsiteX906" fmla="*/ 4465807 w 5047599"/>
              <a:gd name="connsiteY906" fmla="*/ 3336467 h 4588585"/>
              <a:gd name="connsiteX907" fmla="*/ 4460253 w 5047599"/>
              <a:gd name="connsiteY907" fmla="*/ 3322426 h 4588585"/>
              <a:gd name="connsiteX908" fmla="*/ 4458226 w 5047599"/>
              <a:gd name="connsiteY908" fmla="*/ 3315310 h 4588585"/>
              <a:gd name="connsiteX909" fmla="*/ 4455904 w 5047599"/>
              <a:gd name="connsiteY909" fmla="*/ 3314191 h 4588585"/>
              <a:gd name="connsiteX910" fmla="*/ 4449401 w 5047599"/>
              <a:gd name="connsiteY910" fmla="*/ 3314803 h 4588585"/>
              <a:gd name="connsiteX911" fmla="*/ 4444692 w 5047599"/>
              <a:gd name="connsiteY911" fmla="*/ 3319216 h 4588585"/>
              <a:gd name="connsiteX912" fmla="*/ 4443826 w 5047599"/>
              <a:gd name="connsiteY912" fmla="*/ 3322003 h 4588585"/>
              <a:gd name="connsiteX913" fmla="*/ 4444840 w 5047599"/>
              <a:gd name="connsiteY913" fmla="*/ 3329922 h 4588585"/>
              <a:gd name="connsiteX914" fmla="*/ 4446634 w 5047599"/>
              <a:gd name="connsiteY914" fmla="*/ 3337038 h 4588585"/>
              <a:gd name="connsiteX915" fmla="*/ 4447416 w 5047599"/>
              <a:gd name="connsiteY915" fmla="*/ 3344279 h 4588585"/>
              <a:gd name="connsiteX916" fmla="*/ 4447564 w 5047599"/>
              <a:gd name="connsiteY916" fmla="*/ 3353380 h 4588585"/>
              <a:gd name="connsiteX917" fmla="*/ 4449316 w 5047599"/>
              <a:gd name="connsiteY917" fmla="*/ 3356125 h 4588585"/>
              <a:gd name="connsiteX918" fmla="*/ 4451892 w 5047599"/>
              <a:gd name="connsiteY918" fmla="*/ 3358447 h 4588585"/>
              <a:gd name="connsiteX919" fmla="*/ 4454573 w 5047599"/>
              <a:gd name="connsiteY919" fmla="*/ 3364401 h 4588585"/>
              <a:gd name="connsiteX920" fmla="*/ 4455038 w 5047599"/>
              <a:gd name="connsiteY920" fmla="*/ 3378633 h 4588585"/>
              <a:gd name="connsiteX921" fmla="*/ 4453391 w 5047599"/>
              <a:gd name="connsiteY921" fmla="*/ 3385833 h 4588585"/>
              <a:gd name="connsiteX922" fmla="*/ 4448809 w 5047599"/>
              <a:gd name="connsiteY922" fmla="*/ 3392020 h 4588585"/>
              <a:gd name="connsiteX923" fmla="*/ 4449084 w 5047599"/>
              <a:gd name="connsiteY923" fmla="*/ 3395440 h 4588585"/>
              <a:gd name="connsiteX924" fmla="*/ 4450794 w 5047599"/>
              <a:gd name="connsiteY924" fmla="*/ 3398966 h 4588585"/>
              <a:gd name="connsiteX925" fmla="*/ 4449168 w 5047599"/>
              <a:gd name="connsiteY925" fmla="*/ 3401078 h 4588585"/>
              <a:gd name="connsiteX926" fmla="*/ 4443066 w 5047599"/>
              <a:gd name="connsiteY926" fmla="*/ 3403760 h 4588585"/>
              <a:gd name="connsiteX927" fmla="*/ 4440596 w 5047599"/>
              <a:gd name="connsiteY927" fmla="*/ 3406146 h 4588585"/>
              <a:gd name="connsiteX928" fmla="*/ 4437301 w 5047599"/>
              <a:gd name="connsiteY928" fmla="*/ 3412438 h 4588585"/>
              <a:gd name="connsiteX929" fmla="*/ 4431959 w 5047599"/>
              <a:gd name="connsiteY929" fmla="*/ 3425296 h 4588585"/>
              <a:gd name="connsiteX930" fmla="*/ 4431242 w 5047599"/>
              <a:gd name="connsiteY930" fmla="*/ 3431884 h 4588585"/>
              <a:gd name="connsiteX931" fmla="*/ 4434578 w 5047599"/>
              <a:gd name="connsiteY931" fmla="*/ 3451922 h 4588585"/>
              <a:gd name="connsiteX932" fmla="*/ 4433649 w 5047599"/>
              <a:gd name="connsiteY932" fmla="*/ 3466132 h 4588585"/>
              <a:gd name="connsiteX933" fmla="*/ 4426850 w 5047599"/>
              <a:gd name="connsiteY933" fmla="*/ 3493412 h 4588585"/>
              <a:gd name="connsiteX934" fmla="*/ 4422923 w 5047599"/>
              <a:gd name="connsiteY934" fmla="*/ 3506376 h 4588585"/>
              <a:gd name="connsiteX935" fmla="*/ 4417369 w 5047599"/>
              <a:gd name="connsiteY935" fmla="*/ 3521896 h 4588585"/>
              <a:gd name="connsiteX936" fmla="*/ 4408882 w 5047599"/>
              <a:gd name="connsiteY936" fmla="*/ 3542377 h 4588585"/>
              <a:gd name="connsiteX937" fmla="*/ 4400478 w 5047599"/>
              <a:gd name="connsiteY937" fmla="*/ 3568157 h 4588585"/>
              <a:gd name="connsiteX938" fmla="*/ 4393341 w 5047599"/>
              <a:gd name="connsiteY938" fmla="*/ 3594762 h 4588585"/>
              <a:gd name="connsiteX939" fmla="*/ 4388062 w 5047599"/>
              <a:gd name="connsiteY939" fmla="*/ 3610788 h 4588585"/>
              <a:gd name="connsiteX940" fmla="*/ 4382066 w 5047599"/>
              <a:gd name="connsiteY940" fmla="*/ 3626603 h 4588585"/>
              <a:gd name="connsiteX941" fmla="*/ 4373852 w 5047599"/>
              <a:gd name="connsiteY941" fmla="*/ 3654580 h 4588585"/>
              <a:gd name="connsiteX942" fmla="*/ 4366884 w 5047599"/>
              <a:gd name="connsiteY942" fmla="*/ 3683084 h 4588585"/>
              <a:gd name="connsiteX943" fmla="*/ 4356517 w 5047599"/>
              <a:gd name="connsiteY943" fmla="*/ 3714545 h 4588585"/>
              <a:gd name="connsiteX944" fmla="*/ 4342202 w 5047599"/>
              <a:gd name="connsiteY944" fmla="*/ 3749764 h 4588585"/>
              <a:gd name="connsiteX945" fmla="*/ 4340660 w 5047599"/>
              <a:gd name="connsiteY945" fmla="*/ 3754367 h 4588585"/>
              <a:gd name="connsiteX946" fmla="*/ 4337683 w 5047599"/>
              <a:gd name="connsiteY946" fmla="*/ 3772420 h 4588585"/>
              <a:gd name="connsiteX947" fmla="*/ 4334473 w 5047599"/>
              <a:gd name="connsiteY947" fmla="*/ 3788129 h 4588585"/>
              <a:gd name="connsiteX948" fmla="*/ 4330631 w 5047599"/>
              <a:gd name="connsiteY948" fmla="*/ 3803712 h 4588585"/>
              <a:gd name="connsiteX949" fmla="*/ 4322607 w 5047599"/>
              <a:gd name="connsiteY949" fmla="*/ 3829514 h 4588585"/>
              <a:gd name="connsiteX950" fmla="*/ 4321699 w 5047599"/>
              <a:gd name="connsiteY950" fmla="*/ 3837474 h 4588585"/>
              <a:gd name="connsiteX951" fmla="*/ 4319883 w 5047599"/>
              <a:gd name="connsiteY951" fmla="*/ 3845139 h 4588585"/>
              <a:gd name="connsiteX952" fmla="*/ 4312155 w 5047599"/>
              <a:gd name="connsiteY952" fmla="*/ 3861398 h 4588585"/>
              <a:gd name="connsiteX953" fmla="*/ 4308882 w 5047599"/>
              <a:gd name="connsiteY953" fmla="*/ 3867457 h 4588585"/>
              <a:gd name="connsiteX954" fmla="*/ 4306582 w 5047599"/>
              <a:gd name="connsiteY954" fmla="*/ 3873876 h 4588585"/>
              <a:gd name="connsiteX955" fmla="*/ 4305272 w 5047599"/>
              <a:gd name="connsiteY955" fmla="*/ 3882047 h 4588585"/>
              <a:gd name="connsiteX956" fmla="*/ 4302970 w 5047599"/>
              <a:gd name="connsiteY956" fmla="*/ 3889944 h 4588585"/>
              <a:gd name="connsiteX957" fmla="*/ 4297311 w 5047599"/>
              <a:gd name="connsiteY957" fmla="*/ 3904492 h 4588585"/>
              <a:gd name="connsiteX958" fmla="*/ 4288887 w 5047599"/>
              <a:gd name="connsiteY958" fmla="*/ 3917013 h 4588585"/>
              <a:gd name="connsiteX959" fmla="*/ 4283144 w 5047599"/>
              <a:gd name="connsiteY959" fmla="*/ 3921574 h 4588585"/>
              <a:gd name="connsiteX960" fmla="*/ 4270729 w 5047599"/>
              <a:gd name="connsiteY960" fmla="*/ 3928183 h 4588585"/>
              <a:gd name="connsiteX961" fmla="*/ 4264436 w 5047599"/>
              <a:gd name="connsiteY961" fmla="*/ 3929534 h 4588585"/>
              <a:gd name="connsiteX962" fmla="*/ 4250479 w 5047599"/>
              <a:gd name="connsiteY962" fmla="*/ 3929682 h 4588585"/>
              <a:gd name="connsiteX963" fmla="*/ 4236966 w 5047599"/>
              <a:gd name="connsiteY963" fmla="*/ 3933461 h 4588585"/>
              <a:gd name="connsiteX964" fmla="*/ 4222883 w 5047599"/>
              <a:gd name="connsiteY964" fmla="*/ 3940704 h 4588585"/>
              <a:gd name="connsiteX965" fmla="*/ 4209327 w 5047599"/>
              <a:gd name="connsiteY965" fmla="*/ 3949045 h 4588585"/>
              <a:gd name="connsiteX966" fmla="*/ 4204133 w 5047599"/>
              <a:gd name="connsiteY966" fmla="*/ 3953014 h 4588585"/>
              <a:gd name="connsiteX967" fmla="*/ 4198411 w 5047599"/>
              <a:gd name="connsiteY967" fmla="*/ 3955294 h 4588585"/>
              <a:gd name="connsiteX968" fmla="*/ 4180505 w 5047599"/>
              <a:gd name="connsiteY968" fmla="*/ 3955758 h 4588585"/>
              <a:gd name="connsiteX969" fmla="*/ 4175142 w 5047599"/>
              <a:gd name="connsiteY969" fmla="*/ 3953963 h 4588585"/>
              <a:gd name="connsiteX970" fmla="*/ 4157216 w 5047599"/>
              <a:gd name="connsiteY970" fmla="*/ 3940239 h 4588585"/>
              <a:gd name="connsiteX971" fmla="*/ 4150269 w 5047599"/>
              <a:gd name="connsiteY971" fmla="*/ 3938001 h 4588585"/>
              <a:gd name="connsiteX972" fmla="*/ 4137115 w 5047599"/>
              <a:gd name="connsiteY972" fmla="*/ 3936122 h 4588585"/>
              <a:gd name="connsiteX973" fmla="*/ 4133146 w 5047599"/>
              <a:gd name="connsiteY973" fmla="*/ 3934961 h 4588585"/>
              <a:gd name="connsiteX974" fmla="*/ 4129535 w 5047599"/>
              <a:gd name="connsiteY974" fmla="*/ 3933187 h 4588585"/>
              <a:gd name="connsiteX975" fmla="*/ 4124214 w 5047599"/>
              <a:gd name="connsiteY975" fmla="*/ 3926029 h 4588585"/>
              <a:gd name="connsiteX976" fmla="*/ 4113656 w 5047599"/>
              <a:gd name="connsiteY976" fmla="*/ 3919990 h 4588585"/>
              <a:gd name="connsiteX977" fmla="*/ 4111122 w 5047599"/>
              <a:gd name="connsiteY977" fmla="*/ 3918111 h 4588585"/>
              <a:gd name="connsiteX978" fmla="*/ 4109518 w 5047599"/>
              <a:gd name="connsiteY978" fmla="*/ 3913951 h 4588585"/>
              <a:gd name="connsiteX979" fmla="*/ 4108421 w 5047599"/>
              <a:gd name="connsiteY979" fmla="*/ 3909475 h 4588585"/>
              <a:gd name="connsiteX980" fmla="*/ 4105675 w 5047599"/>
              <a:gd name="connsiteY980" fmla="*/ 3904471 h 4588585"/>
              <a:gd name="connsiteX981" fmla="*/ 4103648 w 5047599"/>
              <a:gd name="connsiteY981" fmla="*/ 3894928 h 4588585"/>
              <a:gd name="connsiteX982" fmla="*/ 4100206 w 5047599"/>
              <a:gd name="connsiteY982" fmla="*/ 3888297 h 4588585"/>
              <a:gd name="connsiteX983" fmla="*/ 4090494 w 5047599"/>
              <a:gd name="connsiteY983" fmla="*/ 3876558 h 4588585"/>
              <a:gd name="connsiteX984" fmla="*/ 4089459 w 5047599"/>
              <a:gd name="connsiteY984" fmla="*/ 3872799 h 4588585"/>
              <a:gd name="connsiteX985" fmla="*/ 4088678 w 5047599"/>
              <a:gd name="connsiteY985" fmla="*/ 3860363 h 4588585"/>
              <a:gd name="connsiteX986" fmla="*/ 4088994 w 5047599"/>
              <a:gd name="connsiteY986" fmla="*/ 3851959 h 4588585"/>
              <a:gd name="connsiteX987" fmla="*/ 4088045 w 5047599"/>
              <a:gd name="connsiteY987" fmla="*/ 3836588 h 4588585"/>
              <a:gd name="connsiteX988" fmla="*/ 4089163 w 5047599"/>
              <a:gd name="connsiteY988" fmla="*/ 3829367 h 4588585"/>
              <a:gd name="connsiteX989" fmla="*/ 4092584 w 5047599"/>
              <a:gd name="connsiteY989" fmla="*/ 3822884 h 4588585"/>
              <a:gd name="connsiteX990" fmla="*/ 4091190 w 5047599"/>
              <a:gd name="connsiteY990" fmla="*/ 3815853 h 4588585"/>
              <a:gd name="connsiteX991" fmla="*/ 4087559 w 5047599"/>
              <a:gd name="connsiteY991" fmla="*/ 3808463 h 4588585"/>
              <a:gd name="connsiteX992" fmla="*/ 4086207 w 5047599"/>
              <a:gd name="connsiteY992" fmla="*/ 3800840 h 4588585"/>
              <a:gd name="connsiteX993" fmla="*/ 4083547 w 5047599"/>
              <a:gd name="connsiteY993" fmla="*/ 3793894 h 4588585"/>
              <a:gd name="connsiteX994" fmla="*/ 4073370 w 5047599"/>
              <a:gd name="connsiteY994" fmla="*/ 3781415 h 4588585"/>
              <a:gd name="connsiteX995" fmla="*/ 4070984 w 5047599"/>
              <a:gd name="connsiteY995" fmla="*/ 3775292 h 4588585"/>
              <a:gd name="connsiteX996" fmla="*/ 4069337 w 5047599"/>
              <a:gd name="connsiteY996" fmla="*/ 3768937 h 4588585"/>
              <a:gd name="connsiteX997" fmla="*/ 4065494 w 5047599"/>
              <a:gd name="connsiteY997" fmla="*/ 3749194 h 4588585"/>
              <a:gd name="connsiteX998" fmla="*/ 4065030 w 5047599"/>
              <a:gd name="connsiteY998" fmla="*/ 3742311 h 4588585"/>
              <a:gd name="connsiteX999" fmla="*/ 4065600 w 5047599"/>
              <a:gd name="connsiteY999" fmla="*/ 3727784 h 4588585"/>
              <a:gd name="connsiteX1000" fmla="*/ 4067014 w 5047599"/>
              <a:gd name="connsiteY1000" fmla="*/ 3720309 h 4588585"/>
              <a:gd name="connsiteX1001" fmla="*/ 4069485 w 5047599"/>
              <a:gd name="connsiteY1001" fmla="*/ 3715115 h 4588585"/>
              <a:gd name="connsiteX1002" fmla="*/ 4070097 w 5047599"/>
              <a:gd name="connsiteY1002" fmla="*/ 3711231 h 4588585"/>
              <a:gd name="connsiteX1003" fmla="*/ 4071702 w 5047599"/>
              <a:gd name="connsiteY1003" fmla="*/ 3707894 h 4588585"/>
              <a:gd name="connsiteX1004" fmla="*/ 4074109 w 5047599"/>
              <a:gd name="connsiteY1004" fmla="*/ 3705255 h 4588585"/>
              <a:gd name="connsiteX1005" fmla="*/ 4075735 w 5047599"/>
              <a:gd name="connsiteY1005" fmla="*/ 3702087 h 4588585"/>
              <a:gd name="connsiteX1006" fmla="*/ 4079535 w 5047599"/>
              <a:gd name="connsiteY1006" fmla="*/ 3683612 h 4588585"/>
              <a:gd name="connsiteX1007" fmla="*/ 4084349 w 5047599"/>
              <a:gd name="connsiteY1007" fmla="*/ 3679516 h 4588585"/>
              <a:gd name="connsiteX1008" fmla="*/ 4091486 w 5047599"/>
              <a:gd name="connsiteY1008" fmla="*/ 3677173 h 4588585"/>
              <a:gd name="connsiteX1009" fmla="*/ 4097209 w 5047599"/>
              <a:gd name="connsiteY1009" fmla="*/ 3672358 h 4588585"/>
              <a:gd name="connsiteX1010" fmla="*/ 4100502 w 5047599"/>
              <a:gd name="connsiteY1010" fmla="*/ 3665855 h 4588585"/>
              <a:gd name="connsiteX1011" fmla="*/ 4103796 w 5047599"/>
              <a:gd name="connsiteY1011" fmla="*/ 3652468 h 4588585"/>
              <a:gd name="connsiteX1012" fmla="*/ 4112791 w 5047599"/>
              <a:gd name="connsiteY1012" fmla="*/ 3639209 h 4588585"/>
              <a:gd name="connsiteX1013" fmla="*/ 4116000 w 5047599"/>
              <a:gd name="connsiteY1013" fmla="*/ 3632241 h 4588585"/>
              <a:gd name="connsiteX1014" fmla="*/ 4123264 w 5047599"/>
              <a:gd name="connsiteY1014" fmla="*/ 3621704 h 4588585"/>
              <a:gd name="connsiteX1015" fmla="*/ 4129682 w 5047599"/>
              <a:gd name="connsiteY1015" fmla="*/ 3606945 h 4588585"/>
              <a:gd name="connsiteX1016" fmla="*/ 4131625 w 5047599"/>
              <a:gd name="connsiteY1016" fmla="*/ 3599977 h 4588585"/>
              <a:gd name="connsiteX1017" fmla="*/ 4133019 w 5047599"/>
              <a:gd name="connsiteY1017" fmla="*/ 3592861 h 4588585"/>
              <a:gd name="connsiteX1018" fmla="*/ 4134645 w 5047599"/>
              <a:gd name="connsiteY1018" fmla="*/ 3577258 h 4588585"/>
              <a:gd name="connsiteX1019" fmla="*/ 4135869 w 5047599"/>
              <a:gd name="connsiteY1019" fmla="*/ 3569530 h 4588585"/>
              <a:gd name="connsiteX1020" fmla="*/ 4135616 w 5047599"/>
              <a:gd name="connsiteY1020" fmla="*/ 3561844 h 4588585"/>
              <a:gd name="connsiteX1021" fmla="*/ 4131942 w 5047599"/>
              <a:gd name="connsiteY1021" fmla="*/ 3553969 h 4588585"/>
              <a:gd name="connsiteX1022" fmla="*/ 4123179 w 5047599"/>
              <a:gd name="connsiteY1022" fmla="*/ 3539674 h 4588585"/>
              <a:gd name="connsiteX1023" fmla="*/ 4122905 w 5047599"/>
              <a:gd name="connsiteY1023" fmla="*/ 3537034 h 4588585"/>
              <a:gd name="connsiteX1024" fmla="*/ 4123602 w 5047599"/>
              <a:gd name="connsiteY1024" fmla="*/ 3526414 h 4588585"/>
              <a:gd name="connsiteX1025" fmla="*/ 4122862 w 5047599"/>
              <a:gd name="connsiteY1025" fmla="*/ 3518749 h 4588585"/>
              <a:gd name="connsiteX1026" fmla="*/ 4119632 w 5047599"/>
              <a:gd name="connsiteY1026" fmla="*/ 3511106 h 4588585"/>
              <a:gd name="connsiteX1027" fmla="*/ 4115494 w 5047599"/>
              <a:gd name="connsiteY1027" fmla="*/ 3503948 h 4588585"/>
              <a:gd name="connsiteX1028" fmla="*/ 4111418 w 5047599"/>
              <a:gd name="connsiteY1028" fmla="*/ 3490519 h 4588585"/>
              <a:gd name="connsiteX1029" fmla="*/ 4109434 w 5047599"/>
              <a:gd name="connsiteY1029" fmla="*/ 3468391 h 4588585"/>
              <a:gd name="connsiteX1030" fmla="*/ 4109856 w 5047599"/>
              <a:gd name="connsiteY1030" fmla="*/ 3460409 h 4588585"/>
              <a:gd name="connsiteX1031" fmla="*/ 4108652 w 5047599"/>
              <a:gd name="connsiteY1031" fmla="*/ 3453315 h 4588585"/>
              <a:gd name="connsiteX1032" fmla="*/ 4105697 w 5047599"/>
              <a:gd name="connsiteY1032" fmla="*/ 3446559 h 4588585"/>
              <a:gd name="connsiteX1033" fmla="*/ 4107808 w 5047599"/>
              <a:gd name="connsiteY1033" fmla="*/ 3434798 h 4588585"/>
              <a:gd name="connsiteX1034" fmla="*/ 4134011 w 5047599"/>
              <a:gd name="connsiteY1034" fmla="*/ 3392125 h 4588585"/>
              <a:gd name="connsiteX1035" fmla="*/ 4134877 w 5047599"/>
              <a:gd name="connsiteY1035" fmla="*/ 3387121 h 4588585"/>
              <a:gd name="connsiteX1036" fmla="*/ 4133821 w 5047599"/>
              <a:gd name="connsiteY1036" fmla="*/ 3374157 h 4588585"/>
              <a:gd name="connsiteX1037" fmla="*/ 4134370 w 5047599"/>
              <a:gd name="connsiteY1037" fmla="*/ 3366618 h 4588585"/>
              <a:gd name="connsiteX1038" fmla="*/ 4135278 w 5047599"/>
              <a:gd name="connsiteY1038" fmla="*/ 3363810 h 4588585"/>
              <a:gd name="connsiteX1039" fmla="*/ 4137284 w 5047599"/>
              <a:gd name="connsiteY1039" fmla="*/ 3362184 h 4588585"/>
              <a:gd name="connsiteX1040" fmla="*/ 4141760 w 5047599"/>
              <a:gd name="connsiteY1040" fmla="*/ 3361404 h 4588585"/>
              <a:gd name="connsiteX1041" fmla="*/ 4162938 w 5047599"/>
              <a:gd name="connsiteY1041" fmla="*/ 3359545 h 4588585"/>
              <a:gd name="connsiteX1042" fmla="*/ 4165662 w 5047599"/>
              <a:gd name="connsiteY1042" fmla="*/ 3358236 h 4588585"/>
              <a:gd name="connsiteX1043" fmla="*/ 4170941 w 5047599"/>
              <a:gd name="connsiteY1043" fmla="*/ 3354668 h 4588585"/>
              <a:gd name="connsiteX1044" fmla="*/ 4178204 w 5047599"/>
              <a:gd name="connsiteY1044" fmla="*/ 3347743 h 4588585"/>
              <a:gd name="connsiteX1045" fmla="*/ 4181540 w 5047599"/>
              <a:gd name="connsiteY1045" fmla="*/ 3345758 h 4588585"/>
              <a:gd name="connsiteX1046" fmla="*/ 4184412 w 5047599"/>
              <a:gd name="connsiteY1046" fmla="*/ 3346496 h 4588585"/>
              <a:gd name="connsiteX1047" fmla="*/ 4186249 w 5047599"/>
              <a:gd name="connsiteY1047" fmla="*/ 3349453 h 4588585"/>
              <a:gd name="connsiteX1048" fmla="*/ 4188614 w 5047599"/>
              <a:gd name="connsiteY1048" fmla="*/ 3351057 h 4588585"/>
              <a:gd name="connsiteX1049" fmla="*/ 4197165 w 5047599"/>
              <a:gd name="connsiteY1049" fmla="*/ 3347933 h 4588585"/>
              <a:gd name="connsiteX1050" fmla="*/ 4200438 w 5047599"/>
              <a:gd name="connsiteY1050" fmla="*/ 3347848 h 4588585"/>
              <a:gd name="connsiteX1051" fmla="*/ 4203795 w 5047599"/>
              <a:gd name="connsiteY1051" fmla="*/ 3348375 h 4588585"/>
              <a:gd name="connsiteX1052" fmla="*/ 4205357 w 5047599"/>
              <a:gd name="connsiteY1052" fmla="*/ 3345483 h 4588585"/>
              <a:gd name="connsiteX1053" fmla="*/ 4206287 w 5047599"/>
              <a:gd name="connsiteY1053" fmla="*/ 3341619 h 4588585"/>
              <a:gd name="connsiteX1054" fmla="*/ 4207532 w 5047599"/>
              <a:gd name="connsiteY1054" fmla="*/ 3338896 h 4588585"/>
              <a:gd name="connsiteX1055" fmla="*/ 4209812 w 5047599"/>
              <a:gd name="connsiteY1055" fmla="*/ 3337354 h 4588585"/>
              <a:gd name="connsiteX1056" fmla="*/ 4220813 w 5047599"/>
              <a:gd name="connsiteY1056" fmla="*/ 3336510 h 4588585"/>
              <a:gd name="connsiteX1057" fmla="*/ 4227845 w 5047599"/>
              <a:gd name="connsiteY1057" fmla="*/ 3335390 h 4588585"/>
              <a:gd name="connsiteX1058" fmla="*/ 4236924 w 5047599"/>
              <a:gd name="connsiteY1058" fmla="*/ 3332708 h 4588585"/>
              <a:gd name="connsiteX1059" fmla="*/ 4238867 w 5047599"/>
              <a:gd name="connsiteY1059" fmla="*/ 3333236 h 4588585"/>
              <a:gd name="connsiteX1060" fmla="*/ 4246193 w 5047599"/>
              <a:gd name="connsiteY1060" fmla="*/ 3342949 h 4588585"/>
              <a:gd name="connsiteX1061" fmla="*/ 4248410 w 5047599"/>
              <a:gd name="connsiteY1061" fmla="*/ 3343773 h 4588585"/>
              <a:gd name="connsiteX1062" fmla="*/ 4251261 w 5047599"/>
              <a:gd name="connsiteY1062" fmla="*/ 3344195 h 4588585"/>
              <a:gd name="connsiteX1063" fmla="*/ 4253752 w 5047599"/>
              <a:gd name="connsiteY1063" fmla="*/ 3342421 h 4588585"/>
              <a:gd name="connsiteX1064" fmla="*/ 4247797 w 5047599"/>
              <a:gd name="connsiteY1064" fmla="*/ 3337354 h 4588585"/>
              <a:gd name="connsiteX1065" fmla="*/ 4246911 w 5047599"/>
              <a:gd name="connsiteY1065" fmla="*/ 3334483 h 4588585"/>
              <a:gd name="connsiteX1066" fmla="*/ 4247228 w 5047599"/>
              <a:gd name="connsiteY1066" fmla="*/ 3331209 h 4588585"/>
              <a:gd name="connsiteX1067" fmla="*/ 4250416 w 5047599"/>
              <a:gd name="connsiteY1067" fmla="*/ 3324242 h 4588585"/>
              <a:gd name="connsiteX1068" fmla="*/ 4255737 w 5047599"/>
              <a:gd name="connsiteY1068" fmla="*/ 3318899 h 4588585"/>
              <a:gd name="connsiteX1069" fmla="*/ 4267561 w 5047599"/>
              <a:gd name="connsiteY1069" fmla="*/ 3310813 h 4588585"/>
              <a:gd name="connsiteX1070" fmla="*/ 4279850 w 5047599"/>
              <a:gd name="connsiteY1070" fmla="*/ 3301480 h 4588585"/>
              <a:gd name="connsiteX1071" fmla="*/ 4283419 w 5047599"/>
              <a:gd name="connsiteY1071" fmla="*/ 3300847 h 4588585"/>
              <a:gd name="connsiteX1072" fmla="*/ 4286437 w 5047599"/>
              <a:gd name="connsiteY1072" fmla="*/ 3302304 h 4588585"/>
              <a:gd name="connsiteX1073" fmla="*/ 4288760 w 5047599"/>
              <a:gd name="connsiteY1073" fmla="*/ 3313347 h 4588585"/>
              <a:gd name="connsiteX1074" fmla="*/ 4288465 w 5047599"/>
              <a:gd name="connsiteY1074" fmla="*/ 3315141 h 4588585"/>
              <a:gd name="connsiteX1075" fmla="*/ 4290429 w 5047599"/>
              <a:gd name="connsiteY1075" fmla="*/ 3315416 h 4588585"/>
              <a:gd name="connsiteX1076" fmla="*/ 4292708 w 5047599"/>
              <a:gd name="connsiteY1076" fmla="*/ 3314044 h 4588585"/>
              <a:gd name="connsiteX1077" fmla="*/ 4294736 w 5047599"/>
              <a:gd name="connsiteY1077" fmla="*/ 3309610 h 4588585"/>
              <a:gd name="connsiteX1078" fmla="*/ 4294842 w 5047599"/>
              <a:gd name="connsiteY1078" fmla="*/ 3305914 h 4588585"/>
              <a:gd name="connsiteX1079" fmla="*/ 4293194 w 5047599"/>
              <a:gd name="connsiteY1079" fmla="*/ 3302367 h 4588585"/>
              <a:gd name="connsiteX1080" fmla="*/ 4292392 w 5047599"/>
              <a:gd name="connsiteY1080" fmla="*/ 3299390 h 4588585"/>
              <a:gd name="connsiteX1081" fmla="*/ 4292329 w 5047599"/>
              <a:gd name="connsiteY1081" fmla="*/ 3296624 h 4588585"/>
              <a:gd name="connsiteX1082" fmla="*/ 4298558 w 5047599"/>
              <a:gd name="connsiteY1082" fmla="*/ 3290099 h 4588585"/>
              <a:gd name="connsiteX1083" fmla="*/ 4303456 w 5047599"/>
              <a:gd name="connsiteY1083" fmla="*/ 3283913 h 4588585"/>
              <a:gd name="connsiteX1084" fmla="*/ 4305716 w 5047599"/>
              <a:gd name="connsiteY1084" fmla="*/ 3276501 h 4588585"/>
              <a:gd name="connsiteX1085" fmla="*/ 4307679 w 5047599"/>
              <a:gd name="connsiteY1085" fmla="*/ 3273081 h 4588585"/>
              <a:gd name="connsiteX1086" fmla="*/ 4312852 w 5047599"/>
              <a:gd name="connsiteY1086" fmla="*/ 3269237 h 4588585"/>
              <a:gd name="connsiteX1087" fmla="*/ 4314372 w 5047599"/>
              <a:gd name="connsiteY1087" fmla="*/ 3269829 h 4588585"/>
              <a:gd name="connsiteX1088" fmla="*/ 4315576 w 5047599"/>
              <a:gd name="connsiteY1088" fmla="*/ 3272954 h 4588585"/>
              <a:gd name="connsiteX1089" fmla="*/ 4316251 w 5047599"/>
              <a:gd name="connsiteY1089" fmla="*/ 3276270 h 4588585"/>
              <a:gd name="connsiteX1090" fmla="*/ 4314922 w 5047599"/>
              <a:gd name="connsiteY1090" fmla="*/ 3279563 h 4588585"/>
              <a:gd name="connsiteX1091" fmla="*/ 4313043 w 5047599"/>
              <a:gd name="connsiteY1091" fmla="*/ 3282815 h 4588585"/>
              <a:gd name="connsiteX1092" fmla="*/ 4312282 w 5047599"/>
              <a:gd name="connsiteY1092" fmla="*/ 3287144 h 4588585"/>
              <a:gd name="connsiteX1093" fmla="*/ 4315195 w 5047599"/>
              <a:gd name="connsiteY1093" fmla="*/ 3287988 h 4588585"/>
              <a:gd name="connsiteX1094" fmla="*/ 4317940 w 5047599"/>
              <a:gd name="connsiteY1094" fmla="*/ 3286953 h 4588585"/>
              <a:gd name="connsiteX1095" fmla="*/ 4321953 w 5047599"/>
              <a:gd name="connsiteY1095" fmla="*/ 3279119 h 4588585"/>
              <a:gd name="connsiteX1096" fmla="*/ 4326535 w 5047599"/>
              <a:gd name="connsiteY1096" fmla="*/ 3271708 h 4588585"/>
              <a:gd name="connsiteX1097" fmla="*/ 4329258 w 5047599"/>
              <a:gd name="connsiteY1097" fmla="*/ 3267844 h 4588585"/>
              <a:gd name="connsiteX1098" fmla="*/ 4332700 w 5047599"/>
              <a:gd name="connsiteY1098" fmla="*/ 3265163 h 4588585"/>
              <a:gd name="connsiteX1099" fmla="*/ 4338422 w 5047599"/>
              <a:gd name="connsiteY1099" fmla="*/ 3265712 h 4588585"/>
              <a:gd name="connsiteX1100" fmla="*/ 4343975 w 5047599"/>
              <a:gd name="connsiteY1100" fmla="*/ 3267359 h 4588585"/>
              <a:gd name="connsiteX1101" fmla="*/ 4334917 w 5047599"/>
              <a:gd name="connsiteY1101" fmla="*/ 3259547 h 4588585"/>
              <a:gd name="connsiteX1102" fmla="*/ 4332658 w 5047599"/>
              <a:gd name="connsiteY1102" fmla="*/ 3248842 h 4588585"/>
              <a:gd name="connsiteX1103" fmla="*/ 4343426 w 5047599"/>
              <a:gd name="connsiteY1103" fmla="*/ 3230366 h 4588585"/>
              <a:gd name="connsiteX1104" fmla="*/ 4343532 w 5047599"/>
              <a:gd name="connsiteY1104" fmla="*/ 3226524 h 4588585"/>
              <a:gd name="connsiteX1105" fmla="*/ 4345094 w 5047599"/>
              <a:gd name="connsiteY1105" fmla="*/ 3225341 h 4588585"/>
              <a:gd name="connsiteX1106" fmla="*/ 4345833 w 5047599"/>
              <a:gd name="connsiteY1106" fmla="*/ 3223842 h 4588585"/>
              <a:gd name="connsiteX1107" fmla="*/ 4340259 w 5047599"/>
              <a:gd name="connsiteY1107" fmla="*/ 3217634 h 4588585"/>
              <a:gd name="connsiteX1108" fmla="*/ 4339203 w 5047599"/>
              <a:gd name="connsiteY1108" fmla="*/ 3214530 h 4588585"/>
              <a:gd name="connsiteX1109" fmla="*/ 4339943 w 5047599"/>
              <a:gd name="connsiteY1109" fmla="*/ 3209843 h 4588585"/>
              <a:gd name="connsiteX1110" fmla="*/ 4342602 w 5047599"/>
              <a:gd name="connsiteY1110" fmla="*/ 3205683 h 4588585"/>
              <a:gd name="connsiteX1111" fmla="*/ 4345031 w 5047599"/>
              <a:gd name="connsiteY1111" fmla="*/ 3202769 h 4588585"/>
              <a:gd name="connsiteX1112" fmla="*/ 4348473 w 5047599"/>
              <a:gd name="connsiteY1112" fmla="*/ 3201650 h 4588585"/>
              <a:gd name="connsiteX1113" fmla="*/ 4351197 w 5047599"/>
              <a:gd name="connsiteY1113" fmla="*/ 3203234 h 4588585"/>
              <a:gd name="connsiteX1114" fmla="*/ 4357193 w 5047599"/>
              <a:gd name="connsiteY1114" fmla="*/ 3208365 h 4588585"/>
              <a:gd name="connsiteX1115" fmla="*/ 4361226 w 5047599"/>
              <a:gd name="connsiteY1115" fmla="*/ 3209145 h 4588585"/>
              <a:gd name="connsiteX1116" fmla="*/ 4366103 w 5047599"/>
              <a:gd name="connsiteY1116" fmla="*/ 3204248 h 4588585"/>
              <a:gd name="connsiteX1117" fmla="*/ 4370094 w 5047599"/>
              <a:gd name="connsiteY1117" fmla="*/ 3198104 h 4588585"/>
              <a:gd name="connsiteX1118" fmla="*/ 4376090 w 5047599"/>
              <a:gd name="connsiteY1118" fmla="*/ 3193901 h 4588585"/>
              <a:gd name="connsiteX1119" fmla="*/ 4382910 w 5047599"/>
              <a:gd name="connsiteY1119" fmla="*/ 3191283 h 4588585"/>
              <a:gd name="connsiteX1120" fmla="*/ 4393278 w 5047599"/>
              <a:gd name="connsiteY1120" fmla="*/ 3181634 h 4588585"/>
              <a:gd name="connsiteX1121" fmla="*/ 4400035 w 5047599"/>
              <a:gd name="connsiteY1121" fmla="*/ 3161469 h 4588585"/>
              <a:gd name="connsiteX1122" fmla="*/ 4400562 w 5047599"/>
              <a:gd name="connsiteY1122" fmla="*/ 3155599 h 4588585"/>
              <a:gd name="connsiteX1123" fmla="*/ 4399063 w 5047599"/>
              <a:gd name="connsiteY1123" fmla="*/ 3148483 h 4588585"/>
              <a:gd name="connsiteX1124" fmla="*/ 4396677 w 5047599"/>
              <a:gd name="connsiteY1124" fmla="*/ 3141706 h 4588585"/>
              <a:gd name="connsiteX1125" fmla="*/ 4392686 w 5047599"/>
              <a:gd name="connsiteY1125" fmla="*/ 3133260 h 4588585"/>
              <a:gd name="connsiteX1126" fmla="*/ 4393721 w 5047599"/>
              <a:gd name="connsiteY1126" fmla="*/ 3131402 h 4588585"/>
              <a:gd name="connsiteX1127" fmla="*/ 4399401 w 5047599"/>
              <a:gd name="connsiteY1127" fmla="*/ 3132521 h 4588585"/>
              <a:gd name="connsiteX1128" fmla="*/ 4401301 w 5047599"/>
              <a:gd name="connsiteY1128" fmla="*/ 3131338 h 4588585"/>
              <a:gd name="connsiteX1129" fmla="*/ 4407467 w 5047599"/>
              <a:gd name="connsiteY1129" fmla="*/ 3123864 h 4588585"/>
              <a:gd name="connsiteX1130" fmla="*/ 4135806 w 5047599"/>
              <a:gd name="connsiteY1130" fmla="*/ 3108873 h 4588585"/>
              <a:gd name="connsiteX1131" fmla="*/ 4137263 w 5047599"/>
              <a:gd name="connsiteY1131" fmla="*/ 3109486 h 4588585"/>
              <a:gd name="connsiteX1132" fmla="*/ 4140240 w 5047599"/>
              <a:gd name="connsiteY1132" fmla="*/ 3117847 h 4588585"/>
              <a:gd name="connsiteX1133" fmla="*/ 4140219 w 5047599"/>
              <a:gd name="connsiteY1133" fmla="*/ 3124160 h 4588585"/>
              <a:gd name="connsiteX1134" fmla="*/ 4138952 w 5047599"/>
              <a:gd name="connsiteY1134" fmla="*/ 3126145 h 4588585"/>
              <a:gd name="connsiteX1135" fmla="*/ 4136292 w 5047599"/>
              <a:gd name="connsiteY1135" fmla="*/ 3124836 h 4588585"/>
              <a:gd name="connsiteX1136" fmla="*/ 4131393 w 5047599"/>
              <a:gd name="connsiteY1136" fmla="*/ 3119832 h 4588585"/>
              <a:gd name="connsiteX1137" fmla="*/ 4122082 w 5047599"/>
              <a:gd name="connsiteY1137" fmla="*/ 3114933 h 4588585"/>
              <a:gd name="connsiteX1138" fmla="*/ 4126368 w 5047599"/>
              <a:gd name="connsiteY1138" fmla="*/ 3114532 h 4588585"/>
              <a:gd name="connsiteX1139" fmla="*/ 4128860 w 5047599"/>
              <a:gd name="connsiteY1139" fmla="*/ 3115018 h 4588585"/>
              <a:gd name="connsiteX1140" fmla="*/ 4131499 w 5047599"/>
              <a:gd name="connsiteY1140" fmla="*/ 3114574 h 4588585"/>
              <a:gd name="connsiteX1141" fmla="*/ 4133146 w 5047599"/>
              <a:gd name="connsiteY1141" fmla="*/ 3111830 h 4588585"/>
              <a:gd name="connsiteX1142" fmla="*/ 4133484 w 5047599"/>
              <a:gd name="connsiteY1142" fmla="*/ 3110182 h 4588585"/>
              <a:gd name="connsiteX1143" fmla="*/ 3560260 w 5047599"/>
              <a:gd name="connsiteY1143" fmla="*/ 3105367 h 4588585"/>
              <a:gd name="connsiteX1144" fmla="*/ 3561235 w 5047599"/>
              <a:gd name="connsiteY1144" fmla="*/ 3106403 h 4588585"/>
              <a:gd name="connsiteX1145" fmla="*/ 3561256 w 5047599"/>
              <a:gd name="connsiteY1145" fmla="*/ 3108134 h 4588585"/>
              <a:gd name="connsiteX1146" fmla="*/ 3560644 w 5047599"/>
              <a:gd name="connsiteY1146" fmla="*/ 3109887 h 4588585"/>
              <a:gd name="connsiteX1147" fmla="*/ 3559082 w 5047599"/>
              <a:gd name="connsiteY1147" fmla="*/ 3111238 h 4588585"/>
              <a:gd name="connsiteX1148" fmla="*/ 3556991 w 5047599"/>
              <a:gd name="connsiteY1148" fmla="*/ 3111724 h 4588585"/>
              <a:gd name="connsiteX1149" fmla="*/ 3555703 w 5047599"/>
              <a:gd name="connsiteY1149" fmla="*/ 3110664 h 4588585"/>
              <a:gd name="connsiteX1150" fmla="*/ 3555703 w 5047599"/>
              <a:gd name="connsiteY1150" fmla="*/ 3110668 h 4588585"/>
              <a:gd name="connsiteX1151" fmla="*/ 3557013 w 5047599"/>
              <a:gd name="connsiteY1151" fmla="*/ 3111765 h 4588585"/>
              <a:gd name="connsiteX1152" fmla="*/ 3559082 w 5047599"/>
              <a:gd name="connsiteY1152" fmla="*/ 3111238 h 4588585"/>
              <a:gd name="connsiteX1153" fmla="*/ 3560665 w 5047599"/>
              <a:gd name="connsiteY1153" fmla="*/ 3109908 h 4588585"/>
              <a:gd name="connsiteX1154" fmla="*/ 3561278 w 5047599"/>
              <a:gd name="connsiteY1154" fmla="*/ 3108155 h 4588585"/>
              <a:gd name="connsiteX1155" fmla="*/ 3561256 w 5047599"/>
              <a:gd name="connsiteY1155" fmla="*/ 3106424 h 4588585"/>
              <a:gd name="connsiteX1156" fmla="*/ 3560264 w 5047599"/>
              <a:gd name="connsiteY1156" fmla="*/ 3105368 h 4588585"/>
              <a:gd name="connsiteX1157" fmla="*/ 3551501 w 5047599"/>
              <a:gd name="connsiteY1157" fmla="*/ 3102792 h 4588585"/>
              <a:gd name="connsiteX1158" fmla="*/ 3549284 w 5047599"/>
              <a:gd name="connsiteY1158" fmla="*/ 3103489 h 4588585"/>
              <a:gd name="connsiteX1159" fmla="*/ 3548545 w 5047599"/>
              <a:gd name="connsiteY1159" fmla="*/ 3105685 h 4588585"/>
              <a:gd name="connsiteX1160" fmla="*/ 3548550 w 5047599"/>
              <a:gd name="connsiteY1160" fmla="*/ 3105692 h 4588585"/>
              <a:gd name="connsiteX1161" fmla="*/ 3549284 w 5047599"/>
              <a:gd name="connsiteY1161" fmla="*/ 3103510 h 4588585"/>
              <a:gd name="connsiteX1162" fmla="*/ 3551501 w 5047599"/>
              <a:gd name="connsiteY1162" fmla="*/ 3102814 h 4588585"/>
              <a:gd name="connsiteX1163" fmla="*/ 3553444 w 5047599"/>
              <a:gd name="connsiteY1163" fmla="*/ 3103638 h 4588585"/>
              <a:gd name="connsiteX1164" fmla="*/ 3554093 w 5047599"/>
              <a:gd name="connsiteY1164" fmla="*/ 3104737 h 4588585"/>
              <a:gd name="connsiteX1165" fmla="*/ 3553444 w 5047599"/>
              <a:gd name="connsiteY1165" fmla="*/ 3103637 h 4588585"/>
              <a:gd name="connsiteX1166" fmla="*/ 3097493 w 5047599"/>
              <a:gd name="connsiteY1166" fmla="*/ 3099706 h 4588585"/>
              <a:gd name="connsiteX1167" fmla="*/ 3095151 w 5047599"/>
              <a:gd name="connsiteY1167" fmla="*/ 3101104 h 4588585"/>
              <a:gd name="connsiteX1168" fmla="*/ 3091223 w 5047599"/>
              <a:gd name="connsiteY1168" fmla="*/ 3102434 h 4588585"/>
              <a:gd name="connsiteX1169" fmla="*/ 3095150 w 5047599"/>
              <a:gd name="connsiteY1169" fmla="*/ 3101124 h 4588585"/>
              <a:gd name="connsiteX1170" fmla="*/ 3048694 w 5047599"/>
              <a:gd name="connsiteY1170" fmla="*/ 3098762 h 4588585"/>
              <a:gd name="connsiteX1171" fmla="*/ 3062528 w 5047599"/>
              <a:gd name="connsiteY1171" fmla="*/ 3100321 h 4588585"/>
              <a:gd name="connsiteX1172" fmla="*/ 3067849 w 5047599"/>
              <a:gd name="connsiteY1172" fmla="*/ 3101399 h 4588585"/>
              <a:gd name="connsiteX1173" fmla="*/ 3077389 w 5047599"/>
              <a:gd name="connsiteY1173" fmla="*/ 3102784 h 4588585"/>
              <a:gd name="connsiteX1174" fmla="*/ 3067849 w 5047599"/>
              <a:gd name="connsiteY1174" fmla="*/ 3101377 h 4588585"/>
              <a:gd name="connsiteX1175" fmla="*/ 3062528 w 5047599"/>
              <a:gd name="connsiteY1175" fmla="*/ 3100301 h 4588585"/>
              <a:gd name="connsiteX1176" fmla="*/ 3192995 w 5047599"/>
              <a:gd name="connsiteY1176" fmla="*/ 3097239 h 4588585"/>
              <a:gd name="connsiteX1177" fmla="*/ 3194960 w 5047599"/>
              <a:gd name="connsiteY1177" fmla="*/ 3098971 h 4588585"/>
              <a:gd name="connsiteX1178" fmla="*/ 3195115 w 5047599"/>
              <a:gd name="connsiteY1178" fmla="*/ 3099089 h 4588585"/>
              <a:gd name="connsiteX1179" fmla="*/ 3194959 w 5047599"/>
              <a:gd name="connsiteY1179" fmla="*/ 3098970 h 4588585"/>
              <a:gd name="connsiteX1180" fmla="*/ 3038035 w 5047599"/>
              <a:gd name="connsiteY1180" fmla="*/ 3095782 h 4588585"/>
              <a:gd name="connsiteX1181" fmla="*/ 3043926 w 5047599"/>
              <a:gd name="connsiteY1181" fmla="*/ 3097915 h 4588585"/>
              <a:gd name="connsiteX1182" fmla="*/ 3044662 w 5047599"/>
              <a:gd name="connsiteY1182" fmla="*/ 3098053 h 4588585"/>
              <a:gd name="connsiteX1183" fmla="*/ 3043927 w 5047599"/>
              <a:gd name="connsiteY1183" fmla="*/ 3097915 h 4588585"/>
              <a:gd name="connsiteX1184" fmla="*/ 3019814 w 5047599"/>
              <a:gd name="connsiteY1184" fmla="*/ 3089068 h 4588585"/>
              <a:gd name="connsiteX1185" fmla="*/ 3013734 w 5047599"/>
              <a:gd name="connsiteY1185" fmla="*/ 3089614 h 4588585"/>
              <a:gd name="connsiteX1186" fmla="*/ 3019813 w 5047599"/>
              <a:gd name="connsiteY1186" fmla="*/ 3089089 h 4588585"/>
              <a:gd name="connsiteX1187" fmla="*/ 3033791 w 5047599"/>
              <a:gd name="connsiteY1187" fmla="*/ 3093671 h 4588585"/>
              <a:gd name="connsiteX1188" fmla="*/ 3104265 w 5047599"/>
              <a:gd name="connsiteY1188" fmla="*/ 3081599 h 4588585"/>
              <a:gd name="connsiteX1189" fmla="*/ 3103216 w 5047599"/>
              <a:gd name="connsiteY1189" fmla="*/ 3084212 h 4588585"/>
              <a:gd name="connsiteX1190" fmla="*/ 3100281 w 5047599"/>
              <a:gd name="connsiteY1190" fmla="*/ 3093946 h 4588585"/>
              <a:gd name="connsiteX1191" fmla="*/ 3103216 w 5047599"/>
              <a:gd name="connsiteY1191" fmla="*/ 3084233 h 4588585"/>
              <a:gd name="connsiteX1192" fmla="*/ 3680684 w 5047599"/>
              <a:gd name="connsiteY1192" fmla="*/ 3081043 h 4588585"/>
              <a:gd name="connsiteX1193" fmla="*/ 3680681 w 5047599"/>
              <a:gd name="connsiteY1193" fmla="*/ 3081044 h 4588585"/>
              <a:gd name="connsiteX1194" fmla="*/ 3674997 w 5047599"/>
              <a:gd name="connsiteY1194" fmla="*/ 3085437 h 4588585"/>
              <a:gd name="connsiteX1195" fmla="*/ 3675001 w 5047599"/>
              <a:gd name="connsiteY1195" fmla="*/ 3085436 h 4588585"/>
              <a:gd name="connsiteX1196" fmla="*/ 3110884 w 5047599"/>
              <a:gd name="connsiteY1196" fmla="*/ 3079146 h 4588585"/>
              <a:gd name="connsiteX1197" fmla="*/ 3107291 w 5047599"/>
              <a:gd name="connsiteY1197" fmla="*/ 3079968 h 4588585"/>
              <a:gd name="connsiteX1198" fmla="*/ 3104433 w 5047599"/>
              <a:gd name="connsiteY1198" fmla="*/ 3081293 h 4588585"/>
              <a:gd name="connsiteX1199" fmla="*/ 3107291 w 5047599"/>
              <a:gd name="connsiteY1199" fmla="*/ 3079989 h 4588585"/>
              <a:gd name="connsiteX1200" fmla="*/ 3111099 w 5047599"/>
              <a:gd name="connsiteY1200" fmla="*/ 3079122 h 4588585"/>
              <a:gd name="connsiteX1201" fmla="*/ 3113288 w 5047599"/>
              <a:gd name="connsiteY1201" fmla="*/ 3080664 h 4588585"/>
              <a:gd name="connsiteX1202" fmla="*/ 3115758 w 5047599"/>
              <a:gd name="connsiteY1202" fmla="*/ 3091433 h 4588585"/>
              <a:gd name="connsiteX1203" fmla="*/ 3126759 w 5047599"/>
              <a:gd name="connsiteY1203" fmla="*/ 3101187 h 4588585"/>
              <a:gd name="connsiteX1204" fmla="*/ 3130517 w 5047599"/>
              <a:gd name="connsiteY1204" fmla="*/ 3109379 h 4588585"/>
              <a:gd name="connsiteX1205" fmla="*/ 3133263 w 5047599"/>
              <a:gd name="connsiteY1205" fmla="*/ 3116369 h 4588585"/>
              <a:gd name="connsiteX1206" fmla="*/ 3135648 w 5047599"/>
              <a:gd name="connsiteY1206" fmla="*/ 3118291 h 4588585"/>
              <a:gd name="connsiteX1207" fmla="*/ 3137980 w 5047599"/>
              <a:gd name="connsiteY1207" fmla="*/ 3119621 h 4588585"/>
              <a:gd name="connsiteX1208" fmla="*/ 3135649 w 5047599"/>
              <a:gd name="connsiteY1208" fmla="*/ 3118291 h 4588585"/>
              <a:gd name="connsiteX1209" fmla="*/ 3133263 w 5047599"/>
              <a:gd name="connsiteY1209" fmla="*/ 3116369 h 4588585"/>
              <a:gd name="connsiteX1210" fmla="*/ 3130517 w 5047599"/>
              <a:gd name="connsiteY1210" fmla="*/ 3109359 h 4588585"/>
              <a:gd name="connsiteX1211" fmla="*/ 3126759 w 5047599"/>
              <a:gd name="connsiteY1211" fmla="*/ 3101167 h 4588585"/>
              <a:gd name="connsiteX1212" fmla="*/ 3115759 w 5047599"/>
              <a:gd name="connsiteY1212" fmla="*/ 3091433 h 4588585"/>
              <a:gd name="connsiteX1213" fmla="*/ 3113288 w 5047599"/>
              <a:gd name="connsiteY1213" fmla="*/ 3080644 h 4588585"/>
              <a:gd name="connsiteX1214" fmla="*/ 3565437 w 5047599"/>
              <a:gd name="connsiteY1214" fmla="*/ 3078890 h 4588585"/>
              <a:gd name="connsiteX1215" fmla="*/ 3555534 w 5047599"/>
              <a:gd name="connsiteY1215" fmla="*/ 3079672 h 4588585"/>
              <a:gd name="connsiteX1216" fmla="*/ 3553106 w 5047599"/>
              <a:gd name="connsiteY1216" fmla="*/ 3081572 h 4588585"/>
              <a:gd name="connsiteX1217" fmla="*/ 3552367 w 5047599"/>
              <a:gd name="connsiteY1217" fmla="*/ 3085795 h 4588585"/>
              <a:gd name="connsiteX1218" fmla="*/ 3549263 w 5047599"/>
              <a:gd name="connsiteY1218" fmla="*/ 3094495 h 4588585"/>
              <a:gd name="connsiteX1219" fmla="*/ 3547532 w 5047599"/>
              <a:gd name="connsiteY1219" fmla="*/ 3097704 h 4588585"/>
              <a:gd name="connsiteX1220" fmla="*/ 3543879 w 5047599"/>
              <a:gd name="connsiteY1220" fmla="*/ 3103552 h 4588585"/>
              <a:gd name="connsiteX1221" fmla="*/ 3538727 w 5047599"/>
              <a:gd name="connsiteY1221" fmla="*/ 3111830 h 4588585"/>
              <a:gd name="connsiteX1222" fmla="*/ 3537650 w 5047599"/>
              <a:gd name="connsiteY1222" fmla="*/ 3114511 h 4588585"/>
              <a:gd name="connsiteX1223" fmla="*/ 3537819 w 5047599"/>
              <a:gd name="connsiteY1223" fmla="*/ 3117298 h 4588585"/>
              <a:gd name="connsiteX1224" fmla="*/ 3540860 w 5047599"/>
              <a:gd name="connsiteY1224" fmla="*/ 3128531 h 4588585"/>
              <a:gd name="connsiteX1225" fmla="*/ 3544048 w 5047599"/>
              <a:gd name="connsiteY1225" fmla="*/ 3140313 h 4588585"/>
              <a:gd name="connsiteX1226" fmla="*/ 3545061 w 5047599"/>
              <a:gd name="connsiteY1226" fmla="*/ 3144958 h 4588585"/>
              <a:gd name="connsiteX1227" fmla="*/ 3547321 w 5047599"/>
              <a:gd name="connsiteY1227" fmla="*/ 3160646 h 4588585"/>
              <a:gd name="connsiteX1228" fmla="*/ 3548588 w 5047599"/>
              <a:gd name="connsiteY1228" fmla="*/ 3171774 h 4588585"/>
              <a:gd name="connsiteX1229" fmla="*/ 3548778 w 5047599"/>
              <a:gd name="connsiteY1229" fmla="*/ 3178319 h 4588585"/>
              <a:gd name="connsiteX1230" fmla="*/ 3549855 w 5047599"/>
              <a:gd name="connsiteY1230" fmla="*/ 3187061 h 4588585"/>
              <a:gd name="connsiteX1231" fmla="*/ 3552684 w 5047599"/>
              <a:gd name="connsiteY1231" fmla="*/ 3191790 h 4588585"/>
              <a:gd name="connsiteX1232" fmla="*/ 3555661 w 5047599"/>
              <a:gd name="connsiteY1232" fmla="*/ 3194768 h 4588585"/>
              <a:gd name="connsiteX1233" fmla="*/ 3566851 w 5047599"/>
              <a:gd name="connsiteY1233" fmla="*/ 3196541 h 4588585"/>
              <a:gd name="connsiteX1234" fmla="*/ 3570188 w 5047599"/>
              <a:gd name="connsiteY1234" fmla="*/ 3198737 h 4588585"/>
              <a:gd name="connsiteX1235" fmla="*/ 3576522 w 5047599"/>
              <a:gd name="connsiteY1235" fmla="*/ 3204311 h 4588585"/>
              <a:gd name="connsiteX1236" fmla="*/ 3590374 w 5047599"/>
              <a:gd name="connsiteY1236" fmla="*/ 3219768 h 4588585"/>
              <a:gd name="connsiteX1237" fmla="*/ 3597974 w 5047599"/>
              <a:gd name="connsiteY1237" fmla="*/ 3229628 h 4588585"/>
              <a:gd name="connsiteX1238" fmla="*/ 3604668 w 5047599"/>
              <a:gd name="connsiteY1238" fmla="*/ 3238306 h 4588585"/>
              <a:gd name="connsiteX1239" fmla="*/ 3616619 w 5047599"/>
              <a:gd name="connsiteY1239" fmla="*/ 3254459 h 4588585"/>
              <a:gd name="connsiteX1240" fmla="*/ 3625909 w 5047599"/>
              <a:gd name="connsiteY1240" fmla="*/ 3267021 h 4588585"/>
              <a:gd name="connsiteX1241" fmla="*/ 3627071 w 5047599"/>
              <a:gd name="connsiteY1241" fmla="*/ 3278825 h 4588585"/>
              <a:gd name="connsiteX1242" fmla="*/ 3628612 w 5047599"/>
              <a:gd name="connsiteY1242" fmla="*/ 3280557 h 4588585"/>
              <a:gd name="connsiteX1243" fmla="*/ 3625487 w 5047599"/>
              <a:gd name="connsiteY1243" fmla="*/ 3289319 h 4588585"/>
              <a:gd name="connsiteX1244" fmla="*/ 3623439 w 5047599"/>
              <a:gd name="connsiteY1244" fmla="*/ 3303465 h 4588585"/>
              <a:gd name="connsiteX1245" fmla="*/ 3624916 w 5047599"/>
              <a:gd name="connsiteY1245" fmla="*/ 3312883 h 4588585"/>
              <a:gd name="connsiteX1246" fmla="*/ 3624305 w 5047599"/>
              <a:gd name="connsiteY1246" fmla="*/ 3328951 h 4588585"/>
              <a:gd name="connsiteX1247" fmla="*/ 3622594 w 5047599"/>
              <a:gd name="connsiteY1247" fmla="*/ 3346075 h 4588585"/>
              <a:gd name="connsiteX1248" fmla="*/ 3620461 w 5047599"/>
              <a:gd name="connsiteY1248" fmla="*/ 3352198 h 4588585"/>
              <a:gd name="connsiteX1249" fmla="*/ 3617717 w 5047599"/>
              <a:gd name="connsiteY1249" fmla="*/ 3354520 h 4588585"/>
              <a:gd name="connsiteX1250" fmla="*/ 3611214 w 5047599"/>
              <a:gd name="connsiteY1250" fmla="*/ 3356358 h 4588585"/>
              <a:gd name="connsiteX1251" fmla="*/ 3596940 w 5047599"/>
              <a:gd name="connsiteY1251" fmla="*/ 3358512 h 4588585"/>
              <a:gd name="connsiteX1252" fmla="*/ 3594808 w 5047599"/>
              <a:gd name="connsiteY1252" fmla="*/ 3360518 h 4588585"/>
              <a:gd name="connsiteX1253" fmla="*/ 3592971 w 5047599"/>
              <a:gd name="connsiteY1253" fmla="*/ 3363853 h 4588585"/>
              <a:gd name="connsiteX1254" fmla="*/ 3590078 w 5047599"/>
              <a:gd name="connsiteY1254" fmla="*/ 3371772 h 4588585"/>
              <a:gd name="connsiteX1255" fmla="*/ 3586679 w 5047599"/>
              <a:gd name="connsiteY1255" fmla="*/ 3379753 h 4588585"/>
              <a:gd name="connsiteX1256" fmla="*/ 3585602 w 5047599"/>
              <a:gd name="connsiteY1256" fmla="*/ 3383174 h 4588585"/>
              <a:gd name="connsiteX1257" fmla="*/ 3586256 w 5047599"/>
              <a:gd name="connsiteY1257" fmla="*/ 3383975 h 4588585"/>
              <a:gd name="connsiteX1258" fmla="*/ 3589317 w 5047599"/>
              <a:gd name="connsiteY1258" fmla="*/ 3388051 h 4588585"/>
              <a:gd name="connsiteX1259" fmla="*/ 3592358 w 5047599"/>
              <a:gd name="connsiteY1259" fmla="*/ 3398482 h 4588585"/>
              <a:gd name="connsiteX1260" fmla="*/ 3592907 w 5047599"/>
              <a:gd name="connsiteY1260" fmla="*/ 3416366 h 4588585"/>
              <a:gd name="connsiteX1261" fmla="*/ 3591851 w 5047599"/>
              <a:gd name="connsiteY1261" fmla="*/ 3417695 h 4588585"/>
              <a:gd name="connsiteX1262" fmla="*/ 3587628 w 5047599"/>
              <a:gd name="connsiteY1262" fmla="*/ 3418477 h 4588585"/>
              <a:gd name="connsiteX1263" fmla="*/ 3583162 w 5047599"/>
              <a:gd name="connsiteY1263" fmla="*/ 3418248 h 4588585"/>
              <a:gd name="connsiteX1264" fmla="*/ 3583194 w 5047599"/>
              <a:gd name="connsiteY1264" fmla="*/ 3418266 h 4588585"/>
              <a:gd name="connsiteX1265" fmla="*/ 3587734 w 5047599"/>
              <a:gd name="connsiteY1265" fmla="*/ 3418497 h 4588585"/>
              <a:gd name="connsiteX1266" fmla="*/ 3591957 w 5047599"/>
              <a:gd name="connsiteY1266" fmla="*/ 3417717 h 4588585"/>
              <a:gd name="connsiteX1267" fmla="*/ 3593013 w 5047599"/>
              <a:gd name="connsiteY1267" fmla="*/ 3416365 h 4588585"/>
              <a:gd name="connsiteX1268" fmla="*/ 3592464 w 5047599"/>
              <a:gd name="connsiteY1268" fmla="*/ 3398481 h 4588585"/>
              <a:gd name="connsiteX1269" fmla="*/ 3589423 w 5047599"/>
              <a:gd name="connsiteY1269" fmla="*/ 3388050 h 4588585"/>
              <a:gd name="connsiteX1270" fmla="*/ 3586362 w 5047599"/>
              <a:gd name="connsiteY1270" fmla="*/ 3383975 h 4588585"/>
              <a:gd name="connsiteX1271" fmla="*/ 3585707 w 5047599"/>
              <a:gd name="connsiteY1271" fmla="*/ 3383173 h 4588585"/>
              <a:gd name="connsiteX1272" fmla="*/ 3586783 w 5047599"/>
              <a:gd name="connsiteY1272" fmla="*/ 3379753 h 4588585"/>
              <a:gd name="connsiteX1273" fmla="*/ 3590183 w 5047599"/>
              <a:gd name="connsiteY1273" fmla="*/ 3371771 h 4588585"/>
              <a:gd name="connsiteX1274" fmla="*/ 3593075 w 5047599"/>
              <a:gd name="connsiteY1274" fmla="*/ 3363853 h 4588585"/>
              <a:gd name="connsiteX1275" fmla="*/ 3594913 w 5047599"/>
              <a:gd name="connsiteY1275" fmla="*/ 3360538 h 4588585"/>
              <a:gd name="connsiteX1276" fmla="*/ 3597046 w 5047599"/>
              <a:gd name="connsiteY1276" fmla="*/ 3358512 h 4588585"/>
              <a:gd name="connsiteX1277" fmla="*/ 3611319 w 5047599"/>
              <a:gd name="connsiteY1277" fmla="*/ 3356379 h 4588585"/>
              <a:gd name="connsiteX1278" fmla="*/ 3617822 w 5047599"/>
              <a:gd name="connsiteY1278" fmla="*/ 3354520 h 4588585"/>
              <a:gd name="connsiteX1279" fmla="*/ 3620567 w 5047599"/>
              <a:gd name="connsiteY1279" fmla="*/ 3352219 h 4588585"/>
              <a:gd name="connsiteX1280" fmla="*/ 3622699 w 5047599"/>
              <a:gd name="connsiteY1280" fmla="*/ 3346075 h 4588585"/>
              <a:gd name="connsiteX1281" fmla="*/ 3624410 w 5047599"/>
              <a:gd name="connsiteY1281" fmla="*/ 3328950 h 4588585"/>
              <a:gd name="connsiteX1282" fmla="*/ 3625022 w 5047599"/>
              <a:gd name="connsiteY1282" fmla="*/ 3312883 h 4588585"/>
              <a:gd name="connsiteX1283" fmla="*/ 3623544 w 5047599"/>
              <a:gd name="connsiteY1283" fmla="*/ 3303487 h 4588585"/>
              <a:gd name="connsiteX1284" fmla="*/ 3625592 w 5047599"/>
              <a:gd name="connsiteY1284" fmla="*/ 3289318 h 4588585"/>
              <a:gd name="connsiteX1285" fmla="*/ 3628718 w 5047599"/>
              <a:gd name="connsiteY1285" fmla="*/ 3280556 h 4588585"/>
              <a:gd name="connsiteX1286" fmla="*/ 3627176 w 5047599"/>
              <a:gd name="connsiteY1286" fmla="*/ 3278846 h 4588585"/>
              <a:gd name="connsiteX1287" fmla="*/ 3626015 w 5047599"/>
              <a:gd name="connsiteY1287" fmla="*/ 3267043 h 4588585"/>
              <a:gd name="connsiteX1288" fmla="*/ 3616724 w 5047599"/>
              <a:gd name="connsiteY1288" fmla="*/ 3254480 h 4588585"/>
              <a:gd name="connsiteX1289" fmla="*/ 3604773 w 5047599"/>
              <a:gd name="connsiteY1289" fmla="*/ 3238327 h 4588585"/>
              <a:gd name="connsiteX1290" fmla="*/ 3598080 w 5047599"/>
              <a:gd name="connsiteY1290" fmla="*/ 3229649 h 4588585"/>
              <a:gd name="connsiteX1291" fmla="*/ 3590479 w 5047599"/>
              <a:gd name="connsiteY1291" fmla="*/ 3219767 h 4588585"/>
              <a:gd name="connsiteX1292" fmla="*/ 3576628 w 5047599"/>
              <a:gd name="connsiteY1292" fmla="*/ 3204311 h 4588585"/>
              <a:gd name="connsiteX1293" fmla="*/ 3570294 w 5047599"/>
              <a:gd name="connsiteY1293" fmla="*/ 3198737 h 4588585"/>
              <a:gd name="connsiteX1294" fmla="*/ 3566957 w 5047599"/>
              <a:gd name="connsiteY1294" fmla="*/ 3196541 h 4588585"/>
              <a:gd name="connsiteX1295" fmla="*/ 3555766 w 5047599"/>
              <a:gd name="connsiteY1295" fmla="*/ 3194767 h 4588585"/>
              <a:gd name="connsiteX1296" fmla="*/ 3552789 w 5047599"/>
              <a:gd name="connsiteY1296" fmla="*/ 3191790 h 4588585"/>
              <a:gd name="connsiteX1297" fmla="*/ 3549960 w 5047599"/>
              <a:gd name="connsiteY1297" fmla="*/ 3187061 h 4588585"/>
              <a:gd name="connsiteX1298" fmla="*/ 3548883 w 5047599"/>
              <a:gd name="connsiteY1298" fmla="*/ 3178319 h 4588585"/>
              <a:gd name="connsiteX1299" fmla="*/ 3548693 w 5047599"/>
              <a:gd name="connsiteY1299" fmla="*/ 3171774 h 4588585"/>
              <a:gd name="connsiteX1300" fmla="*/ 3547426 w 5047599"/>
              <a:gd name="connsiteY1300" fmla="*/ 3160668 h 4588585"/>
              <a:gd name="connsiteX1301" fmla="*/ 3545167 w 5047599"/>
              <a:gd name="connsiteY1301" fmla="*/ 3144958 h 4588585"/>
              <a:gd name="connsiteX1302" fmla="*/ 3544153 w 5047599"/>
              <a:gd name="connsiteY1302" fmla="*/ 3140334 h 4588585"/>
              <a:gd name="connsiteX1303" fmla="*/ 3540965 w 5047599"/>
              <a:gd name="connsiteY1303" fmla="*/ 3128531 h 4588585"/>
              <a:gd name="connsiteX1304" fmla="*/ 3537924 w 5047599"/>
              <a:gd name="connsiteY1304" fmla="*/ 3117298 h 4588585"/>
              <a:gd name="connsiteX1305" fmla="*/ 3537755 w 5047599"/>
              <a:gd name="connsiteY1305" fmla="*/ 3114511 h 4588585"/>
              <a:gd name="connsiteX1306" fmla="*/ 3538833 w 5047599"/>
              <a:gd name="connsiteY1306" fmla="*/ 3111830 h 4588585"/>
              <a:gd name="connsiteX1307" fmla="*/ 3543984 w 5047599"/>
              <a:gd name="connsiteY1307" fmla="*/ 3103573 h 4588585"/>
              <a:gd name="connsiteX1308" fmla="*/ 3547638 w 5047599"/>
              <a:gd name="connsiteY1308" fmla="*/ 3097704 h 4588585"/>
              <a:gd name="connsiteX1309" fmla="*/ 3549369 w 5047599"/>
              <a:gd name="connsiteY1309" fmla="*/ 3094515 h 4588585"/>
              <a:gd name="connsiteX1310" fmla="*/ 3552472 w 5047599"/>
              <a:gd name="connsiteY1310" fmla="*/ 3085795 h 4588585"/>
              <a:gd name="connsiteX1311" fmla="*/ 3553211 w 5047599"/>
              <a:gd name="connsiteY1311" fmla="*/ 3081572 h 4588585"/>
              <a:gd name="connsiteX1312" fmla="*/ 3555640 w 5047599"/>
              <a:gd name="connsiteY1312" fmla="*/ 3079672 h 4588585"/>
              <a:gd name="connsiteX1313" fmla="*/ 3565522 w 5047599"/>
              <a:gd name="connsiteY1313" fmla="*/ 3078892 h 4588585"/>
              <a:gd name="connsiteX1314" fmla="*/ 4304406 w 5047599"/>
              <a:gd name="connsiteY1314" fmla="*/ 3077603 h 4588585"/>
              <a:gd name="connsiteX1315" fmla="*/ 4304765 w 5047599"/>
              <a:gd name="connsiteY1315" fmla="*/ 3078848 h 4588585"/>
              <a:gd name="connsiteX1316" fmla="*/ 4304343 w 5047599"/>
              <a:gd name="connsiteY1316" fmla="*/ 3079017 h 4588585"/>
              <a:gd name="connsiteX1317" fmla="*/ 4303520 w 5047599"/>
              <a:gd name="connsiteY1317" fmla="*/ 3078827 h 4588585"/>
              <a:gd name="connsiteX1318" fmla="*/ 4303351 w 5047599"/>
              <a:gd name="connsiteY1318" fmla="*/ 3077793 h 4588585"/>
              <a:gd name="connsiteX1319" fmla="*/ 3470611 w 5047599"/>
              <a:gd name="connsiteY1319" fmla="*/ 3076397 h 4588585"/>
              <a:gd name="connsiteX1320" fmla="*/ 3470610 w 5047599"/>
              <a:gd name="connsiteY1320" fmla="*/ 3076420 h 4588585"/>
              <a:gd name="connsiteX1321" fmla="*/ 3472004 w 5047599"/>
              <a:gd name="connsiteY1321" fmla="*/ 3079017 h 4588585"/>
              <a:gd name="connsiteX1322" fmla="*/ 3474279 w 5047599"/>
              <a:gd name="connsiteY1322" fmla="*/ 3081039 h 4588585"/>
              <a:gd name="connsiteX1323" fmla="*/ 3474264 w 5047599"/>
              <a:gd name="connsiteY1323" fmla="*/ 3080960 h 4588585"/>
              <a:gd name="connsiteX1324" fmla="*/ 3471984 w 5047599"/>
              <a:gd name="connsiteY1324" fmla="*/ 3078933 h 4588585"/>
              <a:gd name="connsiteX1325" fmla="*/ 3622277 w 5047599"/>
              <a:gd name="connsiteY1325" fmla="*/ 3071521 h 4588585"/>
              <a:gd name="connsiteX1326" fmla="*/ 3617500 w 5047599"/>
              <a:gd name="connsiteY1326" fmla="*/ 3076299 h 4588585"/>
              <a:gd name="connsiteX1327" fmla="*/ 3617569 w 5047599"/>
              <a:gd name="connsiteY1327" fmla="*/ 3076251 h 4588585"/>
              <a:gd name="connsiteX1328" fmla="*/ 3622299 w 5047599"/>
              <a:gd name="connsiteY1328" fmla="*/ 3071522 h 4588585"/>
              <a:gd name="connsiteX1329" fmla="*/ 2999883 w 5047599"/>
              <a:gd name="connsiteY1329" fmla="*/ 3068572 h 4588585"/>
              <a:gd name="connsiteX1330" fmla="*/ 2999881 w 5047599"/>
              <a:gd name="connsiteY1330" fmla="*/ 3068587 h 4588585"/>
              <a:gd name="connsiteX1331" fmla="*/ 3002140 w 5047599"/>
              <a:gd name="connsiteY1331" fmla="*/ 3077560 h 4588585"/>
              <a:gd name="connsiteX1332" fmla="*/ 3003829 w 5047599"/>
              <a:gd name="connsiteY1332" fmla="*/ 3081741 h 4588585"/>
              <a:gd name="connsiteX1333" fmla="*/ 3007630 w 5047599"/>
              <a:gd name="connsiteY1333" fmla="*/ 3084803 h 4588585"/>
              <a:gd name="connsiteX1334" fmla="*/ 3010396 w 5047599"/>
              <a:gd name="connsiteY1334" fmla="*/ 3086386 h 4588585"/>
              <a:gd name="connsiteX1335" fmla="*/ 3011928 w 5047599"/>
              <a:gd name="connsiteY1335" fmla="*/ 3088014 h 4588585"/>
              <a:gd name="connsiteX1336" fmla="*/ 3010397 w 5047599"/>
              <a:gd name="connsiteY1336" fmla="*/ 3086386 h 4588585"/>
              <a:gd name="connsiteX1337" fmla="*/ 3007631 w 5047599"/>
              <a:gd name="connsiteY1337" fmla="*/ 3084782 h 4588585"/>
              <a:gd name="connsiteX1338" fmla="*/ 3003830 w 5047599"/>
              <a:gd name="connsiteY1338" fmla="*/ 3081741 h 4588585"/>
              <a:gd name="connsiteX1339" fmla="*/ 3002140 w 5047599"/>
              <a:gd name="connsiteY1339" fmla="*/ 3077560 h 4588585"/>
              <a:gd name="connsiteX1340" fmla="*/ 4070055 w 5047599"/>
              <a:gd name="connsiteY1340" fmla="*/ 3066370 h 4588585"/>
              <a:gd name="connsiteX1341" fmla="*/ 4073117 w 5047599"/>
              <a:gd name="connsiteY1341" fmla="*/ 3068798 h 4588585"/>
              <a:gd name="connsiteX1342" fmla="*/ 4072314 w 5047599"/>
              <a:gd name="connsiteY1342" fmla="*/ 3081213 h 4588585"/>
              <a:gd name="connsiteX1343" fmla="*/ 4076347 w 5047599"/>
              <a:gd name="connsiteY1343" fmla="*/ 3089575 h 4588585"/>
              <a:gd name="connsiteX1344" fmla="*/ 4078944 w 5047599"/>
              <a:gd name="connsiteY1344" fmla="*/ 3096226 h 4588585"/>
              <a:gd name="connsiteX1345" fmla="*/ 4077382 w 5047599"/>
              <a:gd name="connsiteY1345" fmla="*/ 3098569 h 4588585"/>
              <a:gd name="connsiteX1346" fmla="*/ 4076263 w 5047599"/>
              <a:gd name="connsiteY1346" fmla="*/ 3099372 h 4588585"/>
              <a:gd name="connsiteX1347" fmla="*/ 4070858 w 5047599"/>
              <a:gd name="connsiteY1347" fmla="*/ 3095930 h 4588585"/>
              <a:gd name="connsiteX1348" fmla="*/ 4067775 w 5047599"/>
              <a:gd name="connsiteY1348" fmla="*/ 3095107 h 4588585"/>
              <a:gd name="connsiteX1349" fmla="*/ 4063235 w 5047599"/>
              <a:gd name="connsiteY1349" fmla="*/ 3089533 h 4588585"/>
              <a:gd name="connsiteX1350" fmla="*/ 4064987 w 5047599"/>
              <a:gd name="connsiteY1350" fmla="*/ 3070212 h 4588585"/>
              <a:gd name="connsiteX1351" fmla="*/ 4066445 w 5047599"/>
              <a:gd name="connsiteY1351" fmla="*/ 3067742 h 4588585"/>
              <a:gd name="connsiteX1352" fmla="*/ 4067542 w 5047599"/>
              <a:gd name="connsiteY1352" fmla="*/ 3066750 h 4588585"/>
              <a:gd name="connsiteX1353" fmla="*/ 3566806 w 5047599"/>
              <a:gd name="connsiteY1353" fmla="*/ 3065379 h 4588585"/>
              <a:gd name="connsiteX1354" fmla="*/ 3569111 w 5047599"/>
              <a:gd name="connsiteY1354" fmla="*/ 3067847 h 4588585"/>
              <a:gd name="connsiteX1355" fmla="*/ 3571856 w 5047599"/>
              <a:gd name="connsiteY1355" fmla="*/ 3072070 h 4588585"/>
              <a:gd name="connsiteX1356" fmla="*/ 3572764 w 5047599"/>
              <a:gd name="connsiteY1356" fmla="*/ 3076927 h 4588585"/>
              <a:gd name="connsiteX1357" fmla="*/ 3573312 w 5047599"/>
              <a:gd name="connsiteY1357" fmla="*/ 3079018 h 4588585"/>
              <a:gd name="connsiteX1358" fmla="*/ 3573312 w 5047599"/>
              <a:gd name="connsiteY1358" fmla="*/ 3079036 h 4588585"/>
              <a:gd name="connsiteX1359" fmla="*/ 3573324 w 5047599"/>
              <a:gd name="connsiteY1359" fmla="*/ 3079036 h 4588585"/>
              <a:gd name="connsiteX1360" fmla="*/ 3572911 w 5047599"/>
              <a:gd name="connsiteY1360" fmla="*/ 3077011 h 4588585"/>
              <a:gd name="connsiteX1361" fmla="*/ 3572004 w 5047599"/>
              <a:gd name="connsiteY1361" fmla="*/ 3072155 h 4588585"/>
              <a:gd name="connsiteX1362" fmla="*/ 3569259 w 5047599"/>
              <a:gd name="connsiteY1362" fmla="*/ 3067932 h 4588585"/>
              <a:gd name="connsiteX1363" fmla="*/ 3566894 w 5047599"/>
              <a:gd name="connsiteY1363" fmla="*/ 3065398 h 4588585"/>
              <a:gd name="connsiteX1364" fmla="*/ 3746785 w 5047599"/>
              <a:gd name="connsiteY1364" fmla="*/ 3063235 h 4588585"/>
              <a:gd name="connsiteX1365" fmla="*/ 3746706 w 5047599"/>
              <a:gd name="connsiteY1365" fmla="*/ 3063287 h 4588585"/>
              <a:gd name="connsiteX1366" fmla="*/ 3744911 w 5047599"/>
              <a:gd name="connsiteY1366" fmla="*/ 3067066 h 4588585"/>
              <a:gd name="connsiteX1367" fmla="*/ 3743391 w 5047599"/>
              <a:gd name="connsiteY1367" fmla="*/ 3073252 h 4588585"/>
              <a:gd name="connsiteX1368" fmla="*/ 3737247 w 5047599"/>
              <a:gd name="connsiteY1368" fmla="*/ 3079187 h 4588585"/>
              <a:gd name="connsiteX1369" fmla="*/ 3737289 w 5047599"/>
              <a:gd name="connsiteY1369" fmla="*/ 3079165 h 4588585"/>
              <a:gd name="connsiteX1370" fmla="*/ 3743475 w 5047599"/>
              <a:gd name="connsiteY1370" fmla="*/ 3073190 h 4588585"/>
              <a:gd name="connsiteX1371" fmla="*/ 3744996 w 5047599"/>
              <a:gd name="connsiteY1371" fmla="*/ 3067003 h 4588585"/>
              <a:gd name="connsiteX1372" fmla="*/ 2946323 w 5047599"/>
              <a:gd name="connsiteY1372" fmla="*/ 3063228 h 4588585"/>
              <a:gd name="connsiteX1373" fmla="*/ 2946271 w 5047599"/>
              <a:gd name="connsiteY1373" fmla="*/ 3063413 h 4588585"/>
              <a:gd name="connsiteX1374" fmla="*/ 2943737 w 5047599"/>
              <a:gd name="connsiteY1374" fmla="*/ 3066539 h 4588585"/>
              <a:gd name="connsiteX1375" fmla="*/ 2946271 w 5047599"/>
              <a:gd name="connsiteY1375" fmla="*/ 3063414 h 4588585"/>
              <a:gd name="connsiteX1376" fmla="*/ 2925331 w 5047599"/>
              <a:gd name="connsiteY1376" fmla="*/ 3062692 h 4588585"/>
              <a:gd name="connsiteX1377" fmla="*/ 2925389 w 5047599"/>
              <a:gd name="connsiteY1377" fmla="*/ 3063202 h 4588585"/>
              <a:gd name="connsiteX1378" fmla="*/ 2926318 w 5047599"/>
              <a:gd name="connsiteY1378" fmla="*/ 3066729 h 4588585"/>
              <a:gd name="connsiteX1379" fmla="*/ 2926635 w 5047599"/>
              <a:gd name="connsiteY1379" fmla="*/ 3068629 h 4588585"/>
              <a:gd name="connsiteX1380" fmla="*/ 2925601 w 5047599"/>
              <a:gd name="connsiteY1380" fmla="*/ 3070656 h 4588585"/>
              <a:gd name="connsiteX1381" fmla="*/ 2924946 w 5047599"/>
              <a:gd name="connsiteY1381" fmla="*/ 3074339 h 4588585"/>
              <a:gd name="connsiteX1382" fmla="*/ 2925621 w 5047599"/>
              <a:gd name="connsiteY1382" fmla="*/ 3070635 h 4588585"/>
              <a:gd name="connsiteX1383" fmla="*/ 2926655 w 5047599"/>
              <a:gd name="connsiteY1383" fmla="*/ 3068608 h 4588585"/>
              <a:gd name="connsiteX1384" fmla="*/ 2926317 w 5047599"/>
              <a:gd name="connsiteY1384" fmla="*/ 3066708 h 4588585"/>
              <a:gd name="connsiteX1385" fmla="*/ 2925389 w 5047599"/>
              <a:gd name="connsiteY1385" fmla="*/ 3063181 h 4588585"/>
              <a:gd name="connsiteX1386" fmla="*/ 2975598 w 5047599"/>
              <a:gd name="connsiteY1386" fmla="*/ 3062263 h 4588585"/>
              <a:gd name="connsiteX1387" fmla="*/ 2971651 w 5047599"/>
              <a:gd name="connsiteY1387" fmla="*/ 3063499 h 4588585"/>
              <a:gd name="connsiteX1388" fmla="*/ 2967027 w 5047599"/>
              <a:gd name="connsiteY1388" fmla="*/ 3064512 h 4588585"/>
              <a:gd name="connsiteX1389" fmla="*/ 2963658 w 5047599"/>
              <a:gd name="connsiteY1389" fmla="*/ 3065394 h 4588585"/>
              <a:gd name="connsiteX1390" fmla="*/ 2967027 w 5047599"/>
              <a:gd name="connsiteY1390" fmla="*/ 3064533 h 4588585"/>
              <a:gd name="connsiteX1391" fmla="*/ 2971650 w 5047599"/>
              <a:gd name="connsiteY1391" fmla="*/ 3063519 h 4588585"/>
              <a:gd name="connsiteX1392" fmla="*/ 3748801 w 5047599"/>
              <a:gd name="connsiteY1392" fmla="*/ 3061932 h 4588585"/>
              <a:gd name="connsiteX1393" fmla="*/ 3748775 w 5047599"/>
              <a:gd name="connsiteY1393" fmla="*/ 3061935 h 4588585"/>
              <a:gd name="connsiteX1394" fmla="*/ 3747554 w 5047599"/>
              <a:gd name="connsiteY1394" fmla="*/ 3062733 h 4588585"/>
              <a:gd name="connsiteX1395" fmla="*/ 2994030 w 5047599"/>
              <a:gd name="connsiteY1395" fmla="*/ 3058797 h 4588585"/>
              <a:gd name="connsiteX1396" fmla="*/ 2987635 w 5047599"/>
              <a:gd name="connsiteY1396" fmla="*/ 3059824 h 4588585"/>
              <a:gd name="connsiteX1397" fmla="*/ 2976404 w 5047599"/>
              <a:gd name="connsiteY1397" fmla="*/ 3062074 h 4588585"/>
              <a:gd name="connsiteX1398" fmla="*/ 2987634 w 5047599"/>
              <a:gd name="connsiteY1398" fmla="*/ 3059845 h 4588585"/>
              <a:gd name="connsiteX1399" fmla="*/ 3800624 w 5047599"/>
              <a:gd name="connsiteY1399" fmla="*/ 3057954 h 4588585"/>
              <a:gd name="connsiteX1400" fmla="*/ 3800590 w 5047599"/>
              <a:gd name="connsiteY1400" fmla="*/ 3057965 h 4588585"/>
              <a:gd name="connsiteX1401" fmla="*/ 3795225 w 5047599"/>
              <a:gd name="connsiteY1401" fmla="*/ 3061293 h 4588585"/>
              <a:gd name="connsiteX1402" fmla="*/ 2828554 w 5047599"/>
              <a:gd name="connsiteY1402" fmla="*/ 3053810 h 4588585"/>
              <a:gd name="connsiteX1403" fmla="*/ 2824027 w 5047599"/>
              <a:gd name="connsiteY1403" fmla="*/ 3056104 h 4588585"/>
              <a:gd name="connsiteX1404" fmla="*/ 2824060 w 5047599"/>
              <a:gd name="connsiteY1404" fmla="*/ 3056107 h 4588585"/>
              <a:gd name="connsiteX1405" fmla="*/ 2834207 w 5047599"/>
              <a:gd name="connsiteY1405" fmla="*/ 3049359 h 4588585"/>
              <a:gd name="connsiteX1406" fmla="*/ 2834174 w 5047599"/>
              <a:gd name="connsiteY1406" fmla="*/ 3049373 h 4588585"/>
              <a:gd name="connsiteX1407" fmla="*/ 2828643 w 5047599"/>
              <a:gd name="connsiteY1407" fmla="*/ 3053764 h 4588585"/>
              <a:gd name="connsiteX1408" fmla="*/ 2828684 w 5047599"/>
              <a:gd name="connsiteY1408" fmla="*/ 3053743 h 4588585"/>
              <a:gd name="connsiteX1409" fmla="*/ 2839325 w 5047599"/>
              <a:gd name="connsiteY1409" fmla="*/ 3047540 h 4588585"/>
              <a:gd name="connsiteX1410" fmla="*/ 2844901 w 5047599"/>
              <a:gd name="connsiteY1410" fmla="*/ 3047746 h 4588585"/>
              <a:gd name="connsiteX1411" fmla="*/ 2850832 w 5047599"/>
              <a:gd name="connsiteY1411" fmla="*/ 3048588 h 4588585"/>
              <a:gd name="connsiteX1412" fmla="*/ 2844858 w 5047599"/>
              <a:gd name="connsiteY1412" fmla="*/ 3047725 h 4588585"/>
              <a:gd name="connsiteX1413" fmla="*/ 2838608 w 5047599"/>
              <a:gd name="connsiteY1413" fmla="*/ 3047515 h 4588585"/>
              <a:gd name="connsiteX1414" fmla="*/ 2834947 w 5047599"/>
              <a:gd name="connsiteY1414" fmla="*/ 3049049 h 4588585"/>
              <a:gd name="connsiteX1415" fmla="*/ 2838645 w 5047599"/>
              <a:gd name="connsiteY1415" fmla="*/ 3047517 h 4588585"/>
              <a:gd name="connsiteX1416" fmla="*/ 3838862 w 5047599"/>
              <a:gd name="connsiteY1416" fmla="*/ 3046213 h 4588585"/>
              <a:gd name="connsiteX1417" fmla="*/ 3838787 w 5047599"/>
              <a:gd name="connsiteY1417" fmla="*/ 3046247 h 4588585"/>
              <a:gd name="connsiteX1418" fmla="*/ 3831901 w 5047599"/>
              <a:gd name="connsiteY1418" fmla="*/ 3051505 h 4588585"/>
              <a:gd name="connsiteX1419" fmla="*/ 3831903 w 5047599"/>
              <a:gd name="connsiteY1419" fmla="*/ 3051504 h 4588585"/>
              <a:gd name="connsiteX1420" fmla="*/ 2934975 w 5047599"/>
              <a:gd name="connsiteY1420" fmla="*/ 3045952 h 4588585"/>
              <a:gd name="connsiteX1421" fmla="*/ 2942829 w 5047599"/>
              <a:gd name="connsiteY1421" fmla="*/ 3048465 h 4588585"/>
              <a:gd name="connsiteX1422" fmla="*/ 2945553 w 5047599"/>
              <a:gd name="connsiteY1422" fmla="*/ 3051969 h 4588585"/>
              <a:gd name="connsiteX1423" fmla="*/ 2947345 w 5047599"/>
              <a:gd name="connsiteY1423" fmla="*/ 3059540 h 4588585"/>
              <a:gd name="connsiteX1424" fmla="*/ 2947348 w 5047599"/>
              <a:gd name="connsiteY1424" fmla="*/ 3059529 h 4588585"/>
              <a:gd name="connsiteX1425" fmla="*/ 2945554 w 5047599"/>
              <a:gd name="connsiteY1425" fmla="*/ 3051949 h 4588585"/>
              <a:gd name="connsiteX1426" fmla="*/ 2942830 w 5047599"/>
              <a:gd name="connsiteY1426" fmla="*/ 3048465 h 4588585"/>
              <a:gd name="connsiteX1427" fmla="*/ 3474562 w 5047599"/>
              <a:gd name="connsiteY1427" fmla="*/ 3042959 h 4588585"/>
              <a:gd name="connsiteX1428" fmla="*/ 3474580 w 5047599"/>
              <a:gd name="connsiteY1428" fmla="*/ 3043017 h 4588585"/>
              <a:gd name="connsiteX1429" fmla="*/ 3477261 w 5047599"/>
              <a:gd name="connsiteY1429" fmla="*/ 3049287 h 4588585"/>
              <a:gd name="connsiteX1430" fmla="*/ 3479658 w 5047599"/>
              <a:gd name="connsiteY1430" fmla="*/ 3053624 h 4588585"/>
              <a:gd name="connsiteX1431" fmla="*/ 3479669 w 5047599"/>
              <a:gd name="connsiteY1431" fmla="*/ 3053596 h 4588585"/>
              <a:gd name="connsiteX1432" fmla="*/ 3477241 w 5047599"/>
              <a:gd name="connsiteY1432" fmla="*/ 3049204 h 4588585"/>
              <a:gd name="connsiteX1433" fmla="*/ 2892112 w 5047599"/>
              <a:gd name="connsiteY1433" fmla="*/ 3042278 h 4588585"/>
              <a:gd name="connsiteX1434" fmla="*/ 2888333 w 5047599"/>
              <a:gd name="connsiteY1434" fmla="*/ 3042722 h 4588585"/>
              <a:gd name="connsiteX1435" fmla="*/ 2873890 w 5047599"/>
              <a:gd name="connsiteY1435" fmla="*/ 3048655 h 4588585"/>
              <a:gd name="connsiteX1436" fmla="*/ 2869147 w 5047599"/>
              <a:gd name="connsiteY1436" fmla="*/ 3049435 h 4588585"/>
              <a:gd name="connsiteX1437" fmla="*/ 2869182 w 5047599"/>
              <a:gd name="connsiteY1437" fmla="*/ 3049436 h 4588585"/>
              <a:gd name="connsiteX1438" fmla="*/ 2873954 w 5047599"/>
              <a:gd name="connsiteY1438" fmla="*/ 3048655 h 4588585"/>
              <a:gd name="connsiteX1439" fmla="*/ 2888375 w 5047599"/>
              <a:gd name="connsiteY1439" fmla="*/ 3042742 h 4588585"/>
              <a:gd name="connsiteX1440" fmla="*/ 2892155 w 5047599"/>
              <a:gd name="connsiteY1440" fmla="*/ 3042299 h 4588585"/>
              <a:gd name="connsiteX1441" fmla="*/ 2896293 w 5047599"/>
              <a:gd name="connsiteY1441" fmla="*/ 3042698 h 4588585"/>
              <a:gd name="connsiteX1442" fmla="*/ 3191487 w 5047599"/>
              <a:gd name="connsiteY1442" fmla="*/ 3040555 h 4588585"/>
              <a:gd name="connsiteX1443" fmla="*/ 3188773 w 5047599"/>
              <a:gd name="connsiteY1443" fmla="*/ 3050745 h 4588585"/>
              <a:gd name="connsiteX1444" fmla="*/ 3184867 w 5047599"/>
              <a:gd name="connsiteY1444" fmla="*/ 3065525 h 4588585"/>
              <a:gd name="connsiteX1445" fmla="*/ 3188773 w 5047599"/>
              <a:gd name="connsiteY1445" fmla="*/ 3050766 h 4588585"/>
              <a:gd name="connsiteX1446" fmla="*/ 3472693 w 5047599"/>
              <a:gd name="connsiteY1446" fmla="*/ 3037700 h 4588585"/>
              <a:gd name="connsiteX1447" fmla="*/ 3472680 w 5047599"/>
              <a:gd name="connsiteY1447" fmla="*/ 3037716 h 4588585"/>
              <a:gd name="connsiteX1448" fmla="*/ 3473355 w 5047599"/>
              <a:gd name="connsiteY1448" fmla="*/ 3039047 h 4588585"/>
              <a:gd name="connsiteX1449" fmla="*/ 3474435 w 5047599"/>
              <a:gd name="connsiteY1449" fmla="*/ 3042549 h 4588585"/>
              <a:gd name="connsiteX1450" fmla="*/ 3473335 w 5047599"/>
              <a:gd name="connsiteY1450" fmla="*/ 3038963 h 4588585"/>
              <a:gd name="connsiteX1451" fmla="*/ 2923534 w 5047599"/>
              <a:gd name="connsiteY1451" fmla="*/ 3036770 h 4588585"/>
              <a:gd name="connsiteX1452" fmla="*/ 2924037 w 5047599"/>
              <a:gd name="connsiteY1452" fmla="*/ 3036872 h 4588585"/>
              <a:gd name="connsiteX1453" fmla="*/ 2928514 w 5047599"/>
              <a:gd name="connsiteY1453" fmla="*/ 3037612 h 4588585"/>
              <a:gd name="connsiteX1454" fmla="*/ 2924038 w 5047599"/>
              <a:gd name="connsiteY1454" fmla="*/ 3036872 h 4588585"/>
              <a:gd name="connsiteX1455" fmla="*/ 2921884 w 5047599"/>
              <a:gd name="connsiteY1455" fmla="*/ 3036430 h 4588585"/>
              <a:gd name="connsiteX1456" fmla="*/ 2919646 w 5047599"/>
              <a:gd name="connsiteY1456" fmla="*/ 3037612 h 4588585"/>
              <a:gd name="connsiteX1457" fmla="*/ 2918379 w 5047599"/>
              <a:gd name="connsiteY1457" fmla="*/ 3040737 h 4588585"/>
              <a:gd name="connsiteX1458" fmla="*/ 2918020 w 5047599"/>
              <a:gd name="connsiteY1458" fmla="*/ 3043122 h 4588585"/>
              <a:gd name="connsiteX1459" fmla="*/ 2914036 w 5047599"/>
              <a:gd name="connsiteY1459" fmla="*/ 3044957 h 4588585"/>
              <a:gd name="connsiteX1460" fmla="*/ 2914093 w 5047599"/>
              <a:gd name="connsiteY1460" fmla="*/ 3044959 h 4588585"/>
              <a:gd name="connsiteX1461" fmla="*/ 2918062 w 5047599"/>
              <a:gd name="connsiteY1461" fmla="*/ 3043143 h 4588585"/>
              <a:gd name="connsiteX1462" fmla="*/ 2918422 w 5047599"/>
              <a:gd name="connsiteY1462" fmla="*/ 3040736 h 4588585"/>
              <a:gd name="connsiteX1463" fmla="*/ 2919689 w 5047599"/>
              <a:gd name="connsiteY1463" fmla="*/ 3037612 h 4588585"/>
              <a:gd name="connsiteX1464" fmla="*/ 2921885 w 5047599"/>
              <a:gd name="connsiteY1464" fmla="*/ 3036450 h 4588585"/>
              <a:gd name="connsiteX1465" fmla="*/ 2921885 w 5047599"/>
              <a:gd name="connsiteY1465" fmla="*/ 3036434 h 4588585"/>
              <a:gd name="connsiteX1466" fmla="*/ 3492163 w 5047599"/>
              <a:gd name="connsiteY1466" fmla="*/ 3010412 h 4588585"/>
              <a:gd name="connsiteX1467" fmla="*/ 3494301 w 5047599"/>
              <a:gd name="connsiteY1467" fmla="*/ 3013329 h 4588585"/>
              <a:gd name="connsiteX1468" fmla="*/ 3496370 w 5047599"/>
              <a:gd name="connsiteY1468" fmla="*/ 3017177 h 4588585"/>
              <a:gd name="connsiteX1469" fmla="*/ 3496371 w 5047599"/>
              <a:gd name="connsiteY1469" fmla="*/ 3017173 h 4588585"/>
              <a:gd name="connsiteX1470" fmla="*/ 3494281 w 5047599"/>
              <a:gd name="connsiteY1470" fmla="*/ 3013288 h 4588585"/>
              <a:gd name="connsiteX1471" fmla="*/ 3475661 w 5047599"/>
              <a:gd name="connsiteY1471" fmla="*/ 2986223 h 4588585"/>
              <a:gd name="connsiteX1472" fmla="*/ 3475657 w 5047599"/>
              <a:gd name="connsiteY1472" fmla="*/ 2986239 h 4588585"/>
              <a:gd name="connsiteX1473" fmla="*/ 3480513 w 5047599"/>
              <a:gd name="connsiteY1473" fmla="*/ 2991222 h 4588585"/>
              <a:gd name="connsiteX1474" fmla="*/ 3486826 w 5047599"/>
              <a:gd name="connsiteY1474" fmla="*/ 2995952 h 4588585"/>
              <a:gd name="connsiteX1475" fmla="*/ 3488517 w 5047599"/>
              <a:gd name="connsiteY1475" fmla="*/ 2998041 h 4588585"/>
              <a:gd name="connsiteX1476" fmla="*/ 3488516 w 5047599"/>
              <a:gd name="connsiteY1476" fmla="*/ 2998022 h 4588585"/>
              <a:gd name="connsiteX1477" fmla="*/ 3486806 w 5047599"/>
              <a:gd name="connsiteY1477" fmla="*/ 2995910 h 4588585"/>
              <a:gd name="connsiteX1478" fmla="*/ 3480493 w 5047599"/>
              <a:gd name="connsiteY1478" fmla="*/ 2991181 h 4588585"/>
              <a:gd name="connsiteX1479" fmla="*/ 3469793 w 5047599"/>
              <a:gd name="connsiteY1479" fmla="*/ 2964884 h 4588585"/>
              <a:gd name="connsiteX1480" fmla="*/ 3469808 w 5047599"/>
              <a:gd name="connsiteY1480" fmla="*/ 2964935 h 4588585"/>
              <a:gd name="connsiteX1481" fmla="*/ 3472025 w 5047599"/>
              <a:gd name="connsiteY1481" fmla="*/ 2969517 h 4588585"/>
              <a:gd name="connsiteX1482" fmla="*/ 3475593 w 5047599"/>
              <a:gd name="connsiteY1482" fmla="*/ 2972641 h 4588585"/>
              <a:gd name="connsiteX1483" fmla="*/ 3477976 w 5047599"/>
              <a:gd name="connsiteY1483" fmla="*/ 2975651 h 4588585"/>
              <a:gd name="connsiteX1484" fmla="*/ 3477980 w 5047599"/>
              <a:gd name="connsiteY1484" fmla="*/ 2975620 h 4588585"/>
              <a:gd name="connsiteX1485" fmla="*/ 3475573 w 5047599"/>
              <a:gd name="connsiteY1485" fmla="*/ 2972579 h 4588585"/>
              <a:gd name="connsiteX1486" fmla="*/ 3472005 w 5047599"/>
              <a:gd name="connsiteY1486" fmla="*/ 2969453 h 4588585"/>
              <a:gd name="connsiteX1487" fmla="*/ 3502653 w 5047599"/>
              <a:gd name="connsiteY1487" fmla="*/ 2960605 h 4588585"/>
              <a:gd name="connsiteX1488" fmla="*/ 3507731 w 5047599"/>
              <a:gd name="connsiteY1488" fmla="*/ 2963647 h 4588585"/>
              <a:gd name="connsiteX1489" fmla="*/ 3507742 w 5047599"/>
              <a:gd name="connsiteY1489" fmla="*/ 2963650 h 4588585"/>
              <a:gd name="connsiteX1490" fmla="*/ 3502663 w 5047599"/>
              <a:gd name="connsiteY1490" fmla="*/ 2960606 h 4588585"/>
              <a:gd name="connsiteX1491" fmla="*/ 3463369 w 5047599"/>
              <a:gd name="connsiteY1491" fmla="*/ 2960036 h 4588585"/>
              <a:gd name="connsiteX1492" fmla="*/ 3461468 w 5047599"/>
              <a:gd name="connsiteY1492" fmla="*/ 2962169 h 4588585"/>
              <a:gd name="connsiteX1493" fmla="*/ 3459420 w 5047599"/>
              <a:gd name="connsiteY1493" fmla="*/ 2961980 h 4588585"/>
              <a:gd name="connsiteX1494" fmla="*/ 3456929 w 5047599"/>
              <a:gd name="connsiteY1494" fmla="*/ 2961240 h 4588585"/>
              <a:gd name="connsiteX1495" fmla="*/ 3456876 w 5047599"/>
              <a:gd name="connsiteY1495" fmla="*/ 2961054 h 4588585"/>
              <a:gd name="connsiteX1496" fmla="*/ 3456950 w 5047599"/>
              <a:gd name="connsiteY1496" fmla="*/ 2961325 h 4588585"/>
              <a:gd name="connsiteX1497" fmla="*/ 3459441 w 5047599"/>
              <a:gd name="connsiteY1497" fmla="*/ 2962042 h 4588585"/>
              <a:gd name="connsiteX1498" fmla="*/ 3461490 w 5047599"/>
              <a:gd name="connsiteY1498" fmla="*/ 2962232 h 4588585"/>
              <a:gd name="connsiteX1499" fmla="*/ 3463390 w 5047599"/>
              <a:gd name="connsiteY1499" fmla="*/ 2960100 h 4588585"/>
              <a:gd name="connsiteX1500" fmla="*/ 3465965 w 5047599"/>
              <a:gd name="connsiteY1500" fmla="*/ 2960142 h 4588585"/>
              <a:gd name="connsiteX1501" fmla="*/ 3468793 w 5047599"/>
              <a:gd name="connsiteY1501" fmla="*/ 2961514 h 4588585"/>
              <a:gd name="connsiteX1502" fmla="*/ 3468774 w 5047599"/>
              <a:gd name="connsiteY1502" fmla="*/ 2961451 h 4588585"/>
              <a:gd name="connsiteX1503" fmla="*/ 3465966 w 5047599"/>
              <a:gd name="connsiteY1503" fmla="*/ 2960078 h 4588585"/>
              <a:gd name="connsiteX1504" fmla="*/ 3521666 w 5047599"/>
              <a:gd name="connsiteY1504" fmla="*/ 2956146 h 4588585"/>
              <a:gd name="connsiteX1505" fmla="*/ 3535391 w 5047599"/>
              <a:gd name="connsiteY1505" fmla="*/ 2967743 h 4588585"/>
              <a:gd name="connsiteX1506" fmla="*/ 3535813 w 5047599"/>
              <a:gd name="connsiteY1506" fmla="*/ 2969242 h 4588585"/>
              <a:gd name="connsiteX1507" fmla="*/ 3544597 w 5047599"/>
              <a:gd name="connsiteY1507" fmla="*/ 2980792 h 4588585"/>
              <a:gd name="connsiteX1508" fmla="*/ 3547447 w 5047599"/>
              <a:gd name="connsiteY1508" fmla="*/ 2985670 h 4588585"/>
              <a:gd name="connsiteX1509" fmla="*/ 3547447 w 5047599"/>
              <a:gd name="connsiteY1509" fmla="*/ 2988267 h 4588585"/>
              <a:gd name="connsiteX1510" fmla="*/ 3550150 w 5047599"/>
              <a:gd name="connsiteY1510" fmla="*/ 2998380 h 4588585"/>
              <a:gd name="connsiteX1511" fmla="*/ 3550741 w 5047599"/>
              <a:gd name="connsiteY1511" fmla="*/ 3003110 h 4588585"/>
              <a:gd name="connsiteX1512" fmla="*/ 3550129 w 5047599"/>
              <a:gd name="connsiteY1512" fmla="*/ 3006721 h 4588585"/>
              <a:gd name="connsiteX1513" fmla="*/ 3550235 w 5047599"/>
              <a:gd name="connsiteY1513" fmla="*/ 3009592 h 4588585"/>
              <a:gd name="connsiteX1514" fmla="*/ 3551290 w 5047599"/>
              <a:gd name="connsiteY1514" fmla="*/ 3013710 h 4588585"/>
              <a:gd name="connsiteX1515" fmla="*/ 3550931 w 5047599"/>
              <a:gd name="connsiteY1515" fmla="*/ 3015463 h 4588585"/>
              <a:gd name="connsiteX1516" fmla="*/ 3554056 w 5047599"/>
              <a:gd name="connsiteY1516" fmla="*/ 3021501 h 4588585"/>
              <a:gd name="connsiteX1517" fmla="*/ 3555556 w 5047599"/>
              <a:gd name="connsiteY1517" fmla="*/ 3026590 h 4588585"/>
              <a:gd name="connsiteX1518" fmla="*/ 3555872 w 5047599"/>
              <a:gd name="connsiteY1518" fmla="*/ 3031572 h 4588585"/>
              <a:gd name="connsiteX1519" fmla="*/ 3554986 w 5047599"/>
              <a:gd name="connsiteY1519" fmla="*/ 3036430 h 4588585"/>
              <a:gd name="connsiteX1520" fmla="*/ 3552219 w 5047599"/>
              <a:gd name="connsiteY1520" fmla="*/ 3043502 h 4588585"/>
              <a:gd name="connsiteX1521" fmla="*/ 3551755 w 5047599"/>
              <a:gd name="connsiteY1521" fmla="*/ 3046332 h 4588585"/>
              <a:gd name="connsiteX1522" fmla="*/ 3552367 w 5047599"/>
              <a:gd name="connsiteY1522" fmla="*/ 3048929 h 4588585"/>
              <a:gd name="connsiteX1523" fmla="*/ 3554162 w 5047599"/>
              <a:gd name="connsiteY1523" fmla="*/ 3051759 h 4588585"/>
              <a:gd name="connsiteX1524" fmla="*/ 3557139 w 5047599"/>
              <a:gd name="connsiteY1524" fmla="*/ 3054778 h 4588585"/>
              <a:gd name="connsiteX1525" fmla="*/ 3559377 w 5047599"/>
              <a:gd name="connsiteY1525" fmla="*/ 3058431 h 4588585"/>
              <a:gd name="connsiteX1526" fmla="*/ 3560897 w 5047599"/>
              <a:gd name="connsiteY1526" fmla="*/ 3062738 h 4588585"/>
              <a:gd name="connsiteX1527" fmla="*/ 3562185 w 5047599"/>
              <a:gd name="connsiteY1527" fmla="*/ 3064702 h 4588585"/>
              <a:gd name="connsiteX1528" fmla="*/ 3562276 w 5047599"/>
              <a:gd name="connsiteY1528" fmla="*/ 3064700 h 4588585"/>
              <a:gd name="connsiteX1529" fmla="*/ 3561045 w 5047599"/>
              <a:gd name="connsiteY1529" fmla="*/ 3062822 h 4588585"/>
              <a:gd name="connsiteX1530" fmla="*/ 3559524 w 5047599"/>
              <a:gd name="connsiteY1530" fmla="*/ 3058515 h 4588585"/>
              <a:gd name="connsiteX1531" fmla="*/ 3557287 w 5047599"/>
              <a:gd name="connsiteY1531" fmla="*/ 3054861 h 4588585"/>
              <a:gd name="connsiteX1532" fmla="*/ 3554310 w 5047599"/>
              <a:gd name="connsiteY1532" fmla="*/ 3051842 h 4588585"/>
              <a:gd name="connsiteX1533" fmla="*/ 3552514 w 5047599"/>
              <a:gd name="connsiteY1533" fmla="*/ 3049013 h 4588585"/>
              <a:gd name="connsiteX1534" fmla="*/ 3551903 w 5047599"/>
              <a:gd name="connsiteY1534" fmla="*/ 3046416 h 4588585"/>
              <a:gd name="connsiteX1535" fmla="*/ 3552367 w 5047599"/>
              <a:gd name="connsiteY1535" fmla="*/ 3043586 h 4588585"/>
              <a:gd name="connsiteX1536" fmla="*/ 3555133 w 5047599"/>
              <a:gd name="connsiteY1536" fmla="*/ 3036513 h 4588585"/>
              <a:gd name="connsiteX1537" fmla="*/ 3556020 w 5047599"/>
              <a:gd name="connsiteY1537" fmla="*/ 3031657 h 4588585"/>
              <a:gd name="connsiteX1538" fmla="*/ 3555703 w 5047599"/>
              <a:gd name="connsiteY1538" fmla="*/ 3026674 h 4588585"/>
              <a:gd name="connsiteX1539" fmla="*/ 3554204 w 5047599"/>
              <a:gd name="connsiteY1539" fmla="*/ 3021585 h 4588585"/>
              <a:gd name="connsiteX1540" fmla="*/ 3551079 w 5047599"/>
              <a:gd name="connsiteY1540" fmla="*/ 3015546 h 4588585"/>
              <a:gd name="connsiteX1541" fmla="*/ 3551438 w 5047599"/>
              <a:gd name="connsiteY1541" fmla="*/ 3013794 h 4588585"/>
              <a:gd name="connsiteX1542" fmla="*/ 3550382 w 5047599"/>
              <a:gd name="connsiteY1542" fmla="*/ 3009676 h 4588585"/>
              <a:gd name="connsiteX1543" fmla="*/ 3550277 w 5047599"/>
              <a:gd name="connsiteY1543" fmla="*/ 3006805 h 4588585"/>
              <a:gd name="connsiteX1544" fmla="*/ 3550889 w 5047599"/>
              <a:gd name="connsiteY1544" fmla="*/ 3003195 h 4588585"/>
              <a:gd name="connsiteX1545" fmla="*/ 3550297 w 5047599"/>
              <a:gd name="connsiteY1545" fmla="*/ 2998465 h 4588585"/>
              <a:gd name="connsiteX1546" fmla="*/ 3547595 w 5047599"/>
              <a:gd name="connsiteY1546" fmla="*/ 2988351 h 4588585"/>
              <a:gd name="connsiteX1547" fmla="*/ 3547595 w 5047599"/>
              <a:gd name="connsiteY1547" fmla="*/ 2985753 h 4588585"/>
              <a:gd name="connsiteX1548" fmla="*/ 3544745 w 5047599"/>
              <a:gd name="connsiteY1548" fmla="*/ 2980876 h 4588585"/>
              <a:gd name="connsiteX1549" fmla="*/ 3535961 w 5047599"/>
              <a:gd name="connsiteY1549" fmla="*/ 2969327 h 4588585"/>
              <a:gd name="connsiteX1550" fmla="*/ 3535538 w 5047599"/>
              <a:gd name="connsiteY1550" fmla="*/ 2967827 h 4588585"/>
              <a:gd name="connsiteX1551" fmla="*/ 3521772 w 5047599"/>
              <a:gd name="connsiteY1551" fmla="*/ 2956194 h 4588585"/>
              <a:gd name="connsiteX1552" fmla="*/ 3476805 w 5047599"/>
              <a:gd name="connsiteY1552" fmla="*/ 2955103 h 4588585"/>
              <a:gd name="connsiteX1553" fmla="*/ 3482076 w 5047599"/>
              <a:gd name="connsiteY1553" fmla="*/ 2960353 h 4588585"/>
              <a:gd name="connsiteX1554" fmla="*/ 3482163 w 5047599"/>
              <a:gd name="connsiteY1554" fmla="*/ 2960376 h 4588585"/>
              <a:gd name="connsiteX1555" fmla="*/ 3476882 w 5047599"/>
              <a:gd name="connsiteY1555" fmla="*/ 2955116 h 4588585"/>
              <a:gd name="connsiteX1556" fmla="*/ 3454272 w 5047599"/>
              <a:gd name="connsiteY1556" fmla="*/ 2952973 h 4588585"/>
              <a:gd name="connsiteX1557" fmla="*/ 3454289 w 5047599"/>
              <a:gd name="connsiteY1557" fmla="*/ 2953005 h 4588585"/>
              <a:gd name="connsiteX1558" fmla="*/ 3455958 w 5047599"/>
              <a:gd name="connsiteY1558" fmla="*/ 2955107 h 4588585"/>
              <a:gd name="connsiteX1559" fmla="*/ 3455958 w 5047599"/>
              <a:gd name="connsiteY1559" fmla="*/ 2955096 h 4588585"/>
              <a:gd name="connsiteX1560" fmla="*/ 3455747 w 5047599"/>
              <a:gd name="connsiteY1560" fmla="*/ 2947663 h 4588585"/>
              <a:gd name="connsiteX1561" fmla="*/ 3455729 w 5047599"/>
              <a:gd name="connsiteY1561" fmla="*/ 2947665 h 4588585"/>
              <a:gd name="connsiteX1562" fmla="*/ 3464868 w 5047599"/>
              <a:gd name="connsiteY1562" fmla="*/ 2953639 h 4588585"/>
              <a:gd name="connsiteX1563" fmla="*/ 3464888 w 5047599"/>
              <a:gd name="connsiteY1563" fmla="*/ 2953639 h 4588585"/>
              <a:gd name="connsiteX1564" fmla="*/ 3184654 w 5047599"/>
              <a:gd name="connsiteY1564" fmla="*/ 2937575 h 4588585"/>
              <a:gd name="connsiteX1565" fmla="*/ 3184613 w 5047599"/>
              <a:gd name="connsiteY1565" fmla="*/ 2940442 h 4588585"/>
              <a:gd name="connsiteX1566" fmla="*/ 3184613 w 5047599"/>
              <a:gd name="connsiteY1566" fmla="*/ 2940443 h 4588585"/>
              <a:gd name="connsiteX1567" fmla="*/ 3423615 w 5047599"/>
              <a:gd name="connsiteY1567" fmla="*/ 2933354 h 4588585"/>
              <a:gd name="connsiteX1568" fmla="*/ 3426819 w 5047599"/>
              <a:gd name="connsiteY1568" fmla="*/ 2936726 h 4588585"/>
              <a:gd name="connsiteX1569" fmla="*/ 3433977 w 5047599"/>
              <a:gd name="connsiteY1569" fmla="*/ 2940189 h 4588585"/>
              <a:gd name="connsiteX1570" fmla="*/ 3442761 w 5047599"/>
              <a:gd name="connsiteY1570" fmla="*/ 2943293 h 4588585"/>
              <a:gd name="connsiteX1571" fmla="*/ 3449095 w 5047599"/>
              <a:gd name="connsiteY1571" fmla="*/ 2946797 h 4588585"/>
              <a:gd name="connsiteX1572" fmla="*/ 3452394 w 5047599"/>
              <a:gd name="connsiteY1572" fmla="*/ 2948374 h 4588585"/>
              <a:gd name="connsiteX1573" fmla="*/ 3452391 w 5047599"/>
              <a:gd name="connsiteY1573" fmla="*/ 2948353 h 4588585"/>
              <a:gd name="connsiteX1574" fmla="*/ 3449179 w 5047599"/>
              <a:gd name="connsiteY1574" fmla="*/ 2946819 h 4588585"/>
              <a:gd name="connsiteX1575" fmla="*/ 3442866 w 5047599"/>
              <a:gd name="connsiteY1575" fmla="*/ 2943292 h 4588585"/>
              <a:gd name="connsiteX1576" fmla="*/ 3434083 w 5047599"/>
              <a:gd name="connsiteY1576" fmla="*/ 2940188 h 4588585"/>
              <a:gd name="connsiteX1577" fmla="*/ 3426904 w 5047599"/>
              <a:gd name="connsiteY1577" fmla="*/ 2936746 h 4588585"/>
              <a:gd name="connsiteX1578" fmla="*/ 3423694 w 5047599"/>
              <a:gd name="connsiteY1578" fmla="*/ 2933369 h 4588585"/>
              <a:gd name="connsiteX1579" fmla="*/ 3416958 w 5047599"/>
              <a:gd name="connsiteY1579" fmla="*/ 2932080 h 4588585"/>
              <a:gd name="connsiteX1580" fmla="*/ 3417058 w 5047599"/>
              <a:gd name="connsiteY1580" fmla="*/ 2932099 h 4588585"/>
              <a:gd name="connsiteX1581" fmla="*/ 3416959 w 5047599"/>
              <a:gd name="connsiteY1581" fmla="*/ 2932080 h 4588585"/>
              <a:gd name="connsiteX1582" fmla="*/ 3405646 w 5047599"/>
              <a:gd name="connsiteY1582" fmla="*/ 2928380 h 4588585"/>
              <a:gd name="connsiteX1583" fmla="*/ 3411025 w 5047599"/>
              <a:gd name="connsiteY1583" fmla="*/ 2931511 h 4588585"/>
              <a:gd name="connsiteX1584" fmla="*/ 3414135 w 5047599"/>
              <a:gd name="connsiteY1584" fmla="*/ 2931804 h 4588585"/>
              <a:gd name="connsiteX1585" fmla="*/ 3411131 w 5047599"/>
              <a:gd name="connsiteY1585" fmla="*/ 2931510 h 4588585"/>
              <a:gd name="connsiteX1586" fmla="*/ 3405726 w 5047599"/>
              <a:gd name="connsiteY1586" fmla="*/ 2928385 h 4588585"/>
              <a:gd name="connsiteX1587" fmla="*/ 3201119 w 5047599"/>
              <a:gd name="connsiteY1587" fmla="*/ 2924977 h 4588585"/>
              <a:gd name="connsiteX1588" fmla="*/ 3197430 w 5047599"/>
              <a:gd name="connsiteY1588" fmla="*/ 2928281 h 4588585"/>
              <a:gd name="connsiteX1589" fmla="*/ 3189596 w 5047599"/>
              <a:gd name="connsiteY1589" fmla="*/ 2934108 h 4588585"/>
              <a:gd name="connsiteX1590" fmla="*/ 3197430 w 5047599"/>
              <a:gd name="connsiteY1590" fmla="*/ 2928301 h 4588585"/>
              <a:gd name="connsiteX1591" fmla="*/ 3387272 w 5047599"/>
              <a:gd name="connsiteY1591" fmla="*/ 2918123 h 4588585"/>
              <a:gd name="connsiteX1592" fmla="*/ 3387235 w 5047599"/>
              <a:gd name="connsiteY1592" fmla="*/ 2918124 h 4588585"/>
              <a:gd name="connsiteX1593" fmla="*/ 3391199 w 5047599"/>
              <a:gd name="connsiteY1593" fmla="*/ 2919306 h 4588585"/>
              <a:gd name="connsiteX1594" fmla="*/ 3393120 w 5047599"/>
              <a:gd name="connsiteY1594" fmla="*/ 2920510 h 4588585"/>
              <a:gd name="connsiteX1595" fmla="*/ 3393310 w 5047599"/>
              <a:gd name="connsiteY1595" fmla="*/ 2925134 h 4588585"/>
              <a:gd name="connsiteX1596" fmla="*/ 3394534 w 5047599"/>
              <a:gd name="connsiteY1596" fmla="*/ 2927203 h 4588585"/>
              <a:gd name="connsiteX1597" fmla="*/ 3400025 w 5047599"/>
              <a:gd name="connsiteY1597" fmla="*/ 2928005 h 4588585"/>
              <a:gd name="connsiteX1598" fmla="*/ 3401930 w 5047599"/>
              <a:gd name="connsiteY1598" fmla="*/ 2928127 h 4588585"/>
              <a:gd name="connsiteX1599" fmla="*/ 3400130 w 5047599"/>
              <a:gd name="connsiteY1599" fmla="*/ 2928005 h 4588585"/>
              <a:gd name="connsiteX1600" fmla="*/ 3394641 w 5047599"/>
              <a:gd name="connsiteY1600" fmla="*/ 2927202 h 4588585"/>
              <a:gd name="connsiteX1601" fmla="*/ 3393416 w 5047599"/>
              <a:gd name="connsiteY1601" fmla="*/ 2925154 h 4588585"/>
              <a:gd name="connsiteX1602" fmla="*/ 3393226 w 5047599"/>
              <a:gd name="connsiteY1602" fmla="*/ 2920530 h 4588585"/>
              <a:gd name="connsiteX1603" fmla="*/ 3391304 w 5047599"/>
              <a:gd name="connsiteY1603" fmla="*/ 2919306 h 4588585"/>
              <a:gd name="connsiteX1604" fmla="*/ 3207732 w 5047599"/>
              <a:gd name="connsiteY1604" fmla="*/ 2917661 h 4588585"/>
              <a:gd name="connsiteX1605" fmla="*/ 3205876 w 5047599"/>
              <a:gd name="connsiteY1605" fmla="*/ 2919919 h 4588585"/>
              <a:gd name="connsiteX1606" fmla="*/ 3201482 w 5047599"/>
              <a:gd name="connsiteY1606" fmla="*/ 2924615 h 4588585"/>
              <a:gd name="connsiteX1607" fmla="*/ 3205875 w 5047599"/>
              <a:gd name="connsiteY1607" fmla="*/ 2919940 h 4588585"/>
              <a:gd name="connsiteX1608" fmla="*/ 3215168 w 5047599"/>
              <a:gd name="connsiteY1608" fmla="*/ 2906249 h 4588585"/>
              <a:gd name="connsiteX1609" fmla="*/ 3212443 w 5047599"/>
              <a:gd name="connsiteY1609" fmla="*/ 2911135 h 4588585"/>
              <a:gd name="connsiteX1610" fmla="*/ 3208376 w 5047599"/>
              <a:gd name="connsiteY1610" fmla="*/ 2916799 h 4588585"/>
              <a:gd name="connsiteX1611" fmla="*/ 3212442 w 5047599"/>
              <a:gd name="connsiteY1611" fmla="*/ 2911156 h 4588585"/>
              <a:gd name="connsiteX1612" fmla="*/ 3359569 w 5047599"/>
              <a:gd name="connsiteY1612" fmla="*/ 2900471 h 4588585"/>
              <a:gd name="connsiteX1613" fmla="*/ 3359550 w 5047599"/>
              <a:gd name="connsiteY1613" fmla="*/ 2900472 h 4588585"/>
              <a:gd name="connsiteX1614" fmla="*/ 3365291 w 5047599"/>
              <a:gd name="connsiteY1614" fmla="*/ 2903238 h 4588585"/>
              <a:gd name="connsiteX1615" fmla="*/ 3370379 w 5047599"/>
              <a:gd name="connsiteY1615" fmla="*/ 2906806 h 4588585"/>
              <a:gd name="connsiteX1616" fmla="*/ 3371646 w 5047599"/>
              <a:gd name="connsiteY1616" fmla="*/ 2912318 h 4588585"/>
              <a:gd name="connsiteX1617" fmla="*/ 3374982 w 5047599"/>
              <a:gd name="connsiteY1617" fmla="*/ 2915780 h 4588585"/>
              <a:gd name="connsiteX1618" fmla="*/ 3378593 w 5047599"/>
              <a:gd name="connsiteY1618" fmla="*/ 2918483 h 4588585"/>
              <a:gd name="connsiteX1619" fmla="*/ 3380156 w 5047599"/>
              <a:gd name="connsiteY1619" fmla="*/ 2918842 h 4588585"/>
              <a:gd name="connsiteX1620" fmla="*/ 3380215 w 5047599"/>
              <a:gd name="connsiteY1620" fmla="*/ 2918827 h 4588585"/>
              <a:gd name="connsiteX1621" fmla="*/ 3378720 w 5047599"/>
              <a:gd name="connsiteY1621" fmla="*/ 2918503 h 4588585"/>
              <a:gd name="connsiteX1622" fmla="*/ 3375110 w 5047599"/>
              <a:gd name="connsiteY1622" fmla="*/ 2915780 h 4588585"/>
              <a:gd name="connsiteX1623" fmla="*/ 3371752 w 5047599"/>
              <a:gd name="connsiteY1623" fmla="*/ 2912338 h 4588585"/>
              <a:gd name="connsiteX1624" fmla="*/ 3370486 w 5047599"/>
              <a:gd name="connsiteY1624" fmla="*/ 2906806 h 4588585"/>
              <a:gd name="connsiteX1625" fmla="*/ 3365418 w 5047599"/>
              <a:gd name="connsiteY1625" fmla="*/ 2903259 h 4588585"/>
              <a:gd name="connsiteX1626" fmla="*/ 3216282 w 5047599"/>
              <a:gd name="connsiteY1626" fmla="*/ 2899433 h 4588585"/>
              <a:gd name="connsiteX1627" fmla="*/ 3215348 w 5047599"/>
              <a:gd name="connsiteY1627" fmla="*/ 2905659 h 4588585"/>
              <a:gd name="connsiteX1628" fmla="*/ 3216284 w 5047599"/>
              <a:gd name="connsiteY1628" fmla="*/ 2899437 h 4588585"/>
              <a:gd name="connsiteX1629" fmla="*/ 3265567 w 5047599"/>
              <a:gd name="connsiteY1629" fmla="*/ 2884678 h 4588585"/>
              <a:gd name="connsiteX1630" fmla="*/ 3248822 w 5047599"/>
              <a:gd name="connsiteY1630" fmla="*/ 2887255 h 4588585"/>
              <a:gd name="connsiteX1631" fmla="*/ 3233048 w 5047599"/>
              <a:gd name="connsiteY1631" fmla="*/ 2889688 h 4588585"/>
              <a:gd name="connsiteX1632" fmla="*/ 3248822 w 5047599"/>
              <a:gd name="connsiteY1632" fmla="*/ 2887276 h 4588585"/>
              <a:gd name="connsiteX1633" fmla="*/ 649337 w 5047599"/>
              <a:gd name="connsiteY1633" fmla="*/ 2857145 h 4588585"/>
              <a:gd name="connsiteX1634" fmla="*/ 650710 w 5047599"/>
              <a:gd name="connsiteY1634" fmla="*/ 2857335 h 4588585"/>
              <a:gd name="connsiteX1635" fmla="*/ 652568 w 5047599"/>
              <a:gd name="connsiteY1635" fmla="*/ 2858939 h 4588585"/>
              <a:gd name="connsiteX1636" fmla="*/ 654131 w 5047599"/>
              <a:gd name="connsiteY1636" fmla="*/ 2860291 h 4588585"/>
              <a:gd name="connsiteX1637" fmla="*/ 653286 w 5047599"/>
              <a:gd name="connsiteY1637" fmla="*/ 2861515 h 4588585"/>
              <a:gd name="connsiteX1638" fmla="*/ 650478 w 5047599"/>
              <a:gd name="connsiteY1638" fmla="*/ 2862593 h 4588585"/>
              <a:gd name="connsiteX1639" fmla="*/ 650478 w 5047599"/>
              <a:gd name="connsiteY1639" fmla="*/ 2862614 h 4588585"/>
              <a:gd name="connsiteX1640" fmla="*/ 648451 w 5047599"/>
              <a:gd name="connsiteY1640" fmla="*/ 2862698 h 4588585"/>
              <a:gd name="connsiteX1641" fmla="*/ 647860 w 5047599"/>
              <a:gd name="connsiteY1641" fmla="*/ 2862191 h 4588585"/>
              <a:gd name="connsiteX1642" fmla="*/ 647479 w 5047599"/>
              <a:gd name="connsiteY1642" fmla="*/ 2860797 h 4588585"/>
              <a:gd name="connsiteX1643" fmla="*/ 648451 w 5047599"/>
              <a:gd name="connsiteY1643" fmla="*/ 2858539 h 4588585"/>
              <a:gd name="connsiteX1644" fmla="*/ 3866511 w 5047599"/>
              <a:gd name="connsiteY1644" fmla="*/ 2843167 h 4588585"/>
              <a:gd name="connsiteX1645" fmla="*/ 3865961 w 5047599"/>
              <a:gd name="connsiteY1645" fmla="*/ 2847875 h 4588585"/>
              <a:gd name="connsiteX1646" fmla="*/ 3861612 w 5047599"/>
              <a:gd name="connsiteY1646" fmla="*/ 2858158 h 4588585"/>
              <a:gd name="connsiteX1647" fmla="*/ 3857896 w 5047599"/>
              <a:gd name="connsiteY1647" fmla="*/ 2858855 h 4588585"/>
              <a:gd name="connsiteX1648" fmla="*/ 3854897 w 5047599"/>
              <a:gd name="connsiteY1648" fmla="*/ 2862782 h 4588585"/>
              <a:gd name="connsiteX1649" fmla="*/ 3851688 w 5047599"/>
              <a:gd name="connsiteY1649" fmla="*/ 2863563 h 4588585"/>
              <a:gd name="connsiteX1650" fmla="*/ 3850442 w 5047599"/>
              <a:gd name="connsiteY1650" fmla="*/ 2862782 h 4588585"/>
              <a:gd name="connsiteX1651" fmla="*/ 3848479 w 5047599"/>
              <a:gd name="connsiteY1651" fmla="*/ 2860290 h 4588585"/>
              <a:gd name="connsiteX1652" fmla="*/ 3851899 w 5047599"/>
              <a:gd name="connsiteY1652" fmla="*/ 2858158 h 4588585"/>
              <a:gd name="connsiteX1653" fmla="*/ 3855214 w 5047599"/>
              <a:gd name="connsiteY1653" fmla="*/ 2854041 h 4588585"/>
              <a:gd name="connsiteX1654" fmla="*/ 3862920 w 5047599"/>
              <a:gd name="connsiteY1654" fmla="*/ 2848002 h 4588585"/>
              <a:gd name="connsiteX1655" fmla="*/ 3865560 w 5047599"/>
              <a:gd name="connsiteY1655" fmla="*/ 2844012 h 4588585"/>
              <a:gd name="connsiteX1656" fmla="*/ 2508179 w 5047599"/>
              <a:gd name="connsiteY1656" fmla="*/ 2819792 h 4588585"/>
              <a:gd name="connsiteX1657" fmla="*/ 2508186 w 5047599"/>
              <a:gd name="connsiteY1657" fmla="*/ 2819814 h 4588585"/>
              <a:gd name="connsiteX1658" fmla="*/ 2510966 w 5047599"/>
              <a:gd name="connsiteY1658" fmla="*/ 2823547 h 4588585"/>
              <a:gd name="connsiteX1659" fmla="*/ 2689921 w 5047599"/>
              <a:gd name="connsiteY1659" fmla="*/ 2802506 h 4588585"/>
              <a:gd name="connsiteX1660" fmla="*/ 2686688 w 5047599"/>
              <a:gd name="connsiteY1660" fmla="*/ 2803008 h 4588585"/>
              <a:gd name="connsiteX1661" fmla="*/ 2679446 w 5047599"/>
              <a:gd name="connsiteY1661" fmla="*/ 2803598 h 4588585"/>
              <a:gd name="connsiteX1662" fmla="*/ 2666713 w 5047599"/>
              <a:gd name="connsiteY1662" fmla="*/ 2806639 h 4588585"/>
              <a:gd name="connsiteX1663" fmla="*/ 2658838 w 5047599"/>
              <a:gd name="connsiteY1663" fmla="*/ 2813058 h 4588585"/>
              <a:gd name="connsiteX1664" fmla="*/ 2656262 w 5047599"/>
              <a:gd name="connsiteY1664" fmla="*/ 2821102 h 4588585"/>
              <a:gd name="connsiteX1665" fmla="*/ 2656473 w 5047599"/>
              <a:gd name="connsiteY1665" fmla="*/ 2827733 h 4588585"/>
              <a:gd name="connsiteX1666" fmla="*/ 2656029 w 5047599"/>
              <a:gd name="connsiteY1666" fmla="*/ 2832589 h 4588585"/>
              <a:gd name="connsiteX1667" fmla="*/ 2652440 w 5047599"/>
              <a:gd name="connsiteY1667" fmla="*/ 2837677 h 4588585"/>
              <a:gd name="connsiteX1668" fmla="*/ 2649611 w 5047599"/>
              <a:gd name="connsiteY1668" fmla="*/ 2843505 h 4588585"/>
              <a:gd name="connsiteX1669" fmla="*/ 2649505 w 5047599"/>
              <a:gd name="connsiteY1669" fmla="*/ 2846588 h 4588585"/>
              <a:gd name="connsiteX1670" fmla="*/ 2647774 w 5047599"/>
              <a:gd name="connsiteY1670" fmla="*/ 2862128 h 4588585"/>
              <a:gd name="connsiteX1671" fmla="*/ 2636034 w 5047599"/>
              <a:gd name="connsiteY1671" fmla="*/ 2864197 h 4588585"/>
              <a:gd name="connsiteX1672" fmla="*/ 2624294 w 5047599"/>
              <a:gd name="connsiteY1672" fmla="*/ 2864197 h 4588585"/>
              <a:gd name="connsiteX1673" fmla="*/ 2621550 w 5047599"/>
              <a:gd name="connsiteY1673" fmla="*/ 2864008 h 4588585"/>
              <a:gd name="connsiteX1674" fmla="*/ 2607044 w 5047599"/>
              <a:gd name="connsiteY1674" fmla="*/ 2860291 h 4588585"/>
              <a:gd name="connsiteX1675" fmla="*/ 2601660 w 5047599"/>
              <a:gd name="connsiteY1675" fmla="*/ 2860270 h 4588585"/>
              <a:gd name="connsiteX1676" fmla="*/ 2597057 w 5047599"/>
              <a:gd name="connsiteY1676" fmla="*/ 2862234 h 4588585"/>
              <a:gd name="connsiteX1677" fmla="*/ 2588168 w 5047599"/>
              <a:gd name="connsiteY1677" fmla="*/ 2864134 h 4588585"/>
              <a:gd name="connsiteX1678" fmla="*/ 2579679 w 5047599"/>
              <a:gd name="connsiteY1678" fmla="*/ 2865549 h 4588585"/>
              <a:gd name="connsiteX1679" fmla="*/ 2571128 w 5047599"/>
              <a:gd name="connsiteY1679" fmla="*/ 2870152 h 4588585"/>
              <a:gd name="connsiteX1680" fmla="*/ 2568847 w 5047599"/>
              <a:gd name="connsiteY1680" fmla="*/ 2870553 h 4588585"/>
              <a:gd name="connsiteX1681" fmla="*/ 2563168 w 5047599"/>
              <a:gd name="connsiteY1681" fmla="*/ 2868146 h 4588585"/>
              <a:gd name="connsiteX1682" fmla="*/ 2555228 w 5047599"/>
              <a:gd name="connsiteY1682" fmla="*/ 2868379 h 4588585"/>
              <a:gd name="connsiteX1683" fmla="*/ 2547184 w 5047599"/>
              <a:gd name="connsiteY1683" fmla="*/ 2869518 h 4588585"/>
              <a:gd name="connsiteX1684" fmla="*/ 2543425 w 5047599"/>
              <a:gd name="connsiteY1684" fmla="*/ 2870046 h 4588585"/>
              <a:gd name="connsiteX1685" fmla="*/ 2540829 w 5047599"/>
              <a:gd name="connsiteY1685" fmla="*/ 2868631 h 4588585"/>
              <a:gd name="connsiteX1686" fmla="*/ 2533438 w 5047599"/>
              <a:gd name="connsiteY1686" fmla="*/ 2857060 h 4588585"/>
              <a:gd name="connsiteX1687" fmla="*/ 2523598 w 5047599"/>
              <a:gd name="connsiteY1687" fmla="*/ 2841626 h 4588585"/>
              <a:gd name="connsiteX1688" fmla="*/ 2518257 w 5047599"/>
              <a:gd name="connsiteY1688" fmla="*/ 2831935 h 4588585"/>
              <a:gd name="connsiteX1689" fmla="*/ 2516924 w 5047599"/>
              <a:gd name="connsiteY1689" fmla="*/ 2830247 h 4588585"/>
              <a:gd name="connsiteX1690" fmla="*/ 2518278 w 5047599"/>
              <a:gd name="connsiteY1690" fmla="*/ 2831976 h 4588585"/>
              <a:gd name="connsiteX1691" fmla="*/ 2523599 w 5047599"/>
              <a:gd name="connsiteY1691" fmla="*/ 2841647 h 4588585"/>
              <a:gd name="connsiteX1692" fmla="*/ 2533459 w 5047599"/>
              <a:gd name="connsiteY1692" fmla="*/ 2857103 h 4588585"/>
              <a:gd name="connsiteX1693" fmla="*/ 2540850 w 5047599"/>
              <a:gd name="connsiteY1693" fmla="*/ 2868695 h 4588585"/>
              <a:gd name="connsiteX1694" fmla="*/ 2543447 w 5047599"/>
              <a:gd name="connsiteY1694" fmla="*/ 2870067 h 4588585"/>
              <a:gd name="connsiteX1695" fmla="*/ 2547226 w 5047599"/>
              <a:gd name="connsiteY1695" fmla="*/ 2869582 h 4588585"/>
              <a:gd name="connsiteX1696" fmla="*/ 2555250 w 5047599"/>
              <a:gd name="connsiteY1696" fmla="*/ 2868441 h 4588585"/>
              <a:gd name="connsiteX1697" fmla="*/ 2563189 w 5047599"/>
              <a:gd name="connsiteY1697" fmla="*/ 2868209 h 4588585"/>
              <a:gd name="connsiteX1698" fmla="*/ 2568869 w 5047599"/>
              <a:gd name="connsiteY1698" fmla="*/ 2870574 h 4588585"/>
              <a:gd name="connsiteX1699" fmla="*/ 2571150 w 5047599"/>
              <a:gd name="connsiteY1699" fmla="*/ 2870172 h 4588585"/>
              <a:gd name="connsiteX1700" fmla="*/ 2579701 w 5047599"/>
              <a:gd name="connsiteY1700" fmla="*/ 2865569 h 4588585"/>
              <a:gd name="connsiteX1701" fmla="*/ 2588189 w 5047599"/>
              <a:gd name="connsiteY1701" fmla="*/ 2864176 h 4588585"/>
              <a:gd name="connsiteX1702" fmla="*/ 2597057 w 5047599"/>
              <a:gd name="connsiteY1702" fmla="*/ 2862255 h 4588585"/>
              <a:gd name="connsiteX1703" fmla="*/ 2601681 w 5047599"/>
              <a:gd name="connsiteY1703" fmla="*/ 2860312 h 4588585"/>
              <a:gd name="connsiteX1704" fmla="*/ 2607066 w 5047599"/>
              <a:gd name="connsiteY1704" fmla="*/ 2860312 h 4588585"/>
              <a:gd name="connsiteX1705" fmla="*/ 2621571 w 5047599"/>
              <a:gd name="connsiteY1705" fmla="*/ 2864028 h 4588585"/>
              <a:gd name="connsiteX1706" fmla="*/ 2624316 w 5047599"/>
              <a:gd name="connsiteY1706" fmla="*/ 2864218 h 4588585"/>
              <a:gd name="connsiteX1707" fmla="*/ 2636056 w 5047599"/>
              <a:gd name="connsiteY1707" fmla="*/ 2864218 h 4588585"/>
              <a:gd name="connsiteX1708" fmla="*/ 2647796 w 5047599"/>
              <a:gd name="connsiteY1708" fmla="*/ 2862128 h 4588585"/>
              <a:gd name="connsiteX1709" fmla="*/ 2649527 w 5047599"/>
              <a:gd name="connsiteY1709" fmla="*/ 2846588 h 4588585"/>
              <a:gd name="connsiteX1710" fmla="*/ 2649633 w 5047599"/>
              <a:gd name="connsiteY1710" fmla="*/ 2843526 h 4588585"/>
              <a:gd name="connsiteX1711" fmla="*/ 2652461 w 5047599"/>
              <a:gd name="connsiteY1711" fmla="*/ 2837677 h 4588585"/>
              <a:gd name="connsiteX1712" fmla="*/ 2656051 w 5047599"/>
              <a:gd name="connsiteY1712" fmla="*/ 2832589 h 4588585"/>
              <a:gd name="connsiteX1713" fmla="*/ 2656495 w 5047599"/>
              <a:gd name="connsiteY1713" fmla="*/ 2827732 h 4588585"/>
              <a:gd name="connsiteX1714" fmla="*/ 2656284 w 5047599"/>
              <a:gd name="connsiteY1714" fmla="*/ 2821081 h 4588585"/>
              <a:gd name="connsiteX1715" fmla="*/ 2658881 w 5047599"/>
              <a:gd name="connsiteY1715" fmla="*/ 2813037 h 4588585"/>
              <a:gd name="connsiteX1716" fmla="*/ 2666756 w 5047599"/>
              <a:gd name="connsiteY1716" fmla="*/ 2806639 h 4588585"/>
              <a:gd name="connsiteX1717" fmla="*/ 2679488 w 5047599"/>
              <a:gd name="connsiteY1717" fmla="*/ 2803598 h 4588585"/>
              <a:gd name="connsiteX1718" fmla="*/ 2686731 w 5047599"/>
              <a:gd name="connsiteY1718" fmla="*/ 2803007 h 4588585"/>
              <a:gd name="connsiteX1719" fmla="*/ 2715425 w 5047599"/>
              <a:gd name="connsiteY1719" fmla="*/ 2799418 h 4588585"/>
              <a:gd name="connsiteX1720" fmla="*/ 2711831 w 5047599"/>
              <a:gd name="connsiteY1720" fmla="*/ 2799795 h 4588585"/>
              <a:gd name="connsiteX1721" fmla="*/ 2715456 w 5047599"/>
              <a:gd name="connsiteY1721" fmla="*/ 2799419 h 4588585"/>
              <a:gd name="connsiteX1722" fmla="*/ 2489829 w 5047599"/>
              <a:gd name="connsiteY1722" fmla="*/ 2753511 h 4588585"/>
              <a:gd name="connsiteX1723" fmla="*/ 2491154 w 5047599"/>
              <a:gd name="connsiteY1723" fmla="*/ 2754665 h 4588585"/>
              <a:gd name="connsiteX1724" fmla="*/ 2491146 w 5047599"/>
              <a:gd name="connsiteY1724" fmla="*/ 2754634 h 4588585"/>
              <a:gd name="connsiteX1725" fmla="*/ 2366199 w 5047599"/>
              <a:gd name="connsiteY1725" fmla="*/ 2738332 h 4588585"/>
              <a:gd name="connsiteX1726" fmla="*/ 2354949 w 5047599"/>
              <a:gd name="connsiteY1726" fmla="*/ 2738502 h 4588585"/>
              <a:gd name="connsiteX1727" fmla="*/ 2354957 w 5047599"/>
              <a:gd name="connsiteY1727" fmla="*/ 2738502 h 4588585"/>
              <a:gd name="connsiteX1728" fmla="*/ 2433629 w 5047599"/>
              <a:gd name="connsiteY1728" fmla="*/ 2736771 h 4588585"/>
              <a:gd name="connsiteX1729" fmla="*/ 2415745 w 5047599"/>
              <a:gd name="connsiteY1729" fmla="*/ 2737066 h 4588585"/>
              <a:gd name="connsiteX1730" fmla="*/ 2395855 w 5047599"/>
              <a:gd name="connsiteY1730" fmla="*/ 2737404 h 4588585"/>
              <a:gd name="connsiteX1731" fmla="*/ 2375712 w 5047599"/>
              <a:gd name="connsiteY1731" fmla="*/ 2737742 h 4588585"/>
              <a:gd name="connsiteX1732" fmla="*/ 2370289 w 5047599"/>
              <a:gd name="connsiteY1732" fmla="*/ 2738270 h 4588585"/>
              <a:gd name="connsiteX1733" fmla="*/ 2370328 w 5047599"/>
              <a:gd name="connsiteY1733" fmla="*/ 2738270 h 4588585"/>
              <a:gd name="connsiteX1734" fmla="*/ 2375755 w 5047599"/>
              <a:gd name="connsiteY1734" fmla="*/ 2737763 h 4588585"/>
              <a:gd name="connsiteX1735" fmla="*/ 2395898 w 5047599"/>
              <a:gd name="connsiteY1735" fmla="*/ 2737426 h 4588585"/>
              <a:gd name="connsiteX1736" fmla="*/ 2415788 w 5047599"/>
              <a:gd name="connsiteY1736" fmla="*/ 2737088 h 4588585"/>
              <a:gd name="connsiteX1737" fmla="*/ 2433666 w 5047599"/>
              <a:gd name="connsiteY1737" fmla="*/ 2736771 h 4588585"/>
              <a:gd name="connsiteX1738" fmla="*/ 2317351 w 5047599"/>
              <a:gd name="connsiteY1738" fmla="*/ 2736264 h 4588585"/>
              <a:gd name="connsiteX1739" fmla="*/ 2310489 w 5047599"/>
              <a:gd name="connsiteY1739" fmla="*/ 2736644 h 4588585"/>
              <a:gd name="connsiteX1740" fmla="*/ 2294061 w 5047599"/>
              <a:gd name="connsiteY1740" fmla="*/ 2736665 h 4588585"/>
              <a:gd name="connsiteX1741" fmla="*/ 2292563 w 5047599"/>
              <a:gd name="connsiteY1741" fmla="*/ 2736750 h 4588585"/>
              <a:gd name="connsiteX1742" fmla="*/ 2289987 w 5047599"/>
              <a:gd name="connsiteY1742" fmla="*/ 2737860 h 4588585"/>
              <a:gd name="connsiteX1743" fmla="*/ 2290029 w 5047599"/>
              <a:gd name="connsiteY1743" fmla="*/ 2737869 h 4588585"/>
              <a:gd name="connsiteX1744" fmla="*/ 2292627 w 5047599"/>
              <a:gd name="connsiteY1744" fmla="*/ 2736771 h 4588585"/>
              <a:gd name="connsiteX1745" fmla="*/ 2294105 w 5047599"/>
              <a:gd name="connsiteY1745" fmla="*/ 2736686 h 4588585"/>
              <a:gd name="connsiteX1746" fmla="*/ 2310553 w 5047599"/>
              <a:gd name="connsiteY1746" fmla="*/ 2736686 h 4588585"/>
              <a:gd name="connsiteX1747" fmla="*/ 2317394 w 5047599"/>
              <a:gd name="connsiteY1747" fmla="*/ 2736285 h 4588585"/>
              <a:gd name="connsiteX1748" fmla="*/ 2330084 w 5047599"/>
              <a:gd name="connsiteY1748" fmla="*/ 2736390 h 4588585"/>
              <a:gd name="connsiteX1749" fmla="*/ 2338086 w 5047599"/>
              <a:gd name="connsiteY1749" fmla="*/ 2736876 h 4588585"/>
              <a:gd name="connsiteX1750" fmla="*/ 2341199 w 5047599"/>
              <a:gd name="connsiteY1750" fmla="*/ 2737309 h 4588585"/>
              <a:gd name="connsiteX1751" fmla="*/ 2338044 w 5047599"/>
              <a:gd name="connsiteY1751" fmla="*/ 2736855 h 4588585"/>
              <a:gd name="connsiteX1752" fmla="*/ 2330019 w 5047599"/>
              <a:gd name="connsiteY1752" fmla="*/ 2736369 h 4588585"/>
              <a:gd name="connsiteX1753" fmla="*/ 3831080 w 5047599"/>
              <a:gd name="connsiteY1753" fmla="*/ 2728345 h 4588585"/>
              <a:gd name="connsiteX1754" fmla="*/ 3833951 w 5047599"/>
              <a:gd name="connsiteY1754" fmla="*/ 2733666 h 4588585"/>
              <a:gd name="connsiteX1755" fmla="*/ 3834606 w 5047599"/>
              <a:gd name="connsiteY1755" fmla="*/ 2741985 h 4588585"/>
              <a:gd name="connsiteX1756" fmla="*/ 3838470 w 5047599"/>
              <a:gd name="connsiteY1756" fmla="*/ 2751741 h 4588585"/>
              <a:gd name="connsiteX1757" fmla="*/ 3841701 w 5047599"/>
              <a:gd name="connsiteY1757" fmla="*/ 2754759 h 4588585"/>
              <a:gd name="connsiteX1758" fmla="*/ 3842166 w 5047599"/>
              <a:gd name="connsiteY1758" fmla="*/ 2755266 h 4588585"/>
              <a:gd name="connsiteX1759" fmla="*/ 3846705 w 5047599"/>
              <a:gd name="connsiteY1759" fmla="*/ 2767936 h 4588585"/>
              <a:gd name="connsiteX1760" fmla="*/ 3846135 w 5047599"/>
              <a:gd name="connsiteY1760" fmla="*/ 2770321 h 4588585"/>
              <a:gd name="connsiteX1761" fmla="*/ 3842925 w 5047599"/>
              <a:gd name="connsiteY1761" fmla="*/ 2771757 h 4588585"/>
              <a:gd name="connsiteX1762" fmla="*/ 3841257 w 5047599"/>
              <a:gd name="connsiteY1762" fmla="*/ 2771884 h 4588585"/>
              <a:gd name="connsiteX1763" fmla="*/ 3839273 w 5047599"/>
              <a:gd name="connsiteY1763" fmla="*/ 2769857 h 4588585"/>
              <a:gd name="connsiteX1764" fmla="*/ 3837879 w 5047599"/>
              <a:gd name="connsiteY1764" fmla="*/ 2765591 h 4588585"/>
              <a:gd name="connsiteX1765" fmla="*/ 3835451 w 5047599"/>
              <a:gd name="connsiteY1765" fmla="*/ 2766605 h 4588585"/>
              <a:gd name="connsiteX1766" fmla="*/ 3831313 w 5047599"/>
              <a:gd name="connsiteY1766" fmla="*/ 2761495 h 4588585"/>
              <a:gd name="connsiteX1767" fmla="*/ 3827216 w 5047599"/>
              <a:gd name="connsiteY1767" fmla="*/ 2761242 h 4588585"/>
              <a:gd name="connsiteX1768" fmla="*/ 3823584 w 5047599"/>
              <a:gd name="connsiteY1768" fmla="*/ 2755140 h 4588585"/>
              <a:gd name="connsiteX1769" fmla="*/ 3824999 w 5047599"/>
              <a:gd name="connsiteY1769" fmla="*/ 2749840 h 4588585"/>
              <a:gd name="connsiteX1770" fmla="*/ 3824176 w 5047599"/>
              <a:gd name="connsiteY1770" fmla="*/ 2740781 h 4588585"/>
              <a:gd name="connsiteX1771" fmla="*/ 3828589 w 5047599"/>
              <a:gd name="connsiteY1771" fmla="*/ 2736137 h 4588585"/>
              <a:gd name="connsiteX1772" fmla="*/ 2242617 w 5047599"/>
              <a:gd name="connsiteY1772" fmla="*/ 2726796 h 4588585"/>
              <a:gd name="connsiteX1773" fmla="*/ 2241486 w 5047599"/>
              <a:gd name="connsiteY1773" fmla="*/ 2728135 h 4588585"/>
              <a:gd name="connsiteX1774" fmla="*/ 2235659 w 5047599"/>
              <a:gd name="connsiteY1774" fmla="*/ 2728683 h 4588585"/>
              <a:gd name="connsiteX1775" fmla="*/ 2227910 w 5047599"/>
              <a:gd name="connsiteY1775" fmla="*/ 2729803 h 4588585"/>
              <a:gd name="connsiteX1776" fmla="*/ 2235658 w 5047599"/>
              <a:gd name="connsiteY1776" fmla="*/ 2728684 h 4588585"/>
              <a:gd name="connsiteX1777" fmla="*/ 2241486 w 5047599"/>
              <a:gd name="connsiteY1777" fmla="*/ 2728156 h 4588585"/>
              <a:gd name="connsiteX1778" fmla="*/ 2239713 w 5047599"/>
              <a:gd name="connsiteY1778" fmla="*/ 2690860 h 4588585"/>
              <a:gd name="connsiteX1779" fmla="*/ 2241655 w 5047599"/>
              <a:gd name="connsiteY1779" fmla="*/ 2692134 h 4588585"/>
              <a:gd name="connsiteX1780" fmla="*/ 2243725 w 5047599"/>
              <a:gd name="connsiteY1780" fmla="*/ 2694288 h 4588585"/>
              <a:gd name="connsiteX1781" fmla="*/ 2241655 w 5047599"/>
              <a:gd name="connsiteY1781" fmla="*/ 2692113 h 4588585"/>
              <a:gd name="connsiteX1782" fmla="*/ 2240738 w 5047599"/>
              <a:gd name="connsiteY1782" fmla="*/ 2688867 h 4588585"/>
              <a:gd name="connsiteX1783" fmla="*/ 2239523 w 5047599"/>
              <a:gd name="connsiteY1783" fmla="*/ 2689685 h 4588585"/>
              <a:gd name="connsiteX1784" fmla="*/ 2239628 w 5047599"/>
              <a:gd name="connsiteY1784" fmla="*/ 2690800 h 4588585"/>
              <a:gd name="connsiteX1785" fmla="*/ 2239544 w 5047599"/>
              <a:gd name="connsiteY1785" fmla="*/ 2689685 h 4588585"/>
              <a:gd name="connsiteX1786" fmla="*/ 3863998 w 5047599"/>
              <a:gd name="connsiteY1786" fmla="*/ 2679866 h 4588585"/>
              <a:gd name="connsiteX1787" fmla="*/ 3864357 w 5047599"/>
              <a:gd name="connsiteY1787" fmla="*/ 2682864 h 4588585"/>
              <a:gd name="connsiteX1788" fmla="*/ 3863449 w 5047599"/>
              <a:gd name="connsiteY1788" fmla="*/ 2685673 h 4588585"/>
              <a:gd name="connsiteX1789" fmla="*/ 3863639 w 5047599"/>
              <a:gd name="connsiteY1789" fmla="*/ 2694646 h 4588585"/>
              <a:gd name="connsiteX1790" fmla="*/ 3863280 w 5047599"/>
              <a:gd name="connsiteY1790" fmla="*/ 2700621 h 4588585"/>
              <a:gd name="connsiteX1791" fmla="*/ 3859902 w 5047599"/>
              <a:gd name="connsiteY1791" fmla="*/ 2708878 h 4588585"/>
              <a:gd name="connsiteX1792" fmla="*/ 3857135 w 5047599"/>
              <a:gd name="connsiteY1792" fmla="*/ 2711834 h 4588585"/>
              <a:gd name="connsiteX1793" fmla="*/ 3854665 w 5047599"/>
              <a:gd name="connsiteY1793" fmla="*/ 2710947 h 4588585"/>
              <a:gd name="connsiteX1794" fmla="*/ 3852638 w 5047599"/>
              <a:gd name="connsiteY1794" fmla="*/ 2709596 h 4588585"/>
              <a:gd name="connsiteX1795" fmla="*/ 3851055 w 5047599"/>
              <a:gd name="connsiteY1795" fmla="*/ 2707336 h 4588585"/>
              <a:gd name="connsiteX1796" fmla="*/ 3854264 w 5047599"/>
              <a:gd name="connsiteY1796" fmla="*/ 2692197 h 4588585"/>
              <a:gd name="connsiteX1797" fmla="*/ 3852617 w 5047599"/>
              <a:gd name="connsiteY1797" fmla="*/ 2681112 h 4588585"/>
              <a:gd name="connsiteX1798" fmla="*/ 3858972 w 5047599"/>
              <a:gd name="connsiteY1798" fmla="*/ 2682168 h 4588585"/>
              <a:gd name="connsiteX1799" fmla="*/ 2360552 w 5047599"/>
              <a:gd name="connsiteY1799" fmla="*/ 2676636 h 4588585"/>
              <a:gd name="connsiteX1800" fmla="*/ 2358652 w 5047599"/>
              <a:gd name="connsiteY1800" fmla="*/ 2677417 h 4588585"/>
              <a:gd name="connsiteX1801" fmla="*/ 2357427 w 5047599"/>
              <a:gd name="connsiteY1801" fmla="*/ 2676783 h 4588585"/>
              <a:gd name="connsiteX1802" fmla="*/ 2357294 w 5047599"/>
              <a:gd name="connsiteY1802" fmla="*/ 2676683 h 4588585"/>
              <a:gd name="connsiteX1803" fmla="*/ 2357426 w 5047599"/>
              <a:gd name="connsiteY1803" fmla="*/ 2676784 h 4588585"/>
              <a:gd name="connsiteX1804" fmla="*/ 2358652 w 5047599"/>
              <a:gd name="connsiteY1804" fmla="*/ 2677418 h 4588585"/>
              <a:gd name="connsiteX1805" fmla="*/ 2360552 w 5047599"/>
              <a:gd name="connsiteY1805" fmla="*/ 2676636 h 4588585"/>
              <a:gd name="connsiteX1806" fmla="*/ 2364331 w 5047599"/>
              <a:gd name="connsiteY1806" fmla="*/ 2676869 h 4588585"/>
              <a:gd name="connsiteX1807" fmla="*/ 2368871 w 5047599"/>
              <a:gd name="connsiteY1807" fmla="*/ 2678600 h 4588585"/>
              <a:gd name="connsiteX1808" fmla="*/ 2368872 w 5047599"/>
              <a:gd name="connsiteY1808" fmla="*/ 2678600 h 4588585"/>
              <a:gd name="connsiteX1809" fmla="*/ 2364332 w 5047599"/>
              <a:gd name="connsiteY1809" fmla="*/ 2676868 h 4588585"/>
              <a:gd name="connsiteX1810" fmla="*/ 2355694 w 5047599"/>
              <a:gd name="connsiteY1810" fmla="*/ 2672121 h 4588585"/>
              <a:gd name="connsiteX1811" fmla="*/ 2355632 w 5047599"/>
              <a:gd name="connsiteY1811" fmla="*/ 2675411 h 4588585"/>
              <a:gd name="connsiteX1812" fmla="*/ 2355633 w 5047599"/>
              <a:gd name="connsiteY1812" fmla="*/ 2675412 h 4588585"/>
              <a:gd name="connsiteX1813" fmla="*/ 2261947 w 5047599"/>
              <a:gd name="connsiteY1813" fmla="*/ 2669795 h 4588585"/>
              <a:gd name="connsiteX1814" fmla="*/ 2252762 w 5047599"/>
              <a:gd name="connsiteY1814" fmla="*/ 2679824 h 4588585"/>
              <a:gd name="connsiteX1815" fmla="*/ 2248117 w 5047599"/>
              <a:gd name="connsiteY1815" fmla="*/ 2684153 h 4588585"/>
              <a:gd name="connsiteX1816" fmla="*/ 2247384 w 5047599"/>
              <a:gd name="connsiteY1816" fmla="*/ 2684737 h 4588585"/>
              <a:gd name="connsiteX1817" fmla="*/ 2248117 w 5047599"/>
              <a:gd name="connsiteY1817" fmla="*/ 2684154 h 4588585"/>
              <a:gd name="connsiteX1818" fmla="*/ 2252762 w 5047599"/>
              <a:gd name="connsiteY1818" fmla="*/ 2679825 h 4588585"/>
              <a:gd name="connsiteX1819" fmla="*/ 2277212 w 5047599"/>
              <a:gd name="connsiteY1819" fmla="*/ 2661792 h 4588585"/>
              <a:gd name="connsiteX1820" fmla="*/ 2276765 w 5047599"/>
              <a:gd name="connsiteY1820" fmla="*/ 2662807 h 4588585"/>
              <a:gd name="connsiteX1821" fmla="*/ 2277212 w 5047599"/>
              <a:gd name="connsiteY1821" fmla="*/ 2661793 h 4588585"/>
              <a:gd name="connsiteX1822" fmla="*/ 2280126 w 5047599"/>
              <a:gd name="connsiteY1822" fmla="*/ 2661940 h 4588585"/>
              <a:gd name="connsiteX1823" fmla="*/ 2281055 w 5047599"/>
              <a:gd name="connsiteY1823" fmla="*/ 2662870 h 4588585"/>
              <a:gd name="connsiteX1824" fmla="*/ 2282491 w 5047599"/>
              <a:gd name="connsiteY1824" fmla="*/ 2665002 h 4588585"/>
              <a:gd name="connsiteX1825" fmla="*/ 2285045 w 5047599"/>
              <a:gd name="connsiteY1825" fmla="*/ 2667980 h 4588585"/>
              <a:gd name="connsiteX1826" fmla="*/ 2285387 w 5047599"/>
              <a:gd name="connsiteY1826" fmla="*/ 2668239 h 4588585"/>
              <a:gd name="connsiteX1827" fmla="*/ 2285046 w 5047599"/>
              <a:gd name="connsiteY1827" fmla="*/ 2667979 h 4588585"/>
              <a:gd name="connsiteX1828" fmla="*/ 2282491 w 5047599"/>
              <a:gd name="connsiteY1828" fmla="*/ 2665002 h 4588585"/>
              <a:gd name="connsiteX1829" fmla="*/ 2281056 w 5047599"/>
              <a:gd name="connsiteY1829" fmla="*/ 2662869 h 4588585"/>
              <a:gd name="connsiteX1830" fmla="*/ 2280126 w 5047599"/>
              <a:gd name="connsiteY1830" fmla="*/ 2661940 h 4588585"/>
              <a:gd name="connsiteX1831" fmla="*/ 4787889 w 5047599"/>
              <a:gd name="connsiteY1831" fmla="*/ 2659258 h 4588585"/>
              <a:gd name="connsiteX1832" fmla="*/ 4792872 w 5047599"/>
              <a:gd name="connsiteY1832" fmla="*/ 2667218 h 4588585"/>
              <a:gd name="connsiteX1833" fmla="*/ 4793041 w 5047599"/>
              <a:gd name="connsiteY1833" fmla="*/ 2672708 h 4588585"/>
              <a:gd name="connsiteX1834" fmla="*/ 4790190 w 5047599"/>
              <a:gd name="connsiteY1834" fmla="*/ 2670872 h 4588585"/>
              <a:gd name="connsiteX1835" fmla="*/ 4789388 w 5047599"/>
              <a:gd name="connsiteY1835" fmla="*/ 2667324 h 4588585"/>
              <a:gd name="connsiteX1836" fmla="*/ 4785587 w 5047599"/>
              <a:gd name="connsiteY1836" fmla="*/ 2664664 h 4588585"/>
              <a:gd name="connsiteX1837" fmla="*/ 4783603 w 5047599"/>
              <a:gd name="connsiteY1837" fmla="*/ 2662236 h 4588585"/>
              <a:gd name="connsiteX1838" fmla="*/ 2355590 w 5047599"/>
              <a:gd name="connsiteY1838" fmla="*/ 2656240 h 4588585"/>
              <a:gd name="connsiteX1839" fmla="*/ 2352950 w 5047599"/>
              <a:gd name="connsiteY1839" fmla="*/ 2660822 h 4588585"/>
              <a:gd name="connsiteX1840" fmla="*/ 2355167 w 5047599"/>
              <a:gd name="connsiteY1840" fmla="*/ 2666523 h 4588585"/>
              <a:gd name="connsiteX1841" fmla="*/ 2355695 w 5047599"/>
              <a:gd name="connsiteY1841" fmla="*/ 2672076 h 4588585"/>
              <a:gd name="connsiteX1842" fmla="*/ 2355695 w 5047599"/>
              <a:gd name="connsiteY1842" fmla="*/ 2672075 h 4588585"/>
              <a:gd name="connsiteX1843" fmla="*/ 2355168 w 5047599"/>
              <a:gd name="connsiteY1843" fmla="*/ 2666522 h 4588585"/>
              <a:gd name="connsiteX1844" fmla="*/ 2352951 w 5047599"/>
              <a:gd name="connsiteY1844" fmla="*/ 2660821 h 4588585"/>
              <a:gd name="connsiteX1845" fmla="*/ 2396848 w 5047599"/>
              <a:gd name="connsiteY1845" fmla="*/ 2653431 h 4588585"/>
              <a:gd name="connsiteX1846" fmla="*/ 2385340 w 5047599"/>
              <a:gd name="connsiteY1846" fmla="*/ 2667958 h 4588585"/>
              <a:gd name="connsiteX1847" fmla="*/ 2381523 w 5047599"/>
              <a:gd name="connsiteY1847" fmla="*/ 2671991 h 4588585"/>
              <a:gd name="connsiteX1848" fmla="*/ 2385340 w 5047599"/>
              <a:gd name="connsiteY1848" fmla="*/ 2667958 h 4588585"/>
              <a:gd name="connsiteX1849" fmla="*/ 2322377 w 5047599"/>
              <a:gd name="connsiteY1849" fmla="*/ 2653304 h 4588585"/>
              <a:gd name="connsiteX1850" fmla="*/ 2324319 w 5047599"/>
              <a:gd name="connsiteY1850" fmla="*/ 2654846 h 4588585"/>
              <a:gd name="connsiteX1851" fmla="*/ 2327803 w 5047599"/>
              <a:gd name="connsiteY1851" fmla="*/ 2654846 h 4588585"/>
              <a:gd name="connsiteX1852" fmla="*/ 2328617 w 5047599"/>
              <a:gd name="connsiteY1852" fmla="*/ 2654334 h 4588585"/>
              <a:gd name="connsiteX1853" fmla="*/ 2327803 w 5047599"/>
              <a:gd name="connsiteY1853" fmla="*/ 2654846 h 4588585"/>
              <a:gd name="connsiteX1854" fmla="*/ 2324319 w 5047599"/>
              <a:gd name="connsiteY1854" fmla="*/ 2654846 h 4588585"/>
              <a:gd name="connsiteX1855" fmla="*/ 2264980 w 5047599"/>
              <a:gd name="connsiteY1855" fmla="*/ 2652498 h 4588585"/>
              <a:gd name="connsiteX1856" fmla="*/ 2270309 w 5047599"/>
              <a:gd name="connsiteY1856" fmla="*/ 2658795 h 4588585"/>
              <a:gd name="connsiteX1857" fmla="*/ 2270333 w 5047599"/>
              <a:gd name="connsiteY1857" fmla="*/ 2658817 h 4588585"/>
              <a:gd name="connsiteX1858" fmla="*/ 2264987 w 5047599"/>
              <a:gd name="connsiteY1858" fmla="*/ 2652502 h 4588585"/>
              <a:gd name="connsiteX1859" fmla="*/ 2315932 w 5047599"/>
              <a:gd name="connsiteY1859" fmla="*/ 2652311 h 4588585"/>
              <a:gd name="connsiteX1860" fmla="*/ 2315831 w 5047599"/>
              <a:gd name="connsiteY1860" fmla="*/ 2652333 h 4588585"/>
              <a:gd name="connsiteX1861" fmla="*/ 2314522 w 5047599"/>
              <a:gd name="connsiteY1861" fmla="*/ 2653051 h 4588585"/>
              <a:gd name="connsiteX1862" fmla="*/ 2314522 w 5047599"/>
              <a:gd name="connsiteY1862" fmla="*/ 2653052 h 4588585"/>
              <a:gd name="connsiteX1863" fmla="*/ 2315831 w 5047599"/>
              <a:gd name="connsiteY1863" fmla="*/ 2652334 h 4588585"/>
              <a:gd name="connsiteX1864" fmla="*/ 2263045 w 5047599"/>
              <a:gd name="connsiteY1864" fmla="*/ 2651531 h 4588585"/>
              <a:gd name="connsiteX1865" fmla="*/ 2263026 w 5047599"/>
              <a:gd name="connsiteY1865" fmla="*/ 2651532 h 4588585"/>
              <a:gd name="connsiteX1866" fmla="*/ 2264040 w 5047599"/>
              <a:gd name="connsiteY1866" fmla="*/ 2652028 h 4588585"/>
              <a:gd name="connsiteX1867" fmla="*/ 2352529 w 5047599"/>
              <a:gd name="connsiteY1867" fmla="*/ 2643845 h 4588585"/>
              <a:gd name="connsiteX1868" fmla="*/ 2350037 w 5047599"/>
              <a:gd name="connsiteY1868" fmla="*/ 2644141 h 4588585"/>
              <a:gd name="connsiteX1869" fmla="*/ 2344737 w 5047599"/>
              <a:gd name="connsiteY1869" fmla="*/ 2647328 h 4588585"/>
              <a:gd name="connsiteX1870" fmla="*/ 2339226 w 5047599"/>
              <a:gd name="connsiteY1870" fmla="*/ 2649820 h 4588585"/>
              <a:gd name="connsiteX1871" fmla="*/ 2339052 w 5047599"/>
              <a:gd name="connsiteY1871" fmla="*/ 2649856 h 4588585"/>
              <a:gd name="connsiteX1872" fmla="*/ 2339226 w 5047599"/>
              <a:gd name="connsiteY1872" fmla="*/ 2649821 h 4588585"/>
              <a:gd name="connsiteX1873" fmla="*/ 2344737 w 5047599"/>
              <a:gd name="connsiteY1873" fmla="*/ 2647329 h 4588585"/>
              <a:gd name="connsiteX1874" fmla="*/ 2350037 w 5047599"/>
              <a:gd name="connsiteY1874" fmla="*/ 2644141 h 4588585"/>
              <a:gd name="connsiteX1875" fmla="*/ 2352528 w 5047599"/>
              <a:gd name="connsiteY1875" fmla="*/ 2643846 h 4588585"/>
              <a:gd name="connsiteX1876" fmla="*/ 2355167 w 5047599"/>
              <a:gd name="connsiteY1876" fmla="*/ 2648026 h 4588585"/>
              <a:gd name="connsiteX1877" fmla="*/ 2355399 w 5047599"/>
              <a:gd name="connsiteY1877" fmla="*/ 2648309 h 4588585"/>
              <a:gd name="connsiteX1878" fmla="*/ 2355168 w 5047599"/>
              <a:gd name="connsiteY1878" fmla="*/ 2648025 h 4588585"/>
              <a:gd name="connsiteX1879" fmla="*/ 2440118 w 5047599"/>
              <a:gd name="connsiteY1879" fmla="*/ 2623109 h 4588585"/>
              <a:gd name="connsiteX1880" fmla="*/ 2435277 w 5047599"/>
              <a:gd name="connsiteY1880" fmla="*/ 2625222 h 4588585"/>
              <a:gd name="connsiteX1881" fmla="*/ 2426113 w 5047599"/>
              <a:gd name="connsiteY1881" fmla="*/ 2627924 h 4588585"/>
              <a:gd name="connsiteX1882" fmla="*/ 2421721 w 5047599"/>
              <a:gd name="connsiteY1882" fmla="*/ 2631303 h 4588585"/>
              <a:gd name="connsiteX1883" fmla="*/ 2419039 w 5047599"/>
              <a:gd name="connsiteY1883" fmla="*/ 2636286 h 4588585"/>
              <a:gd name="connsiteX1884" fmla="*/ 2413929 w 5047599"/>
              <a:gd name="connsiteY1884" fmla="*/ 2640614 h 4588585"/>
              <a:gd name="connsiteX1885" fmla="*/ 2408891 w 5047599"/>
              <a:gd name="connsiteY1885" fmla="*/ 2643098 h 4588585"/>
              <a:gd name="connsiteX1886" fmla="*/ 2413929 w 5047599"/>
              <a:gd name="connsiteY1886" fmla="*/ 2640615 h 4588585"/>
              <a:gd name="connsiteX1887" fmla="*/ 2419039 w 5047599"/>
              <a:gd name="connsiteY1887" fmla="*/ 2636286 h 4588585"/>
              <a:gd name="connsiteX1888" fmla="*/ 2421721 w 5047599"/>
              <a:gd name="connsiteY1888" fmla="*/ 2631303 h 4588585"/>
              <a:gd name="connsiteX1889" fmla="*/ 2426113 w 5047599"/>
              <a:gd name="connsiteY1889" fmla="*/ 2627925 h 4588585"/>
              <a:gd name="connsiteX1890" fmla="*/ 2435277 w 5047599"/>
              <a:gd name="connsiteY1890" fmla="*/ 2625222 h 4588585"/>
              <a:gd name="connsiteX1891" fmla="*/ 2202952 w 5047599"/>
              <a:gd name="connsiteY1891" fmla="*/ 2598906 h 4588585"/>
              <a:gd name="connsiteX1892" fmla="*/ 2203269 w 5047599"/>
              <a:gd name="connsiteY1892" fmla="*/ 2601194 h 4588585"/>
              <a:gd name="connsiteX1893" fmla="*/ 2205951 w 5047599"/>
              <a:gd name="connsiteY1893" fmla="*/ 2603875 h 4588585"/>
              <a:gd name="connsiteX1894" fmla="*/ 2203269 w 5047599"/>
              <a:gd name="connsiteY1894" fmla="*/ 2601172 h 4588585"/>
              <a:gd name="connsiteX1895" fmla="*/ 3731074 w 5047599"/>
              <a:gd name="connsiteY1895" fmla="*/ 2597106 h 4588585"/>
              <a:gd name="connsiteX1896" fmla="*/ 3731144 w 5047599"/>
              <a:gd name="connsiteY1896" fmla="*/ 2597182 h 4588585"/>
              <a:gd name="connsiteX1897" fmla="*/ 3733990 w 5047599"/>
              <a:gd name="connsiteY1897" fmla="*/ 2597497 h 4588585"/>
              <a:gd name="connsiteX1898" fmla="*/ 3733847 w 5047599"/>
              <a:gd name="connsiteY1898" fmla="*/ 2597414 h 4588585"/>
              <a:gd name="connsiteX1899" fmla="*/ 2461152 w 5047599"/>
              <a:gd name="connsiteY1899" fmla="*/ 2578004 h 4588585"/>
              <a:gd name="connsiteX1900" fmla="*/ 2461099 w 5047599"/>
              <a:gd name="connsiteY1900" fmla="*/ 2578326 h 4588585"/>
              <a:gd name="connsiteX1901" fmla="*/ 2460680 w 5047599"/>
              <a:gd name="connsiteY1901" fmla="*/ 2580908 h 4588585"/>
              <a:gd name="connsiteX1902" fmla="*/ 2461099 w 5047599"/>
              <a:gd name="connsiteY1902" fmla="*/ 2578327 h 4588585"/>
              <a:gd name="connsiteX1903" fmla="*/ 2194359 w 5047599"/>
              <a:gd name="connsiteY1903" fmla="*/ 2574336 h 4588585"/>
              <a:gd name="connsiteX1904" fmla="*/ 2194359 w 5047599"/>
              <a:gd name="connsiteY1904" fmla="*/ 2574337 h 4588585"/>
              <a:gd name="connsiteX1905" fmla="*/ 2195922 w 5047599"/>
              <a:gd name="connsiteY1905" fmla="*/ 2577292 h 4588585"/>
              <a:gd name="connsiteX1906" fmla="*/ 2199997 w 5047599"/>
              <a:gd name="connsiteY1906" fmla="*/ 2580396 h 4588585"/>
              <a:gd name="connsiteX1907" fmla="*/ 2205972 w 5047599"/>
              <a:gd name="connsiteY1907" fmla="*/ 2583584 h 4588585"/>
              <a:gd name="connsiteX1908" fmla="*/ 2199997 w 5047599"/>
              <a:gd name="connsiteY1908" fmla="*/ 2580374 h 4588585"/>
              <a:gd name="connsiteX1909" fmla="*/ 2195922 w 5047599"/>
              <a:gd name="connsiteY1909" fmla="*/ 2577292 h 4588585"/>
              <a:gd name="connsiteX1910" fmla="*/ 3325717 w 5047599"/>
              <a:gd name="connsiteY1910" fmla="*/ 2566017 h 4588585"/>
              <a:gd name="connsiteX1911" fmla="*/ 3326651 w 5047599"/>
              <a:gd name="connsiteY1911" fmla="*/ 2567706 h 4588585"/>
              <a:gd name="connsiteX1912" fmla="*/ 3326461 w 5047599"/>
              <a:gd name="connsiteY1912" fmla="*/ 2570915 h 4588585"/>
              <a:gd name="connsiteX1913" fmla="*/ 3327475 w 5047599"/>
              <a:gd name="connsiteY1913" fmla="*/ 2573703 h 4588585"/>
              <a:gd name="connsiteX1914" fmla="*/ 3327496 w 5047599"/>
              <a:gd name="connsiteY1914" fmla="*/ 2578685 h 4588585"/>
              <a:gd name="connsiteX1915" fmla="*/ 3326250 w 5047599"/>
              <a:gd name="connsiteY1915" fmla="*/ 2583078 h 4588585"/>
              <a:gd name="connsiteX1916" fmla="*/ 3319831 w 5047599"/>
              <a:gd name="connsiteY1916" fmla="*/ 2585147 h 4588585"/>
              <a:gd name="connsiteX1917" fmla="*/ 3316517 w 5047599"/>
              <a:gd name="connsiteY1917" fmla="*/ 2587385 h 4588585"/>
              <a:gd name="connsiteX1918" fmla="*/ 3315630 w 5047599"/>
              <a:gd name="connsiteY1918" fmla="*/ 2588525 h 4588585"/>
              <a:gd name="connsiteX1919" fmla="*/ 3316432 w 5047599"/>
              <a:gd name="connsiteY1919" fmla="*/ 2589856 h 4588585"/>
              <a:gd name="connsiteX1920" fmla="*/ 3316854 w 5047599"/>
              <a:gd name="connsiteY1920" fmla="*/ 2591608 h 4588585"/>
              <a:gd name="connsiteX1921" fmla="*/ 3310815 w 5047599"/>
              <a:gd name="connsiteY1921" fmla="*/ 2596000 h 4588585"/>
              <a:gd name="connsiteX1922" fmla="*/ 3304608 w 5047599"/>
              <a:gd name="connsiteY1922" fmla="*/ 2601700 h 4588585"/>
              <a:gd name="connsiteX1923" fmla="*/ 3303129 w 5047599"/>
              <a:gd name="connsiteY1923" fmla="*/ 2605544 h 4588585"/>
              <a:gd name="connsiteX1924" fmla="*/ 3301884 w 5047599"/>
              <a:gd name="connsiteY1924" fmla="*/ 2610125 h 4588585"/>
              <a:gd name="connsiteX1925" fmla="*/ 3300068 w 5047599"/>
              <a:gd name="connsiteY1925" fmla="*/ 2613018 h 4588585"/>
              <a:gd name="connsiteX1926" fmla="*/ 3295339 w 5047599"/>
              <a:gd name="connsiteY1926" fmla="*/ 2617219 h 4588585"/>
              <a:gd name="connsiteX1927" fmla="*/ 3290503 w 5047599"/>
              <a:gd name="connsiteY1927" fmla="*/ 2625666 h 4588585"/>
              <a:gd name="connsiteX1928" fmla="*/ 3288138 w 5047599"/>
              <a:gd name="connsiteY1928" fmla="*/ 2631155 h 4588585"/>
              <a:gd name="connsiteX1929" fmla="*/ 3276293 w 5047599"/>
              <a:gd name="connsiteY1929" fmla="*/ 2644310 h 4588585"/>
              <a:gd name="connsiteX1930" fmla="*/ 3265757 w 5047599"/>
              <a:gd name="connsiteY1930" fmla="*/ 2650876 h 4588585"/>
              <a:gd name="connsiteX1931" fmla="*/ 3262695 w 5047599"/>
              <a:gd name="connsiteY1931" fmla="*/ 2653114 h 4588585"/>
              <a:gd name="connsiteX1932" fmla="*/ 3244051 w 5047599"/>
              <a:gd name="connsiteY1932" fmla="*/ 2652735 h 4588585"/>
              <a:gd name="connsiteX1933" fmla="*/ 3244115 w 5047599"/>
              <a:gd name="connsiteY1933" fmla="*/ 2655564 h 4588585"/>
              <a:gd name="connsiteX1934" fmla="*/ 3241939 w 5047599"/>
              <a:gd name="connsiteY1934" fmla="*/ 2665763 h 4588585"/>
              <a:gd name="connsiteX1935" fmla="*/ 3239469 w 5047599"/>
              <a:gd name="connsiteY1935" fmla="*/ 2675686 h 4588585"/>
              <a:gd name="connsiteX1936" fmla="*/ 3239322 w 5047599"/>
              <a:gd name="connsiteY1936" fmla="*/ 2679445 h 4588585"/>
              <a:gd name="connsiteX1937" fmla="*/ 3240482 w 5047599"/>
              <a:gd name="connsiteY1937" fmla="*/ 2684448 h 4588585"/>
              <a:gd name="connsiteX1938" fmla="*/ 3245064 w 5047599"/>
              <a:gd name="connsiteY1938" fmla="*/ 2695914 h 4588585"/>
              <a:gd name="connsiteX1939" fmla="*/ 3248401 w 5047599"/>
              <a:gd name="connsiteY1939" fmla="*/ 2704255 h 4588585"/>
              <a:gd name="connsiteX1940" fmla="*/ 3250005 w 5047599"/>
              <a:gd name="connsiteY1940" fmla="*/ 2709279 h 4588585"/>
              <a:gd name="connsiteX1941" fmla="*/ 3252307 w 5047599"/>
              <a:gd name="connsiteY1941" fmla="*/ 2715129 h 4588585"/>
              <a:gd name="connsiteX1942" fmla="*/ 3255368 w 5047599"/>
              <a:gd name="connsiteY1942" fmla="*/ 2724123 h 4588585"/>
              <a:gd name="connsiteX1943" fmla="*/ 3256128 w 5047599"/>
              <a:gd name="connsiteY1943" fmla="*/ 2728388 h 4588585"/>
              <a:gd name="connsiteX1944" fmla="*/ 3255496 w 5047599"/>
              <a:gd name="connsiteY1944" fmla="*/ 2731555 h 4588585"/>
              <a:gd name="connsiteX1945" fmla="*/ 3249245 w 5047599"/>
              <a:gd name="connsiteY1945" fmla="*/ 2742830 h 4588585"/>
              <a:gd name="connsiteX1946" fmla="*/ 3248612 w 5047599"/>
              <a:gd name="connsiteY1946" fmla="*/ 2746378 h 4588585"/>
              <a:gd name="connsiteX1947" fmla="*/ 3250153 w 5047599"/>
              <a:gd name="connsiteY1947" fmla="*/ 2755119 h 4588585"/>
              <a:gd name="connsiteX1948" fmla="*/ 3252201 w 5047599"/>
              <a:gd name="connsiteY1948" fmla="*/ 2763565 h 4588585"/>
              <a:gd name="connsiteX1949" fmla="*/ 3255158 w 5047599"/>
              <a:gd name="connsiteY1949" fmla="*/ 2768358 h 4588585"/>
              <a:gd name="connsiteX1950" fmla="*/ 3262210 w 5047599"/>
              <a:gd name="connsiteY1950" fmla="*/ 2781618 h 4588585"/>
              <a:gd name="connsiteX1951" fmla="*/ 3267467 w 5047599"/>
              <a:gd name="connsiteY1951" fmla="*/ 2786094 h 4588585"/>
              <a:gd name="connsiteX1952" fmla="*/ 3277159 w 5047599"/>
              <a:gd name="connsiteY1952" fmla="*/ 2792703 h 4588585"/>
              <a:gd name="connsiteX1953" fmla="*/ 3285710 w 5047599"/>
              <a:gd name="connsiteY1953" fmla="*/ 2799375 h 4588585"/>
              <a:gd name="connsiteX1954" fmla="*/ 3289004 w 5047599"/>
              <a:gd name="connsiteY1954" fmla="*/ 2802839 h 4588585"/>
              <a:gd name="connsiteX1955" fmla="*/ 3292023 w 5047599"/>
              <a:gd name="connsiteY1955" fmla="*/ 2806702 h 4588585"/>
              <a:gd name="connsiteX1956" fmla="*/ 3297978 w 5047599"/>
              <a:gd name="connsiteY1956" fmla="*/ 2816584 h 4588585"/>
              <a:gd name="connsiteX1957" fmla="*/ 3301609 w 5047599"/>
              <a:gd name="connsiteY1957" fmla="*/ 2824629 h 4588585"/>
              <a:gd name="connsiteX1958" fmla="*/ 3303531 w 5047599"/>
              <a:gd name="connsiteY1958" fmla="*/ 2831914 h 4588585"/>
              <a:gd name="connsiteX1959" fmla="*/ 3308197 w 5047599"/>
              <a:gd name="connsiteY1959" fmla="*/ 2841858 h 4588585"/>
              <a:gd name="connsiteX1960" fmla="*/ 3312547 w 5047599"/>
              <a:gd name="connsiteY1960" fmla="*/ 2851106 h 4588585"/>
              <a:gd name="connsiteX1961" fmla="*/ 3318164 w 5047599"/>
              <a:gd name="connsiteY1961" fmla="*/ 2862382 h 4588585"/>
              <a:gd name="connsiteX1962" fmla="*/ 3322133 w 5047599"/>
              <a:gd name="connsiteY1962" fmla="*/ 2870363 h 4588585"/>
              <a:gd name="connsiteX1963" fmla="*/ 3323928 w 5047599"/>
              <a:gd name="connsiteY1963" fmla="*/ 2875705 h 4588585"/>
              <a:gd name="connsiteX1964" fmla="*/ 3325447 w 5047599"/>
              <a:gd name="connsiteY1964" fmla="*/ 2880012 h 4588585"/>
              <a:gd name="connsiteX1965" fmla="*/ 3328657 w 5047599"/>
              <a:gd name="connsiteY1965" fmla="*/ 2887191 h 4588585"/>
              <a:gd name="connsiteX1966" fmla="*/ 3332268 w 5047599"/>
              <a:gd name="connsiteY1966" fmla="*/ 2892449 h 4588585"/>
              <a:gd name="connsiteX1967" fmla="*/ 3336807 w 5047599"/>
              <a:gd name="connsiteY1967" fmla="*/ 2897072 h 4588585"/>
              <a:gd name="connsiteX1968" fmla="*/ 3340650 w 5047599"/>
              <a:gd name="connsiteY1968" fmla="*/ 2899881 h 4588585"/>
              <a:gd name="connsiteX1969" fmla="*/ 3342541 w 5047599"/>
              <a:gd name="connsiteY1969" fmla="*/ 2900506 h 4588585"/>
              <a:gd name="connsiteX1970" fmla="*/ 3340756 w 5047599"/>
              <a:gd name="connsiteY1970" fmla="*/ 2899902 h 4588585"/>
              <a:gd name="connsiteX1971" fmla="*/ 3336893 w 5047599"/>
              <a:gd name="connsiteY1971" fmla="*/ 2897115 h 4588585"/>
              <a:gd name="connsiteX1972" fmla="*/ 3332373 w 5047599"/>
              <a:gd name="connsiteY1972" fmla="*/ 2892490 h 4588585"/>
              <a:gd name="connsiteX1973" fmla="*/ 3328742 w 5047599"/>
              <a:gd name="connsiteY1973" fmla="*/ 2887190 h 4588585"/>
              <a:gd name="connsiteX1974" fmla="*/ 3325554 w 5047599"/>
              <a:gd name="connsiteY1974" fmla="*/ 2880053 h 4588585"/>
              <a:gd name="connsiteX1975" fmla="*/ 3324033 w 5047599"/>
              <a:gd name="connsiteY1975" fmla="*/ 2875725 h 4588585"/>
              <a:gd name="connsiteX1976" fmla="*/ 3322239 w 5047599"/>
              <a:gd name="connsiteY1976" fmla="*/ 2870384 h 4588585"/>
              <a:gd name="connsiteX1977" fmla="*/ 3318269 w 5047599"/>
              <a:gd name="connsiteY1977" fmla="*/ 2862402 h 4588585"/>
              <a:gd name="connsiteX1978" fmla="*/ 3312652 w 5047599"/>
              <a:gd name="connsiteY1978" fmla="*/ 2851126 h 4588585"/>
              <a:gd name="connsiteX1979" fmla="*/ 3308303 w 5047599"/>
              <a:gd name="connsiteY1979" fmla="*/ 2841857 h 4588585"/>
              <a:gd name="connsiteX1980" fmla="*/ 3303636 w 5047599"/>
              <a:gd name="connsiteY1980" fmla="*/ 2831934 h 4588585"/>
              <a:gd name="connsiteX1981" fmla="*/ 3301736 w 5047599"/>
              <a:gd name="connsiteY1981" fmla="*/ 2824649 h 4588585"/>
              <a:gd name="connsiteX1982" fmla="*/ 3298105 w 5047599"/>
              <a:gd name="connsiteY1982" fmla="*/ 2816605 h 4588585"/>
              <a:gd name="connsiteX1983" fmla="*/ 3292150 w 5047599"/>
              <a:gd name="connsiteY1983" fmla="*/ 2806723 h 4588585"/>
              <a:gd name="connsiteX1984" fmla="*/ 3289131 w 5047599"/>
              <a:gd name="connsiteY1984" fmla="*/ 2802859 h 4588585"/>
              <a:gd name="connsiteX1985" fmla="*/ 3285837 w 5047599"/>
              <a:gd name="connsiteY1985" fmla="*/ 2799396 h 4588585"/>
              <a:gd name="connsiteX1986" fmla="*/ 3277286 w 5047599"/>
              <a:gd name="connsiteY1986" fmla="*/ 2792723 h 4588585"/>
              <a:gd name="connsiteX1987" fmla="*/ 3267594 w 5047599"/>
              <a:gd name="connsiteY1987" fmla="*/ 2786115 h 4588585"/>
              <a:gd name="connsiteX1988" fmla="*/ 3262337 w 5047599"/>
              <a:gd name="connsiteY1988" fmla="*/ 2781659 h 4588585"/>
              <a:gd name="connsiteX1989" fmla="*/ 3255284 w 5047599"/>
              <a:gd name="connsiteY1989" fmla="*/ 2768378 h 4588585"/>
              <a:gd name="connsiteX1990" fmla="*/ 3252328 w 5047599"/>
              <a:gd name="connsiteY1990" fmla="*/ 2763585 h 4588585"/>
              <a:gd name="connsiteX1991" fmla="*/ 3250280 w 5047599"/>
              <a:gd name="connsiteY1991" fmla="*/ 2755161 h 4588585"/>
              <a:gd name="connsiteX1992" fmla="*/ 3248739 w 5047599"/>
              <a:gd name="connsiteY1992" fmla="*/ 2746419 h 4588585"/>
              <a:gd name="connsiteX1993" fmla="*/ 3249372 w 5047599"/>
              <a:gd name="connsiteY1993" fmla="*/ 2742873 h 4588585"/>
              <a:gd name="connsiteX1994" fmla="*/ 3255622 w 5047599"/>
              <a:gd name="connsiteY1994" fmla="*/ 2731597 h 4588585"/>
              <a:gd name="connsiteX1995" fmla="*/ 3256255 w 5047599"/>
              <a:gd name="connsiteY1995" fmla="*/ 2728451 h 4588585"/>
              <a:gd name="connsiteX1996" fmla="*/ 3255496 w 5047599"/>
              <a:gd name="connsiteY1996" fmla="*/ 2724165 h 4588585"/>
              <a:gd name="connsiteX1997" fmla="*/ 3252412 w 5047599"/>
              <a:gd name="connsiteY1997" fmla="*/ 2715191 h 4588585"/>
              <a:gd name="connsiteX1998" fmla="*/ 3250111 w 5047599"/>
              <a:gd name="connsiteY1998" fmla="*/ 2709342 h 4588585"/>
              <a:gd name="connsiteX1999" fmla="*/ 3248506 w 5047599"/>
              <a:gd name="connsiteY1999" fmla="*/ 2704338 h 4588585"/>
              <a:gd name="connsiteX2000" fmla="*/ 3245170 w 5047599"/>
              <a:gd name="connsiteY2000" fmla="*/ 2695997 h 4588585"/>
              <a:gd name="connsiteX2001" fmla="*/ 3240588 w 5047599"/>
              <a:gd name="connsiteY2001" fmla="*/ 2684512 h 4588585"/>
              <a:gd name="connsiteX2002" fmla="*/ 3239427 w 5047599"/>
              <a:gd name="connsiteY2002" fmla="*/ 2679507 h 4588585"/>
              <a:gd name="connsiteX2003" fmla="*/ 3239575 w 5047599"/>
              <a:gd name="connsiteY2003" fmla="*/ 2675749 h 4588585"/>
              <a:gd name="connsiteX2004" fmla="*/ 3242045 w 5047599"/>
              <a:gd name="connsiteY2004" fmla="*/ 2665825 h 4588585"/>
              <a:gd name="connsiteX2005" fmla="*/ 3244220 w 5047599"/>
              <a:gd name="connsiteY2005" fmla="*/ 2655627 h 4588585"/>
              <a:gd name="connsiteX2006" fmla="*/ 3244157 w 5047599"/>
              <a:gd name="connsiteY2006" fmla="*/ 2652819 h 4588585"/>
              <a:gd name="connsiteX2007" fmla="*/ 3262800 w 5047599"/>
              <a:gd name="connsiteY2007" fmla="*/ 2653199 h 4588585"/>
              <a:gd name="connsiteX2008" fmla="*/ 3265862 w 5047599"/>
              <a:gd name="connsiteY2008" fmla="*/ 2650982 h 4588585"/>
              <a:gd name="connsiteX2009" fmla="*/ 3276398 w 5047599"/>
              <a:gd name="connsiteY2009" fmla="*/ 2644394 h 4588585"/>
              <a:gd name="connsiteX2010" fmla="*/ 3288244 w 5047599"/>
              <a:gd name="connsiteY2010" fmla="*/ 2631218 h 4588585"/>
              <a:gd name="connsiteX2011" fmla="*/ 3290609 w 5047599"/>
              <a:gd name="connsiteY2011" fmla="*/ 2625728 h 4588585"/>
              <a:gd name="connsiteX2012" fmla="*/ 3295444 w 5047599"/>
              <a:gd name="connsiteY2012" fmla="*/ 2617283 h 4588585"/>
              <a:gd name="connsiteX2013" fmla="*/ 3300174 w 5047599"/>
              <a:gd name="connsiteY2013" fmla="*/ 2613102 h 4588585"/>
              <a:gd name="connsiteX2014" fmla="*/ 3301990 w 5047599"/>
              <a:gd name="connsiteY2014" fmla="*/ 2610209 h 4588585"/>
              <a:gd name="connsiteX2015" fmla="*/ 3303235 w 5047599"/>
              <a:gd name="connsiteY2015" fmla="*/ 2605627 h 4588585"/>
              <a:gd name="connsiteX2016" fmla="*/ 3304714 w 5047599"/>
              <a:gd name="connsiteY2016" fmla="*/ 2601785 h 4588585"/>
              <a:gd name="connsiteX2017" fmla="*/ 3310921 w 5047599"/>
              <a:gd name="connsiteY2017" fmla="*/ 2596062 h 4588585"/>
              <a:gd name="connsiteX2018" fmla="*/ 3316960 w 5047599"/>
              <a:gd name="connsiteY2018" fmla="*/ 2591670 h 4588585"/>
              <a:gd name="connsiteX2019" fmla="*/ 3316517 w 5047599"/>
              <a:gd name="connsiteY2019" fmla="*/ 2589918 h 4588585"/>
              <a:gd name="connsiteX2020" fmla="*/ 3315714 w 5047599"/>
              <a:gd name="connsiteY2020" fmla="*/ 2588587 h 4588585"/>
              <a:gd name="connsiteX2021" fmla="*/ 3316601 w 5047599"/>
              <a:gd name="connsiteY2021" fmla="*/ 2587469 h 4588585"/>
              <a:gd name="connsiteX2022" fmla="*/ 3319895 w 5047599"/>
              <a:gd name="connsiteY2022" fmla="*/ 2585231 h 4588585"/>
              <a:gd name="connsiteX2023" fmla="*/ 3326314 w 5047599"/>
              <a:gd name="connsiteY2023" fmla="*/ 2583161 h 4588585"/>
              <a:gd name="connsiteX2024" fmla="*/ 3327580 w 5047599"/>
              <a:gd name="connsiteY2024" fmla="*/ 2578770 h 4588585"/>
              <a:gd name="connsiteX2025" fmla="*/ 3327560 w 5047599"/>
              <a:gd name="connsiteY2025" fmla="*/ 2573786 h 4588585"/>
              <a:gd name="connsiteX2026" fmla="*/ 3326525 w 5047599"/>
              <a:gd name="connsiteY2026" fmla="*/ 2570999 h 4588585"/>
              <a:gd name="connsiteX2027" fmla="*/ 3326715 w 5047599"/>
              <a:gd name="connsiteY2027" fmla="*/ 2567790 h 4588585"/>
              <a:gd name="connsiteX2028" fmla="*/ 3325722 w 5047599"/>
              <a:gd name="connsiteY2028" fmla="*/ 2566017 h 4588585"/>
              <a:gd name="connsiteX2029" fmla="*/ 3229249 w 5047599"/>
              <a:gd name="connsiteY2029" fmla="*/ 2564159 h 4588585"/>
              <a:gd name="connsiteX2030" fmla="*/ 3233451 w 5047599"/>
              <a:gd name="connsiteY2030" fmla="*/ 2569987 h 4588585"/>
              <a:gd name="connsiteX2031" fmla="*/ 3233557 w 5047599"/>
              <a:gd name="connsiteY2031" fmla="*/ 2575033 h 4588585"/>
              <a:gd name="connsiteX2032" fmla="*/ 3233451 w 5047599"/>
              <a:gd name="connsiteY2032" fmla="*/ 2569986 h 4588585"/>
              <a:gd name="connsiteX2033" fmla="*/ 2185385 w 5047599"/>
              <a:gd name="connsiteY2033" fmla="*/ 2557149 h 4588585"/>
              <a:gd name="connsiteX2034" fmla="*/ 2191403 w 5047599"/>
              <a:gd name="connsiteY2034" fmla="*/ 2558247 h 4588585"/>
              <a:gd name="connsiteX2035" fmla="*/ 2193557 w 5047599"/>
              <a:gd name="connsiteY2035" fmla="*/ 2560105 h 4588585"/>
              <a:gd name="connsiteX2036" fmla="*/ 2195668 w 5047599"/>
              <a:gd name="connsiteY2036" fmla="*/ 2563040 h 4588585"/>
              <a:gd name="connsiteX2037" fmla="*/ 2198560 w 5047599"/>
              <a:gd name="connsiteY2037" fmla="*/ 2565805 h 4588585"/>
              <a:gd name="connsiteX2038" fmla="*/ 2195668 w 5047599"/>
              <a:gd name="connsiteY2038" fmla="*/ 2563039 h 4588585"/>
              <a:gd name="connsiteX2039" fmla="*/ 2193557 w 5047599"/>
              <a:gd name="connsiteY2039" fmla="*/ 2560083 h 4588585"/>
              <a:gd name="connsiteX2040" fmla="*/ 2191403 w 5047599"/>
              <a:gd name="connsiteY2040" fmla="*/ 2558246 h 4588585"/>
              <a:gd name="connsiteX2041" fmla="*/ 3220994 w 5047599"/>
              <a:gd name="connsiteY2041" fmla="*/ 2552485 h 4588585"/>
              <a:gd name="connsiteX2042" fmla="*/ 3220994 w 5047599"/>
              <a:gd name="connsiteY2042" fmla="*/ 2552503 h 4588585"/>
              <a:gd name="connsiteX2043" fmla="*/ 3221142 w 5047599"/>
              <a:gd name="connsiteY2043" fmla="*/ 2554932 h 4588585"/>
              <a:gd name="connsiteX2044" fmla="*/ 3307460 w 5047599"/>
              <a:gd name="connsiteY2044" fmla="*/ 2548752 h 4588585"/>
              <a:gd name="connsiteX2045" fmla="*/ 3306107 w 5047599"/>
              <a:gd name="connsiteY2045" fmla="*/ 2552208 h 4588585"/>
              <a:gd name="connsiteX2046" fmla="*/ 3305579 w 5047599"/>
              <a:gd name="connsiteY2046" fmla="*/ 2553137 h 4588585"/>
              <a:gd name="connsiteX2047" fmla="*/ 3304545 w 5047599"/>
              <a:gd name="connsiteY2047" fmla="*/ 2556388 h 4588585"/>
              <a:gd name="connsiteX2048" fmla="*/ 3305114 w 5047599"/>
              <a:gd name="connsiteY2048" fmla="*/ 2559366 h 4588585"/>
              <a:gd name="connsiteX2049" fmla="*/ 3305157 w 5047599"/>
              <a:gd name="connsiteY2049" fmla="*/ 2559402 h 4588585"/>
              <a:gd name="connsiteX2050" fmla="*/ 3304608 w 5047599"/>
              <a:gd name="connsiteY2050" fmla="*/ 2556515 h 4588585"/>
              <a:gd name="connsiteX2051" fmla="*/ 3305643 w 5047599"/>
              <a:gd name="connsiteY2051" fmla="*/ 2553242 h 4588585"/>
              <a:gd name="connsiteX2052" fmla="*/ 3306170 w 5047599"/>
              <a:gd name="connsiteY2052" fmla="*/ 2552313 h 4588585"/>
              <a:gd name="connsiteX2053" fmla="*/ 3307521 w 5047599"/>
              <a:gd name="connsiteY2053" fmla="*/ 2548808 h 4588585"/>
              <a:gd name="connsiteX2054" fmla="*/ 3237502 w 5047599"/>
              <a:gd name="connsiteY2054" fmla="*/ 2547301 h 4588585"/>
              <a:gd name="connsiteX2055" fmla="*/ 3237758 w 5047599"/>
              <a:gd name="connsiteY2055" fmla="*/ 2547436 h 4588585"/>
              <a:gd name="connsiteX2056" fmla="*/ 3240884 w 5047599"/>
              <a:gd name="connsiteY2056" fmla="*/ 2554467 h 4588585"/>
              <a:gd name="connsiteX2057" fmla="*/ 3237758 w 5047599"/>
              <a:gd name="connsiteY2057" fmla="*/ 2547436 h 4588585"/>
              <a:gd name="connsiteX2058" fmla="*/ 3226209 w 5047599"/>
              <a:gd name="connsiteY2058" fmla="*/ 2542854 h 4588585"/>
              <a:gd name="connsiteX2059" fmla="*/ 3223908 w 5047599"/>
              <a:gd name="connsiteY2059" fmla="*/ 2543255 h 4588585"/>
              <a:gd name="connsiteX2060" fmla="*/ 3226209 w 5047599"/>
              <a:gd name="connsiteY2060" fmla="*/ 2542855 h 4588585"/>
              <a:gd name="connsiteX2061" fmla="*/ 3226440 w 5047599"/>
              <a:gd name="connsiteY2061" fmla="*/ 2542914 h 4588585"/>
              <a:gd name="connsiteX2062" fmla="*/ 3213730 w 5047599"/>
              <a:gd name="connsiteY2062" fmla="*/ 2540490 h 4588585"/>
              <a:gd name="connsiteX2063" fmla="*/ 3213878 w 5047599"/>
              <a:gd name="connsiteY2063" fmla="*/ 2545198 h 4588585"/>
              <a:gd name="connsiteX2064" fmla="*/ 3215525 w 5047599"/>
              <a:gd name="connsiteY2064" fmla="*/ 2547964 h 4588585"/>
              <a:gd name="connsiteX2065" fmla="*/ 3213878 w 5047599"/>
              <a:gd name="connsiteY2065" fmla="*/ 2545197 h 4588585"/>
              <a:gd name="connsiteX2066" fmla="*/ 2187624 w 5047599"/>
              <a:gd name="connsiteY2066" fmla="*/ 2531078 h 4588585"/>
              <a:gd name="connsiteX2067" fmla="*/ 2187623 w 5047599"/>
              <a:gd name="connsiteY2067" fmla="*/ 2531094 h 4588585"/>
              <a:gd name="connsiteX2068" fmla="*/ 2189291 w 5047599"/>
              <a:gd name="connsiteY2068" fmla="*/ 2542833 h 4588585"/>
              <a:gd name="connsiteX2069" fmla="*/ 2189291 w 5047599"/>
              <a:gd name="connsiteY2069" fmla="*/ 2542833 h 4588585"/>
              <a:gd name="connsiteX2070" fmla="*/ 2323671 w 5047599"/>
              <a:gd name="connsiteY2070" fmla="*/ 2526600 h 4588585"/>
              <a:gd name="connsiteX2071" fmla="*/ 2324087 w 5047599"/>
              <a:gd name="connsiteY2071" fmla="*/ 2527123 h 4588585"/>
              <a:gd name="connsiteX2072" fmla="*/ 2324636 w 5047599"/>
              <a:gd name="connsiteY2072" fmla="*/ 2529763 h 4588585"/>
              <a:gd name="connsiteX2073" fmla="*/ 2323116 w 5047599"/>
              <a:gd name="connsiteY2073" fmla="*/ 2533035 h 4588585"/>
              <a:gd name="connsiteX2074" fmla="*/ 2323116 w 5047599"/>
              <a:gd name="connsiteY2074" fmla="*/ 2533036 h 4588585"/>
              <a:gd name="connsiteX2075" fmla="*/ 2324636 w 5047599"/>
              <a:gd name="connsiteY2075" fmla="*/ 2529763 h 4588585"/>
              <a:gd name="connsiteX2076" fmla="*/ 2324087 w 5047599"/>
              <a:gd name="connsiteY2076" fmla="*/ 2527124 h 4588585"/>
              <a:gd name="connsiteX2077" fmla="*/ 2340937 w 5047599"/>
              <a:gd name="connsiteY2077" fmla="*/ 2523302 h 4588585"/>
              <a:gd name="connsiteX2078" fmla="*/ 2340937 w 5047599"/>
              <a:gd name="connsiteY2078" fmla="*/ 2523323 h 4588585"/>
              <a:gd name="connsiteX2079" fmla="*/ 2343175 w 5047599"/>
              <a:gd name="connsiteY2079" fmla="*/ 2525371 h 4588585"/>
              <a:gd name="connsiteX2080" fmla="*/ 2461494 w 5047599"/>
              <a:gd name="connsiteY2080" fmla="*/ 2522698 h 4588585"/>
              <a:gd name="connsiteX2081" fmla="*/ 2461163 w 5047599"/>
              <a:gd name="connsiteY2081" fmla="*/ 2524104 h 4588585"/>
              <a:gd name="connsiteX2082" fmla="*/ 2461163 w 5047599"/>
              <a:gd name="connsiteY2082" fmla="*/ 2524104 h 4588585"/>
              <a:gd name="connsiteX2083" fmla="*/ 3228932 w 5047599"/>
              <a:gd name="connsiteY2083" fmla="*/ 2515388 h 4588585"/>
              <a:gd name="connsiteX2084" fmla="*/ 3227962 w 5047599"/>
              <a:gd name="connsiteY2084" fmla="*/ 2519142 h 4588585"/>
              <a:gd name="connsiteX2085" fmla="*/ 3226483 w 5047599"/>
              <a:gd name="connsiteY2085" fmla="*/ 2521380 h 4588585"/>
              <a:gd name="connsiteX2086" fmla="*/ 3219557 w 5047599"/>
              <a:gd name="connsiteY2086" fmla="*/ 2526110 h 4588585"/>
              <a:gd name="connsiteX2087" fmla="*/ 3214998 w 5047599"/>
              <a:gd name="connsiteY2087" fmla="*/ 2529510 h 4588585"/>
              <a:gd name="connsiteX2088" fmla="*/ 3219558 w 5047599"/>
              <a:gd name="connsiteY2088" fmla="*/ 2526110 h 4588585"/>
              <a:gd name="connsiteX2089" fmla="*/ 3226484 w 5047599"/>
              <a:gd name="connsiteY2089" fmla="*/ 2521380 h 4588585"/>
              <a:gd name="connsiteX2090" fmla="*/ 3227962 w 5047599"/>
              <a:gd name="connsiteY2090" fmla="*/ 2519142 h 4588585"/>
              <a:gd name="connsiteX2091" fmla="*/ 3228933 w 5047599"/>
              <a:gd name="connsiteY2091" fmla="*/ 2515405 h 4588585"/>
              <a:gd name="connsiteX2092" fmla="*/ 3936378 w 5047599"/>
              <a:gd name="connsiteY2092" fmla="*/ 2509725 h 4588585"/>
              <a:gd name="connsiteX2093" fmla="*/ 3939017 w 5047599"/>
              <a:gd name="connsiteY2093" fmla="*/ 2510696 h 4588585"/>
              <a:gd name="connsiteX2094" fmla="*/ 3939524 w 5047599"/>
              <a:gd name="connsiteY2094" fmla="*/ 2511689 h 4588585"/>
              <a:gd name="connsiteX2095" fmla="*/ 3939377 w 5047599"/>
              <a:gd name="connsiteY2095" fmla="*/ 2512597 h 4588585"/>
              <a:gd name="connsiteX2096" fmla="*/ 3938278 w 5047599"/>
              <a:gd name="connsiteY2096" fmla="*/ 2513483 h 4588585"/>
              <a:gd name="connsiteX2097" fmla="*/ 3930931 w 5047599"/>
              <a:gd name="connsiteY2097" fmla="*/ 2516968 h 4588585"/>
              <a:gd name="connsiteX2098" fmla="*/ 3928735 w 5047599"/>
              <a:gd name="connsiteY2098" fmla="*/ 2517474 h 4588585"/>
              <a:gd name="connsiteX2099" fmla="*/ 3929875 w 5047599"/>
              <a:gd name="connsiteY2099" fmla="*/ 2514075 h 4588585"/>
              <a:gd name="connsiteX2100" fmla="*/ 3623993 w 5047599"/>
              <a:gd name="connsiteY2100" fmla="*/ 2509005 h 4588585"/>
              <a:gd name="connsiteX2101" fmla="*/ 3625360 w 5047599"/>
              <a:gd name="connsiteY2101" fmla="*/ 2509767 h 4588585"/>
              <a:gd name="connsiteX2102" fmla="*/ 3637986 w 5047599"/>
              <a:gd name="connsiteY2102" fmla="*/ 2516819 h 4588585"/>
              <a:gd name="connsiteX2103" fmla="*/ 3650613 w 5047599"/>
              <a:gd name="connsiteY2103" fmla="*/ 2523871 h 4588585"/>
              <a:gd name="connsiteX2104" fmla="*/ 3663240 w 5047599"/>
              <a:gd name="connsiteY2104" fmla="*/ 2530902 h 4588585"/>
              <a:gd name="connsiteX2105" fmla="*/ 3675867 w 5047599"/>
              <a:gd name="connsiteY2105" fmla="*/ 2537955 h 4588585"/>
              <a:gd name="connsiteX2106" fmla="*/ 3688514 w 5047599"/>
              <a:gd name="connsiteY2106" fmla="*/ 2545007 h 4588585"/>
              <a:gd name="connsiteX2107" fmla="*/ 3701140 w 5047599"/>
              <a:gd name="connsiteY2107" fmla="*/ 2552060 h 4588585"/>
              <a:gd name="connsiteX2108" fmla="*/ 3713767 w 5047599"/>
              <a:gd name="connsiteY2108" fmla="*/ 2559091 h 4588585"/>
              <a:gd name="connsiteX2109" fmla="*/ 3726394 w 5047599"/>
              <a:gd name="connsiteY2109" fmla="*/ 2566143 h 4588585"/>
              <a:gd name="connsiteX2110" fmla="*/ 3732285 w 5047599"/>
              <a:gd name="connsiteY2110" fmla="*/ 2569439 h 4588585"/>
              <a:gd name="connsiteX2111" fmla="*/ 3732284 w 5047599"/>
              <a:gd name="connsiteY2111" fmla="*/ 2569437 h 4588585"/>
              <a:gd name="connsiteX2112" fmla="*/ 3726246 w 5047599"/>
              <a:gd name="connsiteY2112" fmla="*/ 2566059 h 4588585"/>
              <a:gd name="connsiteX2113" fmla="*/ 3713619 w 5047599"/>
              <a:gd name="connsiteY2113" fmla="*/ 2559007 h 4588585"/>
              <a:gd name="connsiteX2114" fmla="*/ 3700992 w 5047599"/>
              <a:gd name="connsiteY2114" fmla="*/ 2551975 h 4588585"/>
              <a:gd name="connsiteX2115" fmla="*/ 3688366 w 5047599"/>
              <a:gd name="connsiteY2115" fmla="*/ 2544923 h 4588585"/>
              <a:gd name="connsiteX2116" fmla="*/ 3675718 w 5047599"/>
              <a:gd name="connsiteY2116" fmla="*/ 2537870 h 4588585"/>
              <a:gd name="connsiteX2117" fmla="*/ 3663092 w 5047599"/>
              <a:gd name="connsiteY2117" fmla="*/ 2530818 h 4588585"/>
              <a:gd name="connsiteX2118" fmla="*/ 3650466 w 5047599"/>
              <a:gd name="connsiteY2118" fmla="*/ 2523788 h 4588585"/>
              <a:gd name="connsiteX2119" fmla="*/ 3637838 w 5047599"/>
              <a:gd name="connsiteY2119" fmla="*/ 2516735 h 4588585"/>
              <a:gd name="connsiteX2120" fmla="*/ 3625212 w 5047599"/>
              <a:gd name="connsiteY2120" fmla="*/ 2509683 h 4588585"/>
              <a:gd name="connsiteX2121" fmla="*/ 2475500 w 5047599"/>
              <a:gd name="connsiteY2121" fmla="*/ 2505270 h 4588585"/>
              <a:gd name="connsiteX2122" fmla="*/ 2466040 w 5047599"/>
              <a:gd name="connsiteY2122" fmla="*/ 2513990 h 4588585"/>
              <a:gd name="connsiteX2123" fmla="*/ 2463146 w 5047599"/>
              <a:gd name="connsiteY2123" fmla="*/ 2517432 h 4588585"/>
              <a:gd name="connsiteX2124" fmla="*/ 2466040 w 5047599"/>
              <a:gd name="connsiteY2124" fmla="*/ 2513991 h 4588585"/>
              <a:gd name="connsiteX2125" fmla="*/ 2238383 w 5047599"/>
              <a:gd name="connsiteY2125" fmla="*/ 2503391 h 4588585"/>
              <a:gd name="connsiteX2126" fmla="*/ 2238404 w 5047599"/>
              <a:gd name="connsiteY2126" fmla="*/ 2507023 h 4588585"/>
              <a:gd name="connsiteX2127" fmla="*/ 2239079 w 5047599"/>
              <a:gd name="connsiteY2127" fmla="*/ 2510401 h 4588585"/>
              <a:gd name="connsiteX2128" fmla="*/ 2240199 w 5047599"/>
              <a:gd name="connsiteY2128" fmla="*/ 2512048 h 4588585"/>
              <a:gd name="connsiteX2129" fmla="*/ 2239079 w 5047599"/>
              <a:gd name="connsiteY2129" fmla="*/ 2510400 h 4588585"/>
              <a:gd name="connsiteX2130" fmla="*/ 2238404 w 5047599"/>
              <a:gd name="connsiteY2130" fmla="*/ 2507001 h 4588585"/>
              <a:gd name="connsiteX2131" fmla="*/ 3231826 w 5047599"/>
              <a:gd name="connsiteY2131" fmla="*/ 2491018 h 4588585"/>
              <a:gd name="connsiteX2132" fmla="*/ 3228658 w 5047599"/>
              <a:gd name="connsiteY2132" fmla="*/ 2496698 h 4588585"/>
              <a:gd name="connsiteX2133" fmla="*/ 3227835 w 5047599"/>
              <a:gd name="connsiteY2133" fmla="*/ 2499316 h 4588585"/>
              <a:gd name="connsiteX2134" fmla="*/ 3228659 w 5047599"/>
              <a:gd name="connsiteY2134" fmla="*/ 2496698 h 4588585"/>
              <a:gd name="connsiteX2135" fmla="*/ 2355168 w 5047599"/>
              <a:gd name="connsiteY2135" fmla="*/ 2486668 h 4588585"/>
              <a:gd name="connsiteX2136" fmla="*/ 2355168 w 5047599"/>
              <a:gd name="connsiteY2136" fmla="*/ 2486690 h 4588585"/>
              <a:gd name="connsiteX2137" fmla="*/ 2356369 w 5047599"/>
              <a:gd name="connsiteY2137" fmla="*/ 2490502 h 4588585"/>
              <a:gd name="connsiteX2138" fmla="*/ 2356371 w 5047599"/>
              <a:gd name="connsiteY2138" fmla="*/ 2490489 h 4588585"/>
              <a:gd name="connsiteX2139" fmla="*/ 3324587 w 5047599"/>
              <a:gd name="connsiteY2139" fmla="*/ 2475550 h 4588585"/>
              <a:gd name="connsiteX2140" fmla="*/ 3327580 w 5047599"/>
              <a:gd name="connsiteY2140" fmla="*/ 2481706 h 4588585"/>
              <a:gd name="connsiteX2141" fmla="*/ 3328467 w 5047599"/>
              <a:gd name="connsiteY2141" fmla="*/ 2489455 h 4588585"/>
              <a:gd name="connsiteX2142" fmla="*/ 3327222 w 5047599"/>
              <a:gd name="connsiteY2142" fmla="*/ 2498746 h 4588585"/>
              <a:gd name="connsiteX2143" fmla="*/ 3327960 w 5047599"/>
              <a:gd name="connsiteY2143" fmla="*/ 2505650 h 4588585"/>
              <a:gd name="connsiteX2144" fmla="*/ 3330663 w 5047599"/>
              <a:gd name="connsiteY2144" fmla="*/ 2510190 h 4588585"/>
              <a:gd name="connsiteX2145" fmla="*/ 3331360 w 5047599"/>
              <a:gd name="connsiteY2145" fmla="*/ 2516080 h 4588585"/>
              <a:gd name="connsiteX2146" fmla="*/ 3330093 w 5047599"/>
              <a:gd name="connsiteY2146" fmla="*/ 2523302 h 4588585"/>
              <a:gd name="connsiteX2147" fmla="*/ 3328531 w 5047599"/>
              <a:gd name="connsiteY2147" fmla="*/ 2527630 h 4588585"/>
              <a:gd name="connsiteX2148" fmla="*/ 3326694 w 5047599"/>
              <a:gd name="connsiteY2148" fmla="*/ 2529067 h 4588585"/>
              <a:gd name="connsiteX2149" fmla="*/ 3324603 w 5047599"/>
              <a:gd name="connsiteY2149" fmla="*/ 2529594 h 4588585"/>
              <a:gd name="connsiteX2150" fmla="*/ 3321774 w 5047599"/>
              <a:gd name="connsiteY2150" fmla="*/ 2529109 h 4588585"/>
              <a:gd name="connsiteX2151" fmla="*/ 3318333 w 5047599"/>
              <a:gd name="connsiteY2151" fmla="*/ 2529721 h 4588585"/>
              <a:gd name="connsiteX2152" fmla="*/ 3314595 w 5047599"/>
              <a:gd name="connsiteY2152" fmla="*/ 2531072 h 4588585"/>
              <a:gd name="connsiteX2153" fmla="*/ 3312230 w 5047599"/>
              <a:gd name="connsiteY2153" fmla="*/ 2531263 h 4588585"/>
              <a:gd name="connsiteX2154" fmla="*/ 3311048 w 5047599"/>
              <a:gd name="connsiteY2154" fmla="*/ 2532825 h 4588585"/>
              <a:gd name="connsiteX2155" fmla="*/ 3305621 w 5047599"/>
              <a:gd name="connsiteY2155" fmla="*/ 2543910 h 4588585"/>
              <a:gd name="connsiteX2156" fmla="*/ 3304566 w 5047599"/>
              <a:gd name="connsiteY2156" fmla="*/ 2545578 h 4588585"/>
              <a:gd name="connsiteX2157" fmla="*/ 3305156 w 5047599"/>
              <a:gd name="connsiteY2157" fmla="*/ 2546592 h 4588585"/>
              <a:gd name="connsiteX2158" fmla="*/ 3305163 w 5047599"/>
              <a:gd name="connsiteY2158" fmla="*/ 2546598 h 4588585"/>
              <a:gd name="connsiteX2159" fmla="*/ 3304629 w 5047599"/>
              <a:gd name="connsiteY2159" fmla="*/ 2545683 h 4588585"/>
              <a:gd name="connsiteX2160" fmla="*/ 3305685 w 5047599"/>
              <a:gd name="connsiteY2160" fmla="*/ 2544015 h 4588585"/>
              <a:gd name="connsiteX2161" fmla="*/ 3311111 w 5047599"/>
              <a:gd name="connsiteY2161" fmla="*/ 2532929 h 4588585"/>
              <a:gd name="connsiteX2162" fmla="*/ 3312293 w 5047599"/>
              <a:gd name="connsiteY2162" fmla="*/ 2531388 h 4588585"/>
              <a:gd name="connsiteX2163" fmla="*/ 3314658 w 5047599"/>
              <a:gd name="connsiteY2163" fmla="*/ 2531198 h 4588585"/>
              <a:gd name="connsiteX2164" fmla="*/ 3318396 w 5047599"/>
              <a:gd name="connsiteY2164" fmla="*/ 2529826 h 4588585"/>
              <a:gd name="connsiteX2165" fmla="*/ 3321858 w 5047599"/>
              <a:gd name="connsiteY2165" fmla="*/ 2529214 h 4588585"/>
              <a:gd name="connsiteX2166" fmla="*/ 3324688 w 5047599"/>
              <a:gd name="connsiteY2166" fmla="*/ 2529678 h 4588585"/>
              <a:gd name="connsiteX2167" fmla="*/ 3326778 w 5047599"/>
              <a:gd name="connsiteY2167" fmla="*/ 2529150 h 4588585"/>
              <a:gd name="connsiteX2168" fmla="*/ 3328615 w 5047599"/>
              <a:gd name="connsiteY2168" fmla="*/ 2527736 h 4588585"/>
              <a:gd name="connsiteX2169" fmla="*/ 3330177 w 5047599"/>
              <a:gd name="connsiteY2169" fmla="*/ 2523407 h 4588585"/>
              <a:gd name="connsiteX2170" fmla="*/ 3331466 w 5047599"/>
              <a:gd name="connsiteY2170" fmla="*/ 2516186 h 4588585"/>
              <a:gd name="connsiteX2171" fmla="*/ 3330748 w 5047599"/>
              <a:gd name="connsiteY2171" fmla="*/ 2510316 h 4588585"/>
              <a:gd name="connsiteX2172" fmla="*/ 3328045 w 5047599"/>
              <a:gd name="connsiteY2172" fmla="*/ 2505776 h 4588585"/>
              <a:gd name="connsiteX2173" fmla="*/ 3327306 w 5047599"/>
              <a:gd name="connsiteY2173" fmla="*/ 2498850 h 4588585"/>
              <a:gd name="connsiteX2174" fmla="*/ 3328552 w 5047599"/>
              <a:gd name="connsiteY2174" fmla="*/ 2489561 h 4588585"/>
              <a:gd name="connsiteX2175" fmla="*/ 3327665 w 5047599"/>
              <a:gd name="connsiteY2175" fmla="*/ 2481832 h 4588585"/>
              <a:gd name="connsiteX2176" fmla="*/ 3324667 w 5047599"/>
              <a:gd name="connsiteY2176" fmla="*/ 2475646 h 4588585"/>
              <a:gd name="connsiteX2177" fmla="*/ 3271875 w 5047599"/>
              <a:gd name="connsiteY2177" fmla="*/ 2473613 h 4588585"/>
              <a:gd name="connsiteX2178" fmla="*/ 3272408 w 5047599"/>
              <a:gd name="connsiteY2178" fmla="*/ 2475140 h 4588585"/>
              <a:gd name="connsiteX2179" fmla="*/ 3273020 w 5047599"/>
              <a:gd name="connsiteY2179" fmla="*/ 2475622 h 4588585"/>
              <a:gd name="connsiteX2180" fmla="*/ 3272408 w 5047599"/>
              <a:gd name="connsiteY2180" fmla="*/ 2475139 h 4588585"/>
              <a:gd name="connsiteX2181" fmla="*/ 3269071 w 5047599"/>
              <a:gd name="connsiteY2181" fmla="*/ 2468256 h 4588585"/>
              <a:gd name="connsiteX2182" fmla="*/ 3256297 w 5047599"/>
              <a:gd name="connsiteY2182" fmla="*/ 2471317 h 4588585"/>
              <a:gd name="connsiteX2183" fmla="*/ 3269072 w 5047599"/>
              <a:gd name="connsiteY2183" fmla="*/ 2468256 h 4588585"/>
              <a:gd name="connsiteX2184" fmla="*/ 3269382 w 5047599"/>
              <a:gd name="connsiteY2184" fmla="*/ 2468489 h 4588585"/>
              <a:gd name="connsiteX2185" fmla="*/ 3510727 w 5047599"/>
              <a:gd name="connsiteY2185" fmla="*/ 2448429 h 4588585"/>
              <a:gd name="connsiteX2186" fmla="*/ 3510729 w 5047599"/>
              <a:gd name="connsiteY2186" fmla="*/ 2448514 h 4588585"/>
              <a:gd name="connsiteX2187" fmla="*/ 3510750 w 5047599"/>
              <a:gd name="connsiteY2187" fmla="*/ 2448514 h 4588585"/>
              <a:gd name="connsiteX2188" fmla="*/ 3515268 w 5047599"/>
              <a:gd name="connsiteY2188" fmla="*/ 2448514 h 4588585"/>
              <a:gd name="connsiteX2189" fmla="*/ 3519533 w 5047599"/>
              <a:gd name="connsiteY2189" fmla="*/ 2450752 h 4588585"/>
              <a:gd name="connsiteX2190" fmla="*/ 3524284 w 5047599"/>
              <a:gd name="connsiteY2190" fmla="*/ 2453391 h 4588585"/>
              <a:gd name="connsiteX2191" fmla="*/ 3536933 w 5047599"/>
              <a:gd name="connsiteY2191" fmla="*/ 2460444 h 4588585"/>
              <a:gd name="connsiteX2192" fmla="*/ 3549559 w 5047599"/>
              <a:gd name="connsiteY2192" fmla="*/ 2467495 h 4588585"/>
              <a:gd name="connsiteX2193" fmla="*/ 3562185 w 5047599"/>
              <a:gd name="connsiteY2193" fmla="*/ 2474547 h 4588585"/>
              <a:gd name="connsiteX2194" fmla="*/ 3574811 w 5047599"/>
              <a:gd name="connsiteY2194" fmla="*/ 2481579 h 4588585"/>
              <a:gd name="connsiteX2195" fmla="*/ 3587438 w 5047599"/>
              <a:gd name="connsiteY2195" fmla="*/ 2488631 h 4588585"/>
              <a:gd name="connsiteX2196" fmla="*/ 3600086 w 5047599"/>
              <a:gd name="connsiteY2196" fmla="*/ 2495684 h 4588585"/>
              <a:gd name="connsiteX2197" fmla="*/ 3601201 w 5047599"/>
              <a:gd name="connsiteY2197" fmla="*/ 2496304 h 4588585"/>
              <a:gd name="connsiteX2198" fmla="*/ 3599938 w 5047599"/>
              <a:gd name="connsiteY2198" fmla="*/ 2495599 h 4588585"/>
              <a:gd name="connsiteX2199" fmla="*/ 3587290 w 5047599"/>
              <a:gd name="connsiteY2199" fmla="*/ 2488547 h 4588585"/>
              <a:gd name="connsiteX2200" fmla="*/ 3574663 w 5047599"/>
              <a:gd name="connsiteY2200" fmla="*/ 2481495 h 4588585"/>
              <a:gd name="connsiteX2201" fmla="*/ 3562037 w 5047599"/>
              <a:gd name="connsiteY2201" fmla="*/ 2474464 h 4588585"/>
              <a:gd name="connsiteX2202" fmla="*/ 3549411 w 5047599"/>
              <a:gd name="connsiteY2202" fmla="*/ 2467411 h 4588585"/>
              <a:gd name="connsiteX2203" fmla="*/ 3536784 w 5047599"/>
              <a:gd name="connsiteY2203" fmla="*/ 2460359 h 4588585"/>
              <a:gd name="connsiteX2204" fmla="*/ 3524137 w 5047599"/>
              <a:gd name="connsiteY2204" fmla="*/ 2453307 h 4588585"/>
              <a:gd name="connsiteX2205" fmla="*/ 3519386 w 5047599"/>
              <a:gd name="connsiteY2205" fmla="*/ 2450667 h 4588585"/>
              <a:gd name="connsiteX2206" fmla="*/ 3515121 w 5047599"/>
              <a:gd name="connsiteY2206" fmla="*/ 2448429 h 4588585"/>
              <a:gd name="connsiteX2207" fmla="*/ 3327369 w 5047599"/>
              <a:gd name="connsiteY2207" fmla="*/ 2448091 h 4588585"/>
              <a:gd name="connsiteX2208" fmla="*/ 3323399 w 5047599"/>
              <a:gd name="connsiteY2208" fmla="*/ 2448830 h 4588585"/>
              <a:gd name="connsiteX2209" fmla="*/ 3319282 w 5047599"/>
              <a:gd name="connsiteY2209" fmla="*/ 2451449 h 4588585"/>
              <a:gd name="connsiteX2210" fmla="*/ 3314912 w 5047599"/>
              <a:gd name="connsiteY2210" fmla="*/ 2452504 h 4588585"/>
              <a:gd name="connsiteX2211" fmla="*/ 3310224 w 5047599"/>
              <a:gd name="connsiteY2211" fmla="*/ 2452104 h 4588585"/>
              <a:gd name="connsiteX2212" fmla="*/ 3309633 w 5047599"/>
              <a:gd name="connsiteY2212" fmla="*/ 2452377 h 4588585"/>
              <a:gd name="connsiteX2213" fmla="*/ 3307268 w 5047599"/>
              <a:gd name="connsiteY2213" fmla="*/ 2452314 h 4588585"/>
              <a:gd name="connsiteX2214" fmla="*/ 3303848 w 5047599"/>
              <a:gd name="connsiteY2214" fmla="*/ 2452125 h 4588585"/>
              <a:gd name="connsiteX2215" fmla="*/ 3300764 w 5047599"/>
              <a:gd name="connsiteY2215" fmla="*/ 2452800 h 4588585"/>
              <a:gd name="connsiteX2216" fmla="*/ 3298421 w 5047599"/>
              <a:gd name="connsiteY2216" fmla="*/ 2455080 h 4588585"/>
              <a:gd name="connsiteX2217" fmla="*/ 3296014 w 5047599"/>
              <a:gd name="connsiteY2217" fmla="*/ 2458986 h 4588585"/>
              <a:gd name="connsiteX2218" fmla="*/ 3291685 w 5047599"/>
              <a:gd name="connsiteY2218" fmla="*/ 2463441 h 4588585"/>
              <a:gd name="connsiteX2219" fmla="*/ 3288306 w 5047599"/>
              <a:gd name="connsiteY2219" fmla="*/ 2467411 h 4588585"/>
              <a:gd name="connsiteX2220" fmla="*/ 3285435 w 5047599"/>
              <a:gd name="connsiteY2220" fmla="*/ 2470219 h 4588585"/>
              <a:gd name="connsiteX2221" fmla="*/ 3278869 w 5047599"/>
              <a:gd name="connsiteY2221" fmla="*/ 2474864 h 4588585"/>
              <a:gd name="connsiteX2222" fmla="*/ 3275279 w 5047599"/>
              <a:gd name="connsiteY2222" fmla="*/ 2476216 h 4588585"/>
              <a:gd name="connsiteX2223" fmla="*/ 3275280 w 5047599"/>
              <a:gd name="connsiteY2223" fmla="*/ 2476216 h 4588585"/>
              <a:gd name="connsiteX2224" fmla="*/ 3278869 w 5047599"/>
              <a:gd name="connsiteY2224" fmla="*/ 2474865 h 4588585"/>
              <a:gd name="connsiteX2225" fmla="*/ 3285435 w 5047599"/>
              <a:gd name="connsiteY2225" fmla="*/ 2470220 h 4588585"/>
              <a:gd name="connsiteX2226" fmla="*/ 3288307 w 5047599"/>
              <a:gd name="connsiteY2226" fmla="*/ 2467411 h 4588585"/>
              <a:gd name="connsiteX2227" fmla="*/ 3291685 w 5047599"/>
              <a:gd name="connsiteY2227" fmla="*/ 2463442 h 4588585"/>
              <a:gd name="connsiteX2228" fmla="*/ 3296015 w 5047599"/>
              <a:gd name="connsiteY2228" fmla="*/ 2458987 h 4588585"/>
              <a:gd name="connsiteX2229" fmla="*/ 3298421 w 5047599"/>
              <a:gd name="connsiteY2229" fmla="*/ 2455081 h 4588585"/>
              <a:gd name="connsiteX2230" fmla="*/ 3300765 w 5047599"/>
              <a:gd name="connsiteY2230" fmla="*/ 2452801 h 4588585"/>
              <a:gd name="connsiteX2231" fmla="*/ 3303848 w 5047599"/>
              <a:gd name="connsiteY2231" fmla="*/ 2452125 h 4588585"/>
              <a:gd name="connsiteX2232" fmla="*/ 3307269 w 5047599"/>
              <a:gd name="connsiteY2232" fmla="*/ 2452315 h 4588585"/>
              <a:gd name="connsiteX2233" fmla="*/ 3309633 w 5047599"/>
              <a:gd name="connsiteY2233" fmla="*/ 2452378 h 4588585"/>
              <a:gd name="connsiteX2234" fmla="*/ 3307691 w 5047599"/>
              <a:gd name="connsiteY2234" fmla="*/ 2453286 h 4588585"/>
              <a:gd name="connsiteX2235" fmla="*/ 3307289 w 5047599"/>
              <a:gd name="connsiteY2235" fmla="*/ 2456157 h 4588585"/>
              <a:gd name="connsiteX2236" fmla="*/ 3309528 w 5047599"/>
              <a:gd name="connsiteY2236" fmla="*/ 2460718 h 4588585"/>
              <a:gd name="connsiteX2237" fmla="*/ 3309560 w 5047599"/>
              <a:gd name="connsiteY2237" fmla="*/ 2460760 h 4588585"/>
              <a:gd name="connsiteX2238" fmla="*/ 3307353 w 5047599"/>
              <a:gd name="connsiteY2238" fmla="*/ 2456242 h 4588585"/>
              <a:gd name="connsiteX2239" fmla="*/ 3307754 w 5047599"/>
              <a:gd name="connsiteY2239" fmla="*/ 2453412 h 4588585"/>
              <a:gd name="connsiteX2240" fmla="*/ 3309696 w 5047599"/>
              <a:gd name="connsiteY2240" fmla="*/ 2452483 h 4588585"/>
              <a:gd name="connsiteX2241" fmla="*/ 3310287 w 5047599"/>
              <a:gd name="connsiteY2241" fmla="*/ 2452208 h 4588585"/>
              <a:gd name="connsiteX2242" fmla="*/ 3314975 w 5047599"/>
              <a:gd name="connsiteY2242" fmla="*/ 2452631 h 4588585"/>
              <a:gd name="connsiteX2243" fmla="*/ 3319367 w 5047599"/>
              <a:gd name="connsiteY2243" fmla="*/ 2451554 h 4588585"/>
              <a:gd name="connsiteX2244" fmla="*/ 3323464 w 5047599"/>
              <a:gd name="connsiteY2244" fmla="*/ 2448978 h 4588585"/>
              <a:gd name="connsiteX2245" fmla="*/ 3327433 w 5047599"/>
              <a:gd name="connsiteY2245" fmla="*/ 2448218 h 4588585"/>
              <a:gd name="connsiteX2246" fmla="*/ 3328235 w 5047599"/>
              <a:gd name="connsiteY2246" fmla="*/ 2448345 h 4588585"/>
              <a:gd name="connsiteX2247" fmla="*/ 2355633 w 5047599"/>
              <a:gd name="connsiteY2247" fmla="*/ 2446740 h 4588585"/>
              <a:gd name="connsiteX2248" fmla="*/ 2356435 w 5047599"/>
              <a:gd name="connsiteY2248" fmla="*/ 2454553 h 4588585"/>
              <a:gd name="connsiteX2249" fmla="*/ 2357174 w 5047599"/>
              <a:gd name="connsiteY2249" fmla="*/ 2462007 h 4588585"/>
              <a:gd name="connsiteX2250" fmla="*/ 2358292 w 5047599"/>
              <a:gd name="connsiteY2250" fmla="*/ 2472838 h 4588585"/>
              <a:gd name="connsiteX2251" fmla="*/ 2358292 w 5047599"/>
              <a:gd name="connsiteY2251" fmla="*/ 2472837 h 4588585"/>
              <a:gd name="connsiteX2252" fmla="*/ 2357174 w 5047599"/>
              <a:gd name="connsiteY2252" fmla="*/ 2461985 h 4588585"/>
              <a:gd name="connsiteX2253" fmla="*/ 2356435 w 5047599"/>
              <a:gd name="connsiteY2253" fmla="*/ 2454552 h 4588585"/>
              <a:gd name="connsiteX2254" fmla="*/ 3256107 w 5047599"/>
              <a:gd name="connsiteY2254" fmla="*/ 2435570 h 4588585"/>
              <a:gd name="connsiteX2255" fmla="*/ 3255136 w 5047599"/>
              <a:gd name="connsiteY2255" fmla="*/ 2441716 h 4588585"/>
              <a:gd name="connsiteX2256" fmla="*/ 3253468 w 5047599"/>
              <a:gd name="connsiteY2256" fmla="*/ 2447057 h 4588585"/>
              <a:gd name="connsiteX2257" fmla="*/ 3255135 w 5047599"/>
              <a:gd name="connsiteY2257" fmla="*/ 2441736 h 4588585"/>
              <a:gd name="connsiteX2258" fmla="*/ 2541229 w 5047599"/>
              <a:gd name="connsiteY2258" fmla="*/ 2435085 h 4588585"/>
              <a:gd name="connsiteX2259" fmla="*/ 2525584 w 5047599"/>
              <a:gd name="connsiteY2259" fmla="*/ 2448366 h 4588585"/>
              <a:gd name="connsiteX2260" fmla="*/ 2515449 w 5047599"/>
              <a:gd name="connsiteY2260" fmla="*/ 2452208 h 4588585"/>
              <a:gd name="connsiteX2261" fmla="*/ 2507573 w 5047599"/>
              <a:gd name="connsiteY2261" fmla="*/ 2456685 h 4588585"/>
              <a:gd name="connsiteX2262" fmla="*/ 2507573 w 5047599"/>
              <a:gd name="connsiteY2262" fmla="*/ 2456685 h 4588585"/>
              <a:gd name="connsiteX2263" fmla="*/ 2507572 w 5047599"/>
              <a:gd name="connsiteY2263" fmla="*/ 2456685 h 4588585"/>
              <a:gd name="connsiteX2264" fmla="*/ 2506775 w 5047599"/>
              <a:gd name="connsiteY2264" fmla="*/ 2457404 h 4588585"/>
              <a:gd name="connsiteX2265" fmla="*/ 2501956 w 5047599"/>
              <a:gd name="connsiteY2265" fmla="*/ 2461752 h 4588585"/>
              <a:gd name="connsiteX2266" fmla="*/ 2500120 w 5047599"/>
              <a:gd name="connsiteY2266" fmla="*/ 2464519 h 4588585"/>
              <a:gd name="connsiteX2267" fmla="*/ 2499951 w 5047599"/>
              <a:gd name="connsiteY2267" fmla="*/ 2464772 h 4588585"/>
              <a:gd name="connsiteX2268" fmla="*/ 2500120 w 5047599"/>
              <a:gd name="connsiteY2268" fmla="*/ 2464519 h 4588585"/>
              <a:gd name="connsiteX2269" fmla="*/ 2501956 w 5047599"/>
              <a:gd name="connsiteY2269" fmla="*/ 2461753 h 4588585"/>
              <a:gd name="connsiteX2270" fmla="*/ 2506775 w 5047599"/>
              <a:gd name="connsiteY2270" fmla="*/ 2457404 h 4588585"/>
              <a:gd name="connsiteX2271" fmla="*/ 2507573 w 5047599"/>
              <a:gd name="connsiteY2271" fmla="*/ 2456685 h 4588585"/>
              <a:gd name="connsiteX2272" fmla="*/ 2515449 w 5047599"/>
              <a:gd name="connsiteY2272" fmla="*/ 2452209 h 4588585"/>
              <a:gd name="connsiteX2273" fmla="*/ 2525583 w 5047599"/>
              <a:gd name="connsiteY2273" fmla="*/ 2448367 h 4588585"/>
              <a:gd name="connsiteX2274" fmla="*/ 2541229 w 5047599"/>
              <a:gd name="connsiteY2274" fmla="*/ 2435086 h 4588585"/>
              <a:gd name="connsiteX2275" fmla="*/ 3257690 w 5047599"/>
              <a:gd name="connsiteY2275" fmla="*/ 2415364 h 4588585"/>
              <a:gd name="connsiteX2276" fmla="*/ 3258557 w 5047599"/>
              <a:gd name="connsiteY2276" fmla="*/ 2420896 h 4588585"/>
              <a:gd name="connsiteX2277" fmla="*/ 3258557 w 5047599"/>
              <a:gd name="connsiteY2277" fmla="*/ 2420895 h 4588585"/>
              <a:gd name="connsiteX2278" fmla="*/ 2340599 w 5047599"/>
              <a:gd name="connsiteY2278" fmla="*/ 2411203 h 4588585"/>
              <a:gd name="connsiteX2279" fmla="*/ 2343555 w 5047599"/>
              <a:gd name="connsiteY2279" fmla="*/ 2414520 h 4588585"/>
              <a:gd name="connsiteX2280" fmla="*/ 2352845 w 5047599"/>
              <a:gd name="connsiteY2280" fmla="*/ 2416969 h 4588585"/>
              <a:gd name="connsiteX2281" fmla="*/ 2356456 w 5047599"/>
              <a:gd name="connsiteY2281" fmla="*/ 2419903 h 4588585"/>
              <a:gd name="connsiteX2282" fmla="*/ 2359391 w 5047599"/>
              <a:gd name="connsiteY2282" fmla="*/ 2423156 h 4588585"/>
              <a:gd name="connsiteX2283" fmla="*/ 2359771 w 5047599"/>
              <a:gd name="connsiteY2283" fmla="*/ 2425816 h 4588585"/>
              <a:gd name="connsiteX2284" fmla="*/ 2359771 w 5047599"/>
              <a:gd name="connsiteY2284" fmla="*/ 2425815 h 4588585"/>
              <a:gd name="connsiteX2285" fmla="*/ 2359391 w 5047599"/>
              <a:gd name="connsiteY2285" fmla="*/ 2423155 h 4588585"/>
              <a:gd name="connsiteX2286" fmla="*/ 2356456 w 5047599"/>
              <a:gd name="connsiteY2286" fmla="*/ 2419903 h 4588585"/>
              <a:gd name="connsiteX2287" fmla="*/ 2352845 w 5047599"/>
              <a:gd name="connsiteY2287" fmla="*/ 2416947 h 4588585"/>
              <a:gd name="connsiteX2288" fmla="*/ 2343555 w 5047599"/>
              <a:gd name="connsiteY2288" fmla="*/ 2414519 h 4588585"/>
              <a:gd name="connsiteX2289" fmla="*/ 2552051 w 5047599"/>
              <a:gd name="connsiteY2289" fmla="*/ 2406352 h 4588585"/>
              <a:gd name="connsiteX2290" fmla="*/ 2553664 w 5047599"/>
              <a:gd name="connsiteY2290" fmla="*/ 2421701 h 4588585"/>
              <a:gd name="connsiteX2291" fmla="*/ 2553666 w 5047599"/>
              <a:gd name="connsiteY2291" fmla="*/ 2421699 h 4588585"/>
              <a:gd name="connsiteX2292" fmla="*/ 3929866 w 5047599"/>
              <a:gd name="connsiteY2292" fmla="*/ 2405014 h 4588585"/>
              <a:gd name="connsiteX2293" fmla="*/ 3929875 w 5047599"/>
              <a:gd name="connsiteY2293" fmla="*/ 2407445 h 4588585"/>
              <a:gd name="connsiteX2294" fmla="*/ 3929959 w 5047599"/>
              <a:gd name="connsiteY2294" fmla="*/ 2432382 h 4588585"/>
              <a:gd name="connsiteX2295" fmla="*/ 3930002 w 5047599"/>
              <a:gd name="connsiteY2295" fmla="*/ 2440765 h 4588585"/>
              <a:gd name="connsiteX2296" fmla="*/ 3938130 w 5047599"/>
              <a:gd name="connsiteY2296" fmla="*/ 2451259 h 4588585"/>
              <a:gd name="connsiteX2297" fmla="*/ 3946070 w 5047599"/>
              <a:gd name="connsiteY2297" fmla="*/ 2461499 h 4588585"/>
              <a:gd name="connsiteX2298" fmla="*/ 3956564 w 5047599"/>
              <a:gd name="connsiteY2298" fmla="*/ 2475054 h 4588585"/>
              <a:gd name="connsiteX2299" fmla="*/ 3962192 w 5047599"/>
              <a:gd name="connsiteY2299" fmla="*/ 2482284 h 4588585"/>
              <a:gd name="connsiteX2300" fmla="*/ 3962181 w 5047599"/>
              <a:gd name="connsiteY2300" fmla="*/ 2482255 h 4588585"/>
              <a:gd name="connsiteX2301" fmla="*/ 3956564 w 5047599"/>
              <a:gd name="connsiteY2301" fmla="*/ 2474992 h 4588585"/>
              <a:gd name="connsiteX2302" fmla="*/ 3946070 w 5047599"/>
              <a:gd name="connsiteY2302" fmla="*/ 2461435 h 4588585"/>
              <a:gd name="connsiteX2303" fmla="*/ 3938131 w 5047599"/>
              <a:gd name="connsiteY2303" fmla="*/ 2451195 h 4588585"/>
              <a:gd name="connsiteX2304" fmla="*/ 3930002 w 5047599"/>
              <a:gd name="connsiteY2304" fmla="*/ 2440723 h 4588585"/>
              <a:gd name="connsiteX2305" fmla="*/ 3929960 w 5047599"/>
              <a:gd name="connsiteY2305" fmla="*/ 2432340 h 4588585"/>
              <a:gd name="connsiteX2306" fmla="*/ 3929876 w 5047599"/>
              <a:gd name="connsiteY2306" fmla="*/ 2407404 h 4588585"/>
              <a:gd name="connsiteX2307" fmla="*/ 2552602 w 5047599"/>
              <a:gd name="connsiteY2307" fmla="*/ 2402788 h 4588585"/>
              <a:gd name="connsiteX2308" fmla="*/ 2551977 w 5047599"/>
              <a:gd name="connsiteY2308" fmla="*/ 2405651 h 4588585"/>
              <a:gd name="connsiteX2309" fmla="*/ 2551977 w 5047599"/>
              <a:gd name="connsiteY2309" fmla="*/ 2405652 h 4588585"/>
              <a:gd name="connsiteX2310" fmla="*/ 2323010 w 5047599"/>
              <a:gd name="connsiteY2310" fmla="*/ 2401259 h 4588585"/>
              <a:gd name="connsiteX2311" fmla="*/ 2323010 w 5047599"/>
              <a:gd name="connsiteY2311" fmla="*/ 2401260 h 4588585"/>
              <a:gd name="connsiteX2312" fmla="*/ 2325248 w 5047599"/>
              <a:gd name="connsiteY2312" fmla="*/ 2403583 h 4588585"/>
              <a:gd name="connsiteX2313" fmla="*/ 2335426 w 5047599"/>
              <a:gd name="connsiteY2313" fmla="*/ 2405208 h 4588585"/>
              <a:gd name="connsiteX2314" fmla="*/ 2336108 w 5047599"/>
              <a:gd name="connsiteY2314" fmla="*/ 2405663 h 4588585"/>
              <a:gd name="connsiteX2315" fmla="*/ 2335425 w 5047599"/>
              <a:gd name="connsiteY2315" fmla="*/ 2405207 h 4588585"/>
              <a:gd name="connsiteX2316" fmla="*/ 2325248 w 5047599"/>
              <a:gd name="connsiteY2316" fmla="*/ 2403582 h 4588585"/>
              <a:gd name="connsiteX2317" fmla="*/ 3262613 w 5047599"/>
              <a:gd name="connsiteY2317" fmla="*/ 2384042 h 4588585"/>
              <a:gd name="connsiteX2318" fmla="*/ 3261513 w 5047599"/>
              <a:gd name="connsiteY2318" fmla="*/ 2392772 h 4588585"/>
              <a:gd name="connsiteX2319" fmla="*/ 3260710 w 5047599"/>
              <a:gd name="connsiteY2319" fmla="*/ 2395939 h 4588585"/>
              <a:gd name="connsiteX2320" fmla="*/ 3261512 w 5047599"/>
              <a:gd name="connsiteY2320" fmla="*/ 2392792 h 4588585"/>
              <a:gd name="connsiteX2321" fmla="*/ 3266139 w 5047599"/>
              <a:gd name="connsiteY2321" fmla="*/ 2379468 h 4588585"/>
              <a:gd name="connsiteX2322" fmla="*/ 3264575 w 5047599"/>
              <a:gd name="connsiteY2322" fmla="*/ 2380504 h 4588585"/>
              <a:gd name="connsiteX2323" fmla="*/ 3262787 w 5047599"/>
              <a:gd name="connsiteY2323" fmla="*/ 2383256 h 4588585"/>
              <a:gd name="connsiteX2324" fmla="*/ 3264574 w 5047599"/>
              <a:gd name="connsiteY2324" fmla="*/ 2380524 h 4588585"/>
              <a:gd name="connsiteX2325" fmla="*/ 1897909 w 5047599"/>
              <a:gd name="connsiteY2325" fmla="*/ 2365280 h 4588585"/>
              <a:gd name="connsiteX2326" fmla="*/ 1901625 w 5047599"/>
              <a:gd name="connsiteY2326" fmla="*/ 2369946 h 4588585"/>
              <a:gd name="connsiteX2327" fmla="*/ 1901647 w 5047599"/>
              <a:gd name="connsiteY2327" fmla="*/ 2374803 h 4588585"/>
              <a:gd name="connsiteX2328" fmla="*/ 1896347 w 5047599"/>
              <a:gd name="connsiteY2328" fmla="*/ 2382086 h 4588585"/>
              <a:gd name="connsiteX2329" fmla="*/ 1890224 w 5047599"/>
              <a:gd name="connsiteY2329" fmla="*/ 2386416 h 4588585"/>
              <a:gd name="connsiteX2330" fmla="*/ 1888028 w 5047599"/>
              <a:gd name="connsiteY2330" fmla="*/ 2385296 h 4588585"/>
              <a:gd name="connsiteX2331" fmla="*/ 1886676 w 5047599"/>
              <a:gd name="connsiteY2331" fmla="*/ 2382277 h 4588585"/>
              <a:gd name="connsiteX2332" fmla="*/ 1884966 w 5047599"/>
              <a:gd name="connsiteY2332" fmla="*/ 2375773 h 4588585"/>
              <a:gd name="connsiteX2333" fmla="*/ 1885515 w 5047599"/>
              <a:gd name="connsiteY2333" fmla="*/ 2372649 h 4588585"/>
              <a:gd name="connsiteX2334" fmla="*/ 1888281 w 5047599"/>
              <a:gd name="connsiteY2334" fmla="*/ 2369080 h 4588585"/>
              <a:gd name="connsiteX2335" fmla="*/ 1894299 w 5047599"/>
              <a:gd name="connsiteY2335" fmla="*/ 2365533 h 4588585"/>
              <a:gd name="connsiteX2336" fmla="*/ 3275531 w 5047599"/>
              <a:gd name="connsiteY2336" fmla="*/ 2359688 h 4588585"/>
              <a:gd name="connsiteX2337" fmla="*/ 3272640 w 5047599"/>
              <a:gd name="connsiteY2337" fmla="*/ 2364436 h 4588585"/>
              <a:gd name="connsiteX2338" fmla="*/ 3275532 w 5047599"/>
              <a:gd name="connsiteY2338" fmla="*/ 2359706 h 4588585"/>
              <a:gd name="connsiteX2339" fmla="*/ 2352121 w 5047599"/>
              <a:gd name="connsiteY2339" fmla="*/ 2326375 h 4588585"/>
              <a:gd name="connsiteX2340" fmla="*/ 2354196 w 5047599"/>
              <a:gd name="connsiteY2340" fmla="*/ 2329787 h 4588585"/>
              <a:gd name="connsiteX2341" fmla="*/ 2356773 w 5047599"/>
              <a:gd name="connsiteY2341" fmla="*/ 2335889 h 4588585"/>
              <a:gd name="connsiteX2342" fmla="*/ 2357320 w 5047599"/>
              <a:gd name="connsiteY2342" fmla="*/ 2338984 h 4588585"/>
              <a:gd name="connsiteX2343" fmla="*/ 2357322 w 5047599"/>
              <a:gd name="connsiteY2343" fmla="*/ 2338971 h 4588585"/>
              <a:gd name="connsiteX2344" fmla="*/ 2356773 w 5047599"/>
              <a:gd name="connsiteY2344" fmla="*/ 2335888 h 4588585"/>
              <a:gd name="connsiteX2345" fmla="*/ 2354196 w 5047599"/>
              <a:gd name="connsiteY2345" fmla="*/ 2329786 h 4588585"/>
              <a:gd name="connsiteX2346" fmla="*/ 3293338 w 5047599"/>
              <a:gd name="connsiteY2346" fmla="*/ 2324679 h 4588585"/>
              <a:gd name="connsiteX2347" fmla="*/ 3290250 w 5047599"/>
              <a:gd name="connsiteY2347" fmla="*/ 2331624 h 4588585"/>
              <a:gd name="connsiteX2348" fmla="*/ 3282865 w 5047599"/>
              <a:gd name="connsiteY2348" fmla="*/ 2337609 h 4588585"/>
              <a:gd name="connsiteX2349" fmla="*/ 3290250 w 5047599"/>
              <a:gd name="connsiteY2349" fmla="*/ 2331644 h 4588585"/>
              <a:gd name="connsiteX2350" fmla="*/ 3307323 w 5047599"/>
              <a:gd name="connsiteY2350" fmla="*/ 2316074 h 4588585"/>
              <a:gd name="connsiteX2351" fmla="*/ 3298443 w 5047599"/>
              <a:gd name="connsiteY2351" fmla="*/ 2319081 h 4588585"/>
              <a:gd name="connsiteX2352" fmla="*/ 3293858 w 5047599"/>
              <a:gd name="connsiteY2352" fmla="*/ 2323767 h 4588585"/>
              <a:gd name="connsiteX2353" fmla="*/ 3298442 w 5047599"/>
              <a:gd name="connsiteY2353" fmla="*/ 2319102 h 4588585"/>
              <a:gd name="connsiteX2354" fmla="*/ 2342129 w 5047599"/>
              <a:gd name="connsiteY2354" fmla="*/ 2308258 h 4588585"/>
              <a:gd name="connsiteX2355" fmla="*/ 2345497 w 5047599"/>
              <a:gd name="connsiteY2355" fmla="*/ 2310974 h 4588585"/>
              <a:gd name="connsiteX2356" fmla="*/ 2349255 w 5047599"/>
              <a:gd name="connsiteY2356" fmla="*/ 2322904 h 4588585"/>
              <a:gd name="connsiteX2357" fmla="*/ 2351098 w 5047599"/>
              <a:gd name="connsiteY2357" fmla="*/ 2324704 h 4588585"/>
              <a:gd name="connsiteX2358" fmla="*/ 2349255 w 5047599"/>
              <a:gd name="connsiteY2358" fmla="*/ 2322882 h 4588585"/>
              <a:gd name="connsiteX2359" fmla="*/ 2345497 w 5047599"/>
              <a:gd name="connsiteY2359" fmla="*/ 2310952 h 4588585"/>
              <a:gd name="connsiteX2360" fmla="*/ 3929485 w 5047599"/>
              <a:gd name="connsiteY2360" fmla="*/ 2305369 h 4588585"/>
              <a:gd name="connsiteX2361" fmla="*/ 3929495 w 5047599"/>
              <a:gd name="connsiteY2361" fmla="*/ 2307700 h 4588585"/>
              <a:gd name="connsiteX2362" fmla="*/ 3929503 w 5047599"/>
              <a:gd name="connsiteY2362" fmla="*/ 2309905 h 4588585"/>
              <a:gd name="connsiteX2363" fmla="*/ 3929495 w 5047599"/>
              <a:gd name="connsiteY2363" fmla="*/ 2307679 h 4588585"/>
              <a:gd name="connsiteX2364" fmla="*/ 2322482 w 5047599"/>
              <a:gd name="connsiteY2364" fmla="*/ 2305272 h 4588585"/>
              <a:gd name="connsiteX2365" fmla="*/ 2314776 w 5047599"/>
              <a:gd name="connsiteY2365" fmla="*/ 2307426 h 4588585"/>
              <a:gd name="connsiteX2366" fmla="*/ 2303057 w 5047599"/>
              <a:gd name="connsiteY2366" fmla="*/ 2311437 h 4588585"/>
              <a:gd name="connsiteX2367" fmla="*/ 2294105 w 5047599"/>
              <a:gd name="connsiteY2367" fmla="*/ 2314204 h 4588585"/>
              <a:gd name="connsiteX2368" fmla="*/ 2288276 w 5047599"/>
              <a:gd name="connsiteY2368" fmla="*/ 2315787 h 4588585"/>
              <a:gd name="connsiteX2369" fmla="*/ 2284856 w 5047599"/>
              <a:gd name="connsiteY2369" fmla="*/ 2315364 h 4588585"/>
              <a:gd name="connsiteX2370" fmla="*/ 2283294 w 5047599"/>
              <a:gd name="connsiteY2370" fmla="*/ 2313529 h 4588585"/>
              <a:gd name="connsiteX2371" fmla="*/ 2284856 w 5047599"/>
              <a:gd name="connsiteY2371" fmla="*/ 2315365 h 4588585"/>
              <a:gd name="connsiteX2372" fmla="*/ 2288277 w 5047599"/>
              <a:gd name="connsiteY2372" fmla="*/ 2315788 h 4588585"/>
              <a:gd name="connsiteX2373" fmla="*/ 2294105 w 5047599"/>
              <a:gd name="connsiteY2373" fmla="*/ 2314205 h 4588585"/>
              <a:gd name="connsiteX2374" fmla="*/ 2303057 w 5047599"/>
              <a:gd name="connsiteY2374" fmla="*/ 2311438 h 4588585"/>
              <a:gd name="connsiteX2375" fmla="*/ 2314776 w 5047599"/>
              <a:gd name="connsiteY2375" fmla="*/ 2307427 h 4588585"/>
              <a:gd name="connsiteX2376" fmla="*/ 2322482 w 5047599"/>
              <a:gd name="connsiteY2376" fmla="*/ 2305273 h 4588585"/>
              <a:gd name="connsiteX2377" fmla="*/ 2335215 w 5047599"/>
              <a:gd name="connsiteY2377" fmla="*/ 2306645 h 4588585"/>
              <a:gd name="connsiteX2378" fmla="*/ 2341949 w 5047599"/>
              <a:gd name="connsiteY2378" fmla="*/ 2308150 h 4588585"/>
              <a:gd name="connsiteX2379" fmla="*/ 2335215 w 5047599"/>
              <a:gd name="connsiteY2379" fmla="*/ 2306623 h 4588585"/>
              <a:gd name="connsiteX2380" fmla="*/ 2569155 w 5047599"/>
              <a:gd name="connsiteY2380" fmla="*/ 2304791 h 4588585"/>
              <a:gd name="connsiteX2381" fmla="*/ 2569037 w 5047599"/>
              <a:gd name="connsiteY2381" fmla="*/ 2305082 h 4588585"/>
              <a:gd name="connsiteX2382" fmla="*/ 2568753 w 5047599"/>
              <a:gd name="connsiteY2382" fmla="*/ 2305870 h 4588585"/>
              <a:gd name="connsiteX2383" fmla="*/ 2569037 w 5047599"/>
              <a:gd name="connsiteY2383" fmla="*/ 2305083 h 4588585"/>
              <a:gd name="connsiteX2384" fmla="*/ 2281689 w 5047599"/>
              <a:gd name="connsiteY2384" fmla="*/ 2291695 h 4588585"/>
              <a:gd name="connsiteX2385" fmla="*/ 2281689 w 5047599"/>
              <a:gd name="connsiteY2385" fmla="*/ 2291696 h 4588585"/>
              <a:gd name="connsiteX2386" fmla="*/ 2282977 w 5047599"/>
              <a:gd name="connsiteY2386" fmla="*/ 2298411 h 4588585"/>
              <a:gd name="connsiteX2387" fmla="*/ 2285236 w 5047599"/>
              <a:gd name="connsiteY2387" fmla="*/ 2303162 h 4588585"/>
              <a:gd name="connsiteX2388" fmla="*/ 2286693 w 5047599"/>
              <a:gd name="connsiteY2388" fmla="*/ 2308355 h 4588585"/>
              <a:gd name="connsiteX2389" fmla="*/ 2285236 w 5047599"/>
              <a:gd name="connsiteY2389" fmla="*/ 2303161 h 4588585"/>
              <a:gd name="connsiteX2390" fmla="*/ 2282977 w 5047599"/>
              <a:gd name="connsiteY2390" fmla="*/ 2298389 h 4588585"/>
              <a:gd name="connsiteX2391" fmla="*/ 1941089 w 5047599"/>
              <a:gd name="connsiteY2391" fmla="*/ 2288676 h 4588585"/>
              <a:gd name="connsiteX2392" fmla="*/ 1942419 w 5047599"/>
              <a:gd name="connsiteY2392" fmla="*/ 2289626 h 4588585"/>
              <a:gd name="connsiteX2393" fmla="*/ 1943221 w 5047599"/>
              <a:gd name="connsiteY2393" fmla="*/ 2290893 h 4588585"/>
              <a:gd name="connsiteX2394" fmla="*/ 1943327 w 5047599"/>
              <a:gd name="connsiteY2394" fmla="*/ 2292708 h 4588585"/>
              <a:gd name="connsiteX2395" fmla="*/ 1941617 w 5047599"/>
              <a:gd name="connsiteY2395" fmla="*/ 2296467 h 4588585"/>
              <a:gd name="connsiteX2396" fmla="*/ 1939421 w 5047599"/>
              <a:gd name="connsiteY2396" fmla="*/ 2298008 h 4588585"/>
              <a:gd name="connsiteX2397" fmla="*/ 1936803 w 5047599"/>
              <a:gd name="connsiteY2397" fmla="*/ 2296700 h 4588585"/>
              <a:gd name="connsiteX2398" fmla="*/ 1936106 w 5047599"/>
              <a:gd name="connsiteY2398" fmla="*/ 2294356 h 4588585"/>
              <a:gd name="connsiteX2399" fmla="*/ 1939484 w 5047599"/>
              <a:gd name="connsiteY2399" fmla="*/ 2289795 h 4588585"/>
              <a:gd name="connsiteX2400" fmla="*/ 2415301 w 5047599"/>
              <a:gd name="connsiteY2400" fmla="*/ 2273410 h 4588585"/>
              <a:gd name="connsiteX2401" fmla="*/ 2415270 w 5047599"/>
              <a:gd name="connsiteY2401" fmla="*/ 2273415 h 4588585"/>
              <a:gd name="connsiteX2402" fmla="*/ 2415302 w 5047599"/>
              <a:gd name="connsiteY2402" fmla="*/ 2273410 h 4588585"/>
              <a:gd name="connsiteX2403" fmla="*/ 2454554 w 5047599"/>
              <a:gd name="connsiteY2403" fmla="*/ 2264542 h 4588585"/>
              <a:gd name="connsiteX2404" fmla="*/ 2453941 w 5047599"/>
              <a:gd name="connsiteY2404" fmla="*/ 2269567 h 4588585"/>
              <a:gd name="connsiteX2405" fmla="*/ 2455019 w 5047599"/>
              <a:gd name="connsiteY2405" fmla="*/ 2275712 h 4588585"/>
              <a:gd name="connsiteX2406" fmla="*/ 2457805 w 5047599"/>
              <a:gd name="connsiteY2406" fmla="*/ 2282954 h 4588585"/>
              <a:gd name="connsiteX2407" fmla="*/ 2457868 w 5047599"/>
              <a:gd name="connsiteY2407" fmla="*/ 2287198 h 4588585"/>
              <a:gd name="connsiteX2408" fmla="*/ 2456898 w 5047599"/>
              <a:gd name="connsiteY2408" fmla="*/ 2287789 h 4588585"/>
              <a:gd name="connsiteX2409" fmla="*/ 2457869 w 5047599"/>
              <a:gd name="connsiteY2409" fmla="*/ 2287198 h 4588585"/>
              <a:gd name="connsiteX2410" fmla="*/ 2457806 w 5047599"/>
              <a:gd name="connsiteY2410" fmla="*/ 2282954 h 4588585"/>
              <a:gd name="connsiteX2411" fmla="*/ 2455019 w 5047599"/>
              <a:gd name="connsiteY2411" fmla="*/ 2275712 h 4588585"/>
              <a:gd name="connsiteX2412" fmla="*/ 2453942 w 5047599"/>
              <a:gd name="connsiteY2412" fmla="*/ 2269567 h 4588585"/>
              <a:gd name="connsiteX2413" fmla="*/ 3354919 w 5047599"/>
              <a:gd name="connsiteY2413" fmla="*/ 2262214 h 4588585"/>
              <a:gd name="connsiteX2414" fmla="*/ 3353847 w 5047599"/>
              <a:gd name="connsiteY2414" fmla="*/ 2265619 h 4588585"/>
              <a:gd name="connsiteX2415" fmla="*/ 3353774 w 5047599"/>
              <a:gd name="connsiteY2415" fmla="*/ 2266631 h 4588585"/>
              <a:gd name="connsiteX2416" fmla="*/ 3353846 w 5047599"/>
              <a:gd name="connsiteY2416" fmla="*/ 2265640 h 4588585"/>
              <a:gd name="connsiteX2417" fmla="*/ 3354924 w 5047599"/>
              <a:gd name="connsiteY2417" fmla="*/ 2262219 h 4588585"/>
              <a:gd name="connsiteX2418" fmla="*/ 3350025 w 5047599"/>
              <a:gd name="connsiteY2418" fmla="*/ 2257110 h 4588585"/>
              <a:gd name="connsiteX2419" fmla="*/ 3352685 w 5047599"/>
              <a:gd name="connsiteY2419" fmla="*/ 2259538 h 4588585"/>
              <a:gd name="connsiteX2420" fmla="*/ 3352780 w 5047599"/>
              <a:gd name="connsiteY2420" fmla="*/ 2259651 h 4588585"/>
              <a:gd name="connsiteX2421" fmla="*/ 3352685 w 5047599"/>
              <a:gd name="connsiteY2421" fmla="*/ 2259538 h 4588585"/>
              <a:gd name="connsiteX2422" fmla="*/ 2279788 w 5047599"/>
              <a:gd name="connsiteY2422" fmla="*/ 2255505 h 4588585"/>
              <a:gd name="connsiteX2423" fmla="*/ 2264185 w 5047599"/>
              <a:gd name="connsiteY2423" fmla="*/ 2256244 h 4588585"/>
              <a:gd name="connsiteX2424" fmla="*/ 2252820 w 5047599"/>
              <a:gd name="connsiteY2424" fmla="*/ 2255683 h 4588585"/>
              <a:gd name="connsiteX2425" fmla="*/ 2264185 w 5047599"/>
              <a:gd name="connsiteY2425" fmla="*/ 2256245 h 4588585"/>
              <a:gd name="connsiteX2426" fmla="*/ 2279788 w 5047599"/>
              <a:gd name="connsiteY2426" fmla="*/ 2255506 h 4588585"/>
              <a:gd name="connsiteX2427" fmla="*/ 2285088 w 5047599"/>
              <a:gd name="connsiteY2427" fmla="*/ 2255675 h 4588585"/>
              <a:gd name="connsiteX2428" fmla="*/ 2288024 w 5047599"/>
              <a:gd name="connsiteY2428" fmla="*/ 2257596 h 4588585"/>
              <a:gd name="connsiteX2429" fmla="*/ 2289285 w 5047599"/>
              <a:gd name="connsiteY2429" fmla="*/ 2260889 h 4588585"/>
              <a:gd name="connsiteX2430" fmla="*/ 2288023 w 5047599"/>
              <a:gd name="connsiteY2430" fmla="*/ 2257575 h 4588585"/>
              <a:gd name="connsiteX2431" fmla="*/ 2285088 w 5047599"/>
              <a:gd name="connsiteY2431" fmla="*/ 2255674 h 4588585"/>
              <a:gd name="connsiteX2432" fmla="*/ 3349067 w 5047599"/>
              <a:gd name="connsiteY2432" fmla="*/ 2254847 h 4588585"/>
              <a:gd name="connsiteX2433" fmla="*/ 3349117 w 5047599"/>
              <a:gd name="connsiteY2433" fmla="*/ 2254872 h 4588585"/>
              <a:gd name="connsiteX2434" fmla="*/ 3349117 w 5047599"/>
              <a:gd name="connsiteY2434" fmla="*/ 2254871 h 4588585"/>
              <a:gd name="connsiteX2435" fmla="*/ 2219063 w 5047599"/>
              <a:gd name="connsiteY2435" fmla="*/ 2253858 h 4588585"/>
              <a:gd name="connsiteX2436" fmla="*/ 2209203 w 5047599"/>
              <a:gd name="connsiteY2436" fmla="*/ 2253985 h 4588585"/>
              <a:gd name="connsiteX2437" fmla="*/ 2219063 w 5047599"/>
              <a:gd name="connsiteY2437" fmla="*/ 2253859 h 4588585"/>
              <a:gd name="connsiteX2438" fmla="*/ 2221686 w 5047599"/>
              <a:gd name="connsiteY2438" fmla="*/ 2254036 h 4588585"/>
              <a:gd name="connsiteX2439" fmla="*/ 3322598 w 5047599"/>
              <a:gd name="connsiteY2439" fmla="*/ 2243893 h 4588585"/>
              <a:gd name="connsiteX2440" fmla="*/ 3328615 w 5047599"/>
              <a:gd name="connsiteY2440" fmla="*/ 2247166 h 4588585"/>
              <a:gd name="connsiteX2441" fmla="*/ 3336428 w 5047599"/>
              <a:gd name="connsiteY2441" fmla="*/ 2246997 h 4588585"/>
              <a:gd name="connsiteX2442" fmla="*/ 3336447 w 5047599"/>
              <a:gd name="connsiteY2442" fmla="*/ 2247012 h 4588585"/>
              <a:gd name="connsiteX2443" fmla="*/ 3336428 w 5047599"/>
              <a:gd name="connsiteY2443" fmla="*/ 2246997 h 4588585"/>
              <a:gd name="connsiteX2444" fmla="*/ 3336428 w 5047599"/>
              <a:gd name="connsiteY2444" fmla="*/ 2246997 h 4588585"/>
              <a:gd name="connsiteX2445" fmla="*/ 3336427 w 5047599"/>
              <a:gd name="connsiteY2445" fmla="*/ 2246996 h 4588585"/>
              <a:gd name="connsiteX2446" fmla="*/ 3328615 w 5047599"/>
              <a:gd name="connsiteY2446" fmla="*/ 2247165 h 4588585"/>
              <a:gd name="connsiteX2447" fmla="*/ 2583614 w 5047599"/>
              <a:gd name="connsiteY2447" fmla="*/ 2241292 h 4588585"/>
              <a:gd name="connsiteX2448" fmla="*/ 2580862 w 5047599"/>
              <a:gd name="connsiteY2448" fmla="*/ 2246320 h 4588585"/>
              <a:gd name="connsiteX2449" fmla="*/ 2580553 w 5047599"/>
              <a:gd name="connsiteY2449" fmla="*/ 2247208 h 4588585"/>
              <a:gd name="connsiteX2450" fmla="*/ 2580862 w 5047599"/>
              <a:gd name="connsiteY2450" fmla="*/ 2246321 h 4588585"/>
              <a:gd name="connsiteX2451" fmla="*/ 2455462 w 5047599"/>
              <a:gd name="connsiteY2451" fmla="*/ 2235384 h 4588585"/>
              <a:gd name="connsiteX2452" fmla="*/ 2456137 w 5047599"/>
              <a:gd name="connsiteY2452" fmla="*/ 2242836 h 4588585"/>
              <a:gd name="connsiteX2453" fmla="*/ 2457868 w 5047599"/>
              <a:gd name="connsiteY2453" fmla="*/ 2249318 h 4588585"/>
              <a:gd name="connsiteX2454" fmla="*/ 2460677 w 5047599"/>
              <a:gd name="connsiteY2454" fmla="*/ 2254872 h 4588585"/>
              <a:gd name="connsiteX2455" fmla="*/ 2460635 w 5047599"/>
              <a:gd name="connsiteY2455" fmla="*/ 2255337 h 4588585"/>
              <a:gd name="connsiteX2456" fmla="*/ 2460276 w 5047599"/>
              <a:gd name="connsiteY2456" fmla="*/ 2258736 h 4588585"/>
              <a:gd name="connsiteX2457" fmla="*/ 2456665 w 5047599"/>
              <a:gd name="connsiteY2457" fmla="*/ 2260911 h 4588585"/>
              <a:gd name="connsiteX2458" fmla="*/ 2460276 w 5047599"/>
              <a:gd name="connsiteY2458" fmla="*/ 2258736 h 4588585"/>
              <a:gd name="connsiteX2459" fmla="*/ 2460636 w 5047599"/>
              <a:gd name="connsiteY2459" fmla="*/ 2255336 h 4588585"/>
              <a:gd name="connsiteX2460" fmla="*/ 2460678 w 5047599"/>
              <a:gd name="connsiteY2460" fmla="*/ 2254871 h 4588585"/>
              <a:gd name="connsiteX2461" fmla="*/ 2464732 w 5047599"/>
              <a:gd name="connsiteY2461" fmla="*/ 2246785 h 4588585"/>
              <a:gd name="connsiteX2462" fmla="*/ 2460678 w 5047599"/>
              <a:gd name="connsiteY2462" fmla="*/ 2254851 h 4588585"/>
              <a:gd name="connsiteX2463" fmla="*/ 2457869 w 5047599"/>
              <a:gd name="connsiteY2463" fmla="*/ 2249318 h 4588585"/>
              <a:gd name="connsiteX2464" fmla="*/ 2456138 w 5047599"/>
              <a:gd name="connsiteY2464" fmla="*/ 2242836 h 4588585"/>
              <a:gd name="connsiteX2465" fmla="*/ 3564700 w 5047599"/>
              <a:gd name="connsiteY2465" fmla="*/ 2234133 h 4588585"/>
              <a:gd name="connsiteX2466" fmla="*/ 3564718 w 5047599"/>
              <a:gd name="connsiteY2466" fmla="*/ 2234180 h 4588585"/>
              <a:gd name="connsiteX2467" fmla="*/ 3566619 w 5047599"/>
              <a:gd name="connsiteY2467" fmla="*/ 2235594 h 4588585"/>
              <a:gd name="connsiteX2468" fmla="*/ 3567688 w 5047599"/>
              <a:gd name="connsiteY2468" fmla="*/ 2235924 h 4588585"/>
              <a:gd name="connsiteX2469" fmla="*/ 3567653 w 5047599"/>
              <a:gd name="connsiteY2469" fmla="*/ 2235826 h 4588585"/>
              <a:gd name="connsiteX2470" fmla="*/ 3566492 w 5047599"/>
              <a:gd name="connsiteY2470" fmla="*/ 2235467 h 4588585"/>
              <a:gd name="connsiteX2471" fmla="*/ 2454765 w 5047599"/>
              <a:gd name="connsiteY2471" fmla="*/ 2231202 h 4588585"/>
              <a:gd name="connsiteX2472" fmla="*/ 2455842 w 5047599"/>
              <a:gd name="connsiteY2472" fmla="*/ 2233398 h 4588585"/>
              <a:gd name="connsiteX2473" fmla="*/ 2455524 w 5047599"/>
              <a:gd name="connsiteY2473" fmla="*/ 2235063 h 4588585"/>
              <a:gd name="connsiteX2474" fmla="*/ 2455842 w 5047599"/>
              <a:gd name="connsiteY2474" fmla="*/ 2233398 h 4588585"/>
              <a:gd name="connsiteX2475" fmla="*/ 2477566 w 5047599"/>
              <a:gd name="connsiteY2475" fmla="*/ 2221600 h 4588585"/>
              <a:gd name="connsiteX2476" fmla="*/ 2473579 w 5047599"/>
              <a:gd name="connsiteY2476" fmla="*/ 2229344 h 4588585"/>
              <a:gd name="connsiteX2477" fmla="*/ 2477569 w 5047599"/>
              <a:gd name="connsiteY2477" fmla="*/ 2221616 h 4588585"/>
              <a:gd name="connsiteX2478" fmla="*/ 3329754 w 5047599"/>
              <a:gd name="connsiteY2478" fmla="*/ 2218869 h 4588585"/>
              <a:gd name="connsiteX2479" fmla="*/ 3329586 w 5047599"/>
              <a:gd name="connsiteY2479" fmla="*/ 2220687 h 4588585"/>
              <a:gd name="connsiteX2480" fmla="*/ 3325572 w 5047599"/>
              <a:gd name="connsiteY2480" fmla="*/ 2229515 h 4588585"/>
              <a:gd name="connsiteX2481" fmla="*/ 3329586 w 5047599"/>
              <a:gd name="connsiteY2481" fmla="*/ 2220708 h 4588585"/>
              <a:gd name="connsiteX2482" fmla="*/ 3551341 w 5047599"/>
              <a:gd name="connsiteY2482" fmla="*/ 2216070 h 4588585"/>
              <a:gd name="connsiteX2483" fmla="*/ 3551352 w 5047599"/>
              <a:gd name="connsiteY2483" fmla="*/ 2216105 h 4588585"/>
              <a:gd name="connsiteX2484" fmla="*/ 3559224 w 5047599"/>
              <a:gd name="connsiteY2484" fmla="*/ 2220970 h 4588585"/>
              <a:gd name="connsiteX2485" fmla="*/ 3559165 w 5047599"/>
              <a:gd name="connsiteY2485" fmla="*/ 2220898 h 4588585"/>
              <a:gd name="connsiteX2486" fmla="*/ 2478265 w 5047599"/>
              <a:gd name="connsiteY2486" fmla="*/ 2205639 h 4588585"/>
              <a:gd name="connsiteX2487" fmla="*/ 2477442 w 5047599"/>
              <a:gd name="connsiteY2487" fmla="*/ 2212030 h 4588585"/>
              <a:gd name="connsiteX2488" fmla="*/ 2477042 w 5047599"/>
              <a:gd name="connsiteY2488" fmla="*/ 2217752 h 4588585"/>
              <a:gd name="connsiteX2489" fmla="*/ 2477042 w 5047599"/>
              <a:gd name="connsiteY2489" fmla="*/ 2217755 h 4588585"/>
              <a:gd name="connsiteX2490" fmla="*/ 2477442 w 5047599"/>
              <a:gd name="connsiteY2490" fmla="*/ 2212030 h 4588585"/>
              <a:gd name="connsiteX2491" fmla="*/ 2478266 w 5047599"/>
              <a:gd name="connsiteY2491" fmla="*/ 2205653 h 4588585"/>
              <a:gd name="connsiteX2492" fmla="*/ 2436480 w 5047599"/>
              <a:gd name="connsiteY2492" fmla="*/ 2204091 h 4588585"/>
              <a:gd name="connsiteX2493" fmla="*/ 2440893 w 5047599"/>
              <a:gd name="connsiteY2493" fmla="*/ 2205548 h 4588585"/>
              <a:gd name="connsiteX2494" fmla="*/ 2444166 w 5047599"/>
              <a:gd name="connsiteY2494" fmla="*/ 2205971 h 4588585"/>
              <a:gd name="connsiteX2495" fmla="*/ 2445580 w 5047599"/>
              <a:gd name="connsiteY2495" fmla="*/ 2207153 h 4588585"/>
              <a:gd name="connsiteX2496" fmla="*/ 2447311 w 5047599"/>
              <a:gd name="connsiteY2496" fmla="*/ 2209940 h 4588585"/>
              <a:gd name="connsiteX2497" fmla="*/ 2450289 w 5047599"/>
              <a:gd name="connsiteY2497" fmla="*/ 2213022 h 4588585"/>
              <a:gd name="connsiteX2498" fmla="*/ 2453582 w 5047599"/>
              <a:gd name="connsiteY2498" fmla="*/ 2217056 h 4588585"/>
              <a:gd name="connsiteX2499" fmla="*/ 2454702 w 5047599"/>
              <a:gd name="connsiteY2499" fmla="*/ 2221152 h 4588585"/>
              <a:gd name="connsiteX2500" fmla="*/ 2453583 w 5047599"/>
              <a:gd name="connsiteY2500" fmla="*/ 2217056 h 4588585"/>
              <a:gd name="connsiteX2501" fmla="*/ 2450289 w 5047599"/>
              <a:gd name="connsiteY2501" fmla="*/ 2213022 h 4588585"/>
              <a:gd name="connsiteX2502" fmla="*/ 2447312 w 5047599"/>
              <a:gd name="connsiteY2502" fmla="*/ 2209940 h 4588585"/>
              <a:gd name="connsiteX2503" fmla="*/ 2445580 w 5047599"/>
              <a:gd name="connsiteY2503" fmla="*/ 2207153 h 4588585"/>
              <a:gd name="connsiteX2504" fmla="*/ 2444166 w 5047599"/>
              <a:gd name="connsiteY2504" fmla="*/ 2205970 h 4588585"/>
              <a:gd name="connsiteX2505" fmla="*/ 2440893 w 5047599"/>
              <a:gd name="connsiteY2505" fmla="*/ 2205527 h 4588585"/>
              <a:gd name="connsiteX2506" fmla="*/ 3325534 w 5047599"/>
              <a:gd name="connsiteY2506" fmla="*/ 2202252 h 4588585"/>
              <a:gd name="connsiteX2507" fmla="*/ 3324096 w 5047599"/>
              <a:gd name="connsiteY2507" fmla="*/ 2209159 h 4588585"/>
              <a:gd name="connsiteX2508" fmla="*/ 3324100 w 5047599"/>
              <a:gd name="connsiteY2508" fmla="*/ 2209163 h 4588585"/>
              <a:gd name="connsiteX2509" fmla="*/ 3542987 w 5047599"/>
              <a:gd name="connsiteY2509" fmla="*/ 2201936 h 4588585"/>
              <a:gd name="connsiteX2510" fmla="*/ 3542991 w 5047599"/>
              <a:gd name="connsiteY2510" fmla="*/ 2201958 h 4588585"/>
              <a:gd name="connsiteX2511" fmla="*/ 3547287 w 5047599"/>
              <a:gd name="connsiteY2511" fmla="*/ 2204454 h 4588585"/>
              <a:gd name="connsiteX2512" fmla="*/ 3547278 w 5047599"/>
              <a:gd name="connsiteY2512" fmla="*/ 2204429 h 4588585"/>
              <a:gd name="connsiteX2513" fmla="*/ 3952205 w 5047599"/>
              <a:gd name="connsiteY2513" fmla="*/ 2198695 h 4588585"/>
              <a:gd name="connsiteX2514" fmla="*/ 3951517 w 5047599"/>
              <a:gd name="connsiteY2514" fmla="*/ 2199678 h 4588585"/>
              <a:gd name="connsiteX2515" fmla="*/ 3939271 w 5047599"/>
              <a:gd name="connsiteY2515" fmla="*/ 2211798 h 4588585"/>
              <a:gd name="connsiteX2516" fmla="*/ 3934621 w 5047599"/>
              <a:gd name="connsiteY2516" fmla="*/ 2216416 h 4588585"/>
              <a:gd name="connsiteX2517" fmla="*/ 3939271 w 5047599"/>
              <a:gd name="connsiteY2517" fmla="*/ 2211819 h 4588585"/>
              <a:gd name="connsiteX2518" fmla="*/ 3951518 w 5047599"/>
              <a:gd name="connsiteY2518" fmla="*/ 2199678 h 4588585"/>
              <a:gd name="connsiteX2519" fmla="*/ 2605186 w 5047599"/>
              <a:gd name="connsiteY2519" fmla="*/ 2193639 h 4588585"/>
              <a:gd name="connsiteX2520" fmla="*/ 2600752 w 5047599"/>
              <a:gd name="connsiteY2520" fmla="*/ 2206498 h 4588585"/>
              <a:gd name="connsiteX2521" fmla="*/ 2599897 w 5047599"/>
              <a:gd name="connsiteY2521" fmla="*/ 2208965 h 4588585"/>
              <a:gd name="connsiteX2522" fmla="*/ 2600752 w 5047599"/>
              <a:gd name="connsiteY2522" fmla="*/ 2206499 h 4588585"/>
              <a:gd name="connsiteX2523" fmla="*/ 2576410 w 5047599"/>
              <a:gd name="connsiteY2523" fmla="*/ 2180521 h 4588585"/>
              <a:gd name="connsiteX2524" fmla="*/ 2577863 w 5047599"/>
              <a:gd name="connsiteY2524" fmla="*/ 2182026 h 4588585"/>
              <a:gd name="connsiteX2525" fmla="*/ 2577864 w 5047599"/>
              <a:gd name="connsiteY2525" fmla="*/ 2182026 h 4588585"/>
              <a:gd name="connsiteX2526" fmla="*/ 3321724 w 5047599"/>
              <a:gd name="connsiteY2526" fmla="*/ 2173766 h 4588585"/>
              <a:gd name="connsiteX2527" fmla="*/ 3324287 w 5047599"/>
              <a:gd name="connsiteY2527" fmla="*/ 2174658 h 4588585"/>
              <a:gd name="connsiteX2528" fmla="*/ 3326651 w 5047599"/>
              <a:gd name="connsiteY2528" fmla="*/ 2177678 h 4588585"/>
              <a:gd name="connsiteX2529" fmla="*/ 3327833 w 5047599"/>
              <a:gd name="connsiteY2529" fmla="*/ 2180021 h 4588585"/>
              <a:gd name="connsiteX2530" fmla="*/ 3329122 w 5047599"/>
              <a:gd name="connsiteY2530" fmla="*/ 2182554 h 4588585"/>
              <a:gd name="connsiteX2531" fmla="*/ 3327833 w 5047599"/>
              <a:gd name="connsiteY2531" fmla="*/ 2180020 h 4588585"/>
              <a:gd name="connsiteX2532" fmla="*/ 3326651 w 5047599"/>
              <a:gd name="connsiteY2532" fmla="*/ 2177677 h 4588585"/>
              <a:gd name="connsiteX2533" fmla="*/ 3324287 w 5047599"/>
              <a:gd name="connsiteY2533" fmla="*/ 2174657 h 4588585"/>
              <a:gd name="connsiteX2534" fmla="*/ 3391434 w 5047599"/>
              <a:gd name="connsiteY2534" fmla="*/ 2169856 h 4588585"/>
              <a:gd name="connsiteX2535" fmla="*/ 3394492 w 5047599"/>
              <a:gd name="connsiteY2535" fmla="*/ 2175650 h 4588585"/>
              <a:gd name="connsiteX2536" fmla="*/ 3400805 w 5047599"/>
              <a:gd name="connsiteY2536" fmla="*/ 2178374 h 4588585"/>
              <a:gd name="connsiteX2537" fmla="*/ 3403825 w 5047599"/>
              <a:gd name="connsiteY2537" fmla="*/ 2180295 h 4588585"/>
              <a:gd name="connsiteX2538" fmla="*/ 3406000 w 5047599"/>
              <a:gd name="connsiteY2538" fmla="*/ 2180844 h 4588585"/>
              <a:gd name="connsiteX2539" fmla="*/ 3407204 w 5047599"/>
              <a:gd name="connsiteY2539" fmla="*/ 2180358 h 4588585"/>
              <a:gd name="connsiteX2540" fmla="*/ 3409589 w 5047599"/>
              <a:gd name="connsiteY2540" fmla="*/ 2175629 h 4588585"/>
              <a:gd name="connsiteX2541" fmla="*/ 3412372 w 5047599"/>
              <a:gd name="connsiteY2541" fmla="*/ 2173150 h 4588585"/>
              <a:gd name="connsiteX2542" fmla="*/ 3409590 w 5047599"/>
              <a:gd name="connsiteY2542" fmla="*/ 2175607 h 4588585"/>
              <a:gd name="connsiteX2543" fmla="*/ 3407204 w 5047599"/>
              <a:gd name="connsiteY2543" fmla="*/ 2180337 h 4588585"/>
              <a:gd name="connsiteX2544" fmla="*/ 3406000 w 5047599"/>
              <a:gd name="connsiteY2544" fmla="*/ 2180823 h 4588585"/>
              <a:gd name="connsiteX2545" fmla="*/ 3403825 w 5047599"/>
              <a:gd name="connsiteY2545" fmla="*/ 2180274 h 4588585"/>
              <a:gd name="connsiteX2546" fmla="*/ 3400806 w 5047599"/>
              <a:gd name="connsiteY2546" fmla="*/ 2178374 h 4588585"/>
              <a:gd name="connsiteX2547" fmla="*/ 3394492 w 5047599"/>
              <a:gd name="connsiteY2547" fmla="*/ 2175629 h 4588585"/>
              <a:gd name="connsiteX2548" fmla="*/ 3532128 w 5047599"/>
              <a:gd name="connsiteY2548" fmla="*/ 2168073 h 4588585"/>
              <a:gd name="connsiteX2549" fmla="*/ 3532286 w 5047599"/>
              <a:gd name="connsiteY2549" fmla="*/ 2168196 h 4588585"/>
              <a:gd name="connsiteX2550" fmla="*/ 3539692 w 5047599"/>
              <a:gd name="connsiteY2550" fmla="*/ 2170651 h 4588585"/>
              <a:gd name="connsiteX2551" fmla="*/ 3539571 w 5047599"/>
              <a:gd name="connsiteY2551" fmla="*/ 2170540 h 4588585"/>
              <a:gd name="connsiteX2552" fmla="*/ 2019340 w 5047599"/>
              <a:gd name="connsiteY2552" fmla="*/ 2166697 h 4588585"/>
              <a:gd name="connsiteX2553" fmla="*/ 2020796 w 5047599"/>
              <a:gd name="connsiteY2553" fmla="*/ 2166929 h 4588585"/>
              <a:gd name="connsiteX2554" fmla="*/ 2029664 w 5047599"/>
              <a:gd name="connsiteY2554" fmla="*/ 2166697 h 4588585"/>
              <a:gd name="connsiteX2555" fmla="*/ 2032071 w 5047599"/>
              <a:gd name="connsiteY2555" fmla="*/ 2169844 h 4588585"/>
              <a:gd name="connsiteX2556" fmla="*/ 2031797 w 5047599"/>
              <a:gd name="connsiteY2556" fmla="*/ 2174447 h 4588585"/>
              <a:gd name="connsiteX2557" fmla="*/ 2022675 w 5047599"/>
              <a:gd name="connsiteY2557" fmla="*/ 2187897 h 4588585"/>
              <a:gd name="connsiteX2558" fmla="*/ 2020965 w 5047599"/>
              <a:gd name="connsiteY2558" fmla="*/ 2193576 h 4588585"/>
              <a:gd name="connsiteX2559" fmla="*/ 2017439 w 5047599"/>
              <a:gd name="connsiteY2559" fmla="*/ 2198390 h 4588585"/>
              <a:gd name="connsiteX2560" fmla="*/ 2014378 w 5047599"/>
              <a:gd name="connsiteY2560" fmla="*/ 2198770 h 4588585"/>
              <a:gd name="connsiteX2561" fmla="*/ 2003863 w 5047599"/>
              <a:gd name="connsiteY2561" fmla="*/ 2195941 h 4588585"/>
              <a:gd name="connsiteX2562" fmla="*/ 2002089 w 5047599"/>
              <a:gd name="connsiteY2562" fmla="*/ 2194231 h 4588585"/>
              <a:gd name="connsiteX2563" fmla="*/ 2001456 w 5047599"/>
              <a:gd name="connsiteY2563" fmla="*/ 2191929 h 4588585"/>
              <a:gd name="connsiteX2564" fmla="*/ 2002490 w 5047599"/>
              <a:gd name="connsiteY2564" fmla="*/ 2186566 h 4588585"/>
              <a:gd name="connsiteX2565" fmla="*/ 2003271 w 5047599"/>
              <a:gd name="connsiteY2565" fmla="*/ 2184940 h 4588585"/>
              <a:gd name="connsiteX2566" fmla="*/ 2008318 w 5047599"/>
              <a:gd name="connsiteY2566" fmla="*/ 2183926 h 4588585"/>
              <a:gd name="connsiteX2567" fmla="*/ 2009943 w 5047599"/>
              <a:gd name="connsiteY2567" fmla="*/ 2183040 h 4588585"/>
              <a:gd name="connsiteX2568" fmla="*/ 2012646 w 5047599"/>
              <a:gd name="connsiteY2568" fmla="*/ 2177275 h 4588585"/>
              <a:gd name="connsiteX2569" fmla="*/ 2013533 w 5047599"/>
              <a:gd name="connsiteY2569" fmla="*/ 2171997 h 4588585"/>
              <a:gd name="connsiteX2570" fmla="*/ 2015793 w 5047599"/>
              <a:gd name="connsiteY2570" fmla="*/ 2168007 h 4588585"/>
              <a:gd name="connsiteX2571" fmla="*/ 3438052 w 5047599"/>
              <a:gd name="connsiteY2571" fmla="*/ 2166401 h 4588585"/>
              <a:gd name="connsiteX2572" fmla="*/ 3429627 w 5047599"/>
              <a:gd name="connsiteY2572" fmla="*/ 2167183 h 4588585"/>
              <a:gd name="connsiteX2573" fmla="*/ 3418304 w 5047599"/>
              <a:gd name="connsiteY2573" fmla="*/ 2169695 h 4588585"/>
              <a:gd name="connsiteX2574" fmla="*/ 3429627 w 5047599"/>
              <a:gd name="connsiteY2574" fmla="*/ 2167204 h 4588585"/>
              <a:gd name="connsiteX2575" fmla="*/ 3347702 w 5047599"/>
              <a:gd name="connsiteY2575" fmla="*/ 2165072 h 4588585"/>
              <a:gd name="connsiteX2576" fmla="*/ 3341516 w 5047599"/>
              <a:gd name="connsiteY2576" fmla="*/ 2168661 h 4588585"/>
              <a:gd name="connsiteX2577" fmla="*/ 3334790 w 5047599"/>
              <a:gd name="connsiteY2577" fmla="*/ 2173831 h 4588585"/>
              <a:gd name="connsiteX2578" fmla="*/ 3341516 w 5047599"/>
              <a:gd name="connsiteY2578" fmla="*/ 2168682 h 4588585"/>
              <a:gd name="connsiteX2579" fmla="*/ 3351841 w 5047599"/>
              <a:gd name="connsiteY2579" fmla="*/ 2165050 h 4588585"/>
              <a:gd name="connsiteX2580" fmla="*/ 3359865 w 5047599"/>
              <a:gd name="connsiteY2580" fmla="*/ 2167942 h 4588585"/>
              <a:gd name="connsiteX2581" fmla="*/ 3367127 w 5047599"/>
              <a:gd name="connsiteY2581" fmla="*/ 2171300 h 4588585"/>
              <a:gd name="connsiteX2582" fmla="*/ 3371098 w 5047599"/>
              <a:gd name="connsiteY2582" fmla="*/ 2171469 h 4588585"/>
              <a:gd name="connsiteX2583" fmla="*/ 3367128 w 5047599"/>
              <a:gd name="connsiteY2583" fmla="*/ 2171300 h 4588585"/>
              <a:gd name="connsiteX2584" fmla="*/ 3359865 w 5047599"/>
              <a:gd name="connsiteY2584" fmla="*/ 2167922 h 4588585"/>
              <a:gd name="connsiteX2585" fmla="*/ 3311238 w 5047599"/>
              <a:gd name="connsiteY2585" fmla="*/ 2164987 h 4588585"/>
              <a:gd name="connsiteX2586" fmla="*/ 3312230 w 5047599"/>
              <a:gd name="connsiteY2586" fmla="*/ 2168809 h 4588585"/>
              <a:gd name="connsiteX2587" fmla="*/ 3312568 w 5047599"/>
              <a:gd name="connsiteY2587" fmla="*/ 2172948 h 4588585"/>
              <a:gd name="connsiteX2588" fmla="*/ 3314194 w 5047599"/>
              <a:gd name="connsiteY2588" fmla="*/ 2174658 h 4588585"/>
              <a:gd name="connsiteX2589" fmla="*/ 3317805 w 5047599"/>
              <a:gd name="connsiteY2589" fmla="*/ 2174066 h 4588585"/>
              <a:gd name="connsiteX2590" fmla="*/ 3320887 w 5047599"/>
              <a:gd name="connsiteY2590" fmla="*/ 2173475 h 4588585"/>
              <a:gd name="connsiteX2591" fmla="*/ 3317804 w 5047599"/>
              <a:gd name="connsiteY2591" fmla="*/ 2174066 h 4588585"/>
              <a:gd name="connsiteX2592" fmla="*/ 3314193 w 5047599"/>
              <a:gd name="connsiteY2592" fmla="*/ 2174657 h 4588585"/>
              <a:gd name="connsiteX2593" fmla="*/ 3312568 w 5047599"/>
              <a:gd name="connsiteY2593" fmla="*/ 2172947 h 4588585"/>
              <a:gd name="connsiteX2594" fmla="*/ 3312230 w 5047599"/>
              <a:gd name="connsiteY2594" fmla="*/ 2168809 h 4588585"/>
              <a:gd name="connsiteX2595" fmla="*/ 3385962 w 5047599"/>
              <a:gd name="connsiteY2595" fmla="*/ 2164058 h 4588585"/>
              <a:gd name="connsiteX2596" fmla="*/ 3376591 w 5047599"/>
              <a:gd name="connsiteY2596" fmla="*/ 2169693 h 4588585"/>
              <a:gd name="connsiteX2597" fmla="*/ 3385962 w 5047599"/>
              <a:gd name="connsiteY2597" fmla="*/ 2164079 h 4588585"/>
              <a:gd name="connsiteX2598" fmla="*/ 3388390 w 5047599"/>
              <a:gd name="connsiteY2598" fmla="*/ 2165979 h 4588585"/>
              <a:gd name="connsiteX2599" fmla="*/ 3526230 w 5047599"/>
              <a:gd name="connsiteY2599" fmla="*/ 2163458 h 4588585"/>
              <a:gd name="connsiteX2600" fmla="*/ 3526227 w 5047599"/>
              <a:gd name="connsiteY2600" fmla="*/ 2163466 h 4588585"/>
              <a:gd name="connsiteX2601" fmla="*/ 3530225 w 5047599"/>
              <a:gd name="connsiteY2601" fmla="*/ 2166587 h 4588585"/>
              <a:gd name="connsiteX2602" fmla="*/ 3457034 w 5047599"/>
              <a:gd name="connsiteY2602" fmla="*/ 2159455 h 4588585"/>
              <a:gd name="connsiteX2603" fmla="*/ 3447596 w 5047599"/>
              <a:gd name="connsiteY2603" fmla="*/ 2164311 h 4588585"/>
              <a:gd name="connsiteX2604" fmla="*/ 3441620 w 5047599"/>
              <a:gd name="connsiteY2604" fmla="*/ 2165852 h 4588585"/>
              <a:gd name="connsiteX2605" fmla="*/ 3447596 w 5047599"/>
              <a:gd name="connsiteY2605" fmla="*/ 2164332 h 4588585"/>
              <a:gd name="connsiteX2606" fmla="*/ 3457034 w 5047599"/>
              <a:gd name="connsiteY2606" fmla="*/ 2159476 h 4588585"/>
              <a:gd name="connsiteX2607" fmla="*/ 3466324 w 5047599"/>
              <a:gd name="connsiteY2607" fmla="*/ 2165725 h 4588585"/>
              <a:gd name="connsiteX2608" fmla="*/ 3476417 w 5047599"/>
              <a:gd name="connsiteY2608" fmla="*/ 2166929 h 4588585"/>
              <a:gd name="connsiteX2609" fmla="*/ 3466325 w 5047599"/>
              <a:gd name="connsiteY2609" fmla="*/ 2165725 h 4588585"/>
              <a:gd name="connsiteX2610" fmla="*/ 3524247 w 5047599"/>
              <a:gd name="connsiteY2610" fmla="*/ 2158868 h 4588585"/>
              <a:gd name="connsiteX2611" fmla="*/ 3524284 w 5047599"/>
              <a:gd name="connsiteY2611" fmla="*/ 2158948 h 4588585"/>
              <a:gd name="connsiteX2612" fmla="*/ 3527283 w 5047599"/>
              <a:gd name="connsiteY2612" fmla="*/ 2160041 h 4588585"/>
              <a:gd name="connsiteX2613" fmla="*/ 3527303 w 5047599"/>
              <a:gd name="connsiteY2613" fmla="*/ 2159962 h 4588585"/>
              <a:gd name="connsiteX2614" fmla="*/ 2394230 w 5047599"/>
              <a:gd name="connsiteY2614" fmla="*/ 2155485 h 4588585"/>
              <a:gd name="connsiteX2615" fmla="*/ 2398178 w 5047599"/>
              <a:gd name="connsiteY2615" fmla="*/ 2162622 h 4588585"/>
              <a:gd name="connsiteX2616" fmla="*/ 2404765 w 5047599"/>
              <a:gd name="connsiteY2616" fmla="*/ 2170034 h 4588585"/>
              <a:gd name="connsiteX2617" fmla="*/ 2411902 w 5047599"/>
              <a:gd name="connsiteY2617" fmla="*/ 2178036 h 4588585"/>
              <a:gd name="connsiteX2618" fmla="*/ 2417709 w 5047599"/>
              <a:gd name="connsiteY2618" fmla="*/ 2184581 h 4588585"/>
              <a:gd name="connsiteX2619" fmla="*/ 2424972 w 5047599"/>
              <a:gd name="connsiteY2619" fmla="*/ 2192119 h 4588585"/>
              <a:gd name="connsiteX2620" fmla="*/ 2430631 w 5047599"/>
              <a:gd name="connsiteY2620" fmla="*/ 2198031 h 4588585"/>
              <a:gd name="connsiteX2621" fmla="*/ 2424973 w 5047599"/>
              <a:gd name="connsiteY2621" fmla="*/ 2192119 h 4588585"/>
              <a:gd name="connsiteX2622" fmla="*/ 2417709 w 5047599"/>
              <a:gd name="connsiteY2622" fmla="*/ 2184560 h 4588585"/>
              <a:gd name="connsiteX2623" fmla="*/ 2411902 w 5047599"/>
              <a:gd name="connsiteY2623" fmla="*/ 2178036 h 4588585"/>
              <a:gd name="connsiteX2624" fmla="*/ 2404766 w 5047599"/>
              <a:gd name="connsiteY2624" fmla="*/ 2170034 h 4588585"/>
              <a:gd name="connsiteX2625" fmla="*/ 2398179 w 5047599"/>
              <a:gd name="connsiteY2625" fmla="*/ 2162622 h 4588585"/>
              <a:gd name="connsiteX2626" fmla="*/ 3983729 w 5047599"/>
              <a:gd name="connsiteY2626" fmla="*/ 2153561 h 4588585"/>
              <a:gd name="connsiteX2627" fmla="*/ 3983655 w 5047599"/>
              <a:gd name="connsiteY2627" fmla="*/ 2153690 h 4588585"/>
              <a:gd name="connsiteX2628" fmla="*/ 3983605 w 5047599"/>
              <a:gd name="connsiteY2628" fmla="*/ 2153690 h 4588585"/>
              <a:gd name="connsiteX2629" fmla="*/ 3983654 w 5047599"/>
              <a:gd name="connsiteY2629" fmla="*/ 2153691 h 4588585"/>
              <a:gd name="connsiteX2630" fmla="*/ 3983470 w 5047599"/>
              <a:gd name="connsiteY2630" fmla="*/ 2153954 h 4588585"/>
              <a:gd name="connsiteX2631" fmla="*/ 3983655 w 5047599"/>
              <a:gd name="connsiteY2631" fmla="*/ 2153691 h 4588585"/>
              <a:gd name="connsiteX2632" fmla="*/ 2397853 w 5047599"/>
              <a:gd name="connsiteY2632" fmla="*/ 2150623 h 4588585"/>
              <a:gd name="connsiteX2633" fmla="*/ 2397396 w 5047599"/>
              <a:gd name="connsiteY2633" fmla="*/ 2150903 h 4588585"/>
              <a:gd name="connsiteX2634" fmla="*/ 2394546 w 5047599"/>
              <a:gd name="connsiteY2634" fmla="*/ 2150988 h 4588585"/>
              <a:gd name="connsiteX2635" fmla="*/ 2397397 w 5047599"/>
              <a:gd name="connsiteY2635" fmla="*/ 2150903 h 4588585"/>
              <a:gd name="connsiteX2636" fmla="*/ 3923546 w 5047599"/>
              <a:gd name="connsiteY2636" fmla="*/ 2140959 h 4588585"/>
              <a:gd name="connsiteX2637" fmla="*/ 3932282 w 5047599"/>
              <a:gd name="connsiteY2637" fmla="*/ 2148792 h 4588585"/>
              <a:gd name="connsiteX2638" fmla="*/ 3936210 w 5047599"/>
              <a:gd name="connsiteY2638" fmla="*/ 2152677 h 4588585"/>
              <a:gd name="connsiteX2639" fmla="*/ 3936299 w 5047599"/>
              <a:gd name="connsiteY2639" fmla="*/ 2152725 h 4588585"/>
              <a:gd name="connsiteX2640" fmla="*/ 3932493 w 5047599"/>
              <a:gd name="connsiteY2640" fmla="*/ 2148960 h 4588585"/>
              <a:gd name="connsiteX2641" fmla="*/ 3923710 w 5047599"/>
              <a:gd name="connsiteY2641" fmla="*/ 2141085 h 4588585"/>
              <a:gd name="connsiteX2642" fmla="*/ 4010980 w 5047599"/>
              <a:gd name="connsiteY2642" fmla="*/ 2139826 h 4588585"/>
              <a:gd name="connsiteX2643" fmla="*/ 4004051 w 5047599"/>
              <a:gd name="connsiteY2643" fmla="*/ 2140409 h 4588585"/>
              <a:gd name="connsiteX2644" fmla="*/ 3991952 w 5047599"/>
              <a:gd name="connsiteY2644" fmla="*/ 2144189 h 4588585"/>
              <a:gd name="connsiteX2645" fmla="*/ 4004051 w 5047599"/>
              <a:gd name="connsiteY2645" fmla="*/ 2140410 h 4588585"/>
              <a:gd name="connsiteX2646" fmla="*/ 3514955 w 5047599"/>
              <a:gd name="connsiteY2646" fmla="*/ 2139372 h 4588585"/>
              <a:gd name="connsiteX2647" fmla="*/ 3501142 w 5047599"/>
              <a:gd name="connsiteY2647" fmla="*/ 2153247 h 4588585"/>
              <a:gd name="connsiteX2648" fmla="*/ 3490881 w 5047599"/>
              <a:gd name="connsiteY2648" fmla="*/ 2163530 h 4588585"/>
              <a:gd name="connsiteX2649" fmla="*/ 3489170 w 5047599"/>
              <a:gd name="connsiteY2649" fmla="*/ 2164987 h 4588585"/>
              <a:gd name="connsiteX2650" fmla="*/ 3490880 w 5047599"/>
              <a:gd name="connsiteY2650" fmla="*/ 2163551 h 4588585"/>
              <a:gd name="connsiteX2651" fmla="*/ 3501142 w 5047599"/>
              <a:gd name="connsiteY2651" fmla="*/ 2153247 h 4588585"/>
              <a:gd name="connsiteX2652" fmla="*/ 3514962 w 5047599"/>
              <a:gd name="connsiteY2652" fmla="*/ 2139386 h 4588585"/>
              <a:gd name="connsiteX2653" fmla="*/ 3917333 w 5047599"/>
              <a:gd name="connsiteY2653" fmla="*/ 2136165 h 4588585"/>
              <a:gd name="connsiteX2654" fmla="*/ 3917320 w 5047599"/>
              <a:gd name="connsiteY2654" fmla="*/ 2136170 h 4588585"/>
              <a:gd name="connsiteX2655" fmla="*/ 3921756 w 5047599"/>
              <a:gd name="connsiteY2655" fmla="*/ 2139578 h 4588585"/>
              <a:gd name="connsiteX2656" fmla="*/ 2786814 w 5047599"/>
              <a:gd name="connsiteY2656" fmla="*/ 2135659 h 4588585"/>
              <a:gd name="connsiteX2657" fmla="*/ 2777967 w 5047599"/>
              <a:gd name="connsiteY2657" fmla="*/ 2137834 h 4588585"/>
              <a:gd name="connsiteX2658" fmla="*/ 2786814 w 5047599"/>
              <a:gd name="connsiteY2658" fmla="*/ 2135680 h 4588585"/>
              <a:gd name="connsiteX2659" fmla="*/ 2799926 w 5047599"/>
              <a:gd name="connsiteY2659" fmla="*/ 2137306 h 4588585"/>
              <a:gd name="connsiteX2660" fmla="*/ 2830373 w 5047599"/>
              <a:gd name="connsiteY2660" fmla="*/ 2144358 h 4588585"/>
              <a:gd name="connsiteX2661" fmla="*/ 2799927 w 5047599"/>
              <a:gd name="connsiteY2661" fmla="*/ 2137305 h 4588585"/>
              <a:gd name="connsiteX2662" fmla="*/ 2394335 w 5047599"/>
              <a:gd name="connsiteY2662" fmla="*/ 2135448 h 4588585"/>
              <a:gd name="connsiteX2663" fmla="*/ 2395728 w 5047599"/>
              <a:gd name="connsiteY2663" fmla="*/ 2142627 h 4588585"/>
              <a:gd name="connsiteX2664" fmla="*/ 2398663 w 5047599"/>
              <a:gd name="connsiteY2664" fmla="*/ 2148263 h 4588585"/>
              <a:gd name="connsiteX2665" fmla="*/ 2398664 w 5047599"/>
              <a:gd name="connsiteY2665" fmla="*/ 2148243 h 4588585"/>
              <a:gd name="connsiteX2666" fmla="*/ 2395729 w 5047599"/>
              <a:gd name="connsiteY2666" fmla="*/ 2142627 h 4588585"/>
              <a:gd name="connsiteX2667" fmla="*/ 3271732 w 5047599"/>
              <a:gd name="connsiteY2667" fmla="*/ 2132956 h 4588585"/>
              <a:gd name="connsiteX2668" fmla="*/ 3275512 w 5047599"/>
              <a:gd name="connsiteY2668" fmla="*/ 2136440 h 4588585"/>
              <a:gd name="connsiteX2669" fmla="*/ 3280685 w 5047599"/>
              <a:gd name="connsiteY2669" fmla="*/ 2141825 h 4588585"/>
              <a:gd name="connsiteX2670" fmla="*/ 3290968 w 5047599"/>
              <a:gd name="connsiteY2670" fmla="*/ 2153437 h 4588585"/>
              <a:gd name="connsiteX2671" fmla="*/ 3304355 w 5047599"/>
              <a:gd name="connsiteY2671" fmla="*/ 2159244 h 4588585"/>
              <a:gd name="connsiteX2672" fmla="*/ 3309548 w 5047599"/>
              <a:gd name="connsiteY2672" fmla="*/ 2162116 h 4588585"/>
              <a:gd name="connsiteX2673" fmla="*/ 3309548 w 5047599"/>
              <a:gd name="connsiteY2673" fmla="*/ 2162115 h 4588585"/>
              <a:gd name="connsiteX2674" fmla="*/ 3304355 w 5047599"/>
              <a:gd name="connsiteY2674" fmla="*/ 2159243 h 4588585"/>
              <a:gd name="connsiteX2675" fmla="*/ 3290968 w 5047599"/>
              <a:gd name="connsiteY2675" fmla="*/ 2153437 h 4588585"/>
              <a:gd name="connsiteX2676" fmla="*/ 3280685 w 5047599"/>
              <a:gd name="connsiteY2676" fmla="*/ 2141824 h 4588585"/>
              <a:gd name="connsiteX2677" fmla="*/ 3275512 w 5047599"/>
              <a:gd name="connsiteY2677" fmla="*/ 2136439 h 4588585"/>
              <a:gd name="connsiteX2678" fmla="*/ 2733837 w 5047599"/>
              <a:gd name="connsiteY2678" fmla="*/ 2125819 h 4588585"/>
              <a:gd name="connsiteX2679" fmla="*/ 2725202 w 5047599"/>
              <a:gd name="connsiteY2679" fmla="*/ 2126516 h 4588585"/>
              <a:gd name="connsiteX2680" fmla="*/ 2733837 w 5047599"/>
              <a:gd name="connsiteY2680" fmla="*/ 2125820 h 4588585"/>
              <a:gd name="connsiteX2681" fmla="*/ 2743486 w 5047599"/>
              <a:gd name="connsiteY2681" fmla="*/ 2127847 h 4588585"/>
              <a:gd name="connsiteX2682" fmla="*/ 2753537 w 5047599"/>
              <a:gd name="connsiteY2682" fmla="*/ 2132661 h 4588585"/>
              <a:gd name="connsiteX2683" fmla="*/ 2759723 w 5047599"/>
              <a:gd name="connsiteY2683" fmla="*/ 2134435 h 4588585"/>
              <a:gd name="connsiteX2684" fmla="*/ 2760750 w 5047599"/>
              <a:gd name="connsiteY2684" fmla="*/ 2133873 h 4588585"/>
              <a:gd name="connsiteX2685" fmla="*/ 2759724 w 5047599"/>
              <a:gd name="connsiteY2685" fmla="*/ 2134434 h 4588585"/>
              <a:gd name="connsiteX2686" fmla="*/ 2753537 w 5047599"/>
              <a:gd name="connsiteY2686" fmla="*/ 2132660 h 4588585"/>
              <a:gd name="connsiteX2687" fmla="*/ 2743487 w 5047599"/>
              <a:gd name="connsiteY2687" fmla="*/ 2127846 h 4588585"/>
              <a:gd name="connsiteX2688" fmla="*/ 3203996 w 5047599"/>
              <a:gd name="connsiteY2688" fmla="*/ 2122399 h 4588585"/>
              <a:gd name="connsiteX2689" fmla="*/ 3198802 w 5047599"/>
              <a:gd name="connsiteY2689" fmla="*/ 2125397 h 4588585"/>
              <a:gd name="connsiteX2690" fmla="*/ 3192004 w 5047599"/>
              <a:gd name="connsiteY2690" fmla="*/ 2130232 h 4588585"/>
              <a:gd name="connsiteX2691" fmla="*/ 3186239 w 5047599"/>
              <a:gd name="connsiteY2691" fmla="*/ 2133125 h 4588585"/>
              <a:gd name="connsiteX2692" fmla="*/ 3192004 w 5047599"/>
              <a:gd name="connsiteY2692" fmla="*/ 2130233 h 4588585"/>
              <a:gd name="connsiteX2693" fmla="*/ 3198803 w 5047599"/>
              <a:gd name="connsiteY2693" fmla="*/ 2125397 h 4588585"/>
              <a:gd name="connsiteX2694" fmla="*/ 3203996 w 5047599"/>
              <a:gd name="connsiteY2694" fmla="*/ 2122399 h 4588585"/>
              <a:gd name="connsiteX2695" fmla="*/ 3216560 w 5047599"/>
              <a:gd name="connsiteY2695" fmla="*/ 2123476 h 4588585"/>
              <a:gd name="connsiteX2696" fmla="*/ 3223570 w 5047599"/>
              <a:gd name="connsiteY2696" fmla="*/ 2125904 h 4588585"/>
              <a:gd name="connsiteX2697" fmla="*/ 3229144 w 5047599"/>
              <a:gd name="connsiteY2697" fmla="*/ 2129325 h 4588585"/>
              <a:gd name="connsiteX2698" fmla="*/ 3223569 w 5047599"/>
              <a:gd name="connsiteY2698" fmla="*/ 2125904 h 4588585"/>
              <a:gd name="connsiteX2699" fmla="*/ 3216560 w 5047599"/>
              <a:gd name="connsiteY2699" fmla="*/ 2123454 h 4588585"/>
              <a:gd name="connsiteX2700" fmla="*/ 1929982 w 5047599"/>
              <a:gd name="connsiteY2700" fmla="*/ 2121048 h 4588585"/>
              <a:gd name="connsiteX2701" fmla="*/ 1932600 w 5047599"/>
              <a:gd name="connsiteY2701" fmla="*/ 2122758 h 4588585"/>
              <a:gd name="connsiteX2702" fmla="*/ 1935958 w 5047599"/>
              <a:gd name="connsiteY2702" fmla="*/ 2123454 h 4588585"/>
              <a:gd name="connsiteX2703" fmla="*/ 1934310 w 5047599"/>
              <a:gd name="connsiteY2703" fmla="*/ 2127551 h 4588585"/>
              <a:gd name="connsiteX2704" fmla="*/ 1928589 w 5047599"/>
              <a:gd name="connsiteY2704" fmla="*/ 2129346 h 4588585"/>
              <a:gd name="connsiteX2705" fmla="*/ 1924830 w 5047599"/>
              <a:gd name="connsiteY2705" fmla="*/ 2128902 h 4588585"/>
              <a:gd name="connsiteX2706" fmla="*/ 2845509 w 5047599"/>
              <a:gd name="connsiteY2706" fmla="*/ 2120365 h 4588585"/>
              <a:gd name="connsiteX2707" fmla="*/ 2841923 w 5047599"/>
              <a:gd name="connsiteY2707" fmla="*/ 2125925 h 4588585"/>
              <a:gd name="connsiteX2708" fmla="*/ 2839826 w 5047599"/>
              <a:gd name="connsiteY2708" fmla="*/ 2130409 h 4588585"/>
              <a:gd name="connsiteX2709" fmla="*/ 2841923 w 5047599"/>
              <a:gd name="connsiteY2709" fmla="*/ 2125926 h 4588585"/>
              <a:gd name="connsiteX2710" fmla="*/ 3252876 w 5047599"/>
              <a:gd name="connsiteY2710" fmla="*/ 2114607 h 4588585"/>
              <a:gd name="connsiteX2711" fmla="*/ 3247999 w 5047599"/>
              <a:gd name="connsiteY2711" fmla="*/ 2116065 h 4588585"/>
              <a:gd name="connsiteX2712" fmla="*/ 3252877 w 5047599"/>
              <a:gd name="connsiteY2712" fmla="*/ 2114608 h 4588585"/>
              <a:gd name="connsiteX2713" fmla="*/ 3257509 w 5047599"/>
              <a:gd name="connsiteY2713" fmla="*/ 2116448 h 4588585"/>
              <a:gd name="connsiteX2714" fmla="*/ 2864199 w 5047599"/>
              <a:gd name="connsiteY2714" fmla="*/ 2108224 h 4588585"/>
              <a:gd name="connsiteX2715" fmla="*/ 2856597 w 5047599"/>
              <a:gd name="connsiteY2715" fmla="*/ 2109392 h 4588585"/>
              <a:gd name="connsiteX2716" fmla="*/ 2850137 w 5047599"/>
              <a:gd name="connsiteY2716" fmla="*/ 2113974 h 4588585"/>
              <a:gd name="connsiteX2717" fmla="*/ 2856597 w 5047599"/>
              <a:gd name="connsiteY2717" fmla="*/ 2109394 h 4588585"/>
              <a:gd name="connsiteX2718" fmla="*/ 2864199 w 5047599"/>
              <a:gd name="connsiteY2718" fmla="*/ 2108227 h 4588585"/>
              <a:gd name="connsiteX2719" fmla="*/ 2871483 w 5047599"/>
              <a:gd name="connsiteY2719" fmla="*/ 2108630 h 4588585"/>
              <a:gd name="connsiteX2720" fmla="*/ 2877586 w 5047599"/>
              <a:gd name="connsiteY2720" fmla="*/ 2110647 h 4588585"/>
              <a:gd name="connsiteX2721" fmla="*/ 2883160 w 5047599"/>
              <a:gd name="connsiteY2721" fmla="*/ 2112982 h 4588585"/>
              <a:gd name="connsiteX2722" fmla="*/ 2889325 w 5047599"/>
              <a:gd name="connsiteY2722" fmla="*/ 2113003 h 4588585"/>
              <a:gd name="connsiteX2723" fmla="*/ 2883160 w 5047599"/>
              <a:gd name="connsiteY2723" fmla="*/ 2112982 h 4588585"/>
              <a:gd name="connsiteX2724" fmla="*/ 2877586 w 5047599"/>
              <a:gd name="connsiteY2724" fmla="*/ 2110644 h 4588585"/>
              <a:gd name="connsiteX2725" fmla="*/ 2871484 w 5047599"/>
              <a:gd name="connsiteY2725" fmla="*/ 2108627 h 4588585"/>
              <a:gd name="connsiteX2726" fmla="*/ 2932129 w 5047599"/>
              <a:gd name="connsiteY2726" fmla="*/ 2097693 h 4588585"/>
              <a:gd name="connsiteX2727" fmla="*/ 2923384 w 5047599"/>
              <a:gd name="connsiteY2727" fmla="*/ 2100946 h 4588585"/>
              <a:gd name="connsiteX2728" fmla="*/ 2914895 w 5047599"/>
              <a:gd name="connsiteY2728" fmla="*/ 2103917 h 4588585"/>
              <a:gd name="connsiteX2729" fmla="*/ 2905014 w 5047599"/>
              <a:gd name="connsiteY2729" fmla="*/ 2106612 h 4588585"/>
              <a:gd name="connsiteX2730" fmla="*/ 2895639 w 5047599"/>
              <a:gd name="connsiteY2730" fmla="*/ 2110752 h 4588585"/>
              <a:gd name="connsiteX2731" fmla="*/ 2891059 w 5047599"/>
              <a:gd name="connsiteY2731" fmla="*/ 2112385 h 4588585"/>
              <a:gd name="connsiteX2732" fmla="*/ 2895639 w 5047599"/>
              <a:gd name="connsiteY2732" fmla="*/ 2110753 h 4588585"/>
              <a:gd name="connsiteX2733" fmla="*/ 2905013 w 5047599"/>
              <a:gd name="connsiteY2733" fmla="*/ 2106613 h 4588585"/>
              <a:gd name="connsiteX2734" fmla="*/ 2914895 w 5047599"/>
              <a:gd name="connsiteY2734" fmla="*/ 2103918 h 4588585"/>
              <a:gd name="connsiteX2735" fmla="*/ 2923383 w 5047599"/>
              <a:gd name="connsiteY2735" fmla="*/ 2100947 h 4588585"/>
              <a:gd name="connsiteX2736" fmla="*/ 2949777 w 5047599"/>
              <a:gd name="connsiteY2736" fmla="*/ 2092414 h 4588585"/>
              <a:gd name="connsiteX2737" fmla="*/ 2969244 w 5047599"/>
              <a:gd name="connsiteY2737" fmla="*/ 2097169 h 4588585"/>
              <a:gd name="connsiteX2738" fmla="*/ 2981849 w 5047599"/>
              <a:gd name="connsiteY2738" fmla="*/ 2094028 h 4588585"/>
              <a:gd name="connsiteX2739" fmla="*/ 2987001 w 5047599"/>
              <a:gd name="connsiteY2739" fmla="*/ 2094940 h 4588585"/>
              <a:gd name="connsiteX2740" fmla="*/ 2981850 w 5047599"/>
              <a:gd name="connsiteY2740" fmla="*/ 2094027 h 4588585"/>
              <a:gd name="connsiteX2741" fmla="*/ 2969244 w 5047599"/>
              <a:gd name="connsiteY2741" fmla="*/ 2097169 h 4588585"/>
              <a:gd name="connsiteX2742" fmla="*/ 2675392 w 5047599"/>
              <a:gd name="connsiteY2742" fmla="*/ 2087704 h 4588585"/>
              <a:gd name="connsiteX2743" fmla="*/ 2678685 w 5047599"/>
              <a:gd name="connsiteY2743" fmla="*/ 2091143 h 4588585"/>
              <a:gd name="connsiteX2744" fmla="*/ 2686984 w 5047599"/>
              <a:gd name="connsiteY2744" fmla="*/ 2096299 h 4588585"/>
              <a:gd name="connsiteX2745" fmla="*/ 2700244 w 5047599"/>
              <a:gd name="connsiteY2745" fmla="*/ 2103113 h 4588585"/>
              <a:gd name="connsiteX2746" fmla="*/ 2710167 w 5047599"/>
              <a:gd name="connsiteY2746" fmla="*/ 2111652 h 4588585"/>
              <a:gd name="connsiteX2747" fmla="*/ 2715658 w 5047599"/>
              <a:gd name="connsiteY2747" fmla="*/ 2120245 h 4588585"/>
              <a:gd name="connsiteX2748" fmla="*/ 2710168 w 5047599"/>
              <a:gd name="connsiteY2748" fmla="*/ 2111652 h 4588585"/>
              <a:gd name="connsiteX2749" fmla="*/ 2700244 w 5047599"/>
              <a:gd name="connsiteY2749" fmla="*/ 2103112 h 4588585"/>
              <a:gd name="connsiteX2750" fmla="*/ 2686984 w 5047599"/>
              <a:gd name="connsiteY2750" fmla="*/ 2096299 h 4588585"/>
              <a:gd name="connsiteX2751" fmla="*/ 2678686 w 5047599"/>
              <a:gd name="connsiteY2751" fmla="*/ 2091140 h 4588585"/>
              <a:gd name="connsiteX2752" fmla="*/ 3105899 w 5047599"/>
              <a:gd name="connsiteY2752" fmla="*/ 2081143 h 4588585"/>
              <a:gd name="connsiteX2753" fmla="*/ 3108453 w 5047599"/>
              <a:gd name="connsiteY2753" fmla="*/ 2081249 h 4588585"/>
              <a:gd name="connsiteX2754" fmla="*/ 3125534 w 5047599"/>
              <a:gd name="connsiteY2754" fmla="*/ 2086519 h 4588585"/>
              <a:gd name="connsiteX2755" fmla="*/ 3127688 w 5047599"/>
              <a:gd name="connsiteY2755" fmla="*/ 2090678 h 4588585"/>
              <a:gd name="connsiteX2756" fmla="*/ 3130750 w 5047599"/>
              <a:gd name="connsiteY2756" fmla="*/ 2094943 h 4588585"/>
              <a:gd name="connsiteX2757" fmla="*/ 3141011 w 5047599"/>
              <a:gd name="connsiteY2757" fmla="*/ 2102161 h 4588585"/>
              <a:gd name="connsiteX2758" fmla="*/ 3144263 w 5047599"/>
              <a:gd name="connsiteY2758" fmla="*/ 2106173 h 4588585"/>
              <a:gd name="connsiteX2759" fmla="*/ 3146776 w 5047599"/>
              <a:gd name="connsiteY2759" fmla="*/ 2110630 h 4588585"/>
              <a:gd name="connsiteX2760" fmla="*/ 3148359 w 5047599"/>
              <a:gd name="connsiteY2760" fmla="*/ 2114101 h 4588585"/>
              <a:gd name="connsiteX2761" fmla="*/ 3151225 w 5047599"/>
              <a:gd name="connsiteY2761" fmla="*/ 2116623 h 4588585"/>
              <a:gd name="connsiteX2762" fmla="*/ 3151526 w 5047599"/>
              <a:gd name="connsiteY2762" fmla="*/ 2116888 h 4588585"/>
              <a:gd name="connsiteX2763" fmla="*/ 3151526 w 5047599"/>
              <a:gd name="connsiteY2763" fmla="*/ 2116888 h 4588585"/>
              <a:gd name="connsiteX2764" fmla="*/ 3151527 w 5047599"/>
              <a:gd name="connsiteY2764" fmla="*/ 2116888 h 4588585"/>
              <a:gd name="connsiteX2765" fmla="*/ 3155961 w 5047599"/>
              <a:gd name="connsiteY2765" fmla="*/ 2118662 h 4588585"/>
              <a:gd name="connsiteX2766" fmla="*/ 3159761 w 5047599"/>
              <a:gd name="connsiteY2766" fmla="*/ 2120794 h 4588585"/>
              <a:gd name="connsiteX2767" fmla="*/ 3162084 w 5047599"/>
              <a:gd name="connsiteY2767" fmla="*/ 2123919 h 4588585"/>
              <a:gd name="connsiteX2768" fmla="*/ 3165568 w 5047599"/>
              <a:gd name="connsiteY2768" fmla="*/ 2127171 h 4588585"/>
              <a:gd name="connsiteX2769" fmla="*/ 3172282 w 5047599"/>
              <a:gd name="connsiteY2769" fmla="*/ 2131584 h 4588585"/>
              <a:gd name="connsiteX2770" fmla="*/ 3175555 w 5047599"/>
              <a:gd name="connsiteY2770" fmla="*/ 2131689 h 4588585"/>
              <a:gd name="connsiteX2771" fmla="*/ 3179334 w 5047599"/>
              <a:gd name="connsiteY2771" fmla="*/ 2132302 h 4588585"/>
              <a:gd name="connsiteX2772" fmla="*/ 3182671 w 5047599"/>
              <a:gd name="connsiteY2772" fmla="*/ 2133463 h 4588585"/>
              <a:gd name="connsiteX2773" fmla="*/ 3179334 w 5047599"/>
              <a:gd name="connsiteY2773" fmla="*/ 2132301 h 4588585"/>
              <a:gd name="connsiteX2774" fmla="*/ 3175555 w 5047599"/>
              <a:gd name="connsiteY2774" fmla="*/ 2131668 h 4588585"/>
              <a:gd name="connsiteX2775" fmla="*/ 3172282 w 5047599"/>
              <a:gd name="connsiteY2775" fmla="*/ 2131563 h 4588585"/>
              <a:gd name="connsiteX2776" fmla="*/ 3165567 w 5047599"/>
              <a:gd name="connsiteY2776" fmla="*/ 2127150 h 4588585"/>
              <a:gd name="connsiteX2777" fmla="*/ 3162084 w 5047599"/>
              <a:gd name="connsiteY2777" fmla="*/ 2123919 h 4588585"/>
              <a:gd name="connsiteX2778" fmla="*/ 3159761 w 5047599"/>
              <a:gd name="connsiteY2778" fmla="*/ 2120794 h 4588585"/>
              <a:gd name="connsiteX2779" fmla="*/ 3155961 w 5047599"/>
              <a:gd name="connsiteY2779" fmla="*/ 2118661 h 4588585"/>
              <a:gd name="connsiteX2780" fmla="*/ 3151526 w 5047599"/>
              <a:gd name="connsiteY2780" fmla="*/ 2116888 h 4588585"/>
              <a:gd name="connsiteX2781" fmla="*/ 3151225 w 5047599"/>
              <a:gd name="connsiteY2781" fmla="*/ 2116623 h 4588585"/>
              <a:gd name="connsiteX2782" fmla="*/ 3148359 w 5047599"/>
              <a:gd name="connsiteY2782" fmla="*/ 2114100 h 4588585"/>
              <a:gd name="connsiteX2783" fmla="*/ 3146776 w 5047599"/>
              <a:gd name="connsiteY2783" fmla="*/ 2110625 h 4588585"/>
              <a:gd name="connsiteX2784" fmla="*/ 3144263 w 5047599"/>
              <a:gd name="connsiteY2784" fmla="*/ 2106168 h 4588585"/>
              <a:gd name="connsiteX2785" fmla="*/ 3141011 w 5047599"/>
              <a:gd name="connsiteY2785" fmla="*/ 2102156 h 4588585"/>
              <a:gd name="connsiteX2786" fmla="*/ 3130750 w 5047599"/>
              <a:gd name="connsiteY2786" fmla="*/ 2094941 h 4588585"/>
              <a:gd name="connsiteX2787" fmla="*/ 3127688 w 5047599"/>
              <a:gd name="connsiteY2787" fmla="*/ 2090674 h 4588585"/>
              <a:gd name="connsiteX2788" fmla="*/ 3125534 w 5047599"/>
              <a:gd name="connsiteY2788" fmla="*/ 2086514 h 4588585"/>
              <a:gd name="connsiteX2789" fmla="*/ 3125531 w 5047599"/>
              <a:gd name="connsiteY2789" fmla="*/ 2086511 h 4588585"/>
              <a:gd name="connsiteX2790" fmla="*/ 3108454 w 5047599"/>
              <a:gd name="connsiteY2790" fmla="*/ 2081248 h 4588585"/>
              <a:gd name="connsiteX2791" fmla="*/ 2364648 w 5047599"/>
              <a:gd name="connsiteY2791" fmla="*/ 2076368 h 4588585"/>
              <a:gd name="connsiteX2792" fmla="*/ 2364648 w 5047599"/>
              <a:gd name="connsiteY2792" fmla="*/ 2076371 h 4588585"/>
              <a:gd name="connsiteX2793" fmla="*/ 2365282 w 5047599"/>
              <a:gd name="connsiteY2793" fmla="*/ 2078047 h 4588585"/>
              <a:gd name="connsiteX2794" fmla="*/ 2366949 w 5047599"/>
              <a:gd name="connsiteY2794" fmla="*/ 2079427 h 4588585"/>
              <a:gd name="connsiteX2795" fmla="*/ 2369251 w 5047599"/>
              <a:gd name="connsiteY2795" fmla="*/ 2082376 h 4588585"/>
              <a:gd name="connsiteX2796" fmla="*/ 2370496 w 5047599"/>
              <a:gd name="connsiteY2796" fmla="*/ 2089126 h 4588585"/>
              <a:gd name="connsiteX2797" fmla="*/ 2373305 w 5047599"/>
              <a:gd name="connsiteY2797" fmla="*/ 2112855 h 4588585"/>
              <a:gd name="connsiteX2798" fmla="*/ 2374613 w 5047599"/>
              <a:gd name="connsiteY2798" fmla="*/ 2116614 h 4588585"/>
              <a:gd name="connsiteX2799" fmla="*/ 2376936 w 5047599"/>
              <a:gd name="connsiteY2799" fmla="*/ 2119252 h 4588585"/>
              <a:gd name="connsiteX2800" fmla="*/ 2384242 w 5047599"/>
              <a:gd name="connsiteY2800" fmla="*/ 2124362 h 4588585"/>
              <a:gd name="connsiteX2801" fmla="*/ 2391907 w 5047599"/>
              <a:gd name="connsiteY2801" fmla="*/ 2131077 h 4588585"/>
              <a:gd name="connsiteX2802" fmla="*/ 2384243 w 5047599"/>
              <a:gd name="connsiteY2802" fmla="*/ 2124362 h 4588585"/>
              <a:gd name="connsiteX2803" fmla="*/ 2376937 w 5047599"/>
              <a:gd name="connsiteY2803" fmla="*/ 2119231 h 4588585"/>
              <a:gd name="connsiteX2804" fmla="*/ 2374614 w 5047599"/>
              <a:gd name="connsiteY2804" fmla="*/ 2116613 h 4588585"/>
              <a:gd name="connsiteX2805" fmla="*/ 2373306 w 5047599"/>
              <a:gd name="connsiteY2805" fmla="*/ 2112855 h 4588585"/>
              <a:gd name="connsiteX2806" fmla="*/ 2370497 w 5047599"/>
              <a:gd name="connsiteY2806" fmla="*/ 2089122 h 4588585"/>
              <a:gd name="connsiteX2807" fmla="*/ 2369251 w 5047599"/>
              <a:gd name="connsiteY2807" fmla="*/ 2082372 h 4588585"/>
              <a:gd name="connsiteX2808" fmla="*/ 2366949 w 5047599"/>
              <a:gd name="connsiteY2808" fmla="*/ 2079422 h 4588585"/>
              <a:gd name="connsiteX2809" fmla="*/ 2365282 w 5047599"/>
              <a:gd name="connsiteY2809" fmla="*/ 2078043 h 4588585"/>
              <a:gd name="connsiteX2810" fmla="*/ 3014239 w 5047599"/>
              <a:gd name="connsiteY2810" fmla="*/ 2074458 h 4588585"/>
              <a:gd name="connsiteX2811" fmla="*/ 3025430 w 5047599"/>
              <a:gd name="connsiteY2811" fmla="*/ 2076156 h 4588585"/>
              <a:gd name="connsiteX2812" fmla="*/ 3031722 w 5047599"/>
              <a:gd name="connsiteY2812" fmla="*/ 2077938 h 4588585"/>
              <a:gd name="connsiteX2813" fmla="*/ 3052668 w 5047599"/>
              <a:gd name="connsiteY2813" fmla="*/ 2082841 h 4588585"/>
              <a:gd name="connsiteX2814" fmla="*/ 3079864 w 5047599"/>
              <a:gd name="connsiteY2814" fmla="*/ 2087957 h 4588585"/>
              <a:gd name="connsiteX2815" fmla="*/ 3087866 w 5047599"/>
              <a:gd name="connsiteY2815" fmla="*/ 2088740 h 4588585"/>
              <a:gd name="connsiteX2816" fmla="*/ 3091118 w 5047599"/>
              <a:gd name="connsiteY2816" fmla="*/ 2089314 h 4588585"/>
              <a:gd name="connsiteX2817" fmla="*/ 3093948 w 5047599"/>
              <a:gd name="connsiteY2817" fmla="*/ 2088508 h 4588585"/>
              <a:gd name="connsiteX2818" fmla="*/ 3101137 w 5047599"/>
              <a:gd name="connsiteY2818" fmla="*/ 2083314 h 4588585"/>
              <a:gd name="connsiteX2819" fmla="*/ 3093948 w 5047599"/>
              <a:gd name="connsiteY2819" fmla="*/ 2088505 h 4588585"/>
              <a:gd name="connsiteX2820" fmla="*/ 3091118 w 5047599"/>
              <a:gd name="connsiteY2820" fmla="*/ 2089312 h 4588585"/>
              <a:gd name="connsiteX2821" fmla="*/ 3087867 w 5047599"/>
              <a:gd name="connsiteY2821" fmla="*/ 2088738 h 4588585"/>
              <a:gd name="connsiteX2822" fmla="*/ 3079864 w 5047599"/>
              <a:gd name="connsiteY2822" fmla="*/ 2087954 h 4588585"/>
              <a:gd name="connsiteX2823" fmla="*/ 3052668 w 5047599"/>
              <a:gd name="connsiteY2823" fmla="*/ 2082841 h 4588585"/>
              <a:gd name="connsiteX2824" fmla="*/ 3031723 w 5047599"/>
              <a:gd name="connsiteY2824" fmla="*/ 2077938 h 4588585"/>
              <a:gd name="connsiteX2825" fmla="*/ 3025430 w 5047599"/>
              <a:gd name="connsiteY2825" fmla="*/ 2076156 h 4588585"/>
              <a:gd name="connsiteX2826" fmla="*/ 3619718 w 5047599"/>
              <a:gd name="connsiteY2826" fmla="*/ 2072543 h 4588585"/>
              <a:gd name="connsiteX2827" fmla="*/ 3622383 w 5047599"/>
              <a:gd name="connsiteY2827" fmla="*/ 2076314 h 4588585"/>
              <a:gd name="connsiteX2828" fmla="*/ 3622193 w 5047599"/>
              <a:gd name="connsiteY2828" fmla="*/ 2080495 h 4588585"/>
              <a:gd name="connsiteX2829" fmla="*/ 3622911 w 5047599"/>
              <a:gd name="connsiteY2829" fmla="*/ 2083528 h 4588585"/>
              <a:gd name="connsiteX2830" fmla="*/ 3621643 w 5047599"/>
              <a:gd name="connsiteY2830" fmla="*/ 2086586 h 4588585"/>
              <a:gd name="connsiteX2831" fmla="*/ 3620292 w 5047599"/>
              <a:gd name="connsiteY2831" fmla="*/ 2095798 h 4588585"/>
              <a:gd name="connsiteX2832" fmla="*/ 3620715 w 5047599"/>
              <a:gd name="connsiteY2832" fmla="*/ 2104244 h 4588585"/>
              <a:gd name="connsiteX2833" fmla="*/ 3625592 w 5047599"/>
              <a:gd name="connsiteY2833" fmla="*/ 2110507 h 4588585"/>
              <a:gd name="connsiteX2834" fmla="*/ 3629984 w 5047599"/>
              <a:gd name="connsiteY2834" fmla="*/ 2115410 h 4588585"/>
              <a:gd name="connsiteX2835" fmla="*/ 3633468 w 5047599"/>
              <a:gd name="connsiteY2835" fmla="*/ 2122314 h 4588585"/>
              <a:gd name="connsiteX2836" fmla="*/ 3636044 w 5047599"/>
              <a:gd name="connsiteY2836" fmla="*/ 2124426 h 4588585"/>
              <a:gd name="connsiteX2837" fmla="*/ 3636049 w 5047599"/>
              <a:gd name="connsiteY2837" fmla="*/ 2124428 h 4588585"/>
              <a:gd name="connsiteX2838" fmla="*/ 3633700 w 5047599"/>
              <a:gd name="connsiteY2838" fmla="*/ 2122482 h 4588585"/>
              <a:gd name="connsiteX2839" fmla="*/ 3630217 w 5047599"/>
              <a:gd name="connsiteY2839" fmla="*/ 2115578 h 4588585"/>
              <a:gd name="connsiteX2840" fmla="*/ 3625825 w 5047599"/>
              <a:gd name="connsiteY2840" fmla="*/ 2110682 h 4588585"/>
              <a:gd name="connsiteX2841" fmla="*/ 3620926 w 5047599"/>
              <a:gd name="connsiteY2841" fmla="*/ 2104421 h 4588585"/>
              <a:gd name="connsiteX2842" fmla="*/ 3620525 w 5047599"/>
              <a:gd name="connsiteY2842" fmla="*/ 2095974 h 4588585"/>
              <a:gd name="connsiteX2843" fmla="*/ 3621877 w 5047599"/>
              <a:gd name="connsiteY2843" fmla="*/ 2086740 h 4588585"/>
              <a:gd name="connsiteX2844" fmla="*/ 3623143 w 5047599"/>
              <a:gd name="connsiteY2844" fmla="*/ 2083685 h 4588585"/>
              <a:gd name="connsiteX2845" fmla="*/ 3622426 w 5047599"/>
              <a:gd name="connsiteY2845" fmla="*/ 2080650 h 4588585"/>
              <a:gd name="connsiteX2846" fmla="*/ 3622615 w 5047599"/>
              <a:gd name="connsiteY2846" fmla="*/ 2076468 h 4588585"/>
              <a:gd name="connsiteX2847" fmla="*/ 3619871 w 5047599"/>
              <a:gd name="connsiteY2847" fmla="*/ 2072585 h 4588585"/>
              <a:gd name="connsiteX2848" fmla="*/ 2365873 w 5047599"/>
              <a:gd name="connsiteY2848" fmla="*/ 2066884 h 4588585"/>
              <a:gd name="connsiteX2849" fmla="*/ 2365914 w 5047599"/>
              <a:gd name="connsiteY2849" fmla="*/ 2068368 h 4588585"/>
              <a:gd name="connsiteX2850" fmla="*/ 2365915 w 5047599"/>
              <a:gd name="connsiteY2850" fmla="*/ 2068365 h 4588585"/>
              <a:gd name="connsiteX2851" fmla="*/ 3591612 w 5047599"/>
              <a:gd name="connsiteY2851" fmla="*/ 2063769 h 4588585"/>
              <a:gd name="connsiteX2852" fmla="*/ 3591385 w 5047599"/>
              <a:gd name="connsiteY2852" fmla="*/ 2063992 h 4588585"/>
              <a:gd name="connsiteX2853" fmla="*/ 3591154 w 5047599"/>
              <a:gd name="connsiteY2853" fmla="*/ 2065704 h 4588585"/>
              <a:gd name="connsiteX2854" fmla="*/ 3591196 w 5047599"/>
              <a:gd name="connsiteY2854" fmla="*/ 2068419 h 4588585"/>
              <a:gd name="connsiteX2855" fmla="*/ 3592547 w 5047599"/>
              <a:gd name="connsiteY2855" fmla="*/ 2070075 h 4588585"/>
              <a:gd name="connsiteX2856" fmla="*/ 3592721 w 5047599"/>
              <a:gd name="connsiteY2856" fmla="*/ 2070164 h 4588585"/>
              <a:gd name="connsiteX2857" fmla="*/ 3591387 w 5047599"/>
              <a:gd name="connsiteY2857" fmla="*/ 2068554 h 4588585"/>
              <a:gd name="connsiteX2858" fmla="*/ 3591344 w 5047599"/>
              <a:gd name="connsiteY2858" fmla="*/ 2065815 h 4588585"/>
              <a:gd name="connsiteX2859" fmla="*/ 3591619 w 5047599"/>
              <a:gd name="connsiteY2859" fmla="*/ 2063777 h 4588585"/>
              <a:gd name="connsiteX2860" fmla="*/ 1039680 w 5047599"/>
              <a:gd name="connsiteY2860" fmla="*/ 2035005 h 4588585"/>
              <a:gd name="connsiteX2861" fmla="*/ 1039684 w 5047599"/>
              <a:gd name="connsiteY2861" fmla="*/ 2035050 h 4588585"/>
              <a:gd name="connsiteX2862" fmla="*/ 1043590 w 5047599"/>
              <a:gd name="connsiteY2862" fmla="*/ 2038382 h 4588585"/>
              <a:gd name="connsiteX2863" fmla="*/ 1049186 w 5047599"/>
              <a:gd name="connsiteY2863" fmla="*/ 2039061 h 4588585"/>
              <a:gd name="connsiteX2864" fmla="*/ 1056428 w 5047599"/>
              <a:gd name="connsiteY2864" fmla="*/ 2042965 h 4588585"/>
              <a:gd name="connsiteX2865" fmla="*/ 1058265 w 5047599"/>
              <a:gd name="connsiteY2865" fmla="*/ 2042752 h 4588585"/>
              <a:gd name="connsiteX2866" fmla="*/ 1059068 w 5047599"/>
              <a:gd name="connsiteY2866" fmla="*/ 2042264 h 4588585"/>
              <a:gd name="connsiteX2867" fmla="*/ 1059923 w 5047599"/>
              <a:gd name="connsiteY2867" fmla="*/ 2042981 h 4588585"/>
              <a:gd name="connsiteX2868" fmla="*/ 1059912 w 5047599"/>
              <a:gd name="connsiteY2868" fmla="*/ 2042913 h 4588585"/>
              <a:gd name="connsiteX2869" fmla="*/ 1059025 w 5047599"/>
              <a:gd name="connsiteY2869" fmla="*/ 2042170 h 4588585"/>
              <a:gd name="connsiteX2870" fmla="*/ 1058222 w 5047599"/>
              <a:gd name="connsiteY2870" fmla="*/ 2042658 h 4588585"/>
              <a:gd name="connsiteX2871" fmla="*/ 1056385 w 5047599"/>
              <a:gd name="connsiteY2871" fmla="*/ 2042871 h 4588585"/>
              <a:gd name="connsiteX2872" fmla="*/ 1049143 w 5047599"/>
              <a:gd name="connsiteY2872" fmla="*/ 2038967 h 4588585"/>
              <a:gd name="connsiteX2873" fmla="*/ 1043548 w 5047599"/>
              <a:gd name="connsiteY2873" fmla="*/ 2038287 h 4588585"/>
              <a:gd name="connsiteX2874" fmla="*/ 2356836 w 5047599"/>
              <a:gd name="connsiteY2874" fmla="*/ 2031266 h 4588585"/>
              <a:gd name="connsiteX2875" fmla="*/ 2356835 w 5047599"/>
              <a:gd name="connsiteY2875" fmla="*/ 2031270 h 4588585"/>
              <a:gd name="connsiteX2876" fmla="*/ 2358778 w 5047599"/>
              <a:gd name="connsiteY2876" fmla="*/ 2035303 h 4588585"/>
              <a:gd name="connsiteX2877" fmla="*/ 2361100 w 5047599"/>
              <a:gd name="connsiteY2877" fmla="*/ 2038507 h 4588585"/>
              <a:gd name="connsiteX2878" fmla="*/ 2363444 w 5047599"/>
              <a:gd name="connsiteY2878" fmla="*/ 2038697 h 4588585"/>
              <a:gd name="connsiteX2879" fmla="*/ 2365493 w 5047599"/>
              <a:gd name="connsiteY2879" fmla="*/ 2038549 h 4588585"/>
              <a:gd name="connsiteX2880" fmla="*/ 2366780 w 5047599"/>
              <a:gd name="connsiteY2880" fmla="*/ 2040459 h 4588585"/>
              <a:gd name="connsiteX2881" fmla="*/ 2367857 w 5047599"/>
              <a:gd name="connsiteY2881" fmla="*/ 2041585 h 4588585"/>
              <a:gd name="connsiteX2882" fmla="*/ 2367857 w 5047599"/>
              <a:gd name="connsiteY2882" fmla="*/ 2063571 h 4588585"/>
              <a:gd name="connsiteX2883" fmla="*/ 2367858 w 5047599"/>
              <a:gd name="connsiteY2883" fmla="*/ 2063569 h 4588585"/>
              <a:gd name="connsiteX2884" fmla="*/ 2367858 w 5047599"/>
              <a:gd name="connsiteY2884" fmla="*/ 2041580 h 4588585"/>
              <a:gd name="connsiteX2885" fmla="*/ 2366781 w 5047599"/>
              <a:gd name="connsiteY2885" fmla="*/ 2040455 h 4588585"/>
              <a:gd name="connsiteX2886" fmla="*/ 2365493 w 5047599"/>
              <a:gd name="connsiteY2886" fmla="*/ 2038544 h 4588585"/>
              <a:gd name="connsiteX2887" fmla="*/ 2363445 w 5047599"/>
              <a:gd name="connsiteY2887" fmla="*/ 2038692 h 4588585"/>
              <a:gd name="connsiteX2888" fmla="*/ 2361101 w 5047599"/>
              <a:gd name="connsiteY2888" fmla="*/ 2038502 h 4588585"/>
              <a:gd name="connsiteX2889" fmla="*/ 2358778 w 5047599"/>
              <a:gd name="connsiteY2889" fmla="*/ 2035299 h 4588585"/>
              <a:gd name="connsiteX2890" fmla="*/ 1037500 w 5047599"/>
              <a:gd name="connsiteY2890" fmla="*/ 2028990 h 4588585"/>
              <a:gd name="connsiteX2891" fmla="*/ 1037509 w 5047599"/>
              <a:gd name="connsiteY2891" fmla="*/ 2029021 h 4588585"/>
              <a:gd name="connsiteX2892" fmla="*/ 1039348 w 5047599"/>
              <a:gd name="connsiteY2892" fmla="*/ 2031176 h 4588585"/>
              <a:gd name="connsiteX2893" fmla="*/ 1039346 w 5047599"/>
              <a:gd name="connsiteY2893" fmla="*/ 2031155 h 4588585"/>
              <a:gd name="connsiteX2894" fmla="*/ 991879 w 5047599"/>
              <a:gd name="connsiteY2894" fmla="*/ 2003322 h 4588585"/>
              <a:gd name="connsiteX2895" fmla="*/ 991859 w 5047599"/>
              <a:gd name="connsiteY2895" fmla="*/ 2003342 h 4588585"/>
              <a:gd name="connsiteX2896" fmla="*/ 992789 w 5047599"/>
              <a:gd name="connsiteY2896" fmla="*/ 2004381 h 4588585"/>
              <a:gd name="connsiteX2897" fmla="*/ 995639 w 5047599"/>
              <a:gd name="connsiteY2897" fmla="*/ 2005717 h 4588585"/>
              <a:gd name="connsiteX2898" fmla="*/ 998574 w 5047599"/>
              <a:gd name="connsiteY2898" fmla="*/ 2006396 h 4588585"/>
              <a:gd name="connsiteX2899" fmla="*/ 1000960 w 5047599"/>
              <a:gd name="connsiteY2899" fmla="*/ 2006036 h 4588585"/>
              <a:gd name="connsiteX2900" fmla="*/ 1003958 w 5047599"/>
              <a:gd name="connsiteY2900" fmla="*/ 2008964 h 4588585"/>
              <a:gd name="connsiteX2901" fmla="*/ 1007189 w 5047599"/>
              <a:gd name="connsiteY2901" fmla="*/ 2012657 h 4588585"/>
              <a:gd name="connsiteX2902" fmla="*/ 1010609 w 5047599"/>
              <a:gd name="connsiteY2902" fmla="*/ 2014590 h 4588585"/>
              <a:gd name="connsiteX2903" fmla="*/ 1015550 w 5047599"/>
              <a:gd name="connsiteY2903" fmla="*/ 2016266 h 4588585"/>
              <a:gd name="connsiteX2904" fmla="*/ 1019858 w 5047599"/>
              <a:gd name="connsiteY2904" fmla="*/ 2016456 h 4588585"/>
              <a:gd name="connsiteX2905" fmla="*/ 1023531 w 5047599"/>
              <a:gd name="connsiteY2905" fmla="*/ 2015797 h 4588585"/>
              <a:gd name="connsiteX2906" fmla="*/ 1028705 w 5047599"/>
              <a:gd name="connsiteY2906" fmla="*/ 2016540 h 4588585"/>
              <a:gd name="connsiteX2907" fmla="*/ 1034181 w 5047599"/>
              <a:gd name="connsiteY2907" fmla="*/ 2019578 h 4588585"/>
              <a:gd name="connsiteX2908" fmla="*/ 1034152 w 5047599"/>
              <a:gd name="connsiteY2908" fmla="*/ 2019503 h 4588585"/>
              <a:gd name="connsiteX2909" fmla="*/ 1028641 w 5047599"/>
              <a:gd name="connsiteY2909" fmla="*/ 2016446 h 4588585"/>
              <a:gd name="connsiteX2910" fmla="*/ 1023468 w 5047599"/>
              <a:gd name="connsiteY2910" fmla="*/ 2015704 h 4588585"/>
              <a:gd name="connsiteX2911" fmla="*/ 1019794 w 5047599"/>
              <a:gd name="connsiteY2911" fmla="*/ 2016364 h 4588585"/>
              <a:gd name="connsiteX2912" fmla="*/ 1015486 w 5047599"/>
              <a:gd name="connsiteY2912" fmla="*/ 2016174 h 4588585"/>
              <a:gd name="connsiteX2913" fmla="*/ 1010546 w 5047599"/>
              <a:gd name="connsiteY2913" fmla="*/ 2014476 h 4588585"/>
              <a:gd name="connsiteX2914" fmla="*/ 1007125 w 5047599"/>
              <a:gd name="connsiteY2914" fmla="*/ 2012565 h 4588585"/>
              <a:gd name="connsiteX2915" fmla="*/ 1003895 w 5047599"/>
              <a:gd name="connsiteY2915" fmla="*/ 2008872 h 4588585"/>
              <a:gd name="connsiteX2916" fmla="*/ 1000896 w 5047599"/>
              <a:gd name="connsiteY2916" fmla="*/ 2005944 h 4588585"/>
              <a:gd name="connsiteX2917" fmla="*/ 998510 w 5047599"/>
              <a:gd name="connsiteY2917" fmla="*/ 2006305 h 4588585"/>
              <a:gd name="connsiteX2918" fmla="*/ 995596 w 5047599"/>
              <a:gd name="connsiteY2918" fmla="*/ 2005604 h 4588585"/>
              <a:gd name="connsiteX2919" fmla="*/ 992725 w 5047599"/>
              <a:gd name="connsiteY2919" fmla="*/ 2004267 h 4588585"/>
              <a:gd name="connsiteX2920" fmla="*/ 1544091 w 5047599"/>
              <a:gd name="connsiteY2920" fmla="*/ 2000878 h 4588585"/>
              <a:gd name="connsiteX2921" fmla="*/ 1543585 w 5047599"/>
              <a:gd name="connsiteY2921" fmla="*/ 2002679 h 4588585"/>
              <a:gd name="connsiteX2922" fmla="*/ 1543585 w 5047599"/>
              <a:gd name="connsiteY2922" fmla="*/ 2002680 h 4588585"/>
              <a:gd name="connsiteX2923" fmla="*/ 3063837 w 5047599"/>
              <a:gd name="connsiteY2923" fmla="*/ 1995739 h 4588585"/>
              <a:gd name="connsiteX2924" fmla="*/ 3060671 w 5047599"/>
              <a:gd name="connsiteY2924" fmla="*/ 2006454 h 4588585"/>
              <a:gd name="connsiteX2925" fmla="*/ 3060671 w 5047599"/>
              <a:gd name="connsiteY2925" fmla="*/ 2006455 h 4588585"/>
              <a:gd name="connsiteX2926" fmla="*/ 3063838 w 5047599"/>
              <a:gd name="connsiteY2926" fmla="*/ 1995740 h 4588585"/>
              <a:gd name="connsiteX2927" fmla="*/ 1595169 w 5047599"/>
              <a:gd name="connsiteY2927" fmla="*/ 1992642 h 4588585"/>
              <a:gd name="connsiteX2928" fmla="*/ 1595167 w 5047599"/>
              <a:gd name="connsiteY2928" fmla="*/ 1992645 h 4588585"/>
              <a:gd name="connsiteX2929" fmla="*/ 1596413 w 5047599"/>
              <a:gd name="connsiteY2929" fmla="*/ 1997253 h 4588585"/>
              <a:gd name="connsiteX2930" fmla="*/ 1598820 w 5047599"/>
              <a:gd name="connsiteY2930" fmla="*/ 1998948 h 4588585"/>
              <a:gd name="connsiteX2931" fmla="*/ 1604986 w 5047599"/>
              <a:gd name="connsiteY2931" fmla="*/ 2008202 h 4588585"/>
              <a:gd name="connsiteX2932" fmla="*/ 1607031 w 5047599"/>
              <a:gd name="connsiteY2932" fmla="*/ 2016025 h 4588585"/>
              <a:gd name="connsiteX2933" fmla="*/ 1607034 w 5047599"/>
              <a:gd name="connsiteY2933" fmla="*/ 2016024 h 4588585"/>
              <a:gd name="connsiteX2934" fmla="*/ 1604986 w 5047599"/>
              <a:gd name="connsiteY2934" fmla="*/ 2008192 h 4588585"/>
              <a:gd name="connsiteX2935" fmla="*/ 1598820 w 5047599"/>
              <a:gd name="connsiteY2935" fmla="*/ 1998940 h 4588585"/>
              <a:gd name="connsiteX2936" fmla="*/ 1596413 w 5047599"/>
              <a:gd name="connsiteY2936" fmla="*/ 1997242 h 4588585"/>
              <a:gd name="connsiteX2937" fmla="*/ 1310626 w 5047599"/>
              <a:gd name="connsiteY2937" fmla="*/ 1992430 h 4588585"/>
              <a:gd name="connsiteX2938" fmla="*/ 1309466 w 5047599"/>
              <a:gd name="connsiteY2938" fmla="*/ 1994888 h 4588585"/>
              <a:gd name="connsiteX2939" fmla="*/ 1309468 w 5047599"/>
              <a:gd name="connsiteY2939" fmla="*/ 1994952 h 4588585"/>
              <a:gd name="connsiteX2940" fmla="*/ 1310627 w 5047599"/>
              <a:gd name="connsiteY2940" fmla="*/ 1992453 h 4588585"/>
              <a:gd name="connsiteX2941" fmla="*/ 1533301 w 5047599"/>
              <a:gd name="connsiteY2941" fmla="*/ 1980669 h 4588585"/>
              <a:gd name="connsiteX2942" fmla="*/ 1532838 w 5047599"/>
              <a:gd name="connsiteY2942" fmla="*/ 1982896 h 4588585"/>
              <a:gd name="connsiteX2943" fmla="*/ 1533302 w 5047599"/>
              <a:gd name="connsiteY2943" fmla="*/ 1980671 h 4588585"/>
              <a:gd name="connsiteX2944" fmla="*/ 1592401 w 5047599"/>
              <a:gd name="connsiteY2944" fmla="*/ 1974457 h 4588585"/>
              <a:gd name="connsiteX2945" fmla="*/ 1595442 w 5047599"/>
              <a:gd name="connsiteY2945" fmla="*/ 1981355 h 4588585"/>
              <a:gd name="connsiteX2946" fmla="*/ 1595949 w 5047599"/>
              <a:gd name="connsiteY2946" fmla="*/ 1987595 h 4588585"/>
              <a:gd name="connsiteX2947" fmla="*/ 1596664 w 5047599"/>
              <a:gd name="connsiteY2947" fmla="*/ 1989627 h 4588585"/>
              <a:gd name="connsiteX2948" fmla="*/ 1596667 w 5047599"/>
              <a:gd name="connsiteY2948" fmla="*/ 1989622 h 4588585"/>
              <a:gd name="connsiteX2949" fmla="*/ 1595949 w 5047599"/>
              <a:gd name="connsiteY2949" fmla="*/ 1987585 h 4588585"/>
              <a:gd name="connsiteX2950" fmla="*/ 1595442 w 5047599"/>
              <a:gd name="connsiteY2950" fmla="*/ 1981345 h 4588585"/>
              <a:gd name="connsiteX2951" fmla="*/ 1592406 w 5047599"/>
              <a:gd name="connsiteY2951" fmla="*/ 1974457 h 4588585"/>
              <a:gd name="connsiteX2952" fmla="*/ 2102847 w 5047599"/>
              <a:gd name="connsiteY2952" fmla="*/ 1974261 h 4588585"/>
              <a:gd name="connsiteX2953" fmla="*/ 2102808 w 5047599"/>
              <a:gd name="connsiteY2953" fmla="*/ 1974289 h 4588585"/>
              <a:gd name="connsiteX2954" fmla="*/ 2104199 w 5047599"/>
              <a:gd name="connsiteY2954" fmla="*/ 1976446 h 4588585"/>
              <a:gd name="connsiteX2955" fmla="*/ 2105254 w 5047599"/>
              <a:gd name="connsiteY2955" fmla="*/ 1979206 h 4588585"/>
              <a:gd name="connsiteX2956" fmla="*/ 2106437 w 5047599"/>
              <a:gd name="connsiteY2956" fmla="*/ 1980479 h 4588585"/>
              <a:gd name="connsiteX2957" fmla="*/ 2106512 w 5047599"/>
              <a:gd name="connsiteY2957" fmla="*/ 1980492 h 4588585"/>
              <a:gd name="connsiteX2958" fmla="*/ 2105339 w 5047599"/>
              <a:gd name="connsiteY2958" fmla="*/ 1979229 h 4588585"/>
              <a:gd name="connsiteX2959" fmla="*/ 2104283 w 5047599"/>
              <a:gd name="connsiteY2959" fmla="*/ 1976469 h 4588585"/>
              <a:gd name="connsiteX2960" fmla="*/ 1536785 w 5047599"/>
              <a:gd name="connsiteY2960" fmla="*/ 1971989 h 4588585"/>
              <a:gd name="connsiteX2961" fmla="*/ 1536026 w 5047599"/>
              <a:gd name="connsiteY2961" fmla="*/ 1973771 h 4588585"/>
              <a:gd name="connsiteX2962" fmla="*/ 1533555 w 5047599"/>
              <a:gd name="connsiteY2962" fmla="*/ 1975213 h 4588585"/>
              <a:gd name="connsiteX2963" fmla="*/ 1532669 w 5047599"/>
              <a:gd name="connsiteY2963" fmla="*/ 1977654 h 4588585"/>
              <a:gd name="connsiteX2964" fmla="*/ 1532669 w 5047599"/>
              <a:gd name="connsiteY2964" fmla="*/ 1977655 h 4588585"/>
              <a:gd name="connsiteX2965" fmla="*/ 1533554 w 5047599"/>
              <a:gd name="connsiteY2965" fmla="*/ 1975218 h 4588585"/>
              <a:gd name="connsiteX2966" fmla="*/ 1536025 w 5047599"/>
              <a:gd name="connsiteY2966" fmla="*/ 1973775 h 4588585"/>
              <a:gd name="connsiteX2967" fmla="*/ 1536785 w 5047599"/>
              <a:gd name="connsiteY2967" fmla="*/ 1971991 h 4588585"/>
              <a:gd name="connsiteX2968" fmla="*/ 2130275 w 5047599"/>
              <a:gd name="connsiteY2968" fmla="*/ 1970291 h 4588585"/>
              <a:gd name="connsiteX2969" fmla="*/ 2130264 w 5047599"/>
              <a:gd name="connsiteY2969" fmla="*/ 1970293 h 4588585"/>
              <a:gd name="connsiteX2970" fmla="*/ 2137961 w 5047599"/>
              <a:gd name="connsiteY2970" fmla="*/ 1974706 h 4588585"/>
              <a:gd name="connsiteX2971" fmla="*/ 2144422 w 5047599"/>
              <a:gd name="connsiteY2971" fmla="*/ 1981053 h 4588585"/>
              <a:gd name="connsiteX2972" fmla="*/ 2150799 w 5047599"/>
              <a:gd name="connsiteY2972" fmla="*/ 1987337 h 4588585"/>
              <a:gd name="connsiteX2973" fmla="*/ 2154030 w 5047599"/>
              <a:gd name="connsiteY2973" fmla="*/ 1989565 h 4588585"/>
              <a:gd name="connsiteX2974" fmla="*/ 2155444 w 5047599"/>
              <a:gd name="connsiteY2974" fmla="*/ 1992027 h 4588585"/>
              <a:gd name="connsiteX2975" fmla="*/ 2158231 w 5047599"/>
              <a:gd name="connsiteY2975" fmla="*/ 2003467 h 4588585"/>
              <a:gd name="connsiteX2976" fmla="*/ 2159836 w 5047599"/>
              <a:gd name="connsiteY2976" fmla="*/ 2006311 h 4588585"/>
              <a:gd name="connsiteX2977" fmla="*/ 2159903 w 5047599"/>
              <a:gd name="connsiteY2977" fmla="*/ 2006340 h 4588585"/>
              <a:gd name="connsiteX2978" fmla="*/ 2158337 w 5047599"/>
              <a:gd name="connsiteY2978" fmla="*/ 2003528 h 4588585"/>
              <a:gd name="connsiteX2979" fmla="*/ 2155550 w 5047599"/>
              <a:gd name="connsiteY2979" fmla="*/ 1992067 h 4588585"/>
              <a:gd name="connsiteX2980" fmla="*/ 2154135 w 5047599"/>
              <a:gd name="connsiteY2980" fmla="*/ 1989605 h 4588585"/>
              <a:gd name="connsiteX2981" fmla="*/ 2150904 w 5047599"/>
              <a:gd name="connsiteY2981" fmla="*/ 1987377 h 4588585"/>
              <a:gd name="connsiteX2982" fmla="*/ 2144528 w 5047599"/>
              <a:gd name="connsiteY2982" fmla="*/ 1981095 h 4588585"/>
              <a:gd name="connsiteX2983" fmla="*/ 2138067 w 5047599"/>
              <a:gd name="connsiteY2983" fmla="*/ 1974748 h 4588585"/>
              <a:gd name="connsiteX2984" fmla="*/ 1321460 w 5047599"/>
              <a:gd name="connsiteY2984" fmla="*/ 1968032 h 4588585"/>
              <a:gd name="connsiteX2985" fmla="*/ 1313921 w 5047599"/>
              <a:gd name="connsiteY2985" fmla="*/ 1977485 h 4588585"/>
              <a:gd name="connsiteX2986" fmla="*/ 1309951 w 5047599"/>
              <a:gd name="connsiteY2986" fmla="*/ 1985443 h 4588585"/>
              <a:gd name="connsiteX2987" fmla="*/ 1309952 w 5047599"/>
              <a:gd name="connsiteY2987" fmla="*/ 1985450 h 4588585"/>
              <a:gd name="connsiteX2988" fmla="*/ 1313900 w 5047599"/>
              <a:gd name="connsiteY2988" fmla="*/ 1977531 h 4588585"/>
              <a:gd name="connsiteX2989" fmla="*/ 842176 w 5047599"/>
              <a:gd name="connsiteY2989" fmla="*/ 1952975 h 4588585"/>
              <a:gd name="connsiteX2990" fmla="*/ 840024 w 5047599"/>
              <a:gd name="connsiteY2990" fmla="*/ 1955224 h 4588585"/>
              <a:gd name="connsiteX2991" fmla="*/ 834007 w 5047599"/>
              <a:gd name="connsiteY2991" fmla="*/ 1960105 h 4588585"/>
              <a:gd name="connsiteX2992" fmla="*/ 829006 w 5047599"/>
              <a:gd name="connsiteY2992" fmla="*/ 1966478 h 4588585"/>
              <a:gd name="connsiteX2993" fmla="*/ 833986 w 5047599"/>
              <a:gd name="connsiteY2993" fmla="*/ 1960148 h 4588585"/>
              <a:gd name="connsiteX2994" fmla="*/ 840003 w 5047599"/>
              <a:gd name="connsiteY2994" fmla="*/ 1955265 h 4588585"/>
              <a:gd name="connsiteX2995" fmla="*/ 1003400 w 5047599"/>
              <a:gd name="connsiteY2995" fmla="*/ 1949421 h 4588585"/>
              <a:gd name="connsiteX2996" fmla="*/ 1003409 w 5047599"/>
              <a:gd name="connsiteY2996" fmla="*/ 1949453 h 4588585"/>
              <a:gd name="connsiteX2997" fmla="*/ 1005345 w 5047599"/>
              <a:gd name="connsiteY2997" fmla="*/ 1955335 h 4588585"/>
              <a:gd name="connsiteX2998" fmla="*/ 856005 w 5047599"/>
              <a:gd name="connsiteY2998" fmla="*/ 1942556 h 4588585"/>
              <a:gd name="connsiteX2999" fmla="*/ 849864 w 5047599"/>
              <a:gd name="connsiteY2999" fmla="*/ 1946353 h 4588585"/>
              <a:gd name="connsiteX3000" fmla="*/ 846294 w 5047599"/>
              <a:gd name="connsiteY3000" fmla="*/ 1949085 h 4588585"/>
              <a:gd name="connsiteX3001" fmla="*/ 849843 w 5047599"/>
              <a:gd name="connsiteY3001" fmla="*/ 1946395 h 4588585"/>
              <a:gd name="connsiteX3002" fmla="*/ 998875 w 5047599"/>
              <a:gd name="connsiteY3002" fmla="*/ 1940620 h 4588585"/>
              <a:gd name="connsiteX3003" fmla="*/ 998787 w 5047599"/>
              <a:gd name="connsiteY3003" fmla="*/ 1940688 h 4588585"/>
              <a:gd name="connsiteX3004" fmla="*/ 999947 w 5047599"/>
              <a:gd name="connsiteY3004" fmla="*/ 1941387 h 4588585"/>
              <a:gd name="connsiteX3005" fmla="*/ 1001712 w 5047599"/>
              <a:gd name="connsiteY3005" fmla="*/ 1943205 h 4588585"/>
              <a:gd name="connsiteX3006" fmla="*/ 1001678 w 5047599"/>
              <a:gd name="connsiteY3006" fmla="*/ 1943079 h 4588585"/>
              <a:gd name="connsiteX3007" fmla="*/ 999904 w 5047599"/>
              <a:gd name="connsiteY3007" fmla="*/ 1941252 h 4588585"/>
              <a:gd name="connsiteX3008" fmla="*/ 984385 w 5047599"/>
              <a:gd name="connsiteY3008" fmla="*/ 1937903 h 4588585"/>
              <a:gd name="connsiteX3009" fmla="*/ 984384 w 5047599"/>
              <a:gd name="connsiteY3009" fmla="*/ 1937905 h 4588585"/>
              <a:gd name="connsiteX3010" fmla="*/ 984194 w 5047599"/>
              <a:gd name="connsiteY3010" fmla="*/ 1941598 h 4588585"/>
              <a:gd name="connsiteX3011" fmla="*/ 984195 w 5047599"/>
              <a:gd name="connsiteY3011" fmla="*/ 1941592 h 4588585"/>
              <a:gd name="connsiteX3012" fmla="*/ 754109 w 5047599"/>
              <a:gd name="connsiteY3012" fmla="*/ 1935975 h 4588585"/>
              <a:gd name="connsiteX3013" fmla="*/ 758332 w 5047599"/>
              <a:gd name="connsiteY3013" fmla="*/ 1937758 h 4588585"/>
              <a:gd name="connsiteX3014" fmla="*/ 760211 w 5047599"/>
              <a:gd name="connsiteY3014" fmla="*/ 1939244 h 4588585"/>
              <a:gd name="connsiteX3015" fmla="*/ 760908 w 5047599"/>
              <a:gd name="connsiteY3015" fmla="*/ 1942065 h 4588585"/>
              <a:gd name="connsiteX3016" fmla="*/ 759409 w 5047599"/>
              <a:gd name="connsiteY3016" fmla="*/ 1947988 h 4588585"/>
              <a:gd name="connsiteX3017" fmla="*/ 758543 w 5047599"/>
              <a:gd name="connsiteY3017" fmla="*/ 1949537 h 4588585"/>
              <a:gd name="connsiteX3018" fmla="*/ 754595 w 5047599"/>
              <a:gd name="connsiteY3018" fmla="*/ 1945695 h 4588585"/>
              <a:gd name="connsiteX3019" fmla="*/ 734177 w 5047599"/>
              <a:gd name="connsiteY3019" fmla="*/ 1939943 h 4588585"/>
              <a:gd name="connsiteX3020" fmla="*/ 739941 w 5047599"/>
              <a:gd name="connsiteY3020" fmla="*/ 1936888 h 4588585"/>
              <a:gd name="connsiteX3021" fmla="*/ 946505 w 5047599"/>
              <a:gd name="connsiteY3021" fmla="*/ 1935868 h 4588585"/>
              <a:gd name="connsiteX3022" fmla="*/ 945597 w 5047599"/>
              <a:gd name="connsiteY3022" fmla="*/ 1939897 h 4588585"/>
              <a:gd name="connsiteX3023" fmla="*/ 943972 w 5047599"/>
              <a:gd name="connsiteY3023" fmla="*/ 1943590 h 4588585"/>
              <a:gd name="connsiteX3024" fmla="*/ 941121 w 5047599"/>
              <a:gd name="connsiteY3024" fmla="*/ 1947599 h 4588585"/>
              <a:gd name="connsiteX3025" fmla="*/ 940889 w 5047599"/>
              <a:gd name="connsiteY3025" fmla="*/ 1949191 h 4588585"/>
              <a:gd name="connsiteX3026" fmla="*/ 940890 w 5047599"/>
              <a:gd name="connsiteY3026" fmla="*/ 1949192 h 4588585"/>
              <a:gd name="connsiteX3027" fmla="*/ 941121 w 5047599"/>
              <a:gd name="connsiteY3027" fmla="*/ 1947608 h 4588585"/>
              <a:gd name="connsiteX3028" fmla="*/ 943971 w 5047599"/>
              <a:gd name="connsiteY3028" fmla="*/ 1943595 h 4588585"/>
              <a:gd name="connsiteX3029" fmla="*/ 945597 w 5047599"/>
              <a:gd name="connsiteY3029" fmla="*/ 1939902 h 4588585"/>
              <a:gd name="connsiteX3030" fmla="*/ 946505 w 5047599"/>
              <a:gd name="connsiteY3030" fmla="*/ 1935870 h 4588585"/>
              <a:gd name="connsiteX3031" fmla="*/ 2997284 w 5047599"/>
              <a:gd name="connsiteY3031" fmla="*/ 1935291 h 4588585"/>
              <a:gd name="connsiteX3032" fmla="*/ 2993886 w 5047599"/>
              <a:gd name="connsiteY3032" fmla="*/ 1940767 h 4588585"/>
              <a:gd name="connsiteX3033" fmla="*/ 2993886 w 5047599"/>
              <a:gd name="connsiteY3033" fmla="*/ 1940767 h 4588585"/>
              <a:gd name="connsiteX3034" fmla="*/ 2997284 w 5047599"/>
              <a:gd name="connsiteY3034" fmla="*/ 1935294 h 4588585"/>
              <a:gd name="connsiteX3035" fmla="*/ 2423304 w 5047599"/>
              <a:gd name="connsiteY3035" fmla="*/ 1934354 h 4588585"/>
              <a:gd name="connsiteX3036" fmla="*/ 2422100 w 5047599"/>
              <a:gd name="connsiteY3036" fmla="*/ 1937941 h 4588585"/>
              <a:gd name="connsiteX3037" fmla="*/ 2418999 w 5047599"/>
              <a:gd name="connsiteY3037" fmla="*/ 1942762 h 4588585"/>
              <a:gd name="connsiteX3038" fmla="*/ 2419002 w 5047599"/>
              <a:gd name="connsiteY3038" fmla="*/ 1942763 h 4588585"/>
              <a:gd name="connsiteX3039" fmla="*/ 2422100 w 5047599"/>
              <a:gd name="connsiteY3039" fmla="*/ 1937954 h 4588585"/>
              <a:gd name="connsiteX3040" fmla="*/ 2423303 w 5047599"/>
              <a:gd name="connsiteY3040" fmla="*/ 1934367 h 4588585"/>
              <a:gd name="connsiteX3041" fmla="*/ 1537546 w 5047599"/>
              <a:gd name="connsiteY3041" fmla="*/ 1930558 h 4588585"/>
              <a:gd name="connsiteX3042" fmla="*/ 1531317 w 5047599"/>
              <a:gd name="connsiteY3042" fmla="*/ 1941381 h 4588585"/>
              <a:gd name="connsiteX3043" fmla="*/ 1531254 w 5047599"/>
              <a:gd name="connsiteY3043" fmla="*/ 1944479 h 4588585"/>
              <a:gd name="connsiteX3044" fmla="*/ 1531254 w 5047599"/>
              <a:gd name="connsiteY3044" fmla="*/ 1944480 h 4588585"/>
              <a:gd name="connsiteX3045" fmla="*/ 1531317 w 5047599"/>
              <a:gd name="connsiteY3045" fmla="*/ 1941386 h 4588585"/>
              <a:gd name="connsiteX3046" fmla="*/ 1537546 w 5047599"/>
              <a:gd name="connsiteY3046" fmla="*/ 1930560 h 4588585"/>
              <a:gd name="connsiteX3047" fmla="*/ 870392 w 5047599"/>
              <a:gd name="connsiteY3047" fmla="*/ 1928873 h 4588585"/>
              <a:gd name="connsiteX3048" fmla="*/ 868170 w 5047599"/>
              <a:gd name="connsiteY3048" fmla="*/ 1930053 h 4588585"/>
              <a:gd name="connsiteX3049" fmla="*/ 868153 w 5047599"/>
              <a:gd name="connsiteY3049" fmla="*/ 1930072 h 4588585"/>
              <a:gd name="connsiteX3050" fmla="*/ 1347551 w 5047599"/>
              <a:gd name="connsiteY3050" fmla="*/ 1909392 h 4588585"/>
              <a:gd name="connsiteX3051" fmla="*/ 1346817 w 5047599"/>
              <a:gd name="connsiteY3051" fmla="*/ 1911498 h 4588585"/>
              <a:gd name="connsiteX3052" fmla="*/ 1343523 w 5047599"/>
              <a:gd name="connsiteY3052" fmla="*/ 1912964 h 4588585"/>
              <a:gd name="connsiteX3053" fmla="*/ 1336366 w 5047599"/>
              <a:gd name="connsiteY3053" fmla="*/ 1918354 h 4588585"/>
              <a:gd name="connsiteX3054" fmla="*/ 1335880 w 5047599"/>
              <a:gd name="connsiteY3054" fmla="*/ 1920497 h 4588585"/>
              <a:gd name="connsiteX3055" fmla="*/ 1333980 w 5047599"/>
              <a:gd name="connsiteY3055" fmla="*/ 1925083 h 4588585"/>
              <a:gd name="connsiteX3056" fmla="*/ 1332395 w 5047599"/>
              <a:gd name="connsiteY3056" fmla="*/ 1927883 h 4588585"/>
              <a:gd name="connsiteX3057" fmla="*/ 1330052 w 5047599"/>
              <a:gd name="connsiteY3057" fmla="*/ 1933083 h 4588585"/>
              <a:gd name="connsiteX3058" fmla="*/ 1326336 w 5047599"/>
              <a:gd name="connsiteY3058" fmla="*/ 1946837 h 4588585"/>
              <a:gd name="connsiteX3059" fmla="*/ 1324964 w 5047599"/>
              <a:gd name="connsiteY3059" fmla="*/ 1958235 h 4588585"/>
              <a:gd name="connsiteX3060" fmla="*/ 1324753 w 5047599"/>
              <a:gd name="connsiteY3060" fmla="*/ 1961757 h 4588585"/>
              <a:gd name="connsiteX3061" fmla="*/ 1323316 w 5047599"/>
              <a:gd name="connsiteY3061" fmla="*/ 1964198 h 4588585"/>
              <a:gd name="connsiteX3062" fmla="*/ 1322985 w 5047599"/>
              <a:gd name="connsiteY3062" fmla="*/ 1964921 h 4588585"/>
              <a:gd name="connsiteX3063" fmla="*/ 1323296 w 5047599"/>
              <a:gd name="connsiteY3063" fmla="*/ 1964246 h 4588585"/>
              <a:gd name="connsiteX3064" fmla="*/ 1324753 w 5047599"/>
              <a:gd name="connsiteY3064" fmla="*/ 1961805 h 4588585"/>
              <a:gd name="connsiteX3065" fmla="*/ 1324964 w 5047599"/>
              <a:gd name="connsiteY3065" fmla="*/ 1958281 h 4588585"/>
              <a:gd name="connsiteX3066" fmla="*/ 1326337 w 5047599"/>
              <a:gd name="connsiteY3066" fmla="*/ 1946904 h 4588585"/>
              <a:gd name="connsiteX3067" fmla="*/ 1330053 w 5047599"/>
              <a:gd name="connsiteY3067" fmla="*/ 1933153 h 4588585"/>
              <a:gd name="connsiteX3068" fmla="*/ 1332397 w 5047599"/>
              <a:gd name="connsiteY3068" fmla="*/ 1927952 h 4588585"/>
              <a:gd name="connsiteX3069" fmla="*/ 1333980 w 5047599"/>
              <a:gd name="connsiteY3069" fmla="*/ 1925129 h 4588585"/>
              <a:gd name="connsiteX3070" fmla="*/ 1335880 w 5047599"/>
              <a:gd name="connsiteY3070" fmla="*/ 1920545 h 4588585"/>
              <a:gd name="connsiteX3071" fmla="*/ 1336366 w 5047599"/>
              <a:gd name="connsiteY3071" fmla="*/ 1918402 h 4588585"/>
              <a:gd name="connsiteX3072" fmla="*/ 1343524 w 5047599"/>
              <a:gd name="connsiteY3072" fmla="*/ 1912989 h 4588585"/>
              <a:gd name="connsiteX3073" fmla="*/ 1346817 w 5047599"/>
              <a:gd name="connsiteY3073" fmla="*/ 1911546 h 4588585"/>
              <a:gd name="connsiteX3074" fmla="*/ 1347557 w 5047599"/>
              <a:gd name="connsiteY3074" fmla="*/ 1909403 h 4588585"/>
              <a:gd name="connsiteX3075" fmla="*/ 878468 w 5047599"/>
              <a:gd name="connsiteY3075" fmla="*/ 1906861 h 4588585"/>
              <a:gd name="connsiteX3076" fmla="*/ 875307 w 5047599"/>
              <a:gd name="connsiteY3076" fmla="*/ 1910039 h 4588585"/>
              <a:gd name="connsiteX3077" fmla="*/ 875299 w 5047599"/>
              <a:gd name="connsiteY3077" fmla="*/ 1910067 h 4588585"/>
              <a:gd name="connsiteX3078" fmla="*/ 886188 w 5047599"/>
              <a:gd name="connsiteY3078" fmla="*/ 1904742 h 4588585"/>
              <a:gd name="connsiteX3079" fmla="*/ 886054 w 5047599"/>
              <a:gd name="connsiteY3079" fmla="*/ 1904880 h 4588585"/>
              <a:gd name="connsiteX3080" fmla="*/ 878516 w 5047599"/>
              <a:gd name="connsiteY3080" fmla="*/ 1906812 h 4588585"/>
              <a:gd name="connsiteX3081" fmla="*/ 878495 w 5047599"/>
              <a:gd name="connsiteY3081" fmla="*/ 1906833 h 4588585"/>
              <a:gd name="connsiteX3082" fmla="*/ 886034 w 5047599"/>
              <a:gd name="connsiteY3082" fmla="*/ 1904901 h 4588585"/>
              <a:gd name="connsiteX3083" fmla="*/ 1353190 w 5047599"/>
              <a:gd name="connsiteY3083" fmla="*/ 1901824 h 4588585"/>
              <a:gd name="connsiteX3084" fmla="*/ 1351272 w 5047599"/>
              <a:gd name="connsiteY3084" fmla="*/ 1904028 h 4588585"/>
              <a:gd name="connsiteX3085" fmla="*/ 1348633 w 5047599"/>
              <a:gd name="connsiteY3085" fmla="*/ 1904686 h 4588585"/>
              <a:gd name="connsiteX3086" fmla="*/ 1346923 w 5047599"/>
              <a:gd name="connsiteY3086" fmla="*/ 1905470 h 4588585"/>
              <a:gd name="connsiteX3087" fmla="*/ 1346437 w 5047599"/>
              <a:gd name="connsiteY3087" fmla="*/ 1907062 h 4588585"/>
              <a:gd name="connsiteX3088" fmla="*/ 1346443 w 5047599"/>
              <a:gd name="connsiteY3088" fmla="*/ 1907074 h 4588585"/>
              <a:gd name="connsiteX3089" fmla="*/ 1346923 w 5047599"/>
              <a:gd name="connsiteY3089" fmla="*/ 1905497 h 4588585"/>
              <a:gd name="connsiteX3090" fmla="*/ 1348634 w 5047599"/>
              <a:gd name="connsiteY3090" fmla="*/ 1904714 h 4588585"/>
              <a:gd name="connsiteX3091" fmla="*/ 1351272 w 5047599"/>
              <a:gd name="connsiteY3091" fmla="*/ 1904075 h 4588585"/>
              <a:gd name="connsiteX3092" fmla="*/ 1353195 w 5047599"/>
              <a:gd name="connsiteY3092" fmla="*/ 1901848 h 4588585"/>
              <a:gd name="connsiteX3093" fmla="*/ 1012456 w 5047599"/>
              <a:gd name="connsiteY3093" fmla="*/ 1899045 h 4588585"/>
              <a:gd name="connsiteX3094" fmla="*/ 1012446 w 5047599"/>
              <a:gd name="connsiteY3094" fmla="*/ 1899175 h 4588585"/>
              <a:gd name="connsiteX3095" fmla="*/ 1014748 w 5047599"/>
              <a:gd name="connsiteY3095" fmla="*/ 1901191 h 4588585"/>
              <a:gd name="connsiteX3096" fmla="*/ 1019287 w 5047599"/>
              <a:gd name="connsiteY3096" fmla="*/ 1903484 h 4588585"/>
              <a:gd name="connsiteX3097" fmla="*/ 1022264 w 5047599"/>
              <a:gd name="connsiteY3097" fmla="*/ 1904459 h 4588585"/>
              <a:gd name="connsiteX3098" fmla="*/ 1024734 w 5047599"/>
              <a:gd name="connsiteY3098" fmla="*/ 1904183 h 4588585"/>
              <a:gd name="connsiteX3099" fmla="*/ 1026606 w 5047599"/>
              <a:gd name="connsiteY3099" fmla="*/ 1905647 h 4588585"/>
              <a:gd name="connsiteX3100" fmla="*/ 1026592 w 5047599"/>
              <a:gd name="connsiteY3100" fmla="*/ 1905510 h 4588585"/>
              <a:gd name="connsiteX3101" fmla="*/ 1024713 w 5047599"/>
              <a:gd name="connsiteY3101" fmla="*/ 1904026 h 4588585"/>
              <a:gd name="connsiteX3102" fmla="*/ 1022222 w 5047599"/>
              <a:gd name="connsiteY3102" fmla="*/ 1904302 h 4588585"/>
              <a:gd name="connsiteX3103" fmla="*/ 1019245 w 5047599"/>
              <a:gd name="connsiteY3103" fmla="*/ 1903327 h 4588585"/>
              <a:gd name="connsiteX3104" fmla="*/ 1014705 w 5047599"/>
              <a:gd name="connsiteY3104" fmla="*/ 1901035 h 4588585"/>
              <a:gd name="connsiteX3105" fmla="*/ 1542444 w 5047599"/>
              <a:gd name="connsiteY3105" fmla="*/ 1896130 h 4588585"/>
              <a:gd name="connsiteX3106" fmla="*/ 1540037 w 5047599"/>
              <a:gd name="connsiteY3106" fmla="*/ 1899165 h 4588585"/>
              <a:gd name="connsiteX3107" fmla="*/ 1537187 w 5047599"/>
              <a:gd name="connsiteY3107" fmla="*/ 1901798 h 4588585"/>
              <a:gd name="connsiteX3108" fmla="*/ 1537186 w 5047599"/>
              <a:gd name="connsiteY3108" fmla="*/ 1901801 h 4588585"/>
              <a:gd name="connsiteX3109" fmla="*/ 1540037 w 5047599"/>
              <a:gd name="connsiteY3109" fmla="*/ 1899169 h 4588585"/>
              <a:gd name="connsiteX3110" fmla="*/ 1542444 w 5047599"/>
              <a:gd name="connsiteY3110" fmla="*/ 1896135 h 4588585"/>
              <a:gd name="connsiteX3111" fmla="*/ 892312 w 5047599"/>
              <a:gd name="connsiteY3111" fmla="*/ 1885488 h 4588585"/>
              <a:gd name="connsiteX3112" fmla="*/ 892178 w 5047599"/>
              <a:gd name="connsiteY3112" fmla="*/ 1887158 h 4588585"/>
              <a:gd name="connsiteX3113" fmla="*/ 891908 w 5047599"/>
              <a:gd name="connsiteY3113" fmla="*/ 1888513 h 4588585"/>
              <a:gd name="connsiteX3114" fmla="*/ 892178 w 5047599"/>
              <a:gd name="connsiteY3114" fmla="*/ 1887178 h 4588585"/>
              <a:gd name="connsiteX3115" fmla="*/ 879312 w 5047599"/>
              <a:gd name="connsiteY3115" fmla="*/ 1874686 h 4588585"/>
              <a:gd name="connsiteX3116" fmla="*/ 871908 w 5047599"/>
              <a:gd name="connsiteY3116" fmla="*/ 1882446 h 4588585"/>
              <a:gd name="connsiteX3117" fmla="*/ 869015 w 5047599"/>
              <a:gd name="connsiteY3117" fmla="*/ 1890193 h 4588585"/>
              <a:gd name="connsiteX3118" fmla="*/ 867537 w 5047599"/>
              <a:gd name="connsiteY3118" fmla="*/ 1892378 h 4588585"/>
              <a:gd name="connsiteX3119" fmla="*/ 866945 w 5047599"/>
              <a:gd name="connsiteY3119" fmla="*/ 1894118 h 4588585"/>
              <a:gd name="connsiteX3120" fmla="*/ 866958 w 5047599"/>
              <a:gd name="connsiteY3120" fmla="*/ 1894125 h 4588585"/>
              <a:gd name="connsiteX3121" fmla="*/ 867494 w 5047599"/>
              <a:gd name="connsiteY3121" fmla="*/ 1892549 h 4588585"/>
              <a:gd name="connsiteX3122" fmla="*/ 868972 w 5047599"/>
              <a:gd name="connsiteY3122" fmla="*/ 1890385 h 4588585"/>
              <a:gd name="connsiteX3123" fmla="*/ 871864 w 5047599"/>
              <a:gd name="connsiteY3123" fmla="*/ 1882638 h 4588585"/>
              <a:gd name="connsiteX3124" fmla="*/ 879297 w 5047599"/>
              <a:gd name="connsiteY3124" fmla="*/ 1874848 h 4588585"/>
              <a:gd name="connsiteX3125" fmla="*/ 3522471 w 5047599"/>
              <a:gd name="connsiteY3125" fmla="*/ 1869737 h 4588585"/>
              <a:gd name="connsiteX3126" fmla="*/ 3522489 w 5047599"/>
              <a:gd name="connsiteY3126" fmla="*/ 1873871 h 4588585"/>
              <a:gd name="connsiteX3127" fmla="*/ 3522067 w 5047599"/>
              <a:gd name="connsiteY3127" fmla="*/ 1879496 h 4588585"/>
              <a:gd name="connsiteX3128" fmla="*/ 3520758 w 5047599"/>
              <a:gd name="connsiteY3128" fmla="*/ 1881724 h 4588585"/>
              <a:gd name="connsiteX3129" fmla="*/ 3517633 w 5047599"/>
              <a:gd name="connsiteY3129" fmla="*/ 1884908 h 4588585"/>
              <a:gd name="connsiteX3130" fmla="*/ 3513685 w 5047599"/>
              <a:gd name="connsiteY3130" fmla="*/ 1887815 h 4588585"/>
              <a:gd name="connsiteX3131" fmla="*/ 3503719 w 5047599"/>
              <a:gd name="connsiteY3131" fmla="*/ 1888559 h 4588585"/>
              <a:gd name="connsiteX3132" fmla="*/ 3495400 w 5047599"/>
              <a:gd name="connsiteY3132" fmla="*/ 1888453 h 4588585"/>
              <a:gd name="connsiteX3133" fmla="*/ 3489508 w 5047599"/>
              <a:gd name="connsiteY3133" fmla="*/ 1887815 h 4588585"/>
              <a:gd name="connsiteX3134" fmla="*/ 3481443 w 5047599"/>
              <a:gd name="connsiteY3134" fmla="*/ 1887560 h 4588585"/>
              <a:gd name="connsiteX3135" fmla="*/ 3473862 w 5047599"/>
              <a:gd name="connsiteY3135" fmla="*/ 1888177 h 4588585"/>
              <a:gd name="connsiteX3136" fmla="*/ 3471075 w 5047599"/>
              <a:gd name="connsiteY3136" fmla="*/ 1890638 h 4588585"/>
              <a:gd name="connsiteX3137" fmla="*/ 3466979 w 5047599"/>
              <a:gd name="connsiteY3137" fmla="*/ 1899319 h 4588585"/>
              <a:gd name="connsiteX3138" fmla="*/ 3461067 w 5047599"/>
              <a:gd name="connsiteY3138" fmla="*/ 1911905 h 4588585"/>
              <a:gd name="connsiteX3139" fmla="*/ 3457942 w 5047599"/>
              <a:gd name="connsiteY3139" fmla="*/ 1917232 h 4588585"/>
              <a:gd name="connsiteX3140" fmla="*/ 3457139 w 5047599"/>
              <a:gd name="connsiteY3140" fmla="*/ 1920332 h 4588585"/>
              <a:gd name="connsiteX3141" fmla="*/ 3457142 w 5047599"/>
              <a:gd name="connsiteY3141" fmla="*/ 1920339 h 4588585"/>
              <a:gd name="connsiteX3142" fmla="*/ 3457943 w 5047599"/>
              <a:gd name="connsiteY3142" fmla="*/ 1917251 h 4588585"/>
              <a:gd name="connsiteX3143" fmla="*/ 3461067 w 5047599"/>
              <a:gd name="connsiteY3143" fmla="*/ 1911923 h 4588585"/>
              <a:gd name="connsiteX3144" fmla="*/ 3466980 w 5047599"/>
              <a:gd name="connsiteY3144" fmla="*/ 1899337 h 4588585"/>
              <a:gd name="connsiteX3145" fmla="*/ 3471076 w 5047599"/>
              <a:gd name="connsiteY3145" fmla="*/ 1890655 h 4588585"/>
              <a:gd name="connsiteX3146" fmla="*/ 3473863 w 5047599"/>
              <a:gd name="connsiteY3146" fmla="*/ 1888193 h 4588585"/>
              <a:gd name="connsiteX3147" fmla="*/ 3481443 w 5047599"/>
              <a:gd name="connsiteY3147" fmla="*/ 1887578 h 4588585"/>
              <a:gd name="connsiteX3148" fmla="*/ 3489509 w 5047599"/>
              <a:gd name="connsiteY3148" fmla="*/ 1887834 h 4588585"/>
              <a:gd name="connsiteX3149" fmla="*/ 3495400 w 5047599"/>
              <a:gd name="connsiteY3149" fmla="*/ 1888470 h 4588585"/>
              <a:gd name="connsiteX3150" fmla="*/ 3503719 w 5047599"/>
              <a:gd name="connsiteY3150" fmla="*/ 1888577 h 4588585"/>
              <a:gd name="connsiteX3151" fmla="*/ 3513685 w 5047599"/>
              <a:gd name="connsiteY3151" fmla="*/ 1887834 h 4588585"/>
              <a:gd name="connsiteX3152" fmla="*/ 3517633 w 5047599"/>
              <a:gd name="connsiteY3152" fmla="*/ 1884925 h 4588585"/>
              <a:gd name="connsiteX3153" fmla="*/ 3520759 w 5047599"/>
              <a:gd name="connsiteY3153" fmla="*/ 1881743 h 4588585"/>
              <a:gd name="connsiteX3154" fmla="*/ 3522067 w 5047599"/>
              <a:gd name="connsiteY3154" fmla="*/ 1879513 h 4588585"/>
              <a:gd name="connsiteX3155" fmla="*/ 3522490 w 5047599"/>
              <a:gd name="connsiteY3155" fmla="*/ 1873888 h 4588585"/>
              <a:gd name="connsiteX3156" fmla="*/ 1030513 w 5047599"/>
              <a:gd name="connsiteY3156" fmla="*/ 1867101 h 4588585"/>
              <a:gd name="connsiteX3157" fmla="*/ 1030520 w 5047599"/>
              <a:gd name="connsiteY3157" fmla="*/ 1867275 h 4588585"/>
              <a:gd name="connsiteX3158" fmla="*/ 1040423 w 5047599"/>
              <a:gd name="connsiteY3158" fmla="*/ 1871221 h 4588585"/>
              <a:gd name="connsiteX3159" fmla="*/ 1044245 w 5047599"/>
              <a:gd name="connsiteY3159" fmla="*/ 1875870 h 4588585"/>
              <a:gd name="connsiteX3160" fmla="*/ 1045894 w 5047599"/>
              <a:gd name="connsiteY3160" fmla="*/ 1880577 h 4588585"/>
              <a:gd name="connsiteX3161" fmla="*/ 1045892 w 5047599"/>
              <a:gd name="connsiteY3161" fmla="*/ 1880531 h 4588585"/>
              <a:gd name="connsiteX3162" fmla="*/ 1044203 w 5047599"/>
              <a:gd name="connsiteY3162" fmla="*/ 1875713 h 4588585"/>
              <a:gd name="connsiteX3163" fmla="*/ 1040380 w 5047599"/>
              <a:gd name="connsiteY3163" fmla="*/ 1871065 h 4588585"/>
              <a:gd name="connsiteX3164" fmla="*/ 2620833 w 5047599"/>
              <a:gd name="connsiteY3164" fmla="*/ 1864298 h 4588585"/>
              <a:gd name="connsiteX3165" fmla="*/ 2620832 w 5047599"/>
              <a:gd name="connsiteY3165" fmla="*/ 1864309 h 4588585"/>
              <a:gd name="connsiteX3166" fmla="*/ 2631389 w 5047599"/>
              <a:gd name="connsiteY3166" fmla="*/ 1871545 h 4588585"/>
              <a:gd name="connsiteX3167" fmla="*/ 2634024 w 5047599"/>
              <a:gd name="connsiteY3167" fmla="*/ 1875085 h 4588585"/>
              <a:gd name="connsiteX3168" fmla="*/ 2634029 w 5047599"/>
              <a:gd name="connsiteY3168" fmla="*/ 1875080 h 4588585"/>
              <a:gd name="connsiteX3169" fmla="*/ 2631390 w 5047599"/>
              <a:gd name="connsiteY3169" fmla="*/ 1871534 h 4588585"/>
              <a:gd name="connsiteX3170" fmla="*/ 1530641 w 5047599"/>
              <a:gd name="connsiteY3170" fmla="*/ 1863383 h 4588585"/>
              <a:gd name="connsiteX3171" fmla="*/ 1528531 w 5047599"/>
              <a:gd name="connsiteY3171" fmla="*/ 1865630 h 4588585"/>
              <a:gd name="connsiteX3172" fmla="*/ 1523759 w 5047599"/>
              <a:gd name="connsiteY3172" fmla="*/ 1868899 h 4588585"/>
              <a:gd name="connsiteX3173" fmla="*/ 1523759 w 5047599"/>
              <a:gd name="connsiteY3173" fmla="*/ 1868902 h 4588585"/>
              <a:gd name="connsiteX3174" fmla="*/ 1528530 w 5047599"/>
              <a:gd name="connsiteY3174" fmla="*/ 1865635 h 4588585"/>
              <a:gd name="connsiteX3175" fmla="*/ 1530641 w 5047599"/>
              <a:gd name="connsiteY3175" fmla="*/ 1863386 h 4588585"/>
              <a:gd name="connsiteX3176" fmla="*/ 2620392 w 5047599"/>
              <a:gd name="connsiteY3176" fmla="*/ 1862096 h 4588585"/>
              <a:gd name="connsiteX3177" fmla="*/ 2620388 w 5047599"/>
              <a:gd name="connsiteY3177" fmla="*/ 1862103 h 4588585"/>
              <a:gd name="connsiteX3178" fmla="*/ 2620978 w 5047599"/>
              <a:gd name="connsiteY3178" fmla="*/ 1863331 h 4588585"/>
              <a:gd name="connsiteX3179" fmla="*/ 2620979 w 5047599"/>
              <a:gd name="connsiteY3179" fmla="*/ 1863320 h 4588585"/>
              <a:gd name="connsiteX3180" fmla="*/ 1343179 w 5047599"/>
              <a:gd name="connsiteY3180" fmla="*/ 1854520 h 4588585"/>
              <a:gd name="connsiteX3181" fmla="*/ 1344685 w 5047599"/>
              <a:gd name="connsiteY3181" fmla="*/ 1857082 h 4588585"/>
              <a:gd name="connsiteX3182" fmla="*/ 1346120 w 5047599"/>
              <a:gd name="connsiteY3182" fmla="*/ 1864085 h 4588585"/>
              <a:gd name="connsiteX3183" fmla="*/ 1346486 w 5047599"/>
              <a:gd name="connsiteY3183" fmla="*/ 1864670 h 4588585"/>
              <a:gd name="connsiteX3184" fmla="*/ 1346142 w 5047599"/>
              <a:gd name="connsiteY3184" fmla="*/ 1864112 h 4588585"/>
              <a:gd name="connsiteX3185" fmla="*/ 1344706 w 5047599"/>
              <a:gd name="connsiteY3185" fmla="*/ 1857108 h 4588585"/>
              <a:gd name="connsiteX3186" fmla="*/ 1529042 w 5047599"/>
              <a:gd name="connsiteY3186" fmla="*/ 1854316 h 4588585"/>
              <a:gd name="connsiteX3187" fmla="*/ 1528973 w 5047599"/>
              <a:gd name="connsiteY3187" fmla="*/ 1856037 h 4588585"/>
              <a:gd name="connsiteX3188" fmla="*/ 1528973 w 5047599"/>
              <a:gd name="connsiteY3188" fmla="*/ 1856038 h 4588585"/>
              <a:gd name="connsiteX3189" fmla="*/ 2892029 w 5047599"/>
              <a:gd name="connsiteY3189" fmla="*/ 1851581 h 4588585"/>
              <a:gd name="connsiteX3190" fmla="*/ 2892029 w 5047599"/>
              <a:gd name="connsiteY3190" fmla="*/ 1851587 h 4588585"/>
              <a:gd name="connsiteX3191" fmla="*/ 2893612 w 5047599"/>
              <a:gd name="connsiteY3191" fmla="*/ 1854898 h 4588585"/>
              <a:gd name="connsiteX3192" fmla="*/ 2895892 w 5047599"/>
              <a:gd name="connsiteY3192" fmla="*/ 1856255 h 4588585"/>
              <a:gd name="connsiteX3193" fmla="*/ 2897327 w 5047599"/>
              <a:gd name="connsiteY3193" fmla="*/ 1857889 h 4588585"/>
              <a:gd name="connsiteX3194" fmla="*/ 2897328 w 5047599"/>
              <a:gd name="connsiteY3194" fmla="*/ 1857883 h 4588585"/>
              <a:gd name="connsiteX3195" fmla="*/ 2895892 w 5047599"/>
              <a:gd name="connsiteY3195" fmla="*/ 1856249 h 4588585"/>
              <a:gd name="connsiteX3196" fmla="*/ 2893612 w 5047599"/>
              <a:gd name="connsiteY3196" fmla="*/ 1854891 h 4588585"/>
              <a:gd name="connsiteX3197" fmla="*/ 1032499 w 5047599"/>
              <a:gd name="connsiteY3197" fmla="*/ 1843079 h 4588585"/>
              <a:gd name="connsiteX3198" fmla="*/ 1032484 w 5047599"/>
              <a:gd name="connsiteY3198" fmla="*/ 1843185 h 4588585"/>
              <a:gd name="connsiteX3199" fmla="*/ 1037129 w 5047599"/>
              <a:gd name="connsiteY3199" fmla="*/ 1845412 h 4588585"/>
              <a:gd name="connsiteX3200" fmla="*/ 1039494 w 5047599"/>
              <a:gd name="connsiteY3200" fmla="*/ 1847600 h 4588585"/>
              <a:gd name="connsiteX3201" fmla="*/ 1040697 w 5047599"/>
              <a:gd name="connsiteY3201" fmla="*/ 1849523 h 4588585"/>
              <a:gd name="connsiteX3202" fmla="*/ 1040739 w 5047599"/>
              <a:gd name="connsiteY3202" fmla="*/ 1849501 h 4588585"/>
              <a:gd name="connsiteX3203" fmla="*/ 1039452 w 5047599"/>
              <a:gd name="connsiteY3203" fmla="*/ 1847443 h 4588585"/>
              <a:gd name="connsiteX3204" fmla="*/ 1037108 w 5047599"/>
              <a:gd name="connsiteY3204" fmla="*/ 1845257 h 4588585"/>
              <a:gd name="connsiteX3205" fmla="*/ 2962951 w 5047599"/>
              <a:gd name="connsiteY3205" fmla="*/ 1840715 h 4588585"/>
              <a:gd name="connsiteX3206" fmla="*/ 2962276 w 5047599"/>
              <a:gd name="connsiteY3206" fmla="*/ 1843747 h 4588585"/>
              <a:gd name="connsiteX3207" fmla="*/ 2957547 w 5047599"/>
              <a:gd name="connsiteY3207" fmla="*/ 1851387 h 4588585"/>
              <a:gd name="connsiteX3208" fmla="*/ 2956428 w 5047599"/>
              <a:gd name="connsiteY3208" fmla="*/ 1854083 h 4588585"/>
              <a:gd name="connsiteX3209" fmla="*/ 2956153 w 5047599"/>
              <a:gd name="connsiteY3209" fmla="*/ 1859581 h 4588585"/>
              <a:gd name="connsiteX3210" fmla="*/ 2955393 w 5047599"/>
              <a:gd name="connsiteY3210" fmla="*/ 1861258 h 4588585"/>
              <a:gd name="connsiteX3211" fmla="*/ 2941648 w 5047599"/>
              <a:gd name="connsiteY3211" fmla="*/ 1865607 h 4588585"/>
              <a:gd name="connsiteX3212" fmla="*/ 2936517 w 5047599"/>
              <a:gd name="connsiteY3212" fmla="*/ 1868388 h 4588585"/>
              <a:gd name="connsiteX3213" fmla="*/ 2933370 w 5047599"/>
              <a:gd name="connsiteY3213" fmla="*/ 1872674 h 4588585"/>
              <a:gd name="connsiteX3214" fmla="*/ 2932611 w 5047599"/>
              <a:gd name="connsiteY3214" fmla="*/ 1874503 h 4588585"/>
              <a:gd name="connsiteX3215" fmla="*/ 2926719 w 5047599"/>
              <a:gd name="connsiteY3215" fmla="*/ 1872972 h 4588585"/>
              <a:gd name="connsiteX3216" fmla="*/ 2919245 w 5047599"/>
              <a:gd name="connsiteY3216" fmla="*/ 1871870 h 4588585"/>
              <a:gd name="connsiteX3217" fmla="*/ 2904866 w 5047599"/>
              <a:gd name="connsiteY3217" fmla="*/ 1870512 h 4588585"/>
              <a:gd name="connsiteX3218" fmla="*/ 2899187 w 5047599"/>
              <a:gd name="connsiteY3218" fmla="*/ 1868517 h 4588585"/>
              <a:gd name="connsiteX3219" fmla="*/ 2896463 w 5047599"/>
              <a:gd name="connsiteY3219" fmla="*/ 1865525 h 4588585"/>
              <a:gd name="connsiteX3220" fmla="*/ 2896463 w 5047599"/>
              <a:gd name="connsiteY3220" fmla="*/ 1865531 h 4588585"/>
              <a:gd name="connsiteX3221" fmla="*/ 2899187 w 5047599"/>
              <a:gd name="connsiteY3221" fmla="*/ 1868523 h 4588585"/>
              <a:gd name="connsiteX3222" fmla="*/ 2904866 w 5047599"/>
              <a:gd name="connsiteY3222" fmla="*/ 1870519 h 4588585"/>
              <a:gd name="connsiteX3223" fmla="*/ 2919245 w 5047599"/>
              <a:gd name="connsiteY3223" fmla="*/ 1871876 h 4588585"/>
              <a:gd name="connsiteX3224" fmla="*/ 2926719 w 5047599"/>
              <a:gd name="connsiteY3224" fmla="*/ 1872978 h 4588585"/>
              <a:gd name="connsiteX3225" fmla="*/ 2932611 w 5047599"/>
              <a:gd name="connsiteY3225" fmla="*/ 1874507 h 4588585"/>
              <a:gd name="connsiteX3226" fmla="*/ 2933370 w 5047599"/>
              <a:gd name="connsiteY3226" fmla="*/ 1872683 h 4588585"/>
              <a:gd name="connsiteX3227" fmla="*/ 2936516 w 5047599"/>
              <a:gd name="connsiteY3227" fmla="*/ 1868396 h 4588585"/>
              <a:gd name="connsiteX3228" fmla="*/ 2941647 w 5047599"/>
              <a:gd name="connsiteY3228" fmla="*/ 1865615 h 4588585"/>
              <a:gd name="connsiteX3229" fmla="*/ 2955393 w 5047599"/>
              <a:gd name="connsiteY3229" fmla="*/ 1861266 h 4588585"/>
              <a:gd name="connsiteX3230" fmla="*/ 2956153 w 5047599"/>
              <a:gd name="connsiteY3230" fmla="*/ 1859590 h 4588585"/>
              <a:gd name="connsiteX3231" fmla="*/ 2956428 w 5047599"/>
              <a:gd name="connsiteY3231" fmla="*/ 1854091 h 4588585"/>
              <a:gd name="connsiteX3232" fmla="*/ 2957546 w 5047599"/>
              <a:gd name="connsiteY3232" fmla="*/ 1851395 h 4588585"/>
              <a:gd name="connsiteX3233" fmla="*/ 2962276 w 5047599"/>
              <a:gd name="connsiteY3233" fmla="*/ 1843756 h 4588585"/>
              <a:gd name="connsiteX3234" fmla="*/ 2962951 w 5047599"/>
              <a:gd name="connsiteY3234" fmla="*/ 1840719 h 4588585"/>
              <a:gd name="connsiteX3235" fmla="*/ 868372 w 5047599"/>
              <a:gd name="connsiteY3235" fmla="*/ 1838760 h 4588585"/>
              <a:gd name="connsiteX3236" fmla="*/ 866417 w 5047599"/>
              <a:gd name="connsiteY3236" fmla="*/ 1842649 h 4588585"/>
              <a:gd name="connsiteX3237" fmla="*/ 864707 w 5047599"/>
              <a:gd name="connsiteY3237" fmla="*/ 1846977 h 4588585"/>
              <a:gd name="connsiteX3238" fmla="*/ 864713 w 5047599"/>
              <a:gd name="connsiteY3238" fmla="*/ 1847027 h 4588585"/>
              <a:gd name="connsiteX3239" fmla="*/ 866354 w 5047599"/>
              <a:gd name="connsiteY3239" fmla="*/ 1842841 h 4588585"/>
              <a:gd name="connsiteX3240" fmla="*/ 868360 w 5047599"/>
              <a:gd name="connsiteY3240" fmla="*/ 1838829 h 4588585"/>
              <a:gd name="connsiteX3241" fmla="*/ 733821 w 5047599"/>
              <a:gd name="connsiteY3241" fmla="*/ 1838687 h 4588585"/>
              <a:gd name="connsiteX3242" fmla="*/ 733775 w 5047599"/>
              <a:gd name="connsiteY3242" fmla="*/ 1838701 h 4588585"/>
              <a:gd name="connsiteX3243" fmla="*/ 731412 w 5047599"/>
              <a:gd name="connsiteY3243" fmla="*/ 1845680 h 4588585"/>
              <a:gd name="connsiteX3244" fmla="*/ 731495 w 5047599"/>
              <a:gd name="connsiteY3244" fmla="*/ 1845557 h 4588585"/>
              <a:gd name="connsiteX3245" fmla="*/ 1343202 w 5047599"/>
              <a:gd name="connsiteY3245" fmla="*/ 1837556 h 4588585"/>
              <a:gd name="connsiteX3246" fmla="*/ 1342320 w 5047599"/>
              <a:gd name="connsiteY3246" fmla="*/ 1841374 h 4588585"/>
              <a:gd name="connsiteX3247" fmla="*/ 1338920 w 5047599"/>
              <a:gd name="connsiteY3247" fmla="*/ 1847911 h 4588585"/>
              <a:gd name="connsiteX3248" fmla="*/ 1338900 w 5047599"/>
              <a:gd name="connsiteY3248" fmla="*/ 1851775 h 4588585"/>
              <a:gd name="connsiteX3249" fmla="*/ 1338921 w 5047599"/>
              <a:gd name="connsiteY3249" fmla="*/ 1847938 h 4588585"/>
              <a:gd name="connsiteX3250" fmla="*/ 1342320 w 5047599"/>
              <a:gd name="connsiteY3250" fmla="*/ 1841380 h 4588585"/>
              <a:gd name="connsiteX3251" fmla="*/ 1343207 w 5047599"/>
              <a:gd name="connsiteY3251" fmla="*/ 1837560 h 4588585"/>
              <a:gd name="connsiteX3252" fmla="*/ 1533027 w 5047599"/>
              <a:gd name="connsiteY3252" fmla="*/ 1833013 h 4588585"/>
              <a:gd name="connsiteX3253" fmla="*/ 1531148 w 5047599"/>
              <a:gd name="connsiteY3253" fmla="*/ 1841224 h 4588585"/>
              <a:gd name="connsiteX3254" fmla="*/ 1529311 w 5047599"/>
              <a:gd name="connsiteY3254" fmla="*/ 1847569 h 4588585"/>
              <a:gd name="connsiteX3255" fmla="*/ 1529311 w 5047599"/>
              <a:gd name="connsiteY3255" fmla="*/ 1847571 h 4588585"/>
              <a:gd name="connsiteX3256" fmla="*/ 1531148 w 5047599"/>
              <a:gd name="connsiteY3256" fmla="*/ 1841228 h 4588585"/>
              <a:gd name="connsiteX3257" fmla="*/ 1533027 w 5047599"/>
              <a:gd name="connsiteY3257" fmla="*/ 1833015 h 4588585"/>
              <a:gd name="connsiteX3258" fmla="*/ 1342507 w 5047599"/>
              <a:gd name="connsiteY3258" fmla="*/ 1828591 h 4588585"/>
              <a:gd name="connsiteX3259" fmla="*/ 1341348 w 5047599"/>
              <a:gd name="connsiteY3259" fmla="*/ 1833397 h 4588585"/>
              <a:gd name="connsiteX3260" fmla="*/ 1341350 w 5047599"/>
              <a:gd name="connsiteY3260" fmla="*/ 1833421 h 4588585"/>
              <a:gd name="connsiteX3261" fmla="*/ 1342510 w 5047599"/>
              <a:gd name="connsiteY3261" fmla="*/ 1828606 h 4588585"/>
              <a:gd name="connsiteX3262" fmla="*/ 1517211 w 5047599"/>
              <a:gd name="connsiteY3262" fmla="*/ 1824775 h 4588585"/>
              <a:gd name="connsiteX3263" fmla="*/ 1515502 w 5047599"/>
              <a:gd name="connsiteY3263" fmla="*/ 1826706 h 4588585"/>
              <a:gd name="connsiteX3264" fmla="*/ 1515504 w 5047599"/>
              <a:gd name="connsiteY3264" fmla="*/ 1826710 h 4588585"/>
              <a:gd name="connsiteX3265" fmla="*/ 1517212 w 5047599"/>
              <a:gd name="connsiteY3265" fmla="*/ 1824778 h 4588585"/>
              <a:gd name="connsiteX3266" fmla="*/ 1019495 w 5047599"/>
              <a:gd name="connsiteY3266" fmla="*/ 1824702 h 4588585"/>
              <a:gd name="connsiteX3267" fmla="*/ 1019499 w 5047599"/>
              <a:gd name="connsiteY3267" fmla="*/ 1824783 h 4588585"/>
              <a:gd name="connsiteX3268" fmla="*/ 1022370 w 5047599"/>
              <a:gd name="connsiteY3268" fmla="*/ 1828669 h 4588585"/>
              <a:gd name="connsiteX3269" fmla="*/ 1025791 w 5047599"/>
              <a:gd name="connsiteY3269" fmla="*/ 1830664 h 4588585"/>
              <a:gd name="connsiteX3270" fmla="*/ 1029844 w 5047599"/>
              <a:gd name="connsiteY3270" fmla="*/ 1830282 h 4588585"/>
              <a:gd name="connsiteX3271" fmla="*/ 1033745 w 5047599"/>
              <a:gd name="connsiteY3271" fmla="*/ 1829564 h 4588585"/>
              <a:gd name="connsiteX3272" fmla="*/ 1033750 w 5047599"/>
              <a:gd name="connsiteY3272" fmla="*/ 1829423 h 4588585"/>
              <a:gd name="connsiteX3273" fmla="*/ 1029802 w 5047599"/>
              <a:gd name="connsiteY3273" fmla="*/ 1830146 h 4588585"/>
              <a:gd name="connsiteX3274" fmla="*/ 1025748 w 5047599"/>
              <a:gd name="connsiteY3274" fmla="*/ 1830528 h 4588585"/>
              <a:gd name="connsiteX3275" fmla="*/ 1022327 w 5047599"/>
              <a:gd name="connsiteY3275" fmla="*/ 1828553 h 4588585"/>
              <a:gd name="connsiteX3276" fmla="*/ 2970319 w 5047599"/>
              <a:gd name="connsiteY3276" fmla="*/ 1822146 h 4588585"/>
              <a:gd name="connsiteX3277" fmla="*/ 2970237 w 5047599"/>
              <a:gd name="connsiteY3277" fmla="*/ 1822863 h 4588585"/>
              <a:gd name="connsiteX3278" fmla="*/ 2968928 w 5047599"/>
              <a:gd name="connsiteY3278" fmla="*/ 1825175 h 4588585"/>
              <a:gd name="connsiteX3279" fmla="*/ 2965169 w 5047599"/>
              <a:gd name="connsiteY3279" fmla="*/ 1828954 h 4588585"/>
              <a:gd name="connsiteX3280" fmla="*/ 2963797 w 5047599"/>
              <a:gd name="connsiteY3280" fmla="*/ 1831140 h 4588585"/>
              <a:gd name="connsiteX3281" fmla="*/ 2963163 w 5047599"/>
              <a:gd name="connsiteY3281" fmla="*/ 1834218 h 4588585"/>
              <a:gd name="connsiteX3282" fmla="*/ 2963110 w 5047599"/>
              <a:gd name="connsiteY3282" fmla="*/ 1835844 h 4588585"/>
              <a:gd name="connsiteX3283" fmla="*/ 2963163 w 5047599"/>
              <a:gd name="connsiteY3283" fmla="*/ 1834224 h 4588585"/>
              <a:gd name="connsiteX3284" fmla="*/ 2963796 w 5047599"/>
              <a:gd name="connsiteY3284" fmla="*/ 1831148 h 4588585"/>
              <a:gd name="connsiteX3285" fmla="*/ 2965169 w 5047599"/>
              <a:gd name="connsiteY3285" fmla="*/ 1828963 h 4588585"/>
              <a:gd name="connsiteX3286" fmla="*/ 2968927 w 5047599"/>
              <a:gd name="connsiteY3286" fmla="*/ 1825184 h 4588585"/>
              <a:gd name="connsiteX3287" fmla="*/ 2970236 w 5047599"/>
              <a:gd name="connsiteY3287" fmla="*/ 1822871 h 4588585"/>
              <a:gd name="connsiteX3288" fmla="*/ 752007 w 5047599"/>
              <a:gd name="connsiteY3288" fmla="*/ 1820770 h 4588585"/>
              <a:gd name="connsiteX3289" fmla="*/ 751976 w 5047599"/>
              <a:gd name="connsiteY3289" fmla="*/ 1820810 h 4588585"/>
              <a:gd name="connsiteX3290" fmla="*/ 750052 w 5047599"/>
              <a:gd name="connsiteY3290" fmla="*/ 1825412 h 4588585"/>
              <a:gd name="connsiteX3291" fmla="*/ 750118 w 5047599"/>
              <a:gd name="connsiteY3291" fmla="*/ 1825310 h 4588585"/>
              <a:gd name="connsiteX3292" fmla="*/ 3218946 w 5047599"/>
              <a:gd name="connsiteY3292" fmla="*/ 1818850 h 4588585"/>
              <a:gd name="connsiteX3293" fmla="*/ 3216159 w 5047599"/>
              <a:gd name="connsiteY3293" fmla="*/ 1821545 h 4588585"/>
              <a:gd name="connsiteX3294" fmla="*/ 3210648 w 5047599"/>
              <a:gd name="connsiteY3294" fmla="*/ 1826959 h 4588585"/>
              <a:gd name="connsiteX3295" fmla="*/ 3210057 w 5047599"/>
              <a:gd name="connsiteY3295" fmla="*/ 1831161 h 4588585"/>
              <a:gd name="connsiteX3296" fmla="*/ 3210058 w 5047599"/>
              <a:gd name="connsiteY3296" fmla="*/ 1831165 h 4588585"/>
              <a:gd name="connsiteX3297" fmla="*/ 3210647 w 5047599"/>
              <a:gd name="connsiteY3297" fmla="*/ 1826972 h 4588585"/>
              <a:gd name="connsiteX3298" fmla="*/ 3216158 w 5047599"/>
              <a:gd name="connsiteY3298" fmla="*/ 1821558 h 4588585"/>
              <a:gd name="connsiteX3299" fmla="*/ 3218946 w 5047599"/>
              <a:gd name="connsiteY3299" fmla="*/ 1818863 h 4588585"/>
              <a:gd name="connsiteX3300" fmla="*/ 1521981 w 5047599"/>
              <a:gd name="connsiteY3300" fmla="*/ 1818265 h 4588585"/>
              <a:gd name="connsiteX3301" fmla="*/ 1521077 w 5047599"/>
              <a:gd name="connsiteY3301" fmla="*/ 1819322 h 4588585"/>
              <a:gd name="connsiteX3302" fmla="*/ 1518015 w 5047599"/>
              <a:gd name="connsiteY3302" fmla="*/ 1820276 h 4588585"/>
              <a:gd name="connsiteX3303" fmla="*/ 1516579 w 5047599"/>
              <a:gd name="connsiteY3303" fmla="*/ 1822377 h 4588585"/>
              <a:gd name="connsiteX3304" fmla="*/ 1516580 w 5047599"/>
              <a:gd name="connsiteY3304" fmla="*/ 1822380 h 4588585"/>
              <a:gd name="connsiteX3305" fmla="*/ 1518014 w 5047599"/>
              <a:gd name="connsiteY3305" fmla="*/ 1820280 h 4588585"/>
              <a:gd name="connsiteX3306" fmla="*/ 1521076 w 5047599"/>
              <a:gd name="connsiteY3306" fmla="*/ 1819326 h 4588585"/>
              <a:gd name="connsiteX3307" fmla="*/ 1521984 w 5047599"/>
              <a:gd name="connsiteY3307" fmla="*/ 1818266 h 4588585"/>
              <a:gd name="connsiteX3308" fmla="*/ 1325847 w 5047599"/>
              <a:gd name="connsiteY3308" fmla="*/ 1815652 h 4588585"/>
              <a:gd name="connsiteX3309" fmla="*/ 1326991 w 5047599"/>
              <a:gd name="connsiteY3309" fmla="*/ 1817859 h 4588585"/>
              <a:gd name="connsiteX3310" fmla="*/ 1328525 w 5047599"/>
              <a:gd name="connsiteY3310" fmla="*/ 1820371 h 4588585"/>
              <a:gd name="connsiteX3311" fmla="*/ 1326991 w 5047599"/>
              <a:gd name="connsiteY3311" fmla="*/ 1817848 h 4588585"/>
              <a:gd name="connsiteX3312" fmla="*/ 755700 w 5047599"/>
              <a:gd name="connsiteY3312" fmla="*/ 1814173 h 4588585"/>
              <a:gd name="connsiteX3313" fmla="*/ 755629 w 5047599"/>
              <a:gd name="connsiteY3313" fmla="*/ 1814249 h 4588585"/>
              <a:gd name="connsiteX3314" fmla="*/ 754842 w 5047599"/>
              <a:gd name="connsiteY3314" fmla="*/ 1816417 h 4588585"/>
              <a:gd name="connsiteX3315" fmla="*/ 754911 w 5047599"/>
              <a:gd name="connsiteY3315" fmla="*/ 1816287 h 4588585"/>
              <a:gd name="connsiteX3316" fmla="*/ 1520865 w 5047599"/>
              <a:gd name="connsiteY3316" fmla="*/ 1813256 h 4588585"/>
              <a:gd name="connsiteX3317" fmla="*/ 1520147 w 5047599"/>
              <a:gd name="connsiteY3317" fmla="*/ 1814252 h 4588585"/>
              <a:gd name="connsiteX3318" fmla="*/ 1518860 w 5047599"/>
              <a:gd name="connsiteY3318" fmla="*/ 1814167 h 4588585"/>
              <a:gd name="connsiteX3319" fmla="*/ 1517656 w 5047599"/>
              <a:gd name="connsiteY3319" fmla="*/ 1814444 h 4588585"/>
              <a:gd name="connsiteX3320" fmla="*/ 1517360 w 5047599"/>
              <a:gd name="connsiteY3320" fmla="*/ 1815823 h 4588585"/>
              <a:gd name="connsiteX3321" fmla="*/ 1517361 w 5047599"/>
              <a:gd name="connsiteY3321" fmla="*/ 1815825 h 4588585"/>
              <a:gd name="connsiteX3322" fmla="*/ 1517656 w 5047599"/>
              <a:gd name="connsiteY3322" fmla="*/ 1814449 h 4588585"/>
              <a:gd name="connsiteX3323" fmla="*/ 1518859 w 5047599"/>
              <a:gd name="connsiteY3323" fmla="*/ 1814172 h 4588585"/>
              <a:gd name="connsiteX3324" fmla="*/ 1520147 w 5047599"/>
              <a:gd name="connsiteY3324" fmla="*/ 1814257 h 4588585"/>
              <a:gd name="connsiteX3325" fmla="*/ 1520865 w 5047599"/>
              <a:gd name="connsiteY3325" fmla="*/ 1813260 h 4588585"/>
              <a:gd name="connsiteX3326" fmla="*/ 3510222 w 5047599"/>
              <a:gd name="connsiteY3326" fmla="*/ 1811452 h 4588585"/>
              <a:gd name="connsiteX3327" fmla="*/ 3509644 w 5047599"/>
              <a:gd name="connsiteY3327" fmla="*/ 1814025 h 4588585"/>
              <a:gd name="connsiteX3328" fmla="*/ 3510222 w 5047599"/>
              <a:gd name="connsiteY3328" fmla="*/ 1811453 h 4588585"/>
              <a:gd name="connsiteX3329" fmla="*/ 1338731 w 5047599"/>
              <a:gd name="connsiteY3329" fmla="*/ 1806662 h 4588585"/>
              <a:gd name="connsiteX3330" fmla="*/ 1336915 w 5047599"/>
              <a:gd name="connsiteY3330" fmla="*/ 1809738 h 4588585"/>
              <a:gd name="connsiteX3331" fmla="*/ 1336918 w 5047599"/>
              <a:gd name="connsiteY3331" fmla="*/ 1809755 h 4588585"/>
              <a:gd name="connsiteX3332" fmla="*/ 1338731 w 5047599"/>
              <a:gd name="connsiteY3332" fmla="*/ 1806681 h 4588585"/>
              <a:gd name="connsiteX3333" fmla="*/ 3514094 w 5047599"/>
              <a:gd name="connsiteY3333" fmla="*/ 1803621 h 4588585"/>
              <a:gd name="connsiteX3334" fmla="*/ 3514043 w 5047599"/>
              <a:gd name="connsiteY3334" fmla="*/ 1803790 h 4588585"/>
              <a:gd name="connsiteX3335" fmla="*/ 3514044 w 5047599"/>
              <a:gd name="connsiteY3335" fmla="*/ 1803788 h 4588585"/>
              <a:gd name="connsiteX3336" fmla="*/ 760930 w 5047599"/>
              <a:gd name="connsiteY3336" fmla="*/ 1802736 h 4588585"/>
              <a:gd name="connsiteX3337" fmla="*/ 760865 w 5047599"/>
              <a:gd name="connsiteY3337" fmla="*/ 1802767 h 4588585"/>
              <a:gd name="connsiteX3338" fmla="*/ 759514 w 5047599"/>
              <a:gd name="connsiteY3338" fmla="*/ 1807267 h 4588585"/>
              <a:gd name="connsiteX3339" fmla="*/ 757567 w 5047599"/>
              <a:gd name="connsiteY3339" fmla="*/ 1812117 h 4588585"/>
              <a:gd name="connsiteX3340" fmla="*/ 757635 w 5047599"/>
              <a:gd name="connsiteY3340" fmla="*/ 1812043 h 4588585"/>
              <a:gd name="connsiteX3341" fmla="*/ 759620 w 5047599"/>
              <a:gd name="connsiteY3341" fmla="*/ 1807099 h 4588585"/>
              <a:gd name="connsiteX3342" fmla="*/ 1522209 w 5047599"/>
              <a:gd name="connsiteY3342" fmla="*/ 1801960 h 4588585"/>
              <a:gd name="connsiteX3343" fmla="*/ 1522005 w 5047599"/>
              <a:gd name="connsiteY3343" fmla="*/ 1803832 h 4588585"/>
              <a:gd name="connsiteX3344" fmla="*/ 1521776 w 5047599"/>
              <a:gd name="connsiteY3344" fmla="*/ 1804989 h 4588585"/>
              <a:gd name="connsiteX3345" fmla="*/ 1522005 w 5047599"/>
              <a:gd name="connsiteY3345" fmla="*/ 1803835 h 4588585"/>
              <a:gd name="connsiteX3346" fmla="*/ 3255959 w 5047599"/>
              <a:gd name="connsiteY3346" fmla="*/ 1799220 h 4588585"/>
              <a:gd name="connsiteX3347" fmla="*/ 3253194 w 5047599"/>
              <a:gd name="connsiteY3347" fmla="*/ 1803591 h 4588585"/>
              <a:gd name="connsiteX3348" fmla="*/ 3248211 w 5047599"/>
              <a:gd name="connsiteY3348" fmla="*/ 1808386 h 4588585"/>
              <a:gd name="connsiteX3349" fmla="*/ 3234528 w 5047599"/>
              <a:gd name="connsiteY3349" fmla="*/ 1811422 h 4588585"/>
              <a:gd name="connsiteX3350" fmla="*/ 3227414 w 5047599"/>
              <a:gd name="connsiteY3350" fmla="*/ 1814011 h 4588585"/>
              <a:gd name="connsiteX3351" fmla="*/ 3220129 w 5047599"/>
              <a:gd name="connsiteY3351" fmla="*/ 1817896 h 4588585"/>
              <a:gd name="connsiteX3352" fmla="*/ 3218946 w 5047599"/>
              <a:gd name="connsiteY3352" fmla="*/ 1818872 h 4588585"/>
              <a:gd name="connsiteX3353" fmla="*/ 3218946 w 5047599"/>
              <a:gd name="connsiteY3353" fmla="*/ 1818884 h 4588585"/>
              <a:gd name="connsiteX3354" fmla="*/ 3220128 w 5047599"/>
              <a:gd name="connsiteY3354" fmla="*/ 1817909 h 4588585"/>
              <a:gd name="connsiteX3355" fmla="*/ 3227413 w 5047599"/>
              <a:gd name="connsiteY3355" fmla="*/ 1814024 h 4588585"/>
              <a:gd name="connsiteX3356" fmla="*/ 3234528 w 5047599"/>
              <a:gd name="connsiteY3356" fmla="*/ 1811435 h 4588585"/>
              <a:gd name="connsiteX3357" fmla="*/ 3248211 w 5047599"/>
              <a:gd name="connsiteY3357" fmla="*/ 1808399 h 4588585"/>
              <a:gd name="connsiteX3358" fmla="*/ 3253193 w 5047599"/>
              <a:gd name="connsiteY3358" fmla="*/ 1803604 h 4588585"/>
              <a:gd name="connsiteX3359" fmla="*/ 3255959 w 5047599"/>
              <a:gd name="connsiteY3359" fmla="*/ 1799231 h 4588585"/>
              <a:gd name="connsiteX3360" fmla="*/ 3513263 w 5047599"/>
              <a:gd name="connsiteY3360" fmla="*/ 1798039 h 4588585"/>
              <a:gd name="connsiteX3361" fmla="*/ 3513263 w 5047599"/>
              <a:gd name="connsiteY3361" fmla="*/ 1798042 h 4588585"/>
              <a:gd name="connsiteX3362" fmla="*/ 3513473 w 5047599"/>
              <a:gd name="connsiteY3362" fmla="*/ 1799825 h 4588585"/>
              <a:gd name="connsiteX3363" fmla="*/ 3513917 w 5047599"/>
              <a:gd name="connsiteY3363" fmla="*/ 1801013 h 4588585"/>
              <a:gd name="connsiteX3364" fmla="*/ 3514276 w 5047599"/>
              <a:gd name="connsiteY3364" fmla="*/ 1802392 h 4588585"/>
              <a:gd name="connsiteX3365" fmla="*/ 3514276 w 5047599"/>
              <a:gd name="connsiteY3365" fmla="*/ 1802796 h 4588585"/>
              <a:gd name="connsiteX3366" fmla="*/ 3514233 w 5047599"/>
              <a:gd name="connsiteY3366" fmla="*/ 1803151 h 4588585"/>
              <a:gd name="connsiteX3367" fmla="*/ 3514234 w 5047599"/>
              <a:gd name="connsiteY3367" fmla="*/ 1803150 h 4588585"/>
              <a:gd name="connsiteX3368" fmla="*/ 3514277 w 5047599"/>
              <a:gd name="connsiteY3368" fmla="*/ 1802789 h 4588585"/>
              <a:gd name="connsiteX3369" fmla="*/ 3514277 w 5047599"/>
              <a:gd name="connsiteY3369" fmla="*/ 1802385 h 4588585"/>
              <a:gd name="connsiteX3370" fmla="*/ 3513917 w 5047599"/>
              <a:gd name="connsiteY3370" fmla="*/ 1801007 h 4588585"/>
              <a:gd name="connsiteX3371" fmla="*/ 3513474 w 5047599"/>
              <a:gd name="connsiteY3371" fmla="*/ 1799818 h 4588585"/>
              <a:gd name="connsiteX3372" fmla="*/ 795852 w 5047599"/>
              <a:gd name="connsiteY3372" fmla="*/ 1794894 h 4588585"/>
              <a:gd name="connsiteX3373" fmla="*/ 795184 w 5047599"/>
              <a:gd name="connsiteY3373" fmla="*/ 1798965 h 4588585"/>
              <a:gd name="connsiteX3374" fmla="*/ 795261 w 5047599"/>
              <a:gd name="connsiteY3374" fmla="*/ 1798948 h 4588585"/>
              <a:gd name="connsiteX3375" fmla="*/ 795930 w 5047599"/>
              <a:gd name="connsiteY3375" fmla="*/ 1794894 h 4588585"/>
              <a:gd name="connsiteX3376" fmla="*/ 2429354 w 5047599"/>
              <a:gd name="connsiteY3376" fmla="*/ 1794029 h 4588585"/>
              <a:gd name="connsiteX3377" fmla="*/ 2422607 w 5047599"/>
              <a:gd name="connsiteY3377" fmla="*/ 1796867 h 4588585"/>
              <a:gd name="connsiteX3378" fmla="*/ 2409516 w 5047599"/>
              <a:gd name="connsiteY3378" fmla="*/ 1797229 h 4588585"/>
              <a:gd name="connsiteX3379" fmla="*/ 2401999 w 5047599"/>
              <a:gd name="connsiteY3379" fmla="*/ 1795596 h 4588585"/>
              <a:gd name="connsiteX3380" fmla="*/ 2398410 w 5047599"/>
              <a:gd name="connsiteY3380" fmla="*/ 1795509 h 4588585"/>
              <a:gd name="connsiteX3381" fmla="*/ 2394800 w 5047599"/>
              <a:gd name="connsiteY3381" fmla="*/ 1796527 h 4588585"/>
              <a:gd name="connsiteX3382" fmla="*/ 2380822 w 5047599"/>
              <a:gd name="connsiteY3382" fmla="*/ 1797990 h 4588585"/>
              <a:gd name="connsiteX3383" fmla="*/ 2366717 w 5047599"/>
              <a:gd name="connsiteY3383" fmla="*/ 1797312 h 4588585"/>
              <a:gd name="connsiteX3384" fmla="*/ 2353647 w 5047599"/>
              <a:gd name="connsiteY3384" fmla="*/ 1795380 h 4588585"/>
              <a:gd name="connsiteX3385" fmla="*/ 2345708 w 5047599"/>
              <a:gd name="connsiteY3385" fmla="*/ 1795697 h 4588585"/>
              <a:gd name="connsiteX3386" fmla="*/ 2339585 w 5047599"/>
              <a:gd name="connsiteY3386" fmla="*/ 1800389 h 4588585"/>
              <a:gd name="connsiteX3387" fmla="*/ 2334601 w 5047599"/>
              <a:gd name="connsiteY3387" fmla="*/ 1807435 h 4588585"/>
              <a:gd name="connsiteX3388" fmla="*/ 2329956 w 5047599"/>
              <a:gd name="connsiteY3388" fmla="*/ 1813017 h 4588585"/>
              <a:gd name="connsiteX3389" fmla="*/ 2329958 w 5047599"/>
              <a:gd name="connsiteY3389" fmla="*/ 1813025 h 4588585"/>
              <a:gd name="connsiteX3390" fmla="*/ 2334601 w 5047599"/>
              <a:gd name="connsiteY3390" fmla="*/ 1807447 h 4588585"/>
              <a:gd name="connsiteX3391" fmla="*/ 2339585 w 5047599"/>
              <a:gd name="connsiteY3391" fmla="*/ 1800399 h 4588585"/>
              <a:gd name="connsiteX3392" fmla="*/ 2345708 w 5047599"/>
              <a:gd name="connsiteY3392" fmla="*/ 1795709 h 4588585"/>
              <a:gd name="connsiteX3393" fmla="*/ 2353647 w 5047599"/>
              <a:gd name="connsiteY3393" fmla="*/ 1795391 h 4588585"/>
              <a:gd name="connsiteX3394" fmla="*/ 2366717 w 5047599"/>
              <a:gd name="connsiteY3394" fmla="*/ 1797323 h 4588585"/>
              <a:gd name="connsiteX3395" fmla="*/ 2380822 w 5047599"/>
              <a:gd name="connsiteY3395" fmla="*/ 1798003 h 4588585"/>
              <a:gd name="connsiteX3396" fmla="*/ 2394799 w 5047599"/>
              <a:gd name="connsiteY3396" fmla="*/ 1796540 h 4588585"/>
              <a:gd name="connsiteX3397" fmla="*/ 2398410 w 5047599"/>
              <a:gd name="connsiteY3397" fmla="*/ 1795521 h 4588585"/>
              <a:gd name="connsiteX3398" fmla="*/ 2401999 w 5047599"/>
              <a:gd name="connsiteY3398" fmla="*/ 1795606 h 4588585"/>
              <a:gd name="connsiteX3399" fmla="*/ 2409516 w 5047599"/>
              <a:gd name="connsiteY3399" fmla="*/ 1797240 h 4588585"/>
              <a:gd name="connsiteX3400" fmla="*/ 2422607 w 5047599"/>
              <a:gd name="connsiteY3400" fmla="*/ 1796879 h 4588585"/>
              <a:gd name="connsiteX3401" fmla="*/ 2429364 w 5047599"/>
              <a:gd name="connsiteY3401" fmla="*/ 1794035 h 4588585"/>
              <a:gd name="connsiteX3402" fmla="*/ 2984087 w 5047599"/>
              <a:gd name="connsiteY3402" fmla="*/ 1787570 h 4588585"/>
              <a:gd name="connsiteX3403" fmla="*/ 2983307 w 5047599"/>
              <a:gd name="connsiteY3403" fmla="*/ 1791152 h 4588585"/>
              <a:gd name="connsiteX3404" fmla="*/ 2980984 w 5047599"/>
              <a:gd name="connsiteY3404" fmla="*/ 1795165 h 4588585"/>
              <a:gd name="connsiteX3405" fmla="*/ 2972327 w 5047599"/>
              <a:gd name="connsiteY3405" fmla="*/ 1804121 h 4588585"/>
              <a:gd name="connsiteX3406" fmla="*/ 2970406 w 5047599"/>
              <a:gd name="connsiteY3406" fmla="*/ 1808025 h 4588585"/>
              <a:gd name="connsiteX3407" fmla="*/ 2970406 w 5047599"/>
              <a:gd name="connsiteY3407" fmla="*/ 1808032 h 4588585"/>
              <a:gd name="connsiteX3408" fmla="*/ 2972326 w 5047599"/>
              <a:gd name="connsiteY3408" fmla="*/ 1804130 h 4588585"/>
              <a:gd name="connsiteX3409" fmla="*/ 2980983 w 5047599"/>
              <a:gd name="connsiteY3409" fmla="*/ 1795173 h 4588585"/>
              <a:gd name="connsiteX3410" fmla="*/ 2983306 w 5047599"/>
              <a:gd name="connsiteY3410" fmla="*/ 1791161 h 4588585"/>
              <a:gd name="connsiteX3411" fmla="*/ 2984087 w 5047599"/>
              <a:gd name="connsiteY3411" fmla="*/ 1787574 h 4588585"/>
              <a:gd name="connsiteX3412" fmla="*/ 1076808 w 5047599"/>
              <a:gd name="connsiteY3412" fmla="*/ 1781144 h 4588585"/>
              <a:gd name="connsiteX3413" fmla="*/ 1080582 w 5047599"/>
              <a:gd name="connsiteY3413" fmla="*/ 1782245 h 4588585"/>
              <a:gd name="connsiteX3414" fmla="*/ 1084447 w 5047599"/>
              <a:gd name="connsiteY3414" fmla="*/ 1785790 h 4588585"/>
              <a:gd name="connsiteX3415" fmla="*/ 1085798 w 5047599"/>
              <a:gd name="connsiteY3415" fmla="*/ 1785872 h 4588585"/>
              <a:gd name="connsiteX3416" fmla="*/ 1085802 w 5047599"/>
              <a:gd name="connsiteY3416" fmla="*/ 1785871 h 4588585"/>
              <a:gd name="connsiteX3417" fmla="*/ 1084510 w 5047599"/>
              <a:gd name="connsiteY3417" fmla="*/ 1785790 h 4588585"/>
              <a:gd name="connsiteX3418" fmla="*/ 1080668 w 5047599"/>
              <a:gd name="connsiteY3418" fmla="*/ 1782247 h 4588585"/>
              <a:gd name="connsiteX3419" fmla="*/ 1337756 w 5047599"/>
              <a:gd name="connsiteY3419" fmla="*/ 1780180 h 4588585"/>
              <a:gd name="connsiteX3420" fmla="*/ 1336450 w 5047599"/>
              <a:gd name="connsiteY3420" fmla="*/ 1782912 h 4588585"/>
              <a:gd name="connsiteX3421" fmla="*/ 1336451 w 5047599"/>
              <a:gd name="connsiteY3421" fmla="*/ 1782929 h 4588585"/>
              <a:gd name="connsiteX3422" fmla="*/ 1337759 w 5047599"/>
              <a:gd name="connsiteY3422" fmla="*/ 1780192 h 4588585"/>
              <a:gd name="connsiteX3423" fmla="*/ 3535116 w 5047599"/>
              <a:gd name="connsiteY3423" fmla="*/ 1779397 h 4588585"/>
              <a:gd name="connsiteX3424" fmla="*/ 3534906 w 5047599"/>
              <a:gd name="connsiteY3424" fmla="*/ 1783009 h 4588585"/>
              <a:gd name="connsiteX3425" fmla="*/ 3533723 w 5047599"/>
              <a:gd name="connsiteY3425" fmla="*/ 1786978 h 4588585"/>
              <a:gd name="connsiteX3426" fmla="*/ 3527431 w 5047599"/>
              <a:gd name="connsiteY3426" fmla="*/ 1799373 h 4588585"/>
              <a:gd name="connsiteX3427" fmla="*/ 3525869 w 5047599"/>
              <a:gd name="connsiteY3427" fmla="*/ 1803300 h 4588585"/>
              <a:gd name="connsiteX3428" fmla="*/ 3523588 w 5047599"/>
              <a:gd name="connsiteY3428" fmla="*/ 1810728 h 4588585"/>
              <a:gd name="connsiteX3429" fmla="*/ 3521160 w 5047599"/>
              <a:gd name="connsiteY3429" fmla="*/ 1823695 h 4588585"/>
              <a:gd name="connsiteX3430" fmla="*/ 3521075 w 5047599"/>
              <a:gd name="connsiteY3430" fmla="*/ 1826815 h 4588585"/>
              <a:gd name="connsiteX3431" fmla="*/ 3521012 w 5047599"/>
              <a:gd name="connsiteY3431" fmla="*/ 1826815 h 4588585"/>
              <a:gd name="connsiteX3432" fmla="*/ 3509990 w 5047599"/>
              <a:gd name="connsiteY3432" fmla="*/ 1826773 h 4588585"/>
              <a:gd name="connsiteX3433" fmla="*/ 3509800 w 5047599"/>
              <a:gd name="connsiteY3433" fmla="*/ 1826710 h 4588585"/>
              <a:gd name="connsiteX3434" fmla="*/ 3509631 w 5047599"/>
              <a:gd name="connsiteY3434" fmla="*/ 1826520 h 4588585"/>
              <a:gd name="connsiteX3435" fmla="*/ 3509462 w 5047599"/>
              <a:gd name="connsiteY3435" fmla="*/ 1826243 h 4588585"/>
              <a:gd name="connsiteX3436" fmla="*/ 3509272 w 5047599"/>
              <a:gd name="connsiteY3436" fmla="*/ 1825839 h 4588585"/>
              <a:gd name="connsiteX3437" fmla="*/ 3508850 w 5047599"/>
              <a:gd name="connsiteY3437" fmla="*/ 1824142 h 4588585"/>
              <a:gd name="connsiteX3438" fmla="*/ 3508617 w 5047599"/>
              <a:gd name="connsiteY3438" fmla="*/ 1821489 h 4588585"/>
              <a:gd name="connsiteX3439" fmla="*/ 3508617 w 5047599"/>
              <a:gd name="connsiteY3439" fmla="*/ 1821490 h 4588585"/>
              <a:gd name="connsiteX3440" fmla="*/ 3508850 w 5047599"/>
              <a:gd name="connsiteY3440" fmla="*/ 1824144 h 4588585"/>
              <a:gd name="connsiteX3441" fmla="*/ 3509271 w 5047599"/>
              <a:gd name="connsiteY3441" fmla="*/ 1825842 h 4588585"/>
              <a:gd name="connsiteX3442" fmla="*/ 3509461 w 5047599"/>
              <a:gd name="connsiteY3442" fmla="*/ 1826245 h 4588585"/>
              <a:gd name="connsiteX3443" fmla="*/ 3509630 w 5047599"/>
              <a:gd name="connsiteY3443" fmla="*/ 1826522 h 4588585"/>
              <a:gd name="connsiteX3444" fmla="*/ 3509799 w 5047599"/>
              <a:gd name="connsiteY3444" fmla="*/ 1826712 h 4588585"/>
              <a:gd name="connsiteX3445" fmla="*/ 3509989 w 5047599"/>
              <a:gd name="connsiteY3445" fmla="*/ 1826775 h 4588585"/>
              <a:gd name="connsiteX3446" fmla="*/ 3521011 w 5047599"/>
              <a:gd name="connsiteY3446" fmla="*/ 1826818 h 4588585"/>
              <a:gd name="connsiteX3447" fmla="*/ 3521075 w 5047599"/>
              <a:gd name="connsiteY3447" fmla="*/ 1826818 h 4588585"/>
              <a:gd name="connsiteX3448" fmla="*/ 3521011 w 5047599"/>
              <a:gd name="connsiteY3448" fmla="*/ 1829259 h 4588585"/>
              <a:gd name="connsiteX3449" fmla="*/ 3521158 w 5047599"/>
              <a:gd name="connsiteY3449" fmla="*/ 1833290 h 4588585"/>
              <a:gd name="connsiteX3450" fmla="*/ 3521012 w 5047599"/>
              <a:gd name="connsiteY3450" fmla="*/ 1829274 h 4588585"/>
              <a:gd name="connsiteX3451" fmla="*/ 3521075 w 5047599"/>
              <a:gd name="connsiteY3451" fmla="*/ 1826834 h 4588585"/>
              <a:gd name="connsiteX3452" fmla="*/ 3521160 w 5047599"/>
              <a:gd name="connsiteY3452" fmla="*/ 1823715 h 4588585"/>
              <a:gd name="connsiteX3453" fmla="*/ 3523588 w 5047599"/>
              <a:gd name="connsiteY3453" fmla="*/ 1810746 h 4588585"/>
              <a:gd name="connsiteX3454" fmla="*/ 3525869 w 5047599"/>
              <a:gd name="connsiteY3454" fmla="*/ 1803318 h 4588585"/>
              <a:gd name="connsiteX3455" fmla="*/ 3527431 w 5047599"/>
              <a:gd name="connsiteY3455" fmla="*/ 1799391 h 4588585"/>
              <a:gd name="connsiteX3456" fmla="*/ 3533723 w 5047599"/>
              <a:gd name="connsiteY3456" fmla="*/ 1786997 h 4588585"/>
              <a:gd name="connsiteX3457" fmla="*/ 3534905 w 5047599"/>
              <a:gd name="connsiteY3457" fmla="*/ 1783027 h 4588585"/>
              <a:gd name="connsiteX3458" fmla="*/ 3535116 w 5047599"/>
              <a:gd name="connsiteY3458" fmla="*/ 1779398 h 4588585"/>
              <a:gd name="connsiteX3459" fmla="*/ 1524188 w 5047599"/>
              <a:gd name="connsiteY3459" fmla="*/ 1777666 h 4588585"/>
              <a:gd name="connsiteX3460" fmla="*/ 1524117 w 5047599"/>
              <a:gd name="connsiteY3460" fmla="*/ 1778341 h 4588585"/>
              <a:gd name="connsiteX3461" fmla="*/ 1523167 w 5047599"/>
              <a:gd name="connsiteY3461" fmla="*/ 1780272 h 4588585"/>
              <a:gd name="connsiteX3462" fmla="*/ 1523167 w 5047599"/>
              <a:gd name="connsiteY3462" fmla="*/ 1780275 h 4588585"/>
              <a:gd name="connsiteX3463" fmla="*/ 1524117 w 5047599"/>
              <a:gd name="connsiteY3463" fmla="*/ 1778344 h 4588585"/>
              <a:gd name="connsiteX3464" fmla="*/ 1195207 w 5047599"/>
              <a:gd name="connsiteY3464" fmla="*/ 1777025 h 4588585"/>
              <a:gd name="connsiteX3465" fmla="*/ 1199480 w 5047599"/>
              <a:gd name="connsiteY3465" fmla="*/ 1779977 h 4588585"/>
              <a:gd name="connsiteX3466" fmla="*/ 1202477 w 5047599"/>
              <a:gd name="connsiteY3466" fmla="*/ 1786789 h 4588585"/>
              <a:gd name="connsiteX3467" fmla="*/ 1205751 w 5047599"/>
              <a:gd name="connsiteY3467" fmla="*/ 1791691 h 4588585"/>
              <a:gd name="connsiteX3468" fmla="*/ 1207165 w 5047599"/>
              <a:gd name="connsiteY3468" fmla="*/ 1798695 h 4588585"/>
              <a:gd name="connsiteX3469" fmla="*/ 1212338 w 5047599"/>
              <a:gd name="connsiteY3469" fmla="*/ 1802367 h 4588585"/>
              <a:gd name="connsiteX3470" fmla="*/ 1216392 w 5047599"/>
              <a:gd name="connsiteY3470" fmla="*/ 1804044 h 4588585"/>
              <a:gd name="connsiteX3471" fmla="*/ 1221882 w 5047599"/>
              <a:gd name="connsiteY3471" fmla="*/ 1809117 h 4588585"/>
              <a:gd name="connsiteX3472" fmla="*/ 1227562 w 5047599"/>
              <a:gd name="connsiteY3472" fmla="*/ 1811706 h 4588585"/>
              <a:gd name="connsiteX3473" fmla="*/ 1233431 w 5047599"/>
              <a:gd name="connsiteY3473" fmla="*/ 1811111 h 4588585"/>
              <a:gd name="connsiteX3474" fmla="*/ 1236176 w 5047599"/>
              <a:gd name="connsiteY3474" fmla="*/ 1813762 h 4588585"/>
              <a:gd name="connsiteX3475" fmla="*/ 1240568 w 5047599"/>
              <a:gd name="connsiteY3475" fmla="*/ 1815631 h 4588585"/>
              <a:gd name="connsiteX3476" fmla="*/ 1244960 w 5047599"/>
              <a:gd name="connsiteY3476" fmla="*/ 1815760 h 4588585"/>
              <a:gd name="connsiteX3477" fmla="*/ 1248825 w 5047599"/>
              <a:gd name="connsiteY3477" fmla="*/ 1809901 h 4588585"/>
              <a:gd name="connsiteX3478" fmla="*/ 1253934 w 5047599"/>
              <a:gd name="connsiteY3478" fmla="*/ 1807589 h 4588585"/>
              <a:gd name="connsiteX3479" fmla="*/ 1266835 w 5047599"/>
              <a:gd name="connsiteY3479" fmla="*/ 1802918 h 4588585"/>
              <a:gd name="connsiteX3480" fmla="*/ 1271923 w 5047599"/>
              <a:gd name="connsiteY3480" fmla="*/ 1800796 h 4588585"/>
              <a:gd name="connsiteX3481" fmla="*/ 1277076 w 5047599"/>
              <a:gd name="connsiteY3481" fmla="*/ 1799459 h 4588585"/>
              <a:gd name="connsiteX3482" fmla="*/ 1289491 w 5047599"/>
              <a:gd name="connsiteY3482" fmla="*/ 1799035 h 4588585"/>
              <a:gd name="connsiteX3483" fmla="*/ 1301040 w 5047599"/>
              <a:gd name="connsiteY3483" fmla="*/ 1800478 h 4588585"/>
              <a:gd name="connsiteX3484" fmla="*/ 1306763 w 5047599"/>
              <a:gd name="connsiteY3484" fmla="*/ 1801559 h 4588585"/>
              <a:gd name="connsiteX3485" fmla="*/ 1309570 w 5047599"/>
              <a:gd name="connsiteY3485" fmla="*/ 1800982 h 4588585"/>
              <a:gd name="connsiteX3486" fmla="*/ 1306742 w 5047599"/>
              <a:gd name="connsiteY3486" fmla="*/ 1801546 h 4588585"/>
              <a:gd name="connsiteX3487" fmla="*/ 1301020 w 5047599"/>
              <a:gd name="connsiteY3487" fmla="*/ 1800465 h 4588585"/>
              <a:gd name="connsiteX3488" fmla="*/ 1289470 w 5047599"/>
              <a:gd name="connsiteY3488" fmla="*/ 1799022 h 4588585"/>
              <a:gd name="connsiteX3489" fmla="*/ 1277054 w 5047599"/>
              <a:gd name="connsiteY3489" fmla="*/ 1799447 h 4588585"/>
              <a:gd name="connsiteX3490" fmla="*/ 1271903 w 5047599"/>
              <a:gd name="connsiteY3490" fmla="*/ 1800784 h 4588585"/>
              <a:gd name="connsiteX3491" fmla="*/ 1266814 w 5047599"/>
              <a:gd name="connsiteY3491" fmla="*/ 1802905 h 4588585"/>
              <a:gd name="connsiteX3492" fmla="*/ 1253913 w 5047599"/>
              <a:gd name="connsiteY3492" fmla="*/ 1807595 h 4588585"/>
              <a:gd name="connsiteX3493" fmla="*/ 1248825 w 5047599"/>
              <a:gd name="connsiteY3493" fmla="*/ 1809889 h 4588585"/>
              <a:gd name="connsiteX3494" fmla="*/ 1244961 w 5047599"/>
              <a:gd name="connsiteY3494" fmla="*/ 1815745 h 4588585"/>
              <a:gd name="connsiteX3495" fmla="*/ 1240569 w 5047599"/>
              <a:gd name="connsiteY3495" fmla="*/ 1815619 h 4588585"/>
              <a:gd name="connsiteX3496" fmla="*/ 1236198 w 5047599"/>
              <a:gd name="connsiteY3496" fmla="*/ 1813750 h 4588585"/>
              <a:gd name="connsiteX3497" fmla="*/ 1233453 w 5047599"/>
              <a:gd name="connsiteY3497" fmla="*/ 1811098 h 4588585"/>
              <a:gd name="connsiteX3498" fmla="*/ 1227562 w 5047599"/>
              <a:gd name="connsiteY3498" fmla="*/ 1811672 h 4588585"/>
              <a:gd name="connsiteX3499" fmla="*/ 1221882 w 5047599"/>
              <a:gd name="connsiteY3499" fmla="*/ 1809105 h 4588585"/>
              <a:gd name="connsiteX3500" fmla="*/ 1216392 w 5047599"/>
              <a:gd name="connsiteY3500" fmla="*/ 1804031 h 4588585"/>
              <a:gd name="connsiteX3501" fmla="*/ 1212338 w 5047599"/>
              <a:gd name="connsiteY3501" fmla="*/ 1802354 h 4588585"/>
              <a:gd name="connsiteX3502" fmla="*/ 1207165 w 5047599"/>
              <a:gd name="connsiteY3502" fmla="*/ 1798682 h 4588585"/>
              <a:gd name="connsiteX3503" fmla="*/ 1205751 w 5047599"/>
              <a:gd name="connsiteY3503" fmla="*/ 1791679 h 4588585"/>
              <a:gd name="connsiteX3504" fmla="*/ 1202478 w 5047599"/>
              <a:gd name="connsiteY3504" fmla="*/ 1786776 h 4588585"/>
              <a:gd name="connsiteX3505" fmla="*/ 1199480 w 5047599"/>
              <a:gd name="connsiteY3505" fmla="*/ 1779941 h 4588585"/>
              <a:gd name="connsiteX3506" fmla="*/ 1063998 w 5047599"/>
              <a:gd name="connsiteY3506" fmla="*/ 1774051 h 4588585"/>
              <a:gd name="connsiteX3507" fmla="*/ 1065296 w 5047599"/>
              <a:gd name="connsiteY3507" fmla="*/ 1778871 h 4588585"/>
              <a:gd name="connsiteX3508" fmla="*/ 1065356 w 5047599"/>
              <a:gd name="connsiteY3508" fmla="*/ 1778882 h 4588585"/>
              <a:gd name="connsiteX3509" fmla="*/ 1064071 w 5047599"/>
              <a:gd name="connsiteY3509" fmla="*/ 1774054 h 4588585"/>
              <a:gd name="connsiteX3510" fmla="*/ 1094402 w 5047599"/>
              <a:gd name="connsiteY3510" fmla="*/ 1773428 h 4588585"/>
              <a:gd name="connsiteX3511" fmla="*/ 1092576 w 5047599"/>
              <a:gd name="connsiteY3511" fmla="*/ 1773736 h 4588585"/>
              <a:gd name="connsiteX3512" fmla="*/ 1089810 w 5047599"/>
              <a:gd name="connsiteY3512" fmla="*/ 1773905 h 4588585"/>
              <a:gd name="connsiteX3513" fmla="*/ 1089798 w 5047599"/>
              <a:gd name="connsiteY3513" fmla="*/ 1773923 h 4588585"/>
              <a:gd name="connsiteX3514" fmla="*/ 1092512 w 5047599"/>
              <a:gd name="connsiteY3514" fmla="*/ 1773757 h 4588585"/>
              <a:gd name="connsiteX3515" fmla="*/ 1101507 w 5047599"/>
              <a:gd name="connsiteY3515" fmla="*/ 1773013 h 4588585"/>
              <a:gd name="connsiteX3516" fmla="*/ 1097155 w 5047599"/>
              <a:gd name="connsiteY3516" fmla="*/ 1773032 h 4588585"/>
              <a:gd name="connsiteX3517" fmla="*/ 1101444 w 5047599"/>
              <a:gd name="connsiteY3517" fmla="*/ 1773032 h 4588585"/>
              <a:gd name="connsiteX3518" fmla="*/ 1104992 w 5047599"/>
              <a:gd name="connsiteY3518" fmla="*/ 1773502 h 4588585"/>
              <a:gd name="connsiteX3519" fmla="*/ 1105007 w 5047599"/>
              <a:gd name="connsiteY3519" fmla="*/ 1773473 h 4588585"/>
              <a:gd name="connsiteX3520" fmla="*/ 1546922 w 5047599"/>
              <a:gd name="connsiteY3520" fmla="*/ 1771243 h 4588585"/>
              <a:gd name="connsiteX3521" fmla="*/ 1546921 w 5047599"/>
              <a:gd name="connsiteY3521" fmla="*/ 1771252 h 4588585"/>
              <a:gd name="connsiteX3522" fmla="*/ 1547913 w 5047599"/>
              <a:gd name="connsiteY3522" fmla="*/ 1772865 h 4588585"/>
              <a:gd name="connsiteX3523" fmla="*/ 1548631 w 5047599"/>
              <a:gd name="connsiteY3523" fmla="*/ 1773356 h 4588585"/>
              <a:gd name="connsiteX3524" fmla="*/ 1558470 w 5047599"/>
              <a:gd name="connsiteY3524" fmla="*/ 1779935 h 4588585"/>
              <a:gd name="connsiteX3525" fmla="*/ 1571371 w 5047599"/>
              <a:gd name="connsiteY3525" fmla="*/ 1788574 h 4588585"/>
              <a:gd name="connsiteX3526" fmla="*/ 1580493 w 5047599"/>
              <a:gd name="connsiteY3526" fmla="*/ 1794666 h 4588585"/>
              <a:gd name="connsiteX3527" fmla="*/ 1581252 w 5047599"/>
              <a:gd name="connsiteY3527" fmla="*/ 1796723 h 4588585"/>
              <a:gd name="connsiteX3528" fmla="*/ 1581400 w 5047599"/>
              <a:gd name="connsiteY3528" fmla="*/ 1809501 h 4588585"/>
              <a:gd name="connsiteX3529" fmla="*/ 1581506 w 5047599"/>
              <a:gd name="connsiteY3529" fmla="*/ 1820474 h 4588585"/>
              <a:gd name="connsiteX3530" fmla="*/ 1583385 w 5047599"/>
              <a:gd name="connsiteY3530" fmla="*/ 1826735 h 4588585"/>
              <a:gd name="connsiteX3531" fmla="*/ 1583786 w 5047599"/>
              <a:gd name="connsiteY3531" fmla="*/ 1832827 h 4588585"/>
              <a:gd name="connsiteX3532" fmla="*/ 1586088 w 5047599"/>
              <a:gd name="connsiteY3532" fmla="*/ 1837410 h 4588585"/>
              <a:gd name="connsiteX3533" fmla="*/ 1594491 w 5047599"/>
              <a:gd name="connsiteY3533" fmla="*/ 1846262 h 4588585"/>
              <a:gd name="connsiteX3534" fmla="*/ 1596497 w 5047599"/>
              <a:gd name="connsiteY3534" fmla="*/ 1851481 h 4588585"/>
              <a:gd name="connsiteX3535" fmla="*/ 1596729 w 5047599"/>
              <a:gd name="connsiteY3535" fmla="*/ 1868206 h 4588585"/>
              <a:gd name="connsiteX3536" fmla="*/ 1596877 w 5047599"/>
              <a:gd name="connsiteY3536" fmla="*/ 1880879 h 4588585"/>
              <a:gd name="connsiteX3537" fmla="*/ 1597954 w 5047599"/>
              <a:gd name="connsiteY3537" fmla="*/ 1898134 h 4588585"/>
              <a:gd name="connsiteX3538" fmla="*/ 1597954 w 5047599"/>
              <a:gd name="connsiteY3538" fmla="*/ 1898124 h 4588585"/>
              <a:gd name="connsiteX3539" fmla="*/ 1596878 w 5047599"/>
              <a:gd name="connsiteY3539" fmla="*/ 1880869 h 4588585"/>
              <a:gd name="connsiteX3540" fmla="*/ 1596730 w 5047599"/>
              <a:gd name="connsiteY3540" fmla="*/ 1868198 h 4588585"/>
              <a:gd name="connsiteX3541" fmla="*/ 1596498 w 5047599"/>
              <a:gd name="connsiteY3541" fmla="*/ 1851473 h 4588585"/>
              <a:gd name="connsiteX3542" fmla="*/ 1594492 w 5047599"/>
              <a:gd name="connsiteY3542" fmla="*/ 1846252 h 4588585"/>
              <a:gd name="connsiteX3543" fmla="*/ 1586088 w 5047599"/>
              <a:gd name="connsiteY3543" fmla="*/ 1837400 h 4588585"/>
              <a:gd name="connsiteX3544" fmla="*/ 1583787 w 5047599"/>
              <a:gd name="connsiteY3544" fmla="*/ 1832817 h 4588585"/>
              <a:gd name="connsiteX3545" fmla="*/ 1583386 w 5047599"/>
              <a:gd name="connsiteY3545" fmla="*/ 1826725 h 4588585"/>
              <a:gd name="connsiteX3546" fmla="*/ 1581507 w 5047599"/>
              <a:gd name="connsiteY3546" fmla="*/ 1820464 h 4588585"/>
              <a:gd name="connsiteX3547" fmla="*/ 1581401 w 5047599"/>
              <a:gd name="connsiteY3547" fmla="*/ 1809491 h 4588585"/>
              <a:gd name="connsiteX3548" fmla="*/ 1581253 w 5047599"/>
              <a:gd name="connsiteY3548" fmla="*/ 1796715 h 4588585"/>
              <a:gd name="connsiteX3549" fmla="*/ 1580493 w 5047599"/>
              <a:gd name="connsiteY3549" fmla="*/ 1794656 h 4588585"/>
              <a:gd name="connsiteX3550" fmla="*/ 1571371 w 5047599"/>
              <a:gd name="connsiteY3550" fmla="*/ 1788564 h 4588585"/>
              <a:gd name="connsiteX3551" fmla="*/ 1558470 w 5047599"/>
              <a:gd name="connsiteY3551" fmla="*/ 1779925 h 4588585"/>
              <a:gd name="connsiteX3552" fmla="*/ 1548631 w 5047599"/>
              <a:gd name="connsiteY3552" fmla="*/ 1773345 h 4588585"/>
              <a:gd name="connsiteX3553" fmla="*/ 1547913 w 5047599"/>
              <a:gd name="connsiteY3553" fmla="*/ 1772855 h 4588585"/>
              <a:gd name="connsiteX3554" fmla="*/ 1336553 w 5047599"/>
              <a:gd name="connsiteY3554" fmla="*/ 1770307 h 4588585"/>
              <a:gd name="connsiteX3555" fmla="*/ 1334360 w 5047599"/>
              <a:gd name="connsiteY3555" fmla="*/ 1772661 h 4588585"/>
              <a:gd name="connsiteX3556" fmla="*/ 1334361 w 5047599"/>
              <a:gd name="connsiteY3556" fmla="*/ 1772679 h 4588585"/>
              <a:gd name="connsiteX3557" fmla="*/ 1336556 w 5047599"/>
              <a:gd name="connsiteY3557" fmla="*/ 1770323 h 4588585"/>
              <a:gd name="connsiteX3558" fmla="*/ 3030435 w 5047599"/>
              <a:gd name="connsiteY3558" fmla="*/ 1769211 h 4588585"/>
              <a:gd name="connsiteX3559" fmla="*/ 3000030 w 5047599"/>
              <a:gd name="connsiteY3559" fmla="*/ 1775344 h 4588585"/>
              <a:gd name="connsiteX3560" fmla="*/ 2995680 w 5047599"/>
              <a:gd name="connsiteY3560" fmla="*/ 1774643 h 4588585"/>
              <a:gd name="connsiteX3561" fmla="*/ 2989303 w 5047599"/>
              <a:gd name="connsiteY3561" fmla="*/ 1775745 h 4588585"/>
              <a:gd name="connsiteX3562" fmla="*/ 2987107 w 5047599"/>
              <a:gd name="connsiteY3562" fmla="*/ 1776826 h 4588585"/>
              <a:gd name="connsiteX3563" fmla="*/ 2984532 w 5047599"/>
              <a:gd name="connsiteY3563" fmla="*/ 1780308 h 4588585"/>
              <a:gd name="connsiteX3564" fmla="*/ 2984004 w 5047599"/>
              <a:gd name="connsiteY3564" fmla="*/ 1783914 h 4588585"/>
              <a:gd name="connsiteX3565" fmla="*/ 2984004 w 5047599"/>
              <a:gd name="connsiteY3565" fmla="*/ 1783917 h 4588585"/>
              <a:gd name="connsiteX3566" fmla="*/ 2984531 w 5047599"/>
              <a:gd name="connsiteY3566" fmla="*/ 1780315 h 4588585"/>
              <a:gd name="connsiteX3567" fmla="*/ 2987107 w 5047599"/>
              <a:gd name="connsiteY3567" fmla="*/ 1776835 h 4588585"/>
              <a:gd name="connsiteX3568" fmla="*/ 2989303 w 5047599"/>
              <a:gd name="connsiteY3568" fmla="*/ 1775753 h 4588585"/>
              <a:gd name="connsiteX3569" fmla="*/ 2995679 w 5047599"/>
              <a:gd name="connsiteY3569" fmla="*/ 1774651 h 4588585"/>
              <a:gd name="connsiteX3570" fmla="*/ 3000029 w 5047599"/>
              <a:gd name="connsiteY3570" fmla="*/ 1775353 h 4588585"/>
              <a:gd name="connsiteX3571" fmla="*/ 3030434 w 5047599"/>
              <a:gd name="connsiteY3571" fmla="*/ 1769219 h 4588585"/>
              <a:gd name="connsiteX3572" fmla="*/ 3034003 w 5047599"/>
              <a:gd name="connsiteY3572" fmla="*/ 1770048 h 4588585"/>
              <a:gd name="connsiteX3573" fmla="*/ 3035586 w 5047599"/>
              <a:gd name="connsiteY3573" fmla="*/ 1773679 h 4588585"/>
              <a:gd name="connsiteX3574" fmla="*/ 3035438 w 5047599"/>
              <a:gd name="connsiteY3574" fmla="*/ 1779493 h 4588585"/>
              <a:gd name="connsiteX3575" fmla="*/ 3035966 w 5047599"/>
              <a:gd name="connsiteY3575" fmla="*/ 1782316 h 4588585"/>
              <a:gd name="connsiteX3576" fmla="*/ 3037592 w 5047599"/>
              <a:gd name="connsiteY3576" fmla="*/ 1784311 h 4588585"/>
              <a:gd name="connsiteX3577" fmla="*/ 3042427 w 5047599"/>
              <a:gd name="connsiteY3577" fmla="*/ 1787072 h 4588585"/>
              <a:gd name="connsiteX3578" fmla="*/ 3045763 w 5047599"/>
              <a:gd name="connsiteY3578" fmla="*/ 1791698 h 4588585"/>
              <a:gd name="connsiteX3579" fmla="*/ 3047558 w 5047599"/>
              <a:gd name="connsiteY3579" fmla="*/ 1793395 h 4588585"/>
              <a:gd name="connsiteX3580" fmla="*/ 3052436 w 5047599"/>
              <a:gd name="connsiteY3580" fmla="*/ 1796558 h 4588585"/>
              <a:gd name="connsiteX3581" fmla="*/ 3075050 w 5047599"/>
              <a:gd name="connsiteY3581" fmla="*/ 1822960 h 4588585"/>
              <a:gd name="connsiteX3582" fmla="*/ 3081426 w 5047599"/>
              <a:gd name="connsiteY3582" fmla="*/ 1825467 h 4588585"/>
              <a:gd name="connsiteX3583" fmla="*/ 3087612 w 5047599"/>
              <a:gd name="connsiteY3583" fmla="*/ 1824552 h 4588585"/>
              <a:gd name="connsiteX3584" fmla="*/ 3099902 w 5047599"/>
              <a:gd name="connsiteY3584" fmla="*/ 1819075 h 4588585"/>
              <a:gd name="connsiteX3585" fmla="*/ 3106046 w 5047599"/>
              <a:gd name="connsiteY3585" fmla="*/ 1817696 h 4588585"/>
              <a:gd name="connsiteX3586" fmla="*/ 3149035 w 5047599"/>
              <a:gd name="connsiteY3586" fmla="*/ 1819245 h 4588585"/>
              <a:gd name="connsiteX3587" fmla="*/ 3153849 w 5047599"/>
              <a:gd name="connsiteY3587" fmla="*/ 1818418 h 4588585"/>
              <a:gd name="connsiteX3588" fmla="*/ 3154145 w 5047599"/>
              <a:gd name="connsiteY3588" fmla="*/ 1818545 h 4588585"/>
              <a:gd name="connsiteX3589" fmla="*/ 3160691 w 5047599"/>
              <a:gd name="connsiteY3589" fmla="*/ 1831790 h 4588585"/>
              <a:gd name="connsiteX3590" fmla="*/ 3163794 w 5047599"/>
              <a:gd name="connsiteY3590" fmla="*/ 1834803 h 4588585"/>
              <a:gd name="connsiteX3591" fmla="*/ 3210943 w 5047599"/>
              <a:gd name="connsiteY3591" fmla="*/ 1834951 h 4588585"/>
              <a:gd name="connsiteX3592" fmla="*/ 3210939 w 5047599"/>
              <a:gd name="connsiteY3592" fmla="*/ 1834938 h 4588585"/>
              <a:gd name="connsiteX3593" fmla="*/ 3163795 w 5047599"/>
              <a:gd name="connsiteY3593" fmla="*/ 1834790 h 4588585"/>
              <a:gd name="connsiteX3594" fmla="*/ 3160691 w 5047599"/>
              <a:gd name="connsiteY3594" fmla="*/ 1831777 h 4588585"/>
              <a:gd name="connsiteX3595" fmla="*/ 3154145 w 5047599"/>
              <a:gd name="connsiteY3595" fmla="*/ 1818532 h 4588585"/>
              <a:gd name="connsiteX3596" fmla="*/ 3153849 w 5047599"/>
              <a:gd name="connsiteY3596" fmla="*/ 1818405 h 4588585"/>
              <a:gd name="connsiteX3597" fmla="*/ 3149035 w 5047599"/>
              <a:gd name="connsiteY3597" fmla="*/ 1819235 h 4588585"/>
              <a:gd name="connsiteX3598" fmla="*/ 3106047 w 5047599"/>
              <a:gd name="connsiteY3598" fmla="*/ 1817685 h 4588585"/>
              <a:gd name="connsiteX3599" fmla="*/ 3099902 w 5047599"/>
              <a:gd name="connsiteY3599" fmla="*/ 1819064 h 4588585"/>
              <a:gd name="connsiteX3600" fmla="*/ 3087613 w 5047599"/>
              <a:gd name="connsiteY3600" fmla="*/ 1824541 h 4588585"/>
              <a:gd name="connsiteX3601" fmla="*/ 3081427 w 5047599"/>
              <a:gd name="connsiteY3601" fmla="*/ 1825456 h 4588585"/>
              <a:gd name="connsiteX3602" fmla="*/ 3075050 w 5047599"/>
              <a:gd name="connsiteY3602" fmla="*/ 1822951 h 4588585"/>
              <a:gd name="connsiteX3603" fmla="*/ 3052436 w 5047599"/>
              <a:gd name="connsiteY3603" fmla="*/ 1796548 h 4588585"/>
              <a:gd name="connsiteX3604" fmla="*/ 3047559 w 5047599"/>
              <a:gd name="connsiteY3604" fmla="*/ 1793385 h 4588585"/>
              <a:gd name="connsiteX3605" fmla="*/ 3045764 w 5047599"/>
              <a:gd name="connsiteY3605" fmla="*/ 1791687 h 4588585"/>
              <a:gd name="connsiteX3606" fmla="*/ 3042428 w 5047599"/>
              <a:gd name="connsiteY3606" fmla="*/ 1787061 h 4588585"/>
              <a:gd name="connsiteX3607" fmla="*/ 3037593 w 5047599"/>
              <a:gd name="connsiteY3607" fmla="*/ 1784301 h 4588585"/>
              <a:gd name="connsiteX3608" fmla="*/ 3035967 w 5047599"/>
              <a:gd name="connsiteY3608" fmla="*/ 1782305 h 4588585"/>
              <a:gd name="connsiteX3609" fmla="*/ 3035439 w 5047599"/>
              <a:gd name="connsiteY3609" fmla="*/ 1779483 h 4588585"/>
              <a:gd name="connsiteX3610" fmla="*/ 3035587 w 5047599"/>
              <a:gd name="connsiteY3610" fmla="*/ 1773668 h 4588585"/>
              <a:gd name="connsiteX3611" fmla="*/ 3034003 w 5047599"/>
              <a:gd name="connsiteY3611" fmla="*/ 1770038 h 4588585"/>
              <a:gd name="connsiteX3612" fmla="*/ 1174377 w 5047599"/>
              <a:gd name="connsiteY3612" fmla="*/ 1768865 h 4588585"/>
              <a:gd name="connsiteX3613" fmla="*/ 1174374 w 5047599"/>
              <a:gd name="connsiteY3613" fmla="*/ 1768875 h 4588585"/>
              <a:gd name="connsiteX3614" fmla="*/ 1174374 w 5047599"/>
              <a:gd name="connsiteY3614" fmla="*/ 1768876 h 4588585"/>
              <a:gd name="connsiteX3615" fmla="*/ 1178069 w 5047599"/>
              <a:gd name="connsiteY3615" fmla="*/ 1772866 h 4588585"/>
              <a:gd name="connsiteX3616" fmla="*/ 1182757 w 5047599"/>
              <a:gd name="connsiteY3616" fmla="*/ 1775605 h 4588585"/>
              <a:gd name="connsiteX3617" fmla="*/ 1189872 w 5047599"/>
              <a:gd name="connsiteY3617" fmla="*/ 1775264 h 4588585"/>
              <a:gd name="connsiteX3618" fmla="*/ 1195020 w 5047599"/>
              <a:gd name="connsiteY3618" fmla="*/ 1776898 h 4588585"/>
              <a:gd name="connsiteX3619" fmla="*/ 1195003 w 5047599"/>
              <a:gd name="connsiteY3619" fmla="*/ 1776886 h 4588585"/>
              <a:gd name="connsiteX3620" fmla="*/ 1189851 w 5047599"/>
              <a:gd name="connsiteY3620" fmla="*/ 1775252 h 4588585"/>
              <a:gd name="connsiteX3621" fmla="*/ 1182735 w 5047599"/>
              <a:gd name="connsiteY3621" fmla="*/ 1775592 h 4588585"/>
              <a:gd name="connsiteX3622" fmla="*/ 1178069 w 5047599"/>
              <a:gd name="connsiteY3622" fmla="*/ 1772853 h 4588585"/>
              <a:gd name="connsiteX3623" fmla="*/ 1057378 w 5047599"/>
              <a:gd name="connsiteY3623" fmla="*/ 1768047 h 4588585"/>
              <a:gd name="connsiteX3624" fmla="*/ 1057349 w 5047599"/>
              <a:gd name="connsiteY3624" fmla="*/ 1768050 h 4588585"/>
              <a:gd name="connsiteX3625" fmla="*/ 1059764 w 5047599"/>
              <a:gd name="connsiteY3625" fmla="*/ 1771377 h 4588585"/>
              <a:gd name="connsiteX3626" fmla="*/ 1062235 w 5047599"/>
              <a:gd name="connsiteY3626" fmla="*/ 1773947 h 4588585"/>
              <a:gd name="connsiteX3627" fmla="*/ 1062277 w 5047599"/>
              <a:gd name="connsiteY3627" fmla="*/ 1773949 h 4588585"/>
              <a:gd name="connsiteX3628" fmla="*/ 1059828 w 5047599"/>
              <a:gd name="connsiteY3628" fmla="*/ 1771423 h 4588585"/>
              <a:gd name="connsiteX3629" fmla="*/ 1172411 w 5047599"/>
              <a:gd name="connsiteY3629" fmla="*/ 1768024 h 4588585"/>
              <a:gd name="connsiteX3630" fmla="*/ 1164260 w 5047599"/>
              <a:gd name="connsiteY3630" fmla="*/ 1768427 h 4588585"/>
              <a:gd name="connsiteX3631" fmla="*/ 1155392 w 5047599"/>
              <a:gd name="connsiteY3631" fmla="*/ 1771059 h 4588585"/>
              <a:gd name="connsiteX3632" fmla="*/ 1155385 w 5047599"/>
              <a:gd name="connsiteY3632" fmla="*/ 1771063 h 4588585"/>
              <a:gd name="connsiteX3633" fmla="*/ 1164196 w 5047599"/>
              <a:gd name="connsiteY3633" fmla="*/ 1768448 h 4588585"/>
              <a:gd name="connsiteX3634" fmla="*/ 1172347 w 5047599"/>
              <a:gd name="connsiteY3634" fmla="*/ 1768045 h 4588585"/>
              <a:gd name="connsiteX3635" fmla="*/ 1174300 w 5047599"/>
              <a:gd name="connsiteY3635" fmla="*/ 1768842 h 4588585"/>
              <a:gd name="connsiteX3636" fmla="*/ 2787975 w 5047599"/>
              <a:gd name="connsiteY3636" fmla="*/ 1759926 h 4588585"/>
              <a:gd name="connsiteX3637" fmla="*/ 2787974 w 5047599"/>
              <a:gd name="connsiteY3637" fmla="*/ 1759927 h 4588585"/>
              <a:gd name="connsiteX3638" fmla="*/ 2787974 w 5047599"/>
              <a:gd name="connsiteY3638" fmla="*/ 1762157 h 4588585"/>
              <a:gd name="connsiteX3639" fmla="*/ 2789136 w 5047599"/>
              <a:gd name="connsiteY3639" fmla="*/ 1766740 h 4588585"/>
              <a:gd name="connsiteX3640" fmla="*/ 2789116 w 5047599"/>
              <a:gd name="connsiteY3640" fmla="*/ 1772180 h 4588585"/>
              <a:gd name="connsiteX3641" fmla="*/ 2789137 w 5047599"/>
              <a:gd name="connsiteY3641" fmla="*/ 1766729 h 4588585"/>
              <a:gd name="connsiteX3642" fmla="*/ 2787975 w 5047599"/>
              <a:gd name="connsiteY3642" fmla="*/ 1762144 h 4588585"/>
              <a:gd name="connsiteX3643" fmla="*/ 4029410 w 5047599"/>
              <a:gd name="connsiteY3643" fmla="*/ 1758395 h 4588585"/>
              <a:gd name="connsiteX3644" fmla="*/ 4029410 w 5047599"/>
              <a:gd name="connsiteY3644" fmla="*/ 1758397 h 4588585"/>
              <a:gd name="connsiteX3645" fmla="*/ 4030170 w 5047599"/>
              <a:gd name="connsiteY3645" fmla="*/ 1760371 h 4588585"/>
              <a:gd name="connsiteX3646" fmla="*/ 4033485 w 5047599"/>
              <a:gd name="connsiteY3646" fmla="*/ 1764914 h 4588585"/>
              <a:gd name="connsiteX3647" fmla="*/ 4036948 w 5047599"/>
              <a:gd name="connsiteY3647" fmla="*/ 1772278 h 4588585"/>
              <a:gd name="connsiteX3648" fmla="*/ 4038890 w 5047599"/>
              <a:gd name="connsiteY3648" fmla="*/ 1779027 h 4588585"/>
              <a:gd name="connsiteX3649" fmla="*/ 4040389 w 5047599"/>
              <a:gd name="connsiteY3649" fmla="*/ 1782294 h 4588585"/>
              <a:gd name="connsiteX3650" fmla="*/ 4044592 w 5047599"/>
              <a:gd name="connsiteY3650" fmla="*/ 1786030 h 4588585"/>
              <a:gd name="connsiteX3651" fmla="*/ 4050651 w 5047599"/>
              <a:gd name="connsiteY3651" fmla="*/ 1793735 h 4588585"/>
              <a:gd name="connsiteX3652" fmla="*/ 4053860 w 5047599"/>
              <a:gd name="connsiteY3652" fmla="*/ 1798935 h 4588585"/>
              <a:gd name="connsiteX3653" fmla="*/ 4060554 w 5047599"/>
              <a:gd name="connsiteY3653" fmla="*/ 1801716 h 4588585"/>
              <a:gd name="connsiteX3654" fmla="*/ 4062728 w 5047599"/>
              <a:gd name="connsiteY3654" fmla="*/ 1808295 h 4588585"/>
              <a:gd name="connsiteX3655" fmla="*/ 4067733 w 5047599"/>
              <a:gd name="connsiteY3655" fmla="*/ 1817974 h 4588585"/>
              <a:gd name="connsiteX3656" fmla="*/ 4073138 w 5047599"/>
              <a:gd name="connsiteY3656" fmla="*/ 1825698 h 4588585"/>
              <a:gd name="connsiteX3657" fmla="*/ 4078375 w 5047599"/>
              <a:gd name="connsiteY3657" fmla="*/ 1831748 h 4588585"/>
              <a:gd name="connsiteX3658" fmla="*/ 4084202 w 5047599"/>
              <a:gd name="connsiteY3658" fmla="*/ 1834082 h 4588585"/>
              <a:gd name="connsiteX3659" fmla="*/ 4086546 w 5047599"/>
              <a:gd name="connsiteY3659" fmla="*/ 1834272 h 4588585"/>
              <a:gd name="connsiteX3660" fmla="*/ 4098771 w 5047599"/>
              <a:gd name="connsiteY3660" fmla="*/ 1845457 h 4588585"/>
              <a:gd name="connsiteX3661" fmla="*/ 4108083 w 5047599"/>
              <a:gd name="connsiteY3661" fmla="*/ 1853968 h 4588585"/>
              <a:gd name="connsiteX3662" fmla="*/ 4110384 w 5047599"/>
              <a:gd name="connsiteY3662" fmla="*/ 1855326 h 4588585"/>
              <a:gd name="connsiteX3663" fmla="*/ 4127171 w 5047599"/>
              <a:gd name="connsiteY3663" fmla="*/ 1860909 h 4588585"/>
              <a:gd name="connsiteX3664" fmla="*/ 4146490 w 5047599"/>
              <a:gd name="connsiteY3664" fmla="*/ 1867319 h 4588585"/>
              <a:gd name="connsiteX3665" fmla="*/ 4161988 w 5047599"/>
              <a:gd name="connsiteY3665" fmla="*/ 1872454 h 4588585"/>
              <a:gd name="connsiteX3666" fmla="*/ 4181731 w 5047599"/>
              <a:gd name="connsiteY3666" fmla="*/ 1878991 h 4588585"/>
              <a:gd name="connsiteX3667" fmla="*/ 4201199 w 5047599"/>
              <a:gd name="connsiteY3667" fmla="*/ 1885465 h 4588585"/>
              <a:gd name="connsiteX3668" fmla="*/ 4219463 w 5047599"/>
              <a:gd name="connsiteY3668" fmla="*/ 1891620 h 4588585"/>
              <a:gd name="connsiteX3669" fmla="*/ 4245096 w 5047599"/>
              <a:gd name="connsiteY3669" fmla="*/ 1900279 h 4588585"/>
              <a:gd name="connsiteX3670" fmla="*/ 4265746 w 5047599"/>
              <a:gd name="connsiteY3670" fmla="*/ 1907261 h 4588585"/>
              <a:gd name="connsiteX3671" fmla="*/ 4282046 w 5047599"/>
              <a:gd name="connsiteY3671" fmla="*/ 1912781 h 4588585"/>
              <a:gd name="connsiteX3672" fmla="*/ 4285510 w 5047599"/>
              <a:gd name="connsiteY3672" fmla="*/ 1914499 h 4588585"/>
              <a:gd name="connsiteX3673" fmla="*/ 4304914 w 5047599"/>
              <a:gd name="connsiteY3673" fmla="*/ 1914499 h 4588585"/>
              <a:gd name="connsiteX3674" fmla="*/ 4324614 w 5047599"/>
              <a:gd name="connsiteY3674" fmla="*/ 1914499 h 4588585"/>
              <a:gd name="connsiteX3675" fmla="*/ 4344772 w 5047599"/>
              <a:gd name="connsiteY3675" fmla="*/ 1914499 h 4588585"/>
              <a:gd name="connsiteX3676" fmla="*/ 4344778 w 5047599"/>
              <a:gd name="connsiteY3676" fmla="*/ 1914494 h 4588585"/>
              <a:gd name="connsiteX3677" fmla="*/ 4324614 w 5047599"/>
              <a:gd name="connsiteY3677" fmla="*/ 1914494 h 4588585"/>
              <a:gd name="connsiteX3678" fmla="*/ 4304914 w 5047599"/>
              <a:gd name="connsiteY3678" fmla="*/ 1914494 h 4588585"/>
              <a:gd name="connsiteX3679" fmla="*/ 4285509 w 5047599"/>
              <a:gd name="connsiteY3679" fmla="*/ 1914494 h 4588585"/>
              <a:gd name="connsiteX3680" fmla="*/ 4282046 w 5047599"/>
              <a:gd name="connsiteY3680" fmla="*/ 1912775 h 4588585"/>
              <a:gd name="connsiteX3681" fmla="*/ 4265746 w 5047599"/>
              <a:gd name="connsiteY3681" fmla="*/ 1907258 h 4588585"/>
              <a:gd name="connsiteX3682" fmla="*/ 4245095 w 5047599"/>
              <a:gd name="connsiteY3682" fmla="*/ 1900275 h 4588585"/>
              <a:gd name="connsiteX3683" fmla="*/ 4219463 w 5047599"/>
              <a:gd name="connsiteY3683" fmla="*/ 1891616 h 4588585"/>
              <a:gd name="connsiteX3684" fmla="*/ 4201199 w 5047599"/>
              <a:gd name="connsiteY3684" fmla="*/ 1885461 h 4588585"/>
              <a:gd name="connsiteX3685" fmla="*/ 4181730 w 5047599"/>
              <a:gd name="connsiteY3685" fmla="*/ 1878987 h 4588585"/>
              <a:gd name="connsiteX3686" fmla="*/ 4161988 w 5047599"/>
              <a:gd name="connsiteY3686" fmla="*/ 1872450 h 4588585"/>
              <a:gd name="connsiteX3687" fmla="*/ 4146490 w 5047599"/>
              <a:gd name="connsiteY3687" fmla="*/ 1867313 h 4588585"/>
              <a:gd name="connsiteX3688" fmla="*/ 4127171 w 5047599"/>
              <a:gd name="connsiteY3688" fmla="*/ 1860905 h 4588585"/>
              <a:gd name="connsiteX3689" fmla="*/ 4110384 w 5047599"/>
              <a:gd name="connsiteY3689" fmla="*/ 1855322 h 4588585"/>
              <a:gd name="connsiteX3690" fmla="*/ 4108083 w 5047599"/>
              <a:gd name="connsiteY3690" fmla="*/ 1853965 h 4588585"/>
              <a:gd name="connsiteX3691" fmla="*/ 4098771 w 5047599"/>
              <a:gd name="connsiteY3691" fmla="*/ 1845453 h 4588585"/>
              <a:gd name="connsiteX3692" fmla="*/ 4086546 w 5047599"/>
              <a:gd name="connsiteY3692" fmla="*/ 1834269 h 4588585"/>
              <a:gd name="connsiteX3693" fmla="*/ 4084202 w 5047599"/>
              <a:gd name="connsiteY3693" fmla="*/ 1834078 h 4588585"/>
              <a:gd name="connsiteX3694" fmla="*/ 4078375 w 5047599"/>
              <a:gd name="connsiteY3694" fmla="*/ 1831744 h 4588585"/>
              <a:gd name="connsiteX3695" fmla="*/ 4073138 w 5047599"/>
              <a:gd name="connsiteY3695" fmla="*/ 1825694 h 4588585"/>
              <a:gd name="connsiteX3696" fmla="*/ 4067733 w 5047599"/>
              <a:gd name="connsiteY3696" fmla="*/ 1817968 h 4588585"/>
              <a:gd name="connsiteX3697" fmla="*/ 4062728 w 5047599"/>
              <a:gd name="connsiteY3697" fmla="*/ 1808292 h 4588585"/>
              <a:gd name="connsiteX3698" fmla="*/ 4060553 w 5047599"/>
              <a:gd name="connsiteY3698" fmla="*/ 1801710 h 4588585"/>
              <a:gd name="connsiteX3699" fmla="*/ 4053860 w 5047599"/>
              <a:gd name="connsiteY3699" fmla="*/ 1798931 h 4588585"/>
              <a:gd name="connsiteX3700" fmla="*/ 4050651 w 5047599"/>
              <a:gd name="connsiteY3700" fmla="*/ 1793731 h 4588585"/>
              <a:gd name="connsiteX3701" fmla="*/ 4044592 w 5047599"/>
              <a:gd name="connsiteY3701" fmla="*/ 1786026 h 4588585"/>
              <a:gd name="connsiteX3702" fmla="*/ 4040389 w 5047599"/>
              <a:gd name="connsiteY3702" fmla="*/ 1782291 h 4588585"/>
              <a:gd name="connsiteX3703" fmla="*/ 4038890 w 5047599"/>
              <a:gd name="connsiteY3703" fmla="*/ 1779022 h 4588585"/>
              <a:gd name="connsiteX3704" fmla="*/ 4036948 w 5047599"/>
              <a:gd name="connsiteY3704" fmla="*/ 1772275 h 4588585"/>
              <a:gd name="connsiteX3705" fmla="*/ 4033484 w 5047599"/>
              <a:gd name="connsiteY3705" fmla="*/ 1764909 h 4588585"/>
              <a:gd name="connsiteX3706" fmla="*/ 4030170 w 5047599"/>
              <a:gd name="connsiteY3706" fmla="*/ 1760366 h 4588585"/>
              <a:gd name="connsiteX3707" fmla="*/ 1107378 w 5047599"/>
              <a:gd name="connsiteY3707" fmla="*/ 1754994 h 4588585"/>
              <a:gd name="connsiteX3708" fmla="*/ 1107337 w 5047599"/>
              <a:gd name="connsiteY3708" fmla="*/ 1755036 h 4588585"/>
              <a:gd name="connsiteX3709" fmla="*/ 1112614 w 5047599"/>
              <a:gd name="connsiteY3709" fmla="*/ 1759241 h 4588585"/>
              <a:gd name="connsiteX3710" fmla="*/ 1117470 w 5047599"/>
              <a:gd name="connsiteY3710" fmla="*/ 1760769 h 4588585"/>
              <a:gd name="connsiteX3711" fmla="*/ 1120955 w 5047599"/>
              <a:gd name="connsiteY3711" fmla="*/ 1760896 h 4588585"/>
              <a:gd name="connsiteX3712" fmla="*/ 1121006 w 5047599"/>
              <a:gd name="connsiteY3712" fmla="*/ 1760853 h 4588585"/>
              <a:gd name="connsiteX3713" fmla="*/ 1117533 w 5047599"/>
              <a:gd name="connsiteY3713" fmla="*/ 1760748 h 4588585"/>
              <a:gd name="connsiteX3714" fmla="*/ 1112677 w 5047599"/>
              <a:gd name="connsiteY3714" fmla="*/ 1759219 h 4588585"/>
              <a:gd name="connsiteX3715" fmla="*/ 1130667 w 5047599"/>
              <a:gd name="connsiteY3715" fmla="*/ 1750940 h 4588585"/>
              <a:gd name="connsiteX3716" fmla="*/ 1130603 w 5047599"/>
              <a:gd name="connsiteY3716" fmla="*/ 1750959 h 4588585"/>
              <a:gd name="connsiteX3717" fmla="*/ 1130603 w 5047599"/>
              <a:gd name="connsiteY3717" fmla="*/ 1750959 h 4588585"/>
              <a:gd name="connsiteX3718" fmla="*/ 1130490 w 5047599"/>
              <a:gd name="connsiteY3718" fmla="*/ 1750993 h 4588585"/>
              <a:gd name="connsiteX3719" fmla="*/ 1124459 w 5047599"/>
              <a:gd name="connsiteY3719" fmla="*/ 1752809 h 4588585"/>
              <a:gd name="connsiteX3720" fmla="*/ 1122200 w 5047599"/>
              <a:gd name="connsiteY3720" fmla="*/ 1753276 h 4588585"/>
              <a:gd name="connsiteX3721" fmla="*/ 1122181 w 5047599"/>
              <a:gd name="connsiteY3721" fmla="*/ 1753287 h 4588585"/>
              <a:gd name="connsiteX3722" fmla="*/ 1124417 w 5047599"/>
              <a:gd name="connsiteY3722" fmla="*/ 1752828 h 4588585"/>
              <a:gd name="connsiteX3723" fmla="*/ 1130490 w 5047599"/>
              <a:gd name="connsiteY3723" fmla="*/ 1750993 h 4588585"/>
              <a:gd name="connsiteX3724" fmla="*/ 1130603 w 5047599"/>
              <a:gd name="connsiteY3724" fmla="*/ 1750959 h 4588585"/>
              <a:gd name="connsiteX3725" fmla="*/ 1131237 w 5047599"/>
              <a:gd name="connsiteY3725" fmla="*/ 1751320 h 4588585"/>
              <a:gd name="connsiteX3726" fmla="*/ 1132398 w 5047599"/>
              <a:gd name="connsiteY3726" fmla="*/ 1758579 h 4588585"/>
              <a:gd name="connsiteX3727" fmla="*/ 1131871 w 5047599"/>
              <a:gd name="connsiteY3727" fmla="*/ 1760955 h 4588585"/>
              <a:gd name="connsiteX3728" fmla="*/ 1133179 w 5047599"/>
              <a:gd name="connsiteY3728" fmla="*/ 1765882 h 4588585"/>
              <a:gd name="connsiteX3729" fmla="*/ 1134784 w 5047599"/>
              <a:gd name="connsiteY3729" fmla="*/ 1770444 h 4588585"/>
              <a:gd name="connsiteX3730" fmla="*/ 1134657 w 5047599"/>
              <a:gd name="connsiteY3730" fmla="*/ 1772312 h 4588585"/>
              <a:gd name="connsiteX3731" fmla="*/ 1133327 w 5047599"/>
              <a:gd name="connsiteY3731" fmla="*/ 1775135 h 4588585"/>
              <a:gd name="connsiteX3732" fmla="*/ 1131765 w 5047599"/>
              <a:gd name="connsiteY3732" fmla="*/ 1777724 h 4588585"/>
              <a:gd name="connsiteX3733" fmla="*/ 1131934 w 5047599"/>
              <a:gd name="connsiteY3733" fmla="*/ 1778784 h 4588585"/>
              <a:gd name="connsiteX3734" fmla="*/ 1134405 w 5047599"/>
              <a:gd name="connsiteY3734" fmla="*/ 1780545 h 4588585"/>
              <a:gd name="connsiteX3735" fmla="*/ 1139133 w 5047599"/>
              <a:gd name="connsiteY3735" fmla="*/ 1782371 h 4588585"/>
              <a:gd name="connsiteX3736" fmla="*/ 1144032 w 5047599"/>
              <a:gd name="connsiteY3736" fmla="*/ 1782796 h 4588585"/>
              <a:gd name="connsiteX3737" fmla="*/ 1144057 w 5047599"/>
              <a:gd name="connsiteY3737" fmla="*/ 1782772 h 4588585"/>
              <a:gd name="connsiteX3738" fmla="*/ 1139197 w 5047599"/>
              <a:gd name="connsiteY3738" fmla="*/ 1782350 h 4588585"/>
              <a:gd name="connsiteX3739" fmla="*/ 1134468 w 5047599"/>
              <a:gd name="connsiteY3739" fmla="*/ 1780525 h 4588585"/>
              <a:gd name="connsiteX3740" fmla="*/ 1131997 w 5047599"/>
              <a:gd name="connsiteY3740" fmla="*/ 1778765 h 4588585"/>
              <a:gd name="connsiteX3741" fmla="*/ 1131850 w 5047599"/>
              <a:gd name="connsiteY3741" fmla="*/ 1777705 h 4588585"/>
              <a:gd name="connsiteX3742" fmla="*/ 1133391 w 5047599"/>
              <a:gd name="connsiteY3742" fmla="*/ 1775116 h 4588585"/>
              <a:gd name="connsiteX3743" fmla="*/ 1134721 w 5047599"/>
              <a:gd name="connsiteY3743" fmla="*/ 1772293 h 4588585"/>
              <a:gd name="connsiteX3744" fmla="*/ 1134847 w 5047599"/>
              <a:gd name="connsiteY3744" fmla="*/ 1770425 h 4588585"/>
              <a:gd name="connsiteX3745" fmla="*/ 1133243 w 5047599"/>
              <a:gd name="connsiteY3745" fmla="*/ 1765841 h 4588585"/>
              <a:gd name="connsiteX3746" fmla="*/ 1131934 w 5047599"/>
              <a:gd name="connsiteY3746" fmla="*/ 1760917 h 4588585"/>
              <a:gd name="connsiteX3747" fmla="*/ 1132461 w 5047599"/>
              <a:gd name="connsiteY3747" fmla="*/ 1758560 h 4588585"/>
              <a:gd name="connsiteX3748" fmla="*/ 1131300 w 5047599"/>
              <a:gd name="connsiteY3748" fmla="*/ 1751301 h 4588585"/>
              <a:gd name="connsiteX3749" fmla="*/ 1008413 w 5047599"/>
              <a:gd name="connsiteY3749" fmla="*/ 1749390 h 4588585"/>
              <a:gd name="connsiteX3750" fmla="*/ 1008413 w 5047599"/>
              <a:gd name="connsiteY3750" fmla="*/ 1749396 h 4588585"/>
              <a:gd name="connsiteX3751" fmla="*/ 1009743 w 5047599"/>
              <a:gd name="connsiteY3751" fmla="*/ 1757333 h 4588585"/>
              <a:gd name="connsiteX3752" fmla="*/ 1011834 w 5047599"/>
              <a:gd name="connsiteY3752" fmla="*/ 1765273 h 4588585"/>
              <a:gd name="connsiteX3753" fmla="*/ 1013903 w 5047599"/>
              <a:gd name="connsiteY3753" fmla="*/ 1768158 h 4588585"/>
              <a:gd name="connsiteX3754" fmla="*/ 1027184 w 5047599"/>
              <a:gd name="connsiteY3754" fmla="*/ 1775141 h 4588585"/>
              <a:gd name="connsiteX3755" fmla="*/ 1028472 w 5047599"/>
              <a:gd name="connsiteY3755" fmla="*/ 1777751 h 4588585"/>
              <a:gd name="connsiteX3756" fmla="*/ 1029126 w 5047599"/>
              <a:gd name="connsiteY3756" fmla="*/ 1780700 h 4588585"/>
              <a:gd name="connsiteX3757" fmla="*/ 1029127 w 5047599"/>
              <a:gd name="connsiteY3757" fmla="*/ 1780694 h 4588585"/>
              <a:gd name="connsiteX3758" fmla="*/ 1028472 w 5047599"/>
              <a:gd name="connsiteY3758" fmla="*/ 1777745 h 4588585"/>
              <a:gd name="connsiteX3759" fmla="*/ 1027184 w 5047599"/>
              <a:gd name="connsiteY3759" fmla="*/ 1775134 h 4588585"/>
              <a:gd name="connsiteX3760" fmla="*/ 1013903 w 5047599"/>
              <a:gd name="connsiteY3760" fmla="*/ 1768151 h 4588585"/>
              <a:gd name="connsiteX3761" fmla="*/ 1011834 w 5047599"/>
              <a:gd name="connsiteY3761" fmla="*/ 1765264 h 4588585"/>
              <a:gd name="connsiteX3762" fmla="*/ 1009743 w 5047599"/>
              <a:gd name="connsiteY3762" fmla="*/ 1757328 h 4588585"/>
              <a:gd name="connsiteX3763" fmla="*/ 3464994 w 5047599"/>
              <a:gd name="connsiteY3763" fmla="*/ 1748910 h 4588585"/>
              <a:gd name="connsiteX3764" fmla="*/ 3464967 w 5047599"/>
              <a:gd name="connsiteY3764" fmla="*/ 1749133 h 4588585"/>
              <a:gd name="connsiteX3765" fmla="*/ 3464910 w 5047599"/>
              <a:gd name="connsiteY3765" fmla="*/ 1749612 h 4588585"/>
              <a:gd name="connsiteX3766" fmla="*/ 3465543 w 5047599"/>
              <a:gd name="connsiteY3766" fmla="*/ 1750100 h 4588585"/>
              <a:gd name="connsiteX3767" fmla="*/ 3478571 w 5047599"/>
              <a:gd name="connsiteY3767" fmla="*/ 1754937 h 4588585"/>
              <a:gd name="connsiteX3768" fmla="*/ 3479205 w 5047599"/>
              <a:gd name="connsiteY3768" fmla="*/ 1755235 h 4588585"/>
              <a:gd name="connsiteX3769" fmla="*/ 3479711 w 5047599"/>
              <a:gd name="connsiteY3769" fmla="*/ 1755617 h 4588585"/>
              <a:gd name="connsiteX3770" fmla="*/ 3484398 w 5047599"/>
              <a:gd name="connsiteY3770" fmla="*/ 1761369 h 4588585"/>
              <a:gd name="connsiteX3771" fmla="*/ 3510053 w 5047599"/>
              <a:gd name="connsiteY3771" fmla="*/ 1782529 h 4588585"/>
              <a:gd name="connsiteX3772" fmla="*/ 3510940 w 5047599"/>
              <a:gd name="connsiteY3772" fmla="*/ 1783589 h 4588585"/>
              <a:gd name="connsiteX3773" fmla="*/ 3513601 w 5047599"/>
              <a:gd name="connsiteY3773" fmla="*/ 1790232 h 4588585"/>
              <a:gd name="connsiteX3774" fmla="*/ 3513895 w 5047599"/>
              <a:gd name="connsiteY3774" fmla="*/ 1791250 h 4588585"/>
              <a:gd name="connsiteX3775" fmla="*/ 3513980 w 5047599"/>
              <a:gd name="connsiteY3775" fmla="*/ 1792821 h 4588585"/>
              <a:gd name="connsiteX3776" fmla="*/ 3513917 w 5047599"/>
              <a:gd name="connsiteY3776" fmla="*/ 1794051 h 4588585"/>
              <a:gd name="connsiteX3777" fmla="*/ 3513917 w 5047599"/>
              <a:gd name="connsiteY3777" fmla="*/ 1794045 h 4588585"/>
              <a:gd name="connsiteX3778" fmla="*/ 3513981 w 5047599"/>
              <a:gd name="connsiteY3778" fmla="*/ 1792816 h 4588585"/>
              <a:gd name="connsiteX3779" fmla="*/ 3513896 w 5047599"/>
              <a:gd name="connsiteY3779" fmla="*/ 1791246 h 4588585"/>
              <a:gd name="connsiteX3780" fmla="*/ 3513601 w 5047599"/>
              <a:gd name="connsiteY3780" fmla="*/ 1790226 h 4588585"/>
              <a:gd name="connsiteX3781" fmla="*/ 3510940 w 5047599"/>
              <a:gd name="connsiteY3781" fmla="*/ 1783583 h 4588585"/>
              <a:gd name="connsiteX3782" fmla="*/ 3510054 w 5047599"/>
              <a:gd name="connsiteY3782" fmla="*/ 1782523 h 4588585"/>
              <a:gd name="connsiteX3783" fmla="*/ 3484399 w 5047599"/>
              <a:gd name="connsiteY3783" fmla="*/ 1761364 h 4588585"/>
              <a:gd name="connsiteX3784" fmla="*/ 3479712 w 5047599"/>
              <a:gd name="connsiteY3784" fmla="*/ 1755613 h 4588585"/>
              <a:gd name="connsiteX3785" fmla="*/ 3479205 w 5047599"/>
              <a:gd name="connsiteY3785" fmla="*/ 1755228 h 4588585"/>
              <a:gd name="connsiteX3786" fmla="*/ 3478572 w 5047599"/>
              <a:gd name="connsiteY3786" fmla="*/ 1754931 h 4588585"/>
              <a:gd name="connsiteX3787" fmla="*/ 3465544 w 5047599"/>
              <a:gd name="connsiteY3787" fmla="*/ 1750093 h 4588585"/>
              <a:gd name="connsiteX3788" fmla="*/ 3464911 w 5047599"/>
              <a:gd name="connsiteY3788" fmla="*/ 1749606 h 4588585"/>
              <a:gd name="connsiteX3789" fmla="*/ 3464967 w 5047599"/>
              <a:gd name="connsiteY3789" fmla="*/ 1749133 h 4588585"/>
              <a:gd name="connsiteX3790" fmla="*/ 3464994 w 5047599"/>
              <a:gd name="connsiteY3790" fmla="*/ 1748911 h 4588585"/>
              <a:gd name="connsiteX3791" fmla="*/ 3550340 w 5047599"/>
              <a:gd name="connsiteY3791" fmla="*/ 1741514 h 4588585"/>
              <a:gd name="connsiteX3792" fmla="*/ 3546560 w 5047599"/>
              <a:gd name="connsiteY3792" fmla="*/ 1743765 h 4588585"/>
              <a:gd name="connsiteX3793" fmla="*/ 3542021 w 5047599"/>
              <a:gd name="connsiteY3793" fmla="*/ 1747097 h 4588585"/>
              <a:gd name="connsiteX3794" fmla="*/ 3536827 w 5047599"/>
              <a:gd name="connsiteY3794" fmla="*/ 1754865 h 4588585"/>
              <a:gd name="connsiteX3795" fmla="*/ 3532794 w 5047599"/>
              <a:gd name="connsiteY3795" fmla="*/ 1762718 h 4588585"/>
              <a:gd name="connsiteX3796" fmla="*/ 3532796 w 5047599"/>
              <a:gd name="connsiteY3796" fmla="*/ 1762732 h 4588585"/>
              <a:gd name="connsiteX3797" fmla="*/ 3536827 w 5047599"/>
              <a:gd name="connsiteY3797" fmla="*/ 1754884 h 4588585"/>
              <a:gd name="connsiteX3798" fmla="*/ 3542021 w 5047599"/>
              <a:gd name="connsiteY3798" fmla="*/ 1747116 h 4588585"/>
              <a:gd name="connsiteX3799" fmla="*/ 3546560 w 5047599"/>
              <a:gd name="connsiteY3799" fmla="*/ 1743784 h 4588585"/>
              <a:gd name="connsiteX3800" fmla="*/ 3550340 w 5047599"/>
              <a:gd name="connsiteY3800" fmla="*/ 1741536 h 4588585"/>
              <a:gd name="connsiteX3801" fmla="*/ 3552114 w 5047599"/>
              <a:gd name="connsiteY3801" fmla="*/ 1742490 h 4588585"/>
              <a:gd name="connsiteX3802" fmla="*/ 3556463 w 5047599"/>
              <a:gd name="connsiteY3802" fmla="*/ 1746074 h 4588585"/>
              <a:gd name="connsiteX3803" fmla="*/ 3562164 w 5047599"/>
              <a:gd name="connsiteY3803" fmla="*/ 1749620 h 4588585"/>
              <a:gd name="connsiteX3804" fmla="*/ 3564824 w 5047599"/>
              <a:gd name="connsiteY3804" fmla="*/ 1748834 h 4588585"/>
              <a:gd name="connsiteX3805" fmla="*/ 3568730 w 5047599"/>
              <a:gd name="connsiteY3805" fmla="*/ 1745735 h 4588585"/>
              <a:gd name="connsiteX3806" fmla="*/ 3571645 w 5047599"/>
              <a:gd name="connsiteY3806" fmla="*/ 1742466 h 4588585"/>
              <a:gd name="connsiteX3807" fmla="*/ 3571644 w 5047599"/>
              <a:gd name="connsiteY3807" fmla="*/ 1742449 h 4588585"/>
              <a:gd name="connsiteX3808" fmla="*/ 3568731 w 5047599"/>
              <a:gd name="connsiteY3808" fmla="*/ 1745716 h 4588585"/>
              <a:gd name="connsiteX3809" fmla="*/ 3564824 w 5047599"/>
              <a:gd name="connsiteY3809" fmla="*/ 1748816 h 4588585"/>
              <a:gd name="connsiteX3810" fmla="*/ 3562164 w 5047599"/>
              <a:gd name="connsiteY3810" fmla="*/ 1749601 h 4588585"/>
              <a:gd name="connsiteX3811" fmla="*/ 3556463 w 5047599"/>
              <a:gd name="connsiteY3811" fmla="*/ 1746056 h 4588585"/>
              <a:gd name="connsiteX3812" fmla="*/ 3552114 w 5047599"/>
              <a:gd name="connsiteY3812" fmla="*/ 1742471 h 4588585"/>
              <a:gd name="connsiteX3813" fmla="*/ 1500870 w 5047599"/>
              <a:gd name="connsiteY3813" fmla="*/ 1740861 h 4588585"/>
              <a:gd name="connsiteX3814" fmla="*/ 1498083 w 5047599"/>
              <a:gd name="connsiteY3814" fmla="*/ 1746314 h 4588585"/>
              <a:gd name="connsiteX3815" fmla="*/ 1496330 w 5047599"/>
              <a:gd name="connsiteY3815" fmla="*/ 1751451 h 4588585"/>
              <a:gd name="connsiteX3816" fmla="*/ 1496330 w 5047599"/>
              <a:gd name="connsiteY3816" fmla="*/ 1751453 h 4588585"/>
              <a:gd name="connsiteX3817" fmla="*/ 1498082 w 5047599"/>
              <a:gd name="connsiteY3817" fmla="*/ 1746318 h 4588585"/>
              <a:gd name="connsiteX3818" fmla="*/ 1500869 w 5047599"/>
              <a:gd name="connsiteY3818" fmla="*/ 1740864 h 4588585"/>
              <a:gd name="connsiteX3819" fmla="*/ 2856326 w 5047599"/>
              <a:gd name="connsiteY3819" fmla="*/ 1739139 h 4588585"/>
              <a:gd name="connsiteX3820" fmla="*/ 2856324 w 5047599"/>
              <a:gd name="connsiteY3820" fmla="*/ 1739143 h 4588585"/>
              <a:gd name="connsiteX3821" fmla="*/ 2860504 w 5047599"/>
              <a:gd name="connsiteY3821" fmla="*/ 1746633 h 4588585"/>
              <a:gd name="connsiteX3822" fmla="*/ 2862510 w 5047599"/>
              <a:gd name="connsiteY3822" fmla="*/ 1749266 h 4588585"/>
              <a:gd name="connsiteX3823" fmla="*/ 2879782 w 5047599"/>
              <a:gd name="connsiteY3823" fmla="*/ 1766966 h 4588585"/>
              <a:gd name="connsiteX3824" fmla="*/ 2883118 w 5047599"/>
              <a:gd name="connsiteY3824" fmla="*/ 1771168 h 4588585"/>
              <a:gd name="connsiteX3825" fmla="*/ 2891669 w 5047599"/>
              <a:gd name="connsiteY3825" fmla="*/ 1784010 h 4588585"/>
              <a:gd name="connsiteX3826" fmla="*/ 2896906 w 5047599"/>
              <a:gd name="connsiteY3826" fmla="*/ 1792669 h 4588585"/>
              <a:gd name="connsiteX3827" fmla="*/ 2902924 w 5047599"/>
              <a:gd name="connsiteY3827" fmla="*/ 1805127 h 4588585"/>
              <a:gd name="connsiteX3828" fmla="*/ 2903493 w 5047599"/>
              <a:gd name="connsiteY3828" fmla="*/ 1811894 h 4588585"/>
              <a:gd name="connsiteX3829" fmla="*/ 2903494 w 5047599"/>
              <a:gd name="connsiteY3829" fmla="*/ 1811892 h 4588585"/>
              <a:gd name="connsiteX3830" fmla="*/ 2902924 w 5047599"/>
              <a:gd name="connsiteY3830" fmla="*/ 1805122 h 4588585"/>
              <a:gd name="connsiteX3831" fmla="*/ 2896906 w 5047599"/>
              <a:gd name="connsiteY3831" fmla="*/ 1792662 h 4588585"/>
              <a:gd name="connsiteX3832" fmla="*/ 2891669 w 5047599"/>
              <a:gd name="connsiteY3832" fmla="*/ 1784003 h 4588585"/>
              <a:gd name="connsiteX3833" fmla="*/ 2883118 w 5047599"/>
              <a:gd name="connsiteY3833" fmla="*/ 1771163 h 4588585"/>
              <a:gd name="connsiteX3834" fmla="*/ 2879782 w 5047599"/>
              <a:gd name="connsiteY3834" fmla="*/ 1766960 h 4588585"/>
              <a:gd name="connsiteX3835" fmla="*/ 2862510 w 5047599"/>
              <a:gd name="connsiteY3835" fmla="*/ 1749259 h 4588585"/>
              <a:gd name="connsiteX3836" fmla="*/ 2860504 w 5047599"/>
              <a:gd name="connsiteY3836" fmla="*/ 1746628 h 4588585"/>
              <a:gd name="connsiteX3837" fmla="*/ 1502241 w 5047599"/>
              <a:gd name="connsiteY3837" fmla="*/ 1733032 h 4588585"/>
              <a:gd name="connsiteX3838" fmla="*/ 1501029 w 5047599"/>
              <a:gd name="connsiteY3838" fmla="*/ 1739955 h 4588585"/>
              <a:gd name="connsiteX3839" fmla="*/ 1502242 w 5047599"/>
              <a:gd name="connsiteY3839" fmla="*/ 1733033 h 4588585"/>
              <a:gd name="connsiteX3840" fmla="*/ 1176340 w 5047599"/>
              <a:gd name="connsiteY3840" fmla="*/ 1731752 h 4588585"/>
              <a:gd name="connsiteX3841" fmla="*/ 1176338 w 5047599"/>
              <a:gd name="connsiteY3841" fmla="*/ 1731753 h 4588585"/>
              <a:gd name="connsiteX3842" fmla="*/ 1177625 w 5047599"/>
              <a:gd name="connsiteY3842" fmla="*/ 1738462 h 4588585"/>
              <a:gd name="connsiteX3843" fmla="*/ 1178301 w 5047599"/>
              <a:gd name="connsiteY3843" fmla="*/ 1748067 h 4588585"/>
              <a:gd name="connsiteX3844" fmla="*/ 1178301 w 5047599"/>
              <a:gd name="connsiteY3844" fmla="*/ 1748063 h 4588585"/>
              <a:gd name="connsiteX3845" fmla="*/ 1177626 w 5047599"/>
              <a:gd name="connsiteY3845" fmla="*/ 1738449 h 4588585"/>
              <a:gd name="connsiteX3846" fmla="*/ 999503 w 5047599"/>
              <a:gd name="connsiteY3846" fmla="*/ 1731392 h 4588585"/>
              <a:gd name="connsiteX3847" fmla="*/ 994224 w 5047599"/>
              <a:gd name="connsiteY3847" fmla="*/ 1734491 h 4588585"/>
              <a:gd name="connsiteX3848" fmla="*/ 991690 w 5047599"/>
              <a:gd name="connsiteY3848" fmla="*/ 1735088 h 4588585"/>
              <a:gd name="connsiteX3849" fmla="*/ 989325 w 5047599"/>
              <a:gd name="connsiteY3849" fmla="*/ 1734874 h 4588585"/>
              <a:gd name="connsiteX3850" fmla="*/ 988102 w 5047599"/>
              <a:gd name="connsiteY3850" fmla="*/ 1733730 h 4588585"/>
              <a:gd name="connsiteX3851" fmla="*/ 988101 w 5047599"/>
              <a:gd name="connsiteY3851" fmla="*/ 1733736 h 4588585"/>
              <a:gd name="connsiteX3852" fmla="*/ 989325 w 5047599"/>
              <a:gd name="connsiteY3852" fmla="*/ 1734880 h 4588585"/>
              <a:gd name="connsiteX3853" fmla="*/ 991690 w 5047599"/>
              <a:gd name="connsiteY3853" fmla="*/ 1735093 h 4588585"/>
              <a:gd name="connsiteX3854" fmla="*/ 994224 w 5047599"/>
              <a:gd name="connsiteY3854" fmla="*/ 1734498 h 4588585"/>
              <a:gd name="connsiteX3855" fmla="*/ 999503 w 5047599"/>
              <a:gd name="connsiteY3855" fmla="*/ 1731398 h 4588585"/>
              <a:gd name="connsiteX3856" fmla="*/ 1003641 w 5047599"/>
              <a:gd name="connsiteY3856" fmla="*/ 1732500 h 4588585"/>
              <a:gd name="connsiteX3857" fmla="*/ 1007632 w 5047599"/>
              <a:gd name="connsiteY3857" fmla="*/ 1734878 h 4588585"/>
              <a:gd name="connsiteX3858" fmla="*/ 1009088 w 5047599"/>
              <a:gd name="connsiteY3858" fmla="*/ 1737339 h 4588585"/>
              <a:gd name="connsiteX3859" fmla="*/ 1009468 w 5047599"/>
              <a:gd name="connsiteY3859" fmla="*/ 1740562 h 4588585"/>
              <a:gd name="connsiteX3860" fmla="*/ 1009469 w 5047599"/>
              <a:gd name="connsiteY3860" fmla="*/ 1740560 h 4588585"/>
              <a:gd name="connsiteX3861" fmla="*/ 1009088 w 5047599"/>
              <a:gd name="connsiteY3861" fmla="*/ 1737334 h 4588585"/>
              <a:gd name="connsiteX3862" fmla="*/ 1007632 w 5047599"/>
              <a:gd name="connsiteY3862" fmla="*/ 1734872 h 4588585"/>
              <a:gd name="connsiteX3863" fmla="*/ 1003641 w 5047599"/>
              <a:gd name="connsiteY3863" fmla="*/ 1732495 h 4588585"/>
              <a:gd name="connsiteX3864" fmla="*/ 3423143 w 5047599"/>
              <a:gd name="connsiteY3864" fmla="*/ 1727428 h 4588585"/>
              <a:gd name="connsiteX3865" fmla="*/ 3422871 w 5047599"/>
              <a:gd name="connsiteY3865" fmla="*/ 1728928 h 4588585"/>
              <a:gd name="connsiteX3866" fmla="*/ 3421900 w 5047599"/>
              <a:gd name="connsiteY3866" fmla="*/ 1730818 h 4588585"/>
              <a:gd name="connsiteX3867" fmla="*/ 3393966 w 5047599"/>
              <a:gd name="connsiteY3867" fmla="*/ 1754631 h 4588585"/>
              <a:gd name="connsiteX3868" fmla="*/ 3393184 w 5047599"/>
              <a:gd name="connsiteY3868" fmla="*/ 1755754 h 4588585"/>
              <a:gd name="connsiteX3869" fmla="*/ 3389298 w 5047599"/>
              <a:gd name="connsiteY3869" fmla="*/ 1765689 h 4588585"/>
              <a:gd name="connsiteX3870" fmla="*/ 3385604 w 5047599"/>
              <a:gd name="connsiteY3870" fmla="*/ 1771440 h 4588585"/>
              <a:gd name="connsiteX3871" fmla="*/ 3383978 w 5047599"/>
              <a:gd name="connsiteY3871" fmla="*/ 1773096 h 4588585"/>
              <a:gd name="connsiteX3872" fmla="*/ 3377496 w 5047599"/>
              <a:gd name="connsiteY3872" fmla="*/ 1781180 h 4588585"/>
              <a:gd name="connsiteX3873" fmla="*/ 3352010 w 5047599"/>
              <a:gd name="connsiteY3873" fmla="*/ 1806546 h 4588585"/>
              <a:gd name="connsiteX3874" fmla="*/ 3347830 w 5047599"/>
              <a:gd name="connsiteY3874" fmla="*/ 1808243 h 4588585"/>
              <a:gd name="connsiteX3875" fmla="*/ 3335139 w 5047599"/>
              <a:gd name="connsiteY3875" fmla="*/ 1808942 h 4588585"/>
              <a:gd name="connsiteX3876" fmla="*/ 3328426 w 5047599"/>
              <a:gd name="connsiteY3876" fmla="*/ 1809132 h 4588585"/>
              <a:gd name="connsiteX3877" fmla="*/ 3327665 w 5047599"/>
              <a:gd name="connsiteY3877" fmla="*/ 1809324 h 4588585"/>
              <a:gd name="connsiteX3878" fmla="*/ 3326526 w 5047599"/>
              <a:gd name="connsiteY3878" fmla="*/ 1809746 h 4588585"/>
              <a:gd name="connsiteX3879" fmla="*/ 3325829 w 5047599"/>
              <a:gd name="connsiteY3879" fmla="*/ 1810408 h 4588585"/>
              <a:gd name="connsiteX3880" fmla="*/ 3325005 w 5047599"/>
              <a:gd name="connsiteY3880" fmla="*/ 1810895 h 4588585"/>
              <a:gd name="connsiteX3881" fmla="*/ 3324181 w 5047599"/>
              <a:gd name="connsiteY3881" fmla="*/ 1810639 h 4588585"/>
              <a:gd name="connsiteX3882" fmla="*/ 3323231 w 5047599"/>
              <a:gd name="connsiteY3882" fmla="*/ 1809938 h 4588585"/>
              <a:gd name="connsiteX3883" fmla="*/ 3307564 w 5047599"/>
              <a:gd name="connsiteY3883" fmla="*/ 1795739 h 4588585"/>
              <a:gd name="connsiteX3884" fmla="*/ 3279608 w 5047599"/>
              <a:gd name="connsiteY3884" fmla="*/ 1777804 h 4588585"/>
              <a:gd name="connsiteX3885" fmla="*/ 3276927 w 5047599"/>
              <a:gd name="connsiteY3885" fmla="*/ 1779438 h 4588585"/>
              <a:gd name="connsiteX3886" fmla="*/ 3261112 w 5047599"/>
              <a:gd name="connsiteY3886" fmla="*/ 1787164 h 4588585"/>
              <a:gd name="connsiteX3887" fmla="*/ 3257860 w 5047599"/>
              <a:gd name="connsiteY3887" fmla="*/ 1789159 h 4588585"/>
              <a:gd name="connsiteX3888" fmla="*/ 3256045 w 5047599"/>
              <a:gd name="connsiteY3888" fmla="*/ 1790580 h 4588585"/>
              <a:gd name="connsiteX3889" fmla="*/ 3256045 w 5047599"/>
              <a:gd name="connsiteY3889" fmla="*/ 1790593 h 4588585"/>
              <a:gd name="connsiteX3890" fmla="*/ 3257859 w 5047599"/>
              <a:gd name="connsiteY3890" fmla="*/ 1789172 h 4588585"/>
              <a:gd name="connsiteX3891" fmla="*/ 3261112 w 5047599"/>
              <a:gd name="connsiteY3891" fmla="*/ 1787177 h 4588585"/>
              <a:gd name="connsiteX3892" fmla="*/ 3276926 w 5047599"/>
              <a:gd name="connsiteY3892" fmla="*/ 1779451 h 4588585"/>
              <a:gd name="connsiteX3893" fmla="*/ 3279608 w 5047599"/>
              <a:gd name="connsiteY3893" fmla="*/ 1777817 h 4588585"/>
              <a:gd name="connsiteX3894" fmla="*/ 3307563 w 5047599"/>
              <a:gd name="connsiteY3894" fmla="*/ 1795752 h 4588585"/>
              <a:gd name="connsiteX3895" fmla="*/ 3323230 w 5047599"/>
              <a:gd name="connsiteY3895" fmla="*/ 1809949 h 4588585"/>
              <a:gd name="connsiteX3896" fmla="*/ 3324181 w 5047599"/>
              <a:gd name="connsiteY3896" fmla="*/ 1810648 h 4588585"/>
              <a:gd name="connsiteX3897" fmla="*/ 3325004 w 5047599"/>
              <a:gd name="connsiteY3897" fmla="*/ 1810903 h 4588585"/>
              <a:gd name="connsiteX3898" fmla="*/ 3325828 w 5047599"/>
              <a:gd name="connsiteY3898" fmla="*/ 1810416 h 4588585"/>
              <a:gd name="connsiteX3899" fmla="*/ 3326525 w 5047599"/>
              <a:gd name="connsiteY3899" fmla="*/ 1809756 h 4588585"/>
              <a:gd name="connsiteX3900" fmla="*/ 3327664 w 5047599"/>
              <a:gd name="connsiteY3900" fmla="*/ 1809332 h 4588585"/>
              <a:gd name="connsiteX3901" fmla="*/ 3328425 w 5047599"/>
              <a:gd name="connsiteY3901" fmla="*/ 1809142 h 4588585"/>
              <a:gd name="connsiteX3902" fmla="*/ 3335139 w 5047599"/>
              <a:gd name="connsiteY3902" fmla="*/ 1808952 h 4588585"/>
              <a:gd name="connsiteX3903" fmla="*/ 3347829 w 5047599"/>
              <a:gd name="connsiteY3903" fmla="*/ 1808251 h 4588585"/>
              <a:gd name="connsiteX3904" fmla="*/ 3352010 w 5047599"/>
              <a:gd name="connsiteY3904" fmla="*/ 1806554 h 4588585"/>
              <a:gd name="connsiteX3905" fmla="*/ 3377495 w 5047599"/>
              <a:gd name="connsiteY3905" fmla="*/ 1781191 h 4588585"/>
              <a:gd name="connsiteX3906" fmla="*/ 3383977 w 5047599"/>
              <a:gd name="connsiteY3906" fmla="*/ 1773107 h 4588585"/>
              <a:gd name="connsiteX3907" fmla="*/ 3385603 w 5047599"/>
              <a:gd name="connsiteY3907" fmla="*/ 1771451 h 4588585"/>
              <a:gd name="connsiteX3908" fmla="*/ 3389298 w 5047599"/>
              <a:gd name="connsiteY3908" fmla="*/ 1765699 h 4588585"/>
              <a:gd name="connsiteX3909" fmla="*/ 3393183 w 5047599"/>
              <a:gd name="connsiteY3909" fmla="*/ 1755764 h 4588585"/>
              <a:gd name="connsiteX3910" fmla="*/ 3393965 w 5047599"/>
              <a:gd name="connsiteY3910" fmla="*/ 1754641 h 4588585"/>
              <a:gd name="connsiteX3911" fmla="*/ 3421899 w 5047599"/>
              <a:gd name="connsiteY3911" fmla="*/ 1730828 h 4588585"/>
              <a:gd name="connsiteX3912" fmla="*/ 3422871 w 5047599"/>
              <a:gd name="connsiteY3912" fmla="*/ 1728939 h 4588585"/>
              <a:gd name="connsiteX3913" fmla="*/ 3423145 w 5047599"/>
              <a:gd name="connsiteY3913" fmla="*/ 1727431 h 4588585"/>
              <a:gd name="connsiteX3914" fmla="*/ 3573882 w 5047599"/>
              <a:gd name="connsiteY3914" fmla="*/ 1724562 h 4588585"/>
              <a:gd name="connsiteX3915" fmla="*/ 3571264 w 5047599"/>
              <a:gd name="connsiteY3915" fmla="*/ 1736591 h 4588585"/>
              <a:gd name="connsiteX3916" fmla="*/ 3571265 w 5047599"/>
              <a:gd name="connsiteY3916" fmla="*/ 1736606 h 4588585"/>
              <a:gd name="connsiteX3917" fmla="*/ 3573883 w 5047599"/>
              <a:gd name="connsiteY3917" fmla="*/ 1724575 h 4588585"/>
              <a:gd name="connsiteX3918" fmla="*/ 1483936 w 5047599"/>
              <a:gd name="connsiteY3918" fmla="*/ 1724230 h 4588585"/>
              <a:gd name="connsiteX3919" fmla="*/ 1483155 w 5047599"/>
              <a:gd name="connsiteY3919" fmla="*/ 1727117 h 4588585"/>
              <a:gd name="connsiteX3920" fmla="*/ 1481191 w 5047599"/>
              <a:gd name="connsiteY3920" fmla="*/ 1728986 h 4588585"/>
              <a:gd name="connsiteX3921" fmla="*/ 1478235 w 5047599"/>
              <a:gd name="connsiteY3921" fmla="*/ 1729112 h 4588585"/>
              <a:gd name="connsiteX3922" fmla="*/ 1476187 w 5047599"/>
              <a:gd name="connsiteY3922" fmla="*/ 1728667 h 4588585"/>
              <a:gd name="connsiteX3923" fmla="*/ 1474814 w 5047599"/>
              <a:gd name="connsiteY3923" fmla="*/ 1730896 h 4588585"/>
              <a:gd name="connsiteX3924" fmla="*/ 1472534 w 5047599"/>
              <a:gd name="connsiteY3924" fmla="*/ 1733846 h 4588585"/>
              <a:gd name="connsiteX3925" fmla="*/ 1469367 w 5047599"/>
              <a:gd name="connsiteY3925" fmla="*/ 1735267 h 4588585"/>
              <a:gd name="connsiteX3926" fmla="*/ 1466263 w 5047599"/>
              <a:gd name="connsiteY3926" fmla="*/ 1737091 h 4588585"/>
              <a:gd name="connsiteX3927" fmla="*/ 1464511 w 5047599"/>
              <a:gd name="connsiteY3927" fmla="*/ 1738683 h 4588585"/>
              <a:gd name="connsiteX3928" fmla="*/ 1463244 w 5047599"/>
              <a:gd name="connsiteY3928" fmla="*/ 1738704 h 4588585"/>
              <a:gd name="connsiteX3929" fmla="*/ 1460119 w 5047599"/>
              <a:gd name="connsiteY3929" fmla="*/ 1734969 h 4588585"/>
              <a:gd name="connsiteX3930" fmla="*/ 1455959 w 5047599"/>
              <a:gd name="connsiteY3930" fmla="*/ 1734587 h 4588585"/>
              <a:gd name="connsiteX3931" fmla="*/ 1448189 w 5047599"/>
              <a:gd name="connsiteY3931" fmla="*/ 1735203 h 4588585"/>
              <a:gd name="connsiteX3932" fmla="*/ 1444684 w 5047599"/>
              <a:gd name="connsiteY3932" fmla="*/ 1734186 h 4588585"/>
              <a:gd name="connsiteX3933" fmla="*/ 1439912 w 5047599"/>
              <a:gd name="connsiteY3933" fmla="*/ 1733698 h 4588585"/>
              <a:gd name="connsiteX3934" fmla="*/ 1428637 w 5047599"/>
              <a:gd name="connsiteY3934" fmla="*/ 1734463 h 4588585"/>
              <a:gd name="connsiteX3935" fmla="*/ 1410626 w 5047599"/>
              <a:gd name="connsiteY3935" fmla="*/ 1732934 h 4588585"/>
              <a:gd name="connsiteX3936" fmla="*/ 1407670 w 5047599"/>
              <a:gd name="connsiteY3936" fmla="*/ 1733761 h 4588585"/>
              <a:gd name="connsiteX3937" fmla="*/ 1406888 w 5047599"/>
              <a:gd name="connsiteY3937" fmla="*/ 1734441 h 4588585"/>
              <a:gd name="connsiteX3938" fmla="*/ 1389047 w 5047599"/>
              <a:gd name="connsiteY3938" fmla="*/ 1734610 h 4588585"/>
              <a:gd name="connsiteX3939" fmla="*/ 1369431 w 5047599"/>
              <a:gd name="connsiteY3939" fmla="*/ 1734800 h 4588585"/>
              <a:gd name="connsiteX3940" fmla="*/ 1353005 w 5047599"/>
              <a:gd name="connsiteY3940" fmla="*/ 1734969 h 4588585"/>
              <a:gd name="connsiteX3941" fmla="*/ 1338625 w 5047599"/>
              <a:gd name="connsiteY3941" fmla="*/ 1735117 h 4588585"/>
              <a:gd name="connsiteX3942" fmla="*/ 1338604 w 5047599"/>
              <a:gd name="connsiteY3942" fmla="*/ 1734480 h 4588585"/>
              <a:gd name="connsiteX3943" fmla="*/ 1333980 w 5047599"/>
              <a:gd name="connsiteY3943" fmla="*/ 1734395 h 4588585"/>
              <a:gd name="connsiteX3944" fmla="*/ 1333473 w 5047599"/>
              <a:gd name="connsiteY3944" fmla="*/ 1735647 h 4588585"/>
              <a:gd name="connsiteX3945" fmla="*/ 1329398 w 5047599"/>
              <a:gd name="connsiteY3945" fmla="*/ 1750675 h 4588585"/>
              <a:gd name="connsiteX3946" fmla="*/ 1328954 w 5047599"/>
              <a:gd name="connsiteY3946" fmla="*/ 1758846 h 4588585"/>
              <a:gd name="connsiteX3947" fmla="*/ 1328955 w 5047599"/>
              <a:gd name="connsiteY3947" fmla="*/ 1758848 h 4588585"/>
              <a:gd name="connsiteX3948" fmla="*/ 1329398 w 5047599"/>
              <a:gd name="connsiteY3948" fmla="*/ 1750693 h 4588585"/>
              <a:gd name="connsiteX3949" fmla="*/ 1333473 w 5047599"/>
              <a:gd name="connsiteY3949" fmla="*/ 1735666 h 4588585"/>
              <a:gd name="connsiteX3950" fmla="*/ 1333980 w 5047599"/>
              <a:gd name="connsiteY3950" fmla="*/ 1734413 h 4588585"/>
              <a:gd name="connsiteX3951" fmla="*/ 1338604 w 5047599"/>
              <a:gd name="connsiteY3951" fmla="*/ 1734498 h 4588585"/>
              <a:gd name="connsiteX3952" fmla="*/ 1338625 w 5047599"/>
              <a:gd name="connsiteY3952" fmla="*/ 1735135 h 4588585"/>
              <a:gd name="connsiteX3953" fmla="*/ 1353005 w 5047599"/>
              <a:gd name="connsiteY3953" fmla="*/ 1734987 h 4588585"/>
              <a:gd name="connsiteX3954" fmla="*/ 1369431 w 5047599"/>
              <a:gd name="connsiteY3954" fmla="*/ 1734819 h 4588585"/>
              <a:gd name="connsiteX3955" fmla="*/ 1389047 w 5047599"/>
              <a:gd name="connsiteY3955" fmla="*/ 1734629 h 4588585"/>
              <a:gd name="connsiteX3956" fmla="*/ 1406889 w 5047599"/>
              <a:gd name="connsiteY3956" fmla="*/ 1734460 h 4588585"/>
              <a:gd name="connsiteX3957" fmla="*/ 1407670 w 5047599"/>
              <a:gd name="connsiteY3957" fmla="*/ 1733780 h 4588585"/>
              <a:gd name="connsiteX3958" fmla="*/ 1410626 w 5047599"/>
              <a:gd name="connsiteY3958" fmla="*/ 1732952 h 4588585"/>
              <a:gd name="connsiteX3959" fmla="*/ 1428637 w 5047599"/>
              <a:gd name="connsiteY3959" fmla="*/ 1734481 h 4588585"/>
              <a:gd name="connsiteX3960" fmla="*/ 1439912 w 5047599"/>
              <a:gd name="connsiteY3960" fmla="*/ 1733719 h 4588585"/>
              <a:gd name="connsiteX3961" fmla="*/ 1444684 w 5047599"/>
              <a:gd name="connsiteY3961" fmla="*/ 1734207 h 4588585"/>
              <a:gd name="connsiteX3962" fmla="*/ 1448189 w 5047599"/>
              <a:gd name="connsiteY3962" fmla="*/ 1735224 h 4588585"/>
              <a:gd name="connsiteX3963" fmla="*/ 1455959 w 5047599"/>
              <a:gd name="connsiteY3963" fmla="*/ 1734608 h 4588585"/>
              <a:gd name="connsiteX3964" fmla="*/ 1460119 w 5047599"/>
              <a:gd name="connsiteY3964" fmla="*/ 1734990 h 4588585"/>
              <a:gd name="connsiteX3965" fmla="*/ 1463244 w 5047599"/>
              <a:gd name="connsiteY3965" fmla="*/ 1738725 h 4588585"/>
              <a:gd name="connsiteX3966" fmla="*/ 1464511 w 5047599"/>
              <a:gd name="connsiteY3966" fmla="*/ 1738704 h 4588585"/>
              <a:gd name="connsiteX3967" fmla="*/ 1466263 w 5047599"/>
              <a:gd name="connsiteY3967" fmla="*/ 1737112 h 4588585"/>
              <a:gd name="connsiteX3968" fmla="*/ 1469367 w 5047599"/>
              <a:gd name="connsiteY3968" fmla="*/ 1735288 h 4588585"/>
              <a:gd name="connsiteX3969" fmla="*/ 1472534 w 5047599"/>
              <a:gd name="connsiteY3969" fmla="*/ 1733867 h 4588585"/>
              <a:gd name="connsiteX3970" fmla="*/ 1474814 w 5047599"/>
              <a:gd name="connsiteY3970" fmla="*/ 1730917 h 4588585"/>
              <a:gd name="connsiteX3971" fmla="*/ 1476187 w 5047599"/>
              <a:gd name="connsiteY3971" fmla="*/ 1728689 h 4588585"/>
              <a:gd name="connsiteX3972" fmla="*/ 1478235 w 5047599"/>
              <a:gd name="connsiteY3972" fmla="*/ 1729134 h 4588585"/>
              <a:gd name="connsiteX3973" fmla="*/ 1481191 w 5047599"/>
              <a:gd name="connsiteY3973" fmla="*/ 1729009 h 4588585"/>
              <a:gd name="connsiteX3974" fmla="*/ 1483155 w 5047599"/>
              <a:gd name="connsiteY3974" fmla="*/ 1727140 h 4588585"/>
              <a:gd name="connsiteX3975" fmla="*/ 1483936 w 5047599"/>
              <a:gd name="connsiteY3975" fmla="*/ 1724253 h 4588585"/>
              <a:gd name="connsiteX3976" fmla="*/ 1497618 w 5047599"/>
              <a:gd name="connsiteY3976" fmla="*/ 1727319 h 4588585"/>
              <a:gd name="connsiteX3977" fmla="*/ 1497624 w 5047599"/>
              <a:gd name="connsiteY3977" fmla="*/ 1727325 h 4588585"/>
              <a:gd name="connsiteX3978" fmla="*/ 1511110 w 5047599"/>
              <a:gd name="connsiteY3978" fmla="*/ 1730104 h 4588585"/>
              <a:gd name="connsiteX3979" fmla="*/ 1530366 w 5047599"/>
              <a:gd name="connsiteY3979" fmla="*/ 1734794 h 4588585"/>
              <a:gd name="connsiteX3980" fmla="*/ 1530768 w 5047599"/>
              <a:gd name="connsiteY3980" fmla="*/ 1735621 h 4588585"/>
              <a:gd name="connsiteX3981" fmla="*/ 1530895 w 5047599"/>
              <a:gd name="connsiteY3981" fmla="*/ 1737022 h 4588585"/>
              <a:gd name="connsiteX3982" fmla="*/ 1534230 w 5047599"/>
              <a:gd name="connsiteY3982" fmla="*/ 1736979 h 4588585"/>
              <a:gd name="connsiteX3983" fmla="*/ 1539784 w 5047599"/>
              <a:gd name="connsiteY3983" fmla="*/ 1735324 h 4588585"/>
              <a:gd name="connsiteX3984" fmla="*/ 1555047 w 5047599"/>
              <a:gd name="connsiteY3984" fmla="*/ 1734705 h 4588585"/>
              <a:gd name="connsiteX3985" fmla="*/ 1555049 w 5047599"/>
              <a:gd name="connsiteY3985" fmla="*/ 1734694 h 4588585"/>
              <a:gd name="connsiteX3986" fmla="*/ 1556465 w 5047599"/>
              <a:gd name="connsiteY3986" fmla="*/ 1734716 h 4588585"/>
              <a:gd name="connsiteX3987" fmla="*/ 1558449 w 5047599"/>
              <a:gd name="connsiteY3987" fmla="*/ 1732615 h 4588585"/>
              <a:gd name="connsiteX3988" fmla="*/ 1560054 w 5047599"/>
              <a:gd name="connsiteY3988" fmla="*/ 1729516 h 4588585"/>
              <a:gd name="connsiteX3989" fmla="*/ 1561764 w 5047599"/>
              <a:gd name="connsiteY3989" fmla="*/ 1730195 h 4588585"/>
              <a:gd name="connsiteX3990" fmla="*/ 1564636 w 5047599"/>
              <a:gd name="connsiteY3990" fmla="*/ 1730790 h 4588585"/>
              <a:gd name="connsiteX3991" fmla="*/ 1565945 w 5047599"/>
              <a:gd name="connsiteY3991" fmla="*/ 1729688 h 4588585"/>
              <a:gd name="connsiteX3992" fmla="*/ 1565945 w 5047599"/>
              <a:gd name="connsiteY3992" fmla="*/ 1729686 h 4588585"/>
              <a:gd name="connsiteX3993" fmla="*/ 1564636 w 5047599"/>
              <a:gd name="connsiteY3993" fmla="*/ 1730788 h 4588585"/>
              <a:gd name="connsiteX3994" fmla="*/ 1561765 w 5047599"/>
              <a:gd name="connsiteY3994" fmla="*/ 1730193 h 4588585"/>
              <a:gd name="connsiteX3995" fmla="*/ 1560054 w 5047599"/>
              <a:gd name="connsiteY3995" fmla="*/ 1729514 h 4588585"/>
              <a:gd name="connsiteX3996" fmla="*/ 1558449 w 5047599"/>
              <a:gd name="connsiteY3996" fmla="*/ 1732613 h 4588585"/>
              <a:gd name="connsiteX3997" fmla="*/ 1556465 w 5047599"/>
              <a:gd name="connsiteY3997" fmla="*/ 1734714 h 4588585"/>
              <a:gd name="connsiteX3998" fmla="*/ 1555050 w 5047599"/>
              <a:gd name="connsiteY3998" fmla="*/ 1734693 h 4588585"/>
              <a:gd name="connsiteX3999" fmla="*/ 1539784 w 5047599"/>
              <a:gd name="connsiteY3999" fmla="*/ 1735310 h 4588585"/>
              <a:gd name="connsiteX4000" fmla="*/ 1534231 w 5047599"/>
              <a:gd name="connsiteY4000" fmla="*/ 1736965 h 4588585"/>
              <a:gd name="connsiteX4001" fmla="*/ 1530895 w 5047599"/>
              <a:gd name="connsiteY4001" fmla="*/ 1737007 h 4588585"/>
              <a:gd name="connsiteX4002" fmla="*/ 1530768 w 5047599"/>
              <a:gd name="connsiteY4002" fmla="*/ 1735607 h 4588585"/>
              <a:gd name="connsiteX4003" fmla="*/ 1530367 w 5047599"/>
              <a:gd name="connsiteY4003" fmla="*/ 1734779 h 4588585"/>
              <a:gd name="connsiteX4004" fmla="*/ 1511110 w 5047599"/>
              <a:gd name="connsiteY4004" fmla="*/ 1730090 h 4588585"/>
              <a:gd name="connsiteX4005" fmla="*/ 1497618 w 5047599"/>
              <a:gd name="connsiteY4005" fmla="*/ 1727309 h 4588585"/>
              <a:gd name="connsiteX4006" fmla="*/ 557236 w 5047599"/>
              <a:gd name="connsiteY4006" fmla="*/ 1722696 h 4588585"/>
              <a:gd name="connsiteX4007" fmla="*/ 558925 w 5047599"/>
              <a:gd name="connsiteY4007" fmla="*/ 1724586 h 4588585"/>
              <a:gd name="connsiteX4008" fmla="*/ 559158 w 5047599"/>
              <a:gd name="connsiteY4008" fmla="*/ 1725368 h 4588585"/>
              <a:gd name="connsiteX4009" fmla="*/ 559727 w 5047599"/>
              <a:gd name="connsiteY4009" fmla="*/ 1729336 h 4588585"/>
              <a:gd name="connsiteX4010" fmla="*/ 559179 w 5047599"/>
              <a:gd name="connsiteY4010" fmla="*/ 1731013 h 4588585"/>
              <a:gd name="connsiteX4011" fmla="*/ 555694 w 5047599"/>
              <a:gd name="connsiteY4011" fmla="*/ 1730757 h 4588585"/>
              <a:gd name="connsiteX4012" fmla="*/ 556476 w 5047599"/>
              <a:gd name="connsiteY4012" fmla="*/ 1729059 h 4588585"/>
              <a:gd name="connsiteX4013" fmla="*/ 555715 w 5047599"/>
              <a:gd name="connsiteY4013" fmla="*/ 1728571 h 4588585"/>
              <a:gd name="connsiteX4014" fmla="*/ 556708 w 5047599"/>
              <a:gd name="connsiteY4014" fmla="*/ 1723479 h 4588585"/>
              <a:gd name="connsiteX4015" fmla="*/ 548389 w 5047599"/>
              <a:gd name="connsiteY4015" fmla="*/ 1722335 h 4588585"/>
              <a:gd name="connsiteX4016" fmla="*/ 549592 w 5047599"/>
              <a:gd name="connsiteY4016" fmla="*/ 1722442 h 4588585"/>
              <a:gd name="connsiteX4017" fmla="*/ 550458 w 5047599"/>
              <a:gd name="connsiteY4017" fmla="*/ 1727237 h 4588585"/>
              <a:gd name="connsiteX4018" fmla="*/ 549318 w 5047599"/>
              <a:gd name="connsiteY4018" fmla="*/ 1729254 h 4588585"/>
              <a:gd name="connsiteX4019" fmla="*/ 546784 w 5047599"/>
              <a:gd name="connsiteY4019" fmla="*/ 1730740 h 4588585"/>
              <a:gd name="connsiteX4020" fmla="*/ 546784 w 5047599"/>
              <a:gd name="connsiteY4020" fmla="*/ 1730736 h 4588585"/>
              <a:gd name="connsiteX4021" fmla="*/ 542033 w 5047599"/>
              <a:gd name="connsiteY4021" fmla="*/ 1731627 h 4588585"/>
              <a:gd name="connsiteX4022" fmla="*/ 539879 w 5047599"/>
              <a:gd name="connsiteY4022" fmla="*/ 1728635 h 4588585"/>
              <a:gd name="connsiteX4023" fmla="*/ 539562 w 5047599"/>
              <a:gd name="connsiteY4023" fmla="*/ 1727469 h 4588585"/>
              <a:gd name="connsiteX4024" fmla="*/ 542033 w 5047599"/>
              <a:gd name="connsiteY4024" fmla="*/ 1726473 h 4588585"/>
              <a:gd name="connsiteX4025" fmla="*/ 543153 w 5047599"/>
              <a:gd name="connsiteY4025" fmla="*/ 1726431 h 4588585"/>
              <a:gd name="connsiteX4026" fmla="*/ 545032 w 5047599"/>
              <a:gd name="connsiteY4026" fmla="*/ 1724243 h 4588585"/>
              <a:gd name="connsiteX4027" fmla="*/ 547354 w 5047599"/>
              <a:gd name="connsiteY4027" fmla="*/ 1722801 h 4588585"/>
              <a:gd name="connsiteX4028" fmla="*/ 1569577 w 5047599"/>
              <a:gd name="connsiteY4028" fmla="*/ 1721602 h 4588585"/>
              <a:gd name="connsiteX4029" fmla="*/ 1568985 w 5047599"/>
              <a:gd name="connsiteY4029" fmla="*/ 1723768 h 4588585"/>
              <a:gd name="connsiteX4030" fmla="*/ 1566726 w 5047599"/>
              <a:gd name="connsiteY4030" fmla="*/ 1724870 h 4588585"/>
              <a:gd name="connsiteX4031" fmla="*/ 1565776 w 5047599"/>
              <a:gd name="connsiteY4031" fmla="*/ 1727290 h 4588585"/>
              <a:gd name="connsiteX4032" fmla="*/ 1565776 w 5047599"/>
              <a:gd name="connsiteY4032" fmla="*/ 1727292 h 4588585"/>
              <a:gd name="connsiteX4033" fmla="*/ 1566726 w 5047599"/>
              <a:gd name="connsiteY4033" fmla="*/ 1724872 h 4588585"/>
              <a:gd name="connsiteX4034" fmla="*/ 1568985 w 5047599"/>
              <a:gd name="connsiteY4034" fmla="*/ 1723770 h 4588585"/>
              <a:gd name="connsiteX4035" fmla="*/ 1569577 w 5047599"/>
              <a:gd name="connsiteY4035" fmla="*/ 1721604 h 4588585"/>
              <a:gd name="connsiteX4036" fmla="*/ 3977270 w 5047599"/>
              <a:gd name="connsiteY4036" fmla="*/ 1718621 h 4588585"/>
              <a:gd name="connsiteX4037" fmla="*/ 3977594 w 5047599"/>
              <a:gd name="connsiteY4037" fmla="*/ 1722969 h 4588585"/>
              <a:gd name="connsiteX4038" fmla="*/ 3977891 w 5047599"/>
              <a:gd name="connsiteY4038" fmla="*/ 1726792 h 4588585"/>
              <a:gd name="connsiteX4039" fmla="*/ 3977594 w 5047599"/>
              <a:gd name="connsiteY4039" fmla="*/ 1722966 h 4588585"/>
              <a:gd name="connsiteX4040" fmla="*/ 570285 w 5047599"/>
              <a:gd name="connsiteY4040" fmla="*/ 1716114 h 4588585"/>
              <a:gd name="connsiteX4041" fmla="*/ 572988 w 5047599"/>
              <a:gd name="connsiteY4041" fmla="*/ 1716433 h 4588585"/>
              <a:gd name="connsiteX4042" fmla="*/ 573790 w 5047599"/>
              <a:gd name="connsiteY4042" fmla="*/ 1717028 h 4588585"/>
              <a:gd name="connsiteX4043" fmla="*/ 573261 w 5047599"/>
              <a:gd name="connsiteY4043" fmla="*/ 1718747 h 4588585"/>
              <a:gd name="connsiteX4044" fmla="*/ 572080 w 5047599"/>
              <a:gd name="connsiteY4044" fmla="*/ 1720168 h 4588585"/>
              <a:gd name="connsiteX4045" fmla="*/ 569841 w 5047599"/>
              <a:gd name="connsiteY4045" fmla="*/ 1721314 h 4588585"/>
              <a:gd name="connsiteX4046" fmla="*/ 569841 w 5047599"/>
              <a:gd name="connsiteY4046" fmla="*/ 1723796 h 4588585"/>
              <a:gd name="connsiteX4047" fmla="*/ 567329 w 5047599"/>
              <a:gd name="connsiteY4047" fmla="*/ 1723329 h 4588585"/>
              <a:gd name="connsiteX4048" fmla="*/ 566589 w 5047599"/>
              <a:gd name="connsiteY4048" fmla="*/ 1722588 h 4588585"/>
              <a:gd name="connsiteX4049" fmla="*/ 568089 w 5047599"/>
              <a:gd name="connsiteY4049" fmla="*/ 1718109 h 4588585"/>
              <a:gd name="connsiteX4050" fmla="*/ 1584146 w 5047599"/>
              <a:gd name="connsiteY4050" fmla="*/ 1709675 h 4588585"/>
              <a:gd name="connsiteX4051" fmla="*/ 1584145 w 5047599"/>
              <a:gd name="connsiteY4051" fmla="*/ 1709676 h 4588585"/>
              <a:gd name="connsiteX4052" fmla="*/ 1583981 w 5047599"/>
              <a:gd name="connsiteY4052" fmla="*/ 1709858 h 4588585"/>
              <a:gd name="connsiteX4053" fmla="*/ 1582562 w 5047599"/>
              <a:gd name="connsiteY4053" fmla="*/ 1711435 h 4588585"/>
              <a:gd name="connsiteX4054" fmla="*/ 1579733 w 5047599"/>
              <a:gd name="connsiteY4054" fmla="*/ 1716485 h 4588585"/>
              <a:gd name="connsiteX4055" fmla="*/ 1577559 w 5047599"/>
              <a:gd name="connsiteY4055" fmla="*/ 1717759 h 4588585"/>
              <a:gd name="connsiteX4056" fmla="*/ 1574856 w 5047599"/>
              <a:gd name="connsiteY4056" fmla="*/ 1718544 h 4588585"/>
              <a:gd name="connsiteX4057" fmla="*/ 1571519 w 5047599"/>
              <a:gd name="connsiteY4057" fmla="*/ 1718439 h 4588585"/>
              <a:gd name="connsiteX4058" fmla="*/ 1569577 w 5047599"/>
              <a:gd name="connsiteY4058" fmla="*/ 1719097 h 4588585"/>
              <a:gd name="connsiteX4059" fmla="*/ 1569577 w 5047599"/>
              <a:gd name="connsiteY4059" fmla="*/ 1719100 h 4588585"/>
              <a:gd name="connsiteX4060" fmla="*/ 1571519 w 5047599"/>
              <a:gd name="connsiteY4060" fmla="*/ 1718441 h 4588585"/>
              <a:gd name="connsiteX4061" fmla="*/ 1574856 w 5047599"/>
              <a:gd name="connsiteY4061" fmla="*/ 1718546 h 4588585"/>
              <a:gd name="connsiteX4062" fmla="*/ 1577558 w 5047599"/>
              <a:gd name="connsiteY4062" fmla="*/ 1717761 h 4588585"/>
              <a:gd name="connsiteX4063" fmla="*/ 1579732 w 5047599"/>
              <a:gd name="connsiteY4063" fmla="*/ 1716488 h 4588585"/>
              <a:gd name="connsiteX4064" fmla="*/ 1582562 w 5047599"/>
              <a:gd name="connsiteY4064" fmla="*/ 1711437 h 4588585"/>
              <a:gd name="connsiteX4065" fmla="*/ 1583981 w 5047599"/>
              <a:gd name="connsiteY4065" fmla="*/ 1709858 h 4588585"/>
              <a:gd name="connsiteX4066" fmla="*/ 2397774 w 5047599"/>
              <a:gd name="connsiteY4066" fmla="*/ 1701640 h 4588585"/>
              <a:gd name="connsiteX4067" fmla="*/ 2393849 w 5047599"/>
              <a:gd name="connsiteY4067" fmla="*/ 1712077 h 4588585"/>
              <a:gd name="connsiteX4068" fmla="*/ 2392667 w 5047599"/>
              <a:gd name="connsiteY4068" fmla="*/ 1718465 h 4588585"/>
              <a:gd name="connsiteX4069" fmla="*/ 2392667 w 5047599"/>
              <a:gd name="connsiteY4069" fmla="*/ 1718474 h 4588585"/>
              <a:gd name="connsiteX4070" fmla="*/ 2393849 w 5047599"/>
              <a:gd name="connsiteY4070" fmla="*/ 1712087 h 4588585"/>
              <a:gd name="connsiteX4071" fmla="*/ 2397776 w 5047599"/>
              <a:gd name="connsiteY4071" fmla="*/ 1701646 h 4588585"/>
              <a:gd name="connsiteX4072" fmla="*/ 3461532 w 5047599"/>
              <a:gd name="connsiteY4072" fmla="*/ 1698604 h 4588585"/>
              <a:gd name="connsiteX4073" fmla="*/ 3461532 w 5047599"/>
              <a:gd name="connsiteY4073" fmla="*/ 1698609 h 4588585"/>
              <a:gd name="connsiteX4074" fmla="*/ 3467401 w 5047599"/>
              <a:gd name="connsiteY4074" fmla="*/ 1743349 h 4588585"/>
              <a:gd name="connsiteX4075" fmla="*/ 3467402 w 5047599"/>
              <a:gd name="connsiteY4075" fmla="*/ 1743343 h 4588585"/>
              <a:gd name="connsiteX4076" fmla="*/ 555652 w 5047599"/>
              <a:gd name="connsiteY4076" fmla="*/ 1698177 h 4588585"/>
              <a:gd name="connsiteX4077" fmla="*/ 558566 w 5047599"/>
              <a:gd name="connsiteY4077" fmla="*/ 1698730 h 4588585"/>
              <a:gd name="connsiteX4078" fmla="*/ 559369 w 5047599"/>
              <a:gd name="connsiteY4078" fmla="*/ 1706201 h 4588585"/>
              <a:gd name="connsiteX4079" fmla="*/ 556581 w 5047599"/>
              <a:gd name="connsiteY4079" fmla="*/ 1708090 h 4588585"/>
              <a:gd name="connsiteX4080" fmla="*/ 553710 w 5047599"/>
              <a:gd name="connsiteY4080" fmla="*/ 1707197 h 4588585"/>
              <a:gd name="connsiteX4081" fmla="*/ 552168 w 5047599"/>
              <a:gd name="connsiteY4081" fmla="*/ 1705499 h 4588585"/>
              <a:gd name="connsiteX4082" fmla="*/ 552401 w 5047599"/>
              <a:gd name="connsiteY4082" fmla="*/ 1702466 h 4588585"/>
              <a:gd name="connsiteX4083" fmla="*/ 3461553 w 5047599"/>
              <a:gd name="connsiteY4083" fmla="*/ 1697738 h 4588585"/>
              <a:gd name="connsiteX4084" fmla="*/ 3461552 w 5047599"/>
              <a:gd name="connsiteY4084" fmla="*/ 1697740 h 4588585"/>
              <a:gd name="connsiteX4085" fmla="*/ 3461535 w 5047599"/>
              <a:gd name="connsiteY4085" fmla="*/ 1698459 h 4588585"/>
              <a:gd name="connsiteX4086" fmla="*/ 584221 w 5047599"/>
              <a:gd name="connsiteY4086" fmla="*/ 1696119 h 4588585"/>
              <a:gd name="connsiteX4087" fmla="*/ 584115 w 5047599"/>
              <a:gd name="connsiteY4087" fmla="*/ 1700025 h 4588585"/>
              <a:gd name="connsiteX4088" fmla="*/ 581645 w 5047599"/>
              <a:gd name="connsiteY4088" fmla="*/ 1700852 h 4588585"/>
              <a:gd name="connsiteX4089" fmla="*/ 580018 w 5047599"/>
              <a:gd name="connsiteY4089" fmla="*/ 1701891 h 4588585"/>
              <a:gd name="connsiteX4090" fmla="*/ 580018 w 5047599"/>
              <a:gd name="connsiteY4090" fmla="*/ 1701894 h 4588585"/>
              <a:gd name="connsiteX4091" fmla="*/ 579470 w 5047599"/>
              <a:gd name="connsiteY4091" fmla="*/ 1703293 h 4588585"/>
              <a:gd name="connsiteX4092" fmla="*/ 576091 w 5047599"/>
              <a:gd name="connsiteY4092" fmla="*/ 1702104 h 4588585"/>
              <a:gd name="connsiteX4093" fmla="*/ 581011 w 5047599"/>
              <a:gd name="connsiteY4093" fmla="*/ 1697010 h 4588585"/>
              <a:gd name="connsiteX4094" fmla="*/ 978895 w 5047599"/>
              <a:gd name="connsiteY4094" fmla="*/ 1693657 h 4588585"/>
              <a:gd name="connsiteX4095" fmla="*/ 978895 w 5047599"/>
              <a:gd name="connsiteY4095" fmla="*/ 1693662 h 4588585"/>
              <a:gd name="connsiteX4096" fmla="*/ 981429 w 5047599"/>
              <a:gd name="connsiteY4096" fmla="*/ 1695190 h 4588585"/>
              <a:gd name="connsiteX4097" fmla="*/ 984173 w 5047599"/>
              <a:gd name="connsiteY4097" fmla="*/ 1695829 h 4588585"/>
              <a:gd name="connsiteX4098" fmla="*/ 985462 w 5047599"/>
              <a:gd name="connsiteY4098" fmla="*/ 1697017 h 4588585"/>
              <a:gd name="connsiteX4099" fmla="*/ 988207 w 5047599"/>
              <a:gd name="connsiteY4099" fmla="*/ 1703235 h 4588585"/>
              <a:gd name="connsiteX4100" fmla="*/ 990803 w 5047599"/>
              <a:gd name="connsiteY4100" fmla="*/ 1705041 h 4588585"/>
              <a:gd name="connsiteX4101" fmla="*/ 993907 w 5047599"/>
              <a:gd name="connsiteY4101" fmla="*/ 1705465 h 4588585"/>
              <a:gd name="connsiteX4102" fmla="*/ 999735 w 5047599"/>
              <a:gd name="connsiteY4102" fmla="*/ 1709435 h 4588585"/>
              <a:gd name="connsiteX4103" fmla="*/ 1003472 w 5047599"/>
              <a:gd name="connsiteY4103" fmla="*/ 1711005 h 4588585"/>
              <a:gd name="connsiteX4104" fmla="*/ 1004001 w 5047599"/>
              <a:gd name="connsiteY4104" fmla="*/ 1712194 h 4588585"/>
              <a:gd name="connsiteX4105" fmla="*/ 1004001 w 5047599"/>
              <a:gd name="connsiteY4105" fmla="*/ 1712188 h 4588585"/>
              <a:gd name="connsiteX4106" fmla="*/ 1003472 w 5047599"/>
              <a:gd name="connsiteY4106" fmla="*/ 1711000 h 4588585"/>
              <a:gd name="connsiteX4107" fmla="*/ 999735 w 5047599"/>
              <a:gd name="connsiteY4107" fmla="*/ 1709429 h 4588585"/>
              <a:gd name="connsiteX4108" fmla="*/ 993907 w 5047599"/>
              <a:gd name="connsiteY4108" fmla="*/ 1705459 h 4588585"/>
              <a:gd name="connsiteX4109" fmla="*/ 990804 w 5047599"/>
              <a:gd name="connsiteY4109" fmla="*/ 1705035 h 4588585"/>
              <a:gd name="connsiteX4110" fmla="*/ 988207 w 5047599"/>
              <a:gd name="connsiteY4110" fmla="*/ 1703230 h 4588585"/>
              <a:gd name="connsiteX4111" fmla="*/ 985462 w 5047599"/>
              <a:gd name="connsiteY4111" fmla="*/ 1697011 h 4588585"/>
              <a:gd name="connsiteX4112" fmla="*/ 984173 w 5047599"/>
              <a:gd name="connsiteY4112" fmla="*/ 1695822 h 4588585"/>
              <a:gd name="connsiteX4113" fmla="*/ 981429 w 5047599"/>
              <a:gd name="connsiteY4113" fmla="*/ 1695185 h 4588585"/>
              <a:gd name="connsiteX4114" fmla="*/ 2395749 w 5047599"/>
              <a:gd name="connsiteY4114" fmla="*/ 1690582 h 4588585"/>
              <a:gd name="connsiteX4115" fmla="*/ 2395179 w 5047599"/>
              <a:gd name="connsiteY4115" fmla="*/ 1695521 h 4588585"/>
              <a:gd name="connsiteX4116" fmla="*/ 2395180 w 5047599"/>
              <a:gd name="connsiteY4116" fmla="*/ 1695524 h 4588585"/>
              <a:gd name="connsiteX4117" fmla="*/ 2395750 w 5047599"/>
              <a:gd name="connsiteY4117" fmla="*/ 1690588 h 4588585"/>
              <a:gd name="connsiteX4118" fmla="*/ 1187487 w 5047599"/>
              <a:gd name="connsiteY4118" fmla="*/ 1688388 h 4588585"/>
              <a:gd name="connsiteX4119" fmla="*/ 1187486 w 5047599"/>
              <a:gd name="connsiteY4119" fmla="*/ 1688392 h 4588585"/>
              <a:gd name="connsiteX4120" fmla="*/ 1188183 w 5047599"/>
              <a:gd name="connsiteY4120" fmla="*/ 1693063 h 4588585"/>
              <a:gd name="connsiteX4121" fmla="*/ 1189387 w 5047599"/>
              <a:gd name="connsiteY4121" fmla="*/ 1696883 h 4588585"/>
              <a:gd name="connsiteX4122" fmla="*/ 1190886 w 5047599"/>
              <a:gd name="connsiteY4122" fmla="*/ 1699492 h 4588585"/>
              <a:gd name="connsiteX4123" fmla="*/ 1191793 w 5047599"/>
              <a:gd name="connsiteY4123" fmla="*/ 1702779 h 4588585"/>
              <a:gd name="connsiteX4124" fmla="*/ 1191794 w 5047599"/>
              <a:gd name="connsiteY4124" fmla="*/ 1702772 h 4588585"/>
              <a:gd name="connsiteX4125" fmla="*/ 1190886 w 5047599"/>
              <a:gd name="connsiteY4125" fmla="*/ 1699480 h 4588585"/>
              <a:gd name="connsiteX4126" fmla="*/ 1189387 w 5047599"/>
              <a:gd name="connsiteY4126" fmla="*/ 1696870 h 4588585"/>
              <a:gd name="connsiteX4127" fmla="*/ 1188183 w 5047599"/>
              <a:gd name="connsiteY4127" fmla="*/ 1693050 h 4588585"/>
              <a:gd name="connsiteX4128" fmla="*/ 552253 w 5047599"/>
              <a:gd name="connsiteY4128" fmla="*/ 1680749 h 4588585"/>
              <a:gd name="connsiteX4129" fmla="*/ 554364 w 5047599"/>
              <a:gd name="connsiteY4129" fmla="*/ 1681047 h 4588585"/>
              <a:gd name="connsiteX4130" fmla="*/ 554364 w 5047599"/>
              <a:gd name="connsiteY4130" fmla="*/ 1681051 h 4588585"/>
              <a:gd name="connsiteX4131" fmla="*/ 551281 w 5047599"/>
              <a:gd name="connsiteY4131" fmla="*/ 1688458 h 4588585"/>
              <a:gd name="connsiteX4132" fmla="*/ 547481 w 5047599"/>
              <a:gd name="connsiteY4132" fmla="*/ 1687628 h 4588585"/>
              <a:gd name="connsiteX4133" fmla="*/ 544820 w 5047599"/>
              <a:gd name="connsiteY4133" fmla="*/ 1683213 h 4588585"/>
              <a:gd name="connsiteX4134" fmla="*/ 544525 w 5047599"/>
              <a:gd name="connsiteY4134" fmla="*/ 1681344 h 4588585"/>
              <a:gd name="connsiteX4135" fmla="*/ 1643264 w 5047599"/>
              <a:gd name="connsiteY4135" fmla="*/ 1680138 h 4588585"/>
              <a:gd name="connsiteX4136" fmla="*/ 1641726 w 5047599"/>
              <a:gd name="connsiteY4136" fmla="*/ 1683568 h 4588585"/>
              <a:gd name="connsiteX4137" fmla="*/ 1637228 w 5047599"/>
              <a:gd name="connsiteY4137" fmla="*/ 1692567 h 4588585"/>
              <a:gd name="connsiteX4138" fmla="*/ 1633870 w 5047599"/>
              <a:gd name="connsiteY4138" fmla="*/ 1696325 h 4588585"/>
              <a:gd name="connsiteX4139" fmla="*/ 1619027 w 5047599"/>
              <a:gd name="connsiteY4139" fmla="*/ 1709060 h 4588585"/>
              <a:gd name="connsiteX4140" fmla="*/ 1611764 w 5047599"/>
              <a:gd name="connsiteY4140" fmla="*/ 1707552 h 4588585"/>
              <a:gd name="connsiteX4141" fmla="*/ 1596498 w 5047599"/>
              <a:gd name="connsiteY4141" fmla="*/ 1710120 h 4588585"/>
              <a:gd name="connsiteX4142" fmla="*/ 1594217 w 5047599"/>
              <a:gd name="connsiteY4142" fmla="*/ 1707191 h 4588585"/>
              <a:gd name="connsiteX4143" fmla="*/ 1590649 w 5047599"/>
              <a:gd name="connsiteY4143" fmla="*/ 1706809 h 4588585"/>
              <a:gd name="connsiteX4144" fmla="*/ 1586237 w 5047599"/>
              <a:gd name="connsiteY4144" fmla="*/ 1707320 h 4588585"/>
              <a:gd name="connsiteX4145" fmla="*/ 1584632 w 5047599"/>
              <a:gd name="connsiteY4145" fmla="*/ 1708422 h 4588585"/>
              <a:gd name="connsiteX4146" fmla="*/ 1584631 w 5047599"/>
              <a:gd name="connsiteY4146" fmla="*/ 1708424 h 4588585"/>
              <a:gd name="connsiteX4147" fmla="*/ 1584631 w 5047599"/>
              <a:gd name="connsiteY4147" fmla="*/ 1708424 h 4588585"/>
              <a:gd name="connsiteX4148" fmla="*/ 1584447 w 5047599"/>
              <a:gd name="connsiteY4148" fmla="*/ 1708899 h 4588585"/>
              <a:gd name="connsiteX4149" fmla="*/ 1584631 w 5047599"/>
              <a:gd name="connsiteY4149" fmla="*/ 1708424 h 4588585"/>
              <a:gd name="connsiteX4150" fmla="*/ 1586236 w 5047599"/>
              <a:gd name="connsiteY4150" fmla="*/ 1707321 h 4588585"/>
              <a:gd name="connsiteX4151" fmla="*/ 1590649 w 5047599"/>
              <a:gd name="connsiteY4151" fmla="*/ 1706811 h 4588585"/>
              <a:gd name="connsiteX4152" fmla="*/ 1594217 w 5047599"/>
              <a:gd name="connsiteY4152" fmla="*/ 1707193 h 4588585"/>
              <a:gd name="connsiteX4153" fmla="*/ 1596498 w 5047599"/>
              <a:gd name="connsiteY4153" fmla="*/ 1710122 h 4588585"/>
              <a:gd name="connsiteX4154" fmla="*/ 1611764 w 5047599"/>
              <a:gd name="connsiteY4154" fmla="*/ 1707554 h 4588585"/>
              <a:gd name="connsiteX4155" fmla="*/ 1619027 w 5047599"/>
              <a:gd name="connsiteY4155" fmla="*/ 1709062 h 4588585"/>
              <a:gd name="connsiteX4156" fmla="*/ 1633870 w 5047599"/>
              <a:gd name="connsiteY4156" fmla="*/ 1696327 h 4588585"/>
              <a:gd name="connsiteX4157" fmla="*/ 1637228 w 5047599"/>
              <a:gd name="connsiteY4157" fmla="*/ 1692569 h 4588585"/>
              <a:gd name="connsiteX4158" fmla="*/ 1641726 w 5047599"/>
              <a:gd name="connsiteY4158" fmla="*/ 1683570 h 4588585"/>
              <a:gd name="connsiteX4159" fmla="*/ 3465206 w 5047599"/>
              <a:gd name="connsiteY4159" fmla="*/ 1677446 h 4588585"/>
              <a:gd name="connsiteX4160" fmla="*/ 3465205 w 5047599"/>
              <a:gd name="connsiteY4160" fmla="*/ 1677449 h 4588585"/>
              <a:gd name="connsiteX4161" fmla="*/ 3465269 w 5047599"/>
              <a:gd name="connsiteY4161" fmla="*/ 1684452 h 4588585"/>
              <a:gd name="connsiteX4162" fmla="*/ 3464445 w 5047599"/>
              <a:gd name="connsiteY4162" fmla="*/ 1692472 h 4588585"/>
              <a:gd name="connsiteX4163" fmla="*/ 3464446 w 5047599"/>
              <a:gd name="connsiteY4163" fmla="*/ 1692469 h 4588585"/>
              <a:gd name="connsiteX4164" fmla="*/ 3465270 w 5047599"/>
              <a:gd name="connsiteY4164" fmla="*/ 1684446 h 4588585"/>
              <a:gd name="connsiteX4165" fmla="*/ 3441643 w 5047599"/>
              <a:gd name="connsiteY4165" fmla="*/ 1672575 h 4588585"/>
              <a:gd name="connsiteX4166" fmla="*/ 3441600 w 5047599"/>
              <a:gd name="connsiteY4166" fmla="*/ 1673320 h 4588585"/>
              <a:gd name="connsiteX4167" fmla="*/ 3402221 w 5047599"/>
              <a:gd name="connsiteY4167" fmla="*/ 1673489 h 4588585"/>
              <a:gd name="connsiteX4168" fmla="*/ 3402229 w 5047599"/>
              <a:gd name="connsiteY4168" fmla="*/ 1673498 h 4588585"/>
              <a:gd name="connsiteX4169" fmla="*/ 3441600 w 5047599"/>
              <a:gd name="connsiteY4169" fmla="*/ 1673330 h 4588585"/>
              <a:gd name="connsiteX4170" fmla="*/ 1641726 w 5047599"/>
              <a:gd name="connsiteY4170" fmla="*/ 1662497 h 4588585"/>
              <a:gd name="connsiteX4171" fmla="*/ 1641726 w 5047599"/>
              <a:gd name="connsiteY4171" fmla="*/ 1662503 h 4588585"/>
              <a:gd name="connsiteX4172" fmla="*/ 1644659 w 5047599"/>
              <a:gd name="connsiteY4172" fmla="*/ 1673938 h 4588585"/>
              <a:gd name="connsiteX4173" fmla="*/ 1644660 w 5047599"/>
              <a:gd name="connsiteY4173" fmla="*/ 1673936 h 4588585"/>
              <a:gd name="connsiteX4174" fmla="*/ 3440713 w 5047599"/>
              <a:gd name="connsiteY4174" fmla="*/ 1660398 h 4588585"/>
              <a:gd name="connsiteX4175" fmla="*/ 3440544 w 5047599"/>
              <a:gd name="connsiteY4175" fmla="*/ 1660654 h 4588585"/>
              <a:gd name="connsiteX4176" fmla="*/ 3440544 w 5047599"/>
              <a:gd name="connsiteY4176" fmla="*/ 1660659 h 4588585"/>
              <a:gd name="connsiteX4177" fmla="*/ 3440712 w 5047599"/>
              <a:gd name="connsiteY4177" fmla="*/ 1660405 h 4588585"/>
              <a:gd name="connsiteX4178" fmla="*/ 3469006 w 5047599"/>
              <a:gd name="connsiteY4178" fmla="*/ 1660766 h 4588585"/>
              <a:gd name="connsiteX4179" fmla="*/ 3468817 w 5047599"/>
              <a:gd name="connsiteY4179" fmla="*/ 1663244 h 4588585"/>
              <a:gd name="connsiteX4180" fmla="*/ 3469007 w 5047599"/>
              <a:gd name="connsiteY4180" fmla="*/ 1660759 h 4588585"/>
              <a:gd name="connsiteX4181" fmla="*/ 677825 w 5047599"/>
              <a:gd name="connsiteY4181" fmla="*/ 1659453 h 4588585"/>
              <a:gd name="connsiteX4182" fmla="*/ 675203 w 5047599"/>
              <a:gd name="connsiteY4182" fmla="*/ 1660866 h 4588585"/>
              <a:gd name="connsiteX4183" fmla="*/ 675201 w 5047599"/>
              <a:gd name="connsiteY4183" fmla="*/ 1660941 h 4588585"/>
              <a:gd name="connsiteX4184" fmla="*/ 675203 w 5047599"/>
              <a:gd name="connsiteY4184" fmla="*/ 1660882 h 4588585"/>
              <a:gd name="connsiteX4185" fmla="*/ 948721 w 5047599"/>
              <a:gd name="connsiteY4185" fmla="*/ 1654308 h 4588585"/>
              <a:gd name="connsiteX4186" fmla="*/ 948195 w 5047599"/>
              <a:gd name="connsiteY4186" fmla="*/ 1656788 h 4588585"/>
              <a:gd name="connsiteX4187" fmla="*/ 947139 w 5047599"/>
              <a:gd name="connsiteY4187" fmla="*/ 1658443 h 4588585"/>
              <a:gd name="connsiteX4188" fmla="*/ 944372 w 5047599"/>
              <a:gd name="connsiteY4188" fmla="*/ 1658633 h 4588585"/>
              <a:gd name="connsiteX4189" fmla="*/ 939516 w 5047599"/>
              <a:gd name="connsiteY4189" fmla="*/ 1660054 h 4588585"/>
              <a:gd name="connsiteX4190" fmla="*/ 933541 w 5047599"/>
              <a:gd name="connsiteY4190" fmla="*/ 1662856 h 4588585"/>
              <a:gd name="connsiteX4191" fmla="*/ 929360 w 5047599"/>
              <a:gd name="connsiteY4191" fmla="*/ 1665255 h 4588585"/>
              <a:gd name="connsiteX4192" fmla="*/ 926002 w 5047599"/>
              <a:gd name="connsiteY4192" fmla="*/ 1671326 h 4588585"/>
              <a:gd name="connsiteX4193" fmla="*/ 923680 w 5047599"/>
              <a:gd name="connsiteY4193" fmla="*/ 1672090 h 4588585"/>
              <a:gd name="connsiteX4194" fmla="*/ 919732 w 5047599"/>
              <a:gd name="connsiteY4194" fmla="*/ 1671326 h 4588585"/>
              <a:gd name="connsiteX4195" fmla="*/ 908477 w 5047599"/>
              <a:gd name="connsiteY4195" fmla="*/ 1666847 h 4588585"/>
              <a:gd name="connsiteX4196" fmla="*/ 899208 w 5047599"/>
              <a:gd name="connsiteY4196" fmla="*/ 1663154 h 4588585"/>
              <a:gd name="connsiteX4197" fmla="*/ 892810 w 5047599"/>
              <a:gd name="connsiteY4197" fmla="*/ 1661032 h 4588585"/>
              <a:gd name="connsiteX4198" fmla="*/ 888968 w 5047599"/>
              <a:gd name="connsiteY4198" fmla="*/ 1662390 h 4588585"/>
              <a:gd name="connsiteX4199" fmla="*/ 887004 w 5047599"/>
              <a:gd name="connsiteY4199" fmla="*/ 1663048 h 4588585"/>
              <a:gd name="connsiteX4200" fmla="*/ 881493 w 5047599"/>
              <a:gd name="connsiteY4200" fmla="*/ 1665510 h 4588585"/>
              <a:gd name="connsiteX4201" fmla="*/ 874166 w 5047599"/>
              <a:gd name="connsiteY4201" fmla="*/ 1674489 h 4588585"/>
              <a:gd name="connsiteX4202" fmla="*/ 872414 w 5047599"/>
              <a:gd name="connsiteY4202" fmla="*/ 1677459 h 4588585"/>
              <a:gd name="connsiteX4203" fmla="*/ 870957 w 5047599"/>
              <a:gd name="connsiteY4203" fmla="*/ 1678414 h 4588585"/>
              <a:gd name="connsiteX4204" fmla="*/ 868972 w 5047599"/>
              <a:gd name="connsiteY4204" fmla="*/ 1679984 h 4588585"/>
              <a:gd name="connsiteX4205" fmla="*/ 867072 w 5047599"/>
              <a:gd name="connsiteY4205" fmla="*/ 1680027 h 4588585"/>
              <a:gd name="connsiteX4206" fmla="*/ 865551 w 5047599"/>
              <a:gd name="connsiteY4206" fmla="*/ 1678967 h 4588585"/>
              <a:gd name="connsiteX4207" fmla="*/ 865066 w 5047599"/>
              <a:gd name="connsiteY4207" fmla="*/ 1678308 h 4588585"/>
              <a:gd name="connsiteX4208" fmla="*/ 861307 w 5047599"/>
              <a:gd name="connsiteY4208" fmla="*/ 1671834 h 4588585"/>
              <a:gd name="connsiteX4209" fmla="*/ 857190 w 5047599"/>
              <a:gd name="connsiteY4209" fmla="*/ 1664704 h 4588585"/>
              <a:gd name="connsiteX4210" fmla="*/ 853811 w 5047599"/>
              <a:gd name="connsiteY4210" fmla="*/ 1661478 h 4588585"/>
              <a:gd name="connsiteX4211" fmla="*/ 849567 w 5047599"/>
              <a:gd name="connsiteY4211" fmla="*/ 1661330 h 4588585"/>
              <a:gd name="connsiteX4212" fmla="*/ 845957 w 5047599"/>
              <a:gd name="connsiteY4212" fmla="*/ 1663558 h 4588585"/>
              <a:gd name="connsiteX4213" fmla="*/ 842178 w 5047599"/>
              <a:gd name="connsiteY4213" fmla="*/ 1668143 h 4588585"/>
              <a:gd name="connsiteX4214" fmla="*/ 837427 w 5047599"/>
              <a:gd name="connsiteY4214" fmla="*/ 1672387 h 4588585"/>
              <a:gd name="connsiteX4215" fmla="*/ 834407 w 5047599"/>
              <a:gd name="connsiteY4215" fmla="*/ 1673661 h 4588585"/>
              <a:gd name="connsiteX4216" fmla="*/ 831768 w 5047599"/>
              <a:gd name="connsiteY4216" fmla="*/ 1672959 h 4588585"/>
              <a:gd name="connsiteX4217" fmla="*/ 825286 w 5047599"/>
              <a:gd name="connsiteY4217" fmla="*/ 1667612 h 4588585"/>
              <a:gd name="connsiteX4218" fmla="*/ 820662 w 5047599"/>
              <a:gd name="connsiteY4218" fmla="*/ 1663789 h 4588585"/>
              <a:gd name="connsiteX4219" fmla="*/ 820093 w 5047599"/>
              <a:gd name="connsiteY4219" fmla="*/ 1661882 h 4588585"/>
              <a:gd name="connsiteX4220" fmla="*/ 820091 w 5047599"/>
              <a:gd name="connsiteY4220" fmla="*/ 1661884 h 4588585"/>
              <a:gd name="connsiteX4221" fmla="*/ 820662 w 5047599"/>
              <a:gd name="connsiteY4221" fmla="*/ 1663796 h 4588585"/>
              <a:gd name="connsiteX4222" fmla="*/ 825286 w 5047599"/>
              <a:gd name="connsiteY4222" fmla="*/ 1667615 h 4588585"/>
              <a:gd name="connsiteX4223" fmla="*/ 831768 w 5047599"/>
              <a:gd name="connsiteY4223" fmla="*/ 1672963 h 4588585"/>
              <a:gd name="connsiteX4224" fmla="*/ 834407 w 5047599"/>
              <a:gd name="connsiteY4224" fmla="*/ 1673665 h 4588585"/>
              <a:gd name="connsiteX4225" fmla="*/ 837427 w 5047599"/>
              <a:gd name="connsiteY4225" fmla="*/ 1672391 h 4588585"/>
              <a:gd name="connsiteX4226" fmla="*/ 842178 w 5047599"/>
              <a:gd name="connsiteY4226" fmla="*/ 1668147 h 4588585"/>
              <a:gd name="connsiteX4227" fmla="*/ 845957 w 5047599"/>
              <a:gd name="connsiteY4227" fmla="*/ 1663561 h 4588585"/>
              <a:gd name="connsiteX4228" fmla="*/ 849567 w 5047599"/>
              <a:gd name="connsiteY4228" fmla="*/ 1661333 h 4588585"/>
              <a:gd name="connsiteX4229" fmla="*/ 853811 w 5047599"/>
              <a:gd name="connsiteY4229" fmla="*/ 1661481 h 4588585"/>
              <a:gd name="connsiteX4230" fmla="*/ 857190 w 5047599"/>
              <a:gd name="connsiteY4230" fmla="*/ 1664708 h 4588585"/>
              <a:gd name="connsiteX4231" fmla="*/ 861307 w 5047599"/>
              <a:gd name="connsiteY4231" fmla="*/ 1671838 h 4588585"/>
              <a:gd name="connsiteX4232" fmla="*/ 865065 w 5047599"/>
              <a:gd name="connsiteY4232" fmla="*/ 1678312 h 4588585"/>
              <a:gd name="connsiteX4233" fmla="*/ 865551 w 5047599"/>
              <a:gd name="connsiteY4233" fmla="*/ 1678970 h 4588585"/>
              <a:gd name="connsiteX4234" fmla="*/ 867071 w 5047599"/>
              <a:gd name="connsiteY4234" fmla="*/ 1680030 h 4588585"/>
              <a:gd name="connsiteX4235" fmla="*/ 868972 w 5047599"/>
              <a:gd name="connsiteY4235" fmla="*/ 1679988 h 4588585"/>
              <a:gd name="connsiteX4236" fmla="*/ 870957 w 5047599"/>
              <a:gd name="connsiteY4236" fmla="*/ 1678417 h 4588585"/>
              <a:gd name="connsiteX4237" fmla="*/ 872414 w 5047599"/>
              <a:gd name="connsiteY4237" fmla="*/ 1677463 h 4588585"/>
              <a:gd name="connsiteX4238" fmla="*/ 874166 w 5047599"/>
              <a:gd name="connsiteY4238" fmla="*/ 1674492 h 4588585"/>
              <a:gd name="connsiteX4239" fmla="*/ 881493 w 5047599"/>
              <a:gd name="connsiteY4239" fmla="*/ 1665514 h 4588585"/>
              <a:gd name="connsiteX4240" fmla="*/ 887004 w 5047599"/>
              <a:gd name="connsiteY4240" fmla="*/ 1663052 h 4588585"/>
              <a:gd name="connsiteX4241" fmla="*/ 888968 w 5047599"/>
              <a:gd name="connsiteY4241" fmla="*/ 1662393 h 4588585"/>
              <a:gd name="connsiteX4242" fmla="*/ 892810 w 5047599"/>
              <a:gd name="connsiteY4242" fmla="*/ 1661036 h 4588585"/>
              <a:gd name="connsiteX4243" fmla="*/ 899208 w 5047599"/>
              <a:gd name="connsiteY4243" fmla="*/ 1663157 h 4588585"/>
              <a:gd name="connsiteX4244" fmla="*/ 908477 w 5047599"/>
              <a:gd name="connsiteY4244" fmla="*/ 1666850 h 4588585"/>
              <a:gd name="connsiteX4245" fmla="*/ 919732 w 5047599"/>
              <a:gd name="connsiteY4245" fmla="*/ 1671329 h 4588585"/>
              <a:gd name="connsiteX4246" fmla="*/ 923680 w 5047599"/>
              <a:gd name="connsiteY4246" fmla="*/ 1672093 h 4588585"/>
              <a:gd name="connsiteX4247" fmla="*/ 926002 w 5047599"/>
              <a:gd name="connsiteY4247" fmla="*/ 1671329 h 4588585"/>
              <a:gd name="connsiteX4248" fmla="*/ 929360 w 5047599"/>
              <a:gd name="connsiteY4248" fmla="*/ 1665259 h 4588585"/>
              <a:gd name="connsiteX4249" fmla="*/ 933541 w 5047599"/>
              <a:gd name="connsiteY4249" fmla="*/ 1662862 h 4588585"/>
              <a:gd name="connsiteX4250" fmla="*/ 939516 w 5047599"/>
              <a:gd name="connsiteY4250" fmla="*/ 1660060 h 4588585"/>
              <a:gd name="connsiteX4251" fmla="*/ 944372 w 5047599"/>
              <a:gd name="connsiteY4251" fmla="*/ 1658639 h 4588585"/>
              <a:gd name="connsiteX4252" fmla="*/ 947139 w 5047599"/>
              <a:gd name="connsiteY4252" fmla="*/ 1658449 h 4588585"/>
              <a:gd name="connsiteX4253" fmla="*/ 948194 w 5047599"/>
              <a:gd name="connsiteY4253" fmla="*/ 1656794 h 4588585"/>
              <a:gd name="connsiteX4254" fmla="*/ 948722 w 5047599"/>
              <a:gd name="connsiteY4254" fmla="*/ 1654310 h 4588585"/>
              <a:gd name="connsiteX4255" fmla="*/ 689655 w 5047599"/>
              <a:gd name="connsiteY4255" fmla="*/ 1654122 h 4588585"/>
              <a:gd name="connsiteX4256" fmla="*/ 689393 w 5047599"/>
              <a:gd name="connsiteY4256" fmla="*/ 1654966 h 4588585"/>
              <a:gd name="connsiteX4257" fmla="*/ 688062 w 5047599"/>
              <a:gd name="connsiteY4257" fmla="*/ 1656898 h 4588585"/>
              <a:gd name="connsiteX4258" fmla="*/ 686766 w 5047599"/>
              <a:gd name="connsiteY4258" fmla="*/ 1657729 h 4588585"/>
              <a:gd name="connsiteX4259" fmla="*/ 688062 w 5047599"/>
              <a:gd name="connsiteY4259" fmla="*/ 1656914 h 4588585"/>
              <a:gd name="connsiteX4260" fmla="*/ 689393 w 5047599"/>
              <a:gd name="connsiteY4260" fmla="*/ 1654982 h 4588585"/>
              <a:gd name="connsiteX4261" fmla="*/ 2345830 w 5047599"/>
              <a:gd name="connsiteY4261" fmla="*/ 1651715 h 4588585"/>
              <a:gd name="connsiteX4262" fmla="*/ 2347502 w 5047599"/>
              <a:gd name="connsiteY4262" fmla="*/ 1652333 h 4588585"/>
              <a:gd name="connsiteX4263" fmla="*/ 2355949 w 5047599"/>
              <a:gd name="connsiteY4263" fmla="*/ 1653095 h 4588585"/>
              <a:gd name="connsiteX4264" fmla="*/ 2362053 w 5047599"/>
              <a:gd name="connsiteY4264" fmla="*/ 1655859 h 4588585"/>
              <a:gd name="connsiteX4265" fmla="*/ 2362051 w 5047599"/>
              <a:gd name="connsiteY4265" fmla="*/ 1655855 h 4588585"/>
              <a:gd name="connsiteX4266" fmla="*/ 2355906 w 5047599"/>
              <a:gd name="connsiteY4266" fmla="*/ 1653074 h 4588585"/>
              <a:gd name="connsiteX4267" fmla="*/ 2347461 w 5047599"/>
              <a:gd name="connsiteY4267" fmla="*/ 1652310 h 4588585"/>
              <a:gd name="connsiteX4268" fmla="*/ 797183 w 5047599"/>
              <a:gd name="connsiteY4268" fmla="*/ 1649488 h 4588585"/>
              <a:gd name="connsiteX4269" fmla="*/ 801975 w 5047599"/>
              <a:gd name="connsiteY4269" fmla="*/ 1650443 h 4588585"/>
              <a:gd name="connsiteX4270" fmla="*/ 801976 w 5047599"/>
              <a:gd name="connsiteY4270" fmla="*/ 1650443 h 4588585"/>
              <a:gd name="connsiteX4271" fmla="*/ 2828495 w 5047599"/>
              <a:gd name="connsiteY4271" fmla="*/ 1645857 h 4588585"/>
              <a:gd name="connsiteX4272" fmla="*/ 2828493 w 5047599"/>
              <a:gd name="connsiteY4272" fmla="*/ 1645866 h 4588585"/>
              <a:gd name="connsiteX4273" fmla="*/ 2831154 w 5047599"/>
              <a:gd name="connsiteY4273" fmla="*/ 1655033 h 4588585"/>
              <a:gd name="connsiteX4274" fmla="*/ 2833519 w 5047599"/>
              <a:gd name="connsiteY4274" fmla="*/ 1666091 h 4588585"/>
              <a:gd name="connsiteX4275" fmla="*/ 2833350 w 5047599"/>
              <a:gd name="connsiteY4275" fmla="*/ 1669806 h 4588585"/>
              <a:gd name="connsiteX4276" fmla="*/ 2834385 w 5047599"/>
              <a:gd name="connsiteY4276" fmla="*/ 1671205 h 4588585"/>
              <a:gd name="connsiteX4277" fmla="*/ 2838798 w 5047599"/>
              <a:gd name="connsiteY4277" fmla="*/ 1671927 h 4588585"/>
              <a:gd name="connsiteX4278" fmla="*/ 2839790 w 5047599"/>
              <a:gd name="connsiteY4278" fmla="*/ 1674518 h 4588585"/>
              <a:gd name="connsiteX4279" fmla="*/ 2839123 w 5047599"/>
              <a:gd name="connsiteY4279" fmla="*/ 1683383 h 4588585"/>
              <a:gd name="connsiteX4280" fmla="*/ 2838333 w 5047599"/>
              <a:gd name="connsiteY4280" fmla="*/ 1693894 h 4588585"/>
              <a:gd name="connsiteX4281" fmla="*/ 2840381 w 5047599"/>
              <a:gd name="connsiteY4281" fmla="*/ 1699307 h 4588585"/>
              <a:gd name="connsiteX4282" fmla="*/ 2843338 w 5047599"/>
              <a:gd name="connsiteY4282" fmla="*/ 1703170 h 4588585"/>
              <a:gd name="connsiteX4283" fmla="*/ 2846673 w 5047599"/>
              <a:gd name="connsiteY4283" fmla="*/ 1705187 h 4588585"/>
              <a:gd name="connsiteX4284" fmla="*/ 2850052 w 5047599"/>
              <a:gd name="connsiteY4284" fmla="*/ 1707776 h 4588585"/>
              <a:gd name="connsiteX4285" fmla="*/ 2851783 w 5047599"/>
              <a:gd name="connsiteY4285" fmla="*/ 1709560 h 4588585"/>
              <a:gd name="connsiteX4286" fmla="*/ 2855668 w 5047599"/>
              <a:gd name="connsiteY4286" fmla="*/ 1709984 h 4588585"/>
              <a:gd name="connsiteX4287" fmla="*/ 2860039 w 5047599"/>
              <a:gd name="connsiteY4287" fmla="*/ 1713508 h 4588585"/>
              <a:gd name="connsiteX4288" fmla="*/ 2861222 w 5047599"/>
              <a:gd name="connsiteY4288" fmla="*/ 1718198 h 4588585"/>
              <a:gd name="connsiteX4289" fmla="*/ 2860926 w 5047599"/>
              <a:gd name="connsiteY4289" fmla="*/ 1722730 h 4588585"/>
              <a:gd name="connsiteX4290" fmla="*/ 2860927 w 5047599"/>
              <a:gd name="connsiteY4290" fmla="*/ 1722729 h 4588585"/>
              <a:gd name="connsiteX4291" fmla="*/ 2861223 w 5047599"/>
              <a:gd name="connsiteY4291" fmla="*/ 1718187 h 4588585"/>
              <a:gd name="connsiteX4292" fmla="*/ 2860040 w 5047599"/>
              <a:gd name="connsiteY4292" fmla="*/ 1713498 h 4588585"/>
              <a:gd name="connsiteX4293" fmla="*/ 2855669 w 5047599"/>
              <a:gd name="connsiteY4293" fmla="*/ 1709974 h 4588585"/>
              <a:gd name="connsiteX4294" fmla="*/ 2851784 w 5047599"/>
              <a:gd name="connsiteY4294" fmla="*/ 1709549 h 4588585"/>
              <a:gd name="connsiteX4295" fmla="*/ 2850052 w 5047599"/>
              <a:gd name="connsiteY4295" fmla="*/ 1707765 h 4588585"/>
              <a:gd name="connsiteX4296" fmla="*/ 2846674 w 5047599"/>
              <a:gd name="connsiteY4296" fmla="*/ 1705174 h 4588585"/>
              <a:gd name="connsiteX4297" fmla="*/ 2843338 w 5047599"/>
              <a:gd name="connsiteY4297" fmla="*/ 1703159 h 4588585"/>
              <a:gd name="connsiteX4298" fmla="*/ 2840382 w 5047599"/>
              <a:gd name="connsiteY4298" fmla="*/ 1699296 h 4588585"/>
              <a:gd name="connsiteX4299" fmla="*/ 2838334 w 5047599"/>
              <a:gd name="connsiteY4299" fmla="*/ 1693884 h 4588585"/>
              <a:gd name="connsiteX4300" fmla="*/ 2839123 w 5047599"/>
              <a:gd name="connsiteY4300" fmla="*/ 1683383 h 4588585"/>
              <a:gd name="connsiteX4301" fmla="*/ 2839790 w 5047599"/>
              <a:gd name="connsiteY4301" fmla="*/ 1674518 h 4588585"/>
              <a:gd name="connsiteX4302" fmla="*/ 2839790 w 5047599"/>
              <a:gd name="connsiteY4302" fmla="*/ 1674518 h 4588585"/>
              <a:gd name="connsiteX4303" fmla="*/ 2839791 w 5047599"/>
              <a:gd name="connsiteY4303" fmla="*/ 1674505 h 4588585"/>
              <a:gd name="connsiteX4304" fmla="*/ 2838799 w 5047599"/>
              <a:gd name="connsiteY4304" fmla="*/ 1671916 h 4588585"/>
              <a:gd name="connsiteX4305" fmla="*/ 2834386 w 5047599"/>
              <a:gd name="connsiteY4305" fmla="*/ 1671194 h 4588585"/>
              <a:gd name="connsiteX4306" fmla="*/ 2833351 w 5047599"/>
              <a:gd name="connsiteY4306" fmla="*/ 1669795 h 4588585"/>
              <a:gd name="connsiteX4307" fmla="*/ 2833520 w 5047599"/>
              <a:gd name="connsiteY4307" fmla="*/ 1666081 h 4588585"/>
              <a:gd name="connsiteX4308" fmla="*/ 2831155 w 5047599"/>
              <a:gd name="connsiteY4308" fmla="*/ 1655023 h 4588585"/>
              <a:gd name="connsiteX4309" fmla="*/ 1633596 w 5047599"/>
              <a:gd name="connsiteY4309" fmla="*/ 1645696 h 4588585"/>
              <a:gd name="connsiteX4310" fmla="*/ 1633322 w 5047599"/>
              <a:gd name="connsiteY4310" fmla="*/ 1648040 h 4588585"/>
              <a:gd name="connsiteX4311" fmla="*/ 1632287 w 5047599"/>
              <a:gd name="connsiteY4311" fmla="*/ 1648931 h 4588585"/>
              <a:gd name="connsiteX4312" fmla="*/ 1626692 w 5047599"/>
              <a:gd name="connsiteY4312" fmla="*/ 1650054 h 4588585"/>
              <a:gd name="connsiteX4313" fmla="*/ 1624264 w 5047599"/>
              <a:gd name="connsiteY4313" fmla="*/ 1650946 h 4588585"/>
              <a:gd name="connsiteX4314" fmla="*/ 1623672 w 5047599"/>
              <a:gd name="connsiteY4314" fmla="*/ 1652219 h 4588585"/>
              <a:gd name="connsiteX4315" fmla="*/ 1623674 w 5047599"/>
              <a:gd name="connsiteY4315" fmla="*/ 1652226 h 4588585"/>
              <a:gd name="connsiteX4316" fmla="*/ 1624264 w 5047599"/>
              <a:gd name="connsiteY4316" fmla="*/ 1650955 h 4588585"/>
              <a:gd name="connsiteX4317" fmla="*/ 1626692 w 5047599"/>
              <a:gd name="connsiteY4317" fmla="*/ 1650065 h 4588585"/>
              <a:gd name="connsiteX4318" fmla="*/ 1632287 w 5047599"/>
              <a:gd name="connsiteY4318" fmla="*/ 1648941 h 4588585"/>
              <a:gd name="connsiteX4319" fmla="*/ 1633322 w 5047599"/>
              <a:gd name="connsiteY4319" fmla="*/ 1648051 h 4588585"/>
              <a:gd name="connsiteX4320" fmla="*/ 950580 w 5047599"/>
              <a:gd name="connsiteY4320" fmla="*/ 1644201 h 4588585"/>
              <a:gd name="connsiteX4321" fmla="*/ 946737 w 5047599"/>
              <a:gd name="connsiteY4321" fmla="*/ 1644881 h 4588585"/>
              <a:gd name="connsiteX4322" fmla="*/ 944943 w 5047599"/>
              <a:gd name="connsiteY4322" fmla="*/ 1645775 h 4588585"/>
              <a:gd name="connsiteX4323" fmla="*/ 944943 w 5047599"/>
              <a:gd name="connsiteY4323" fmla="*/ 1645778 h 4588585"/>
              <a:gd name="connsiteX4324" fmla="*/ 946737 w 5047599"/>
              <a:gd name="connsiteY4324" fmla="*/ 1644888 h 4588585"/>
              <a:gd name="connsiteX4325" fmla="*/ 950580 w 5047599"/>
              <a:gd name="connsiteY4325" fmla="*/ 1644207 h 4588585"/>
              <a:gd name="connsiteX4326" fmla="*/ 955584 w 5047599"/>
              <a:gd name="connsiteY4326" fmla="*/ 1644676 h 4588585"/>
              <a:gd name="connsiteX4327" fmla="*/ 961222 w 5047599"/>
              <a:gd name="connsiteY4327" fmla="*/ 1646671 h 4588585"/>
              <a:gd name="connsiteX4328" fmla="*/ 965804 w 5047599"/>
              <a:gd name="connsiteY4328" fmla="*/ 1649536 h 4588585"/>
              <a:gd name="connsiteX4329" fmla="*/ 968422 w 5047599"/>
              <a:gd name="connsiteY4329" fmla="*/ 1652953 h 4588585"/>
              <a:gd name="connsiteX4330" fmla="*/ 971272 w 5047599"/>
              <a:gd name="connsiteY4330" fmla="*/ 1660254 h 4588585"/>
              <a:gd name="connsiteX4331" fmla="*/ 973468 w 5047599"/>
              <a:gd name="connsiteY4331" fmla="*/ 1667344 h 4588585"/>
              <a:gd name="connsiteX4332" fmla="*/ 979127 w 5047599"/>
              <a:gd name="connsiteY4332" fmla="*/ 1678593 h 4588585"/>
              <a:gd name="connsiteX4333" fmla="*/ 979127 w 5047599"/>
              <a:gd name="connsiteY4333" fmla="*/ 1678586 h 4588585"/>
              <a:gd name="connsiteX4334" fmla="*/ 973468 w 5047599"/>
              <a:gd name="connsiteY4334" fmla="*/ 1667337 h 4588585"/>
              <a:gd name="connsiteX4335" fmla="*/ 971272 w 5047599"/>
              <a:gd name="connsiteY4335" fmla="*/ 1660249 h 4588585"/>
              <a:gd name="connsiteX4336" fmla="*/ 968423 w 5047599"/>
              <a:gd name="connsiteY4336" fmla="*/ 1652947 h 4588585"/>
              <a:gd name="connsiteX4337" fmla="*/ 965804 w 5047599"/>
              <a:gd name="connsiteY4337" fmla="*/ 1649531 h 4588585"/>
              <a:gd name="connsiteX4338" fmla="*/ 961222 w 5047599"/>
              <a:gd name="connsiteY4338" fmla="*/ 1646666 h 4588585"/>
              <a:gd name="connsiteX4339" fmla="*/ 955584 w 5047599"/>
              <a:gd name="connsiteY4339" fmla="*/ 1644670 h 4588585"/>
              <a:gd name="connsiteX4340" fmla="*/ 4015051 w 5047599"/>
              <a:gd name="connsiteY4340" fmla="*/ 1643755 h 4588585"/>
              <a:gd name="connsiteX4341" fmla="*/ 4014693 w 5047599"/>
              <a:gd name="connsiteY4341" fmla="*/ 1643994 h 4588585"/>
              <a:gd name="connsiteX4342" fmla="*/ 4013424 w 5047599"/>
              <a:gd name="connsiteY4342" fmla="*/ 1645209 h 4588585"/>
              <a:gd name="connsiteX4343" fmla="*/ 4014734 w 5047599"/>
              <a:gd name="connsiteY4343" fmla="*/ 1643969 h 4588585"/>
              <a:gd name="connsiteX4344" fmla="*/ 823259 w 5047599"/>
              <a:gd name="connsiteY4344" fmla="*/ 1641675 h 4588585"/>
              <a:gd name="connsiteX4345" fmla="*/ 823260 w 5047599"/>
              <a:gd name="connsiteY4345" fmla="*/ 1641680 h 4588585"/>
              <a:gd name="connsiteX4346" fmla="*/ 827186 w 5047599"/>
              <a:gd name="connsiteY4346" fmla="*/ 1644882 h 4588585"/>
              <a:gd name="connsiteX4347" fmla="*/ 827186 w 5047599"/>
              <a:gd name="connsiteY4347" fmla="*/ 1644879 h 4588585"/>
              <a:gd name="connsiteX4348" fmla="*/ 687914 w 5047599"/>
              <a:gd name="connsiteY4348" fmla="*/ 1637981 h 4588585"/>
              <a:gd name="connsiteX4349" fmla="*/ 687914 w 5047599"/>
              <a:gd name="connsiteY4349" fmla="*/ 1637986 h 4588585"/>
              <a:gd name="connsiteX4350" fmla="*/ 691419 w 5047599"/>
              <a:gd name="connsiteY4350" fmla="*/ 1644925 h 4588585"/>
              <a:gd name="connsiteX4351" fmla="*/ 691419 w 5047599"/>
              <a:gd name="connsiteY4351" fmla="*/ 1644922 h 4588585"/>
              <a:gd name="connsiteX4352" fmla="*/ 727777 w 5047599"/>
              <a:gd name="connsiteY4352" fmla="*/ 1636649 h 4588585"/>
              <a:gd name="connsiteX4353" fmla="*/ 727526 w 5047599"/>
              <a:gd name="connsiteY4353" fmla="*/ 1638703 h 4588585"/>
              <a:gd name="connsiteX4354" fmla="*/ 726596 w 5047599"/>
              <a:gd name="connsiteY4354" fmla="*/ 1641421 h 4588585"/>
              <a:gd name="connsiteX4355" fmla="*/ 726597 w 5047599"/>
              <a:gd name="connsiteY4355" fmla="*/ 1641422 h 4588585"/>
              <a:gd name="connsiteX4356" fmla="*/ 727526 w 5047599"/>
              <a:gd name="connsiteY4356" fmla="*/ 1638709 h 4588585"/>
              <a:gd name="connsiteX4357" fmla="*/ 727779 w 5047599"/>
              <a:gd name="connsiteY4357" fmla="*/ 1636650 h 4588585"/>
              <a:gd name="connsiteX4358" fmla="*/ 4041804 w 5047599"/>
              <a:gd name="connsiteY4358" fmla="*/ 1636182 h 4588585"/>
              <a:gd name="connsiteX4359" fmla="*/ 4039397 w 5047599"/>
              <a:gd name="connsiteY4359" fmla="*/ 1639429 h 4588585"/>
              <a:gd name="connsiteX4360" fmla="*/ 4035956 w 5047599"/>
              <a:gd name="connsiteY4360" fmla="*/ 1648302 h 4588585"/>
              <a:gd name="connsiteX4361" fmla="*/ 4032211 w 5047599"/>
              <a:gd name="connsiteY4361" fmla="*/ 1650866 h 4588585"/>
              <a:gd name="connsiteX4362" fmla="*/ 4032217 w 5047599"/>
              <a:gd name="connsiteY4362" fmla="*/ 1650865 h 4588585"/>
              <a:gd name="connsiteX4363" fmla="*/ 4035997 w 5047599"/>
              <a:gd name="connsiteY4363" fmla="*/ 1648298 h 4588585"/>
              <a:gd name="connsiteX4364" fmla="*/ 4039417 w 5047599"/>
              <a:gd name="connsiteY4364" fmla="*/ 1639426 h 4588585"/>
              <a:gd name="connsiteX4365" fmla="*/ 4041821 w 5047599"/>
              <a:gd name="connsiteY4365" fmla="*/ 1636184 h 4588585"/>
              <a:gd name="connsiteX4366" fmla="*/ 1236182 w 5047599"/>
              <a:gd name="connsiteY4366" fmla="*/ 1633185 h 4588585"/>
              <a:gd name="connsiteX4367" fmla="*/ 1236176 w 5047599"/>
              <a:gd name="connsiteY4367" fmla="*/ 1633188 h 4588585"/>
              <a:gd name="connsiteX4368" fmla="*/ 1237402 w 5047599"/>
              <a:gd name="connsiteY4368" fmla="*/ 1635714 h 4588585"/>
              <a:gd name="connsiteX4369" fmla="*/ 1239661 w 5047599"/>
              <a:gd name="connsiteY4369" fmla="*/ 1638685 h 4588585"/>
              <a:gd name="connsiteX4370" fmla="*/ 1239682 w 5047599"/>
              <a:gd name="connsiteY4370" fmla="*/ 1644043 h 4588585"/>
              <a:gd name="connsiteX4371" fmla="*/ 1239682 w 5047599"/>
              <a:gd name="connsiteY4371" fmla="*/ 1644042 h 4588585"/>
              <a:gd name="connsiteX4372" fmla="*/ 1239661 w 5047599"/>
              <a:gd name="connsiteY4372" fmla="*/ 1638672 h 4588585"/>
              <a:gd name="connsiteX4373" fmla="*/ 1237402 w 5047599"/>
              <a:gd name="connsiteY4373" fmla="*/ 1635701 h 4588585"/>
              <a:gd name="connsiteX4374" fmla="*/ 687213 w 5047599"/>
              <a:gd name="connsiteY4374" fmla="*/ 1633079 h 4588585"/>
              <a:gd name="connsiteX4375" fmla="*/ 688104 w 5047599"/>
              <a:gd name="connsiteY4375" fmla="*/ 1633085 h 4588585"/>
              <a:gd name="connsiteX4376" fmla="*/ 688104 w 5047599"/>
              <a:gd name="connsiteY4376" fmla="*/ 1633082 h 4588585"/>
              <a:gd name="connsiteX4377" fmla="*/ 4053742 w 5047599"/>
              <a:gd name="connsiteY4377" fmla="*/ 1632223 h 4588585"/>
              <a:gd name="connsiteX4378" fmla="*/ 4050102 w 5047599"/>
              <a:gd name="connsiteY4378" fmla="*/ 1633783 h 4588585"/>
              <a:gd name="connsiteX4379" fmla="*/ 4042851 w 5047599"/>
              <a:gd name="connsiteY4379" fmla="*/ 1636262 h 4588585"/>
              <a:gd name="connsiteX4380" fmla="*/ 4042859 w 5047599"/>
              <a:gd name="connsiteY4380" fmla="*/ 1636263 h 4588585"/>
              <a:gd name="connsiteX4381" fmla="*/ 4050122 w 5047599"/>
              <a:gd name="connsiteY4381" fmla="*/ 1633779 h 4588585"/>
              <a:gd name="connsiteX4382" fmla="*/ 4674060 w 5047599"/>
              <a:gd name="connsiteY4382" fmla="*/ 1630534 h 4588585"/>
              <a:gd name="connsiteX4383" fmla="*/ 4680204 w 5047599"/>
              <a:gd name="connsiteY4383" fmla="*/ 1631044 h 4588585"/>
              <a:gd name="connsiteX4384" fmla="*/ 4687574 w 5047599"/>
              <a:gd name="connsiteY4384" fmla="*/ 1635333 h 4588585"/>
              <a:gd name="connsiteX4385" fmla="*/ 4691247 w 5047599"/>
              <a:gd name="connsiteY4385" fmla="*/ 1636055 h 4588585"/>
              <a:gd name="connsiteX4386" fmla="*/ 4696801 w 5047599"/>
              <a:gd name="connsiteY4386" fmla="*/ 1633954 h 4588585"/>
              <a:gd name="connsiteX4387" fmla="*/ 4712721 w 5047599"/>
              <a:gd name="connsiteY4387" fmla="*/ 1633678 h 4588585"/>
              <a:gd name="connsiteX4388" fmla="*/ 4731915 w 5047599"/>
              <a:gd name="connsiteY4388" fmla="*/ 1640426 h 4588585"/>
              <a:gd name="connsiteX4389" fmla="*/ 4728283 w 5047599"/>
              <a:gd name="connsiteY4389" fmla="*/ 1642187 h 4588585"/>
              <a:gd name="connsiteX4390" fmla="*/ 4726129 w 5047599"/>
              <a:gd name="connsiteY4390" fmla="*/ 1644628 h 4588585"/>
              <a:gd name="connsiteX4391" fmla="*/ 4717704 w 5047599"/>
              <a:gd name="connsiteY4391" fmla="*/ 1646858 h 4588585"/>
              <a:gd name="connsiteX4392" fmla="*/ 4709301 w 5047599"/>
              <a:gd name="connsiteY4392" fmla="*/ 1652056 h 4588585"/>
              <a:gd name="connsiteX4393" fmla="*/ 4684976 w 5047599"/>
              <a:gd name="connsiteY4393" fmla="*/ 1654583 h 4588585"/>
              <a:gd name="connsiteX4394" fmla="*/ 4677839 w 5047599"/>
              <a:gd name="connsiteY4394" fmla="*/ 1653183 h 4588585"/>
              <a:gd name="connsiteX4395" fmla="*/ 4671970 w 5047599"/>
              <a:gd name="connsiteY4395" fmla="*/ 1648152 h 4588585"/>
              <a:gd name="connsiteX4396" fmla="*/ 4661096 w 5047599"/>
              <a:gd name="connsiteY4396" fmla="*/ 1641614 h 4588585"/>
              <a:gd name="connsiteX4397" fmla="*/ 4665382 w 5047599"/>
              <a:gd name="connsiteY4397" fmla="*/ 1637434 h 4588585"/>
              <a:gd name="connsiteX4398" fmla="*/ 4666311 w 5047599"/>
              <a:gd name="connsiteY4398" fmla="*/ 1635523 h 4588585"/>
              <a:gd name="connsiteX4399" fmla="*/ 4667916 w 5047599"/>
              <a:gd name="connsiteY4399" fmla="*/ 1633697 h 4588585"/>
              <a:gd name="connsiteX4400" fmla="*/ 2795008 w 5047599"/>
              <a:gd name="connsiteY4400" fmla="*/ 1625989 h 4588585"/>
              <a:gd name="connsiteX4401" fmla="*/ 2795006 w 5047599"/>
              <a:gd name="connsiteY4401" fmla="*/ 1625997 h 4588585"/>
              <a:gd name="connsiteX4402" fmla="*/ 2796062 w 5047599"/>
              <a:gd name="connsiteY4402" fmla="*/ 1629012 h 4588585"/>
              <a:gd name="connsiteX4403" fmla="*/ 2798152 w 5047599"/>
              <a:gd name="connsiteY4403" fmla="*/ 1631537 h 4588585"/>
              <a:gd name="connsiteX4404" fmla="*/ 2801086 w 5047599"/>
              <a:gd name="connsiteY4404" fmla="*/ 1632832 h 4588585"/>
              <a:gd name="connsiteX4405" fmla="*/ 2805395 w 5047599"/>
              <a:gd name="connsiteY4405" fmla="*/ 1633214 h 4588585"/>
              <a:gd name="connsiteX4406" fmla="*/ 2812531 w 5047599"/>
              <a:gd name="connsiteY4406" fmla="*/ 1631835 h 4588585"/>
              <a:gd name="connsiteX4407" fmla="*/ 2819182 w 5047599"/>
              <a:gd name="connsiteY4407" fmla="*/ 1630922 h 4588585"/>
              <a:gd name="connsiteX4408" fmla="*/ 2826234 w 5047599"/>
              <a:gd name="connsiteY4408" fmla="*/ 1633893 h 4588585"/>
              <a:gd name="connsiteX4409" fmla="*/ 2829907 w 5047599"/>
              <a:gd name="connsiteY4409" fmla="*/ 1640809 h 4588585"/>
              <a:gd name="connsiteX4410" fmla="*/ 2829909 w 5047599"/>
              <a:gd name="connsiteY4410" fmla="*/ 1640802 h 4588585"/>
              <a:gd name="connsiteX4411" fmla="*/ 2826235 w 5047599"/>
              <a:gd name="connsiteY4411" fmla="*/ 1633882 h 4588585"/>
              <a:gd name="connsiteX4412" fmla="*/ 2819183 w 5047599"/>
              <a:gd name="connsiteY4412" fmla="*/ 1630912 h 4588585"/>
              <a:gd name="connsiteX4413" fmla="*/ 2812532 w 5047599"/>
              <a:gd name="connsiteY4413" fmla="*/ 1631824 h 4588585"/>
              <a:gd name="connsiteX4414" fmla="*/ 2805395 w 5047599"/>
              <a:gd name="connsiteY4414" fmla="*/ 1633203 h 4588585"/>
              <a:gd name="connsiteX4415" fmla="*/ 2801087 w 5047599"/>
              <a:gd name="connsiteY4415" fmla="*/ 1632821 h 4588585"/>
              <a:gd name="connsiteX4416" fmla="*/ 2798153 w 5047599"/>
              <a:gd name="connsiteY4416" fmla="*/ 1631527 h 4588585"/>
              <a:gd name="connsiteX4417" fmla="*/ 2796063 w 5047599"/>
              <a:gd name="connsiteY4417" fmla="*/ 1629001 h 4588585"/>
              <a:gd name="connsiteX4418" fmla="*/ 3642991 w 5047599"/>
              <a:gd name="connsiteY4418" fmla="*/ 1625105 h 4588585"/>
              <a:gd name="connsiteX4419" fmla="*/ 3642379 w 5047599"/>
              <a:gd name="connsiteY4419" fmla="*/ 1628029 h 4588585"/>
              <a:gd name="connsiteX4420" fmla="*/ 3641344 w 5047599"/>
              <a:gd name="connsiteY4420" fmla="*/ 1629898 h 4588585"/>
              <a:gd name="connsiteX4421" fmla="*/ 3634229 w 5047599"/>
              <a:gd name="connsiteY4421" fmla="*/ 1631108 h 4588585"/>
              <a:gd name="connsiteX4422" fmla="*/ 3624326 w 5047599"/>
              <a:gd name="connsiteY4422" fmla="*/ 1632424 h 4588585"/>
              <a:gd name="connsiteX4423" fmla="*/ 3619005 w 5047599"/>
              <a:gd name="connsiteY4423" fmla="*/ 1633866 h 4588585"/>
              <a:gd name="connsiteX4424" fmla="*/ 3615437 w 5047599"/>
              <a:gd name="connsiteY4424" fmla="*/ 1636114 h 4588585"/>
              <a:gd name="connsiteX4425" fmla="*/ 3611045 w 5047599"/>
              <a:gd name="connsiteY4425" fmla="*/ 1641357 h 4588585"/>
              <a:gd name="connsiteX4426" fmla="*/ 3602346 w 5047599"/>
              <a:gd name="connsiteY4426" fmla="*/ 1655704 h 4588585"/>
              <a:gd name="connsiteX4427" fmla="*/ 3597806 w 5047599"/>
              <a:gd name="connsiteY4427" fmla="*/ 1664493 h 4588585"/>
              <a:gd name="connsiteX4428" fmla="*/ 3590669 w 5047599"/>
              <a:gd name="connsiteY4428" fmla="*/ 1676504 h 4588585"/>
              <a:gd name="connsiteX4429" fmla="*/ 3582371 w 5047599"/>
              <a:gd name="connsiteY4429" fmla="*/ 1684995 h 4588585"/>
              <a:gd name="connsiteX4430" fmla="*/ 3580618 w 5047599"/>
              <a:gd name="connsiteY4430" fmla="*/ 1689133 h 4588585"/>
              <a:gd name="connsiteX4431" fmla="*/ 3579246 w 5047599"/>
              <a:gd name="connsiteY4431" fmla="*/ 1696817 h 4588585"/>
              <a:gd name="connsiteX4432" fmla="*/ 3576184 w 5047599"/>
              <a:gd name="connsiteY4432" fmla="*/ 1708976 h 4588585"/>
              <a:gd name="connsiteX4433" fmla="*/ 3573377 w 5047599"/>
              <a:gd name="connsiteY4433" fmla="*/ 1717596 h 4588585"/>
              <a:gd name="connsiteX4434" fmla="*/ 3573378 w 5047599"/>
              <a:gd name="connsiteY4434" fmla="*/ 1717608 h 4588585"/>
              <a:gd name="connsiteX4435" fmla="*/ 3576184 w 5047599"/>
              <a:gd name="connsiteY4435" fmla="*/ 1708998 h 4588585"/>
              <a:gd name="connsiteX4436" fmla="*/ 3579246 w 5047599"/>
              <a:gd name="connsiteY4436" fmla="*/ 1696835 h 4588585"/>
              <a:gd name="connsiteX4437" fmla="*/ 3580618 w 5047599"/>
              <a:gd name="connsiteY4437" fmla="*/ 1689152 h 4588585"/>
              <a:gd name="connsiteX4438" fmla="*/ 3582371 w 5047599"/>
              <a:gd name="connsiteY4438" fmla="*/ 1685013 h 4588585"/>
              <a:gd name="connsiteX4439" fmla="*/ 3590669 w 5047599"/>
              <a:gd name="connsiteY4439" fmla="*/ 1676523 h 4588585"/>
              <a:gd name="connsiteX4440" fmla="*/ 3597805 w 5047599"/>
              <a:gd name="connsiteY4440" fmla="*/ 1664511 h 4588585"/>
              <a:gd name="connsiteX4441" fmla="*/ 3602345 w 5047599"/>
              <a:gd name="connsiteY4441" fmla="*/ 1655723 h 4588585"/>
              <a:gd name="connsiteX4442" fmla="*/ 3611045 w 5047599"/>
              <a:gd name="connsiteY4442" fmla="*/ 1641376 h 4588585"/>
              <a:gd name="connsiteX4443" fmla="*/ 3615437 w 5047599"/>
              <a:gd name="connsiteY4443" fmla="*/ 1636133 h 4588585"/>
              <a:gd name="connsiteX4444" fmla="*/ 3619005 w 5047599"/>
              <a:gd name="connsiteY4444" fmla="*/ 1633884 h 4588585"/>
              <a:gd name="connsiteX4445" fmla="*/ 3624326 w 5047599"/>
              <a:gd name="connsiteY4445" fmla="*/ 1632442 h 4588585"/>
              <a:gd name="connsiteX4446" fmla="*/ 3634228 w 5047599"/>
              <a:gd name="connsiteY4446" fmla="*/ 1631127 h 4588585"/>
              <a:gd name="connsiteX4447" fmla="*/ 3641344 w 5047599"/>
              <a:gd name="connsiteY4447" fmla="*/ 1629917 h 4588585"/>
              <a:gd name="connsiteX4448" fmla="*/ 3642379 w 5047599"/>
              <a:gd name="connsiteY4448" fmla="*/ 1628049 h 4588585"/>
              <a:gd name="connsiteX4449" fmla="*/ 3642991 w 5047599"/>
              <a:gd name="connsiteY4449" fmla="*/ 1625120 h 4588585"/>
              <a:gd name="connsiteX4450" fmla="*/ 2234612 w 5047599"/>
              <a:gd name="connsiteY4450" fmla="*/ 1608388 h 4588585"/>
              <a:gd name="connsiteX4451" fmla="*/ 2231721 w 5047599"/>
              <a:gd name="connsiteY4451" fmla="*/ 1608798 h 4588585"/>
              <a:gd name="connsiteX4452" fmla="*/ 2231752 w 5047599"/>
              <a:gd name="connsiteY4452" fmla="*/ 1608801 h 4588585"/>
              <a:gd name="connsiteX4453" fmla="*/ 1926834 w 5047599"/>
              <a:gd name="connsiteY4453" fmla="*/ 1608021 h 4588585"/>
              <a:gd name="connsiteX4454" fmla="*/ 1926752 w 5047599"/>
              <a:gd name="connsiteY4454" fmla="*/ 1608042 h 4588585"/>
              <a:gd name="connsiteX4455" fmla="*/ 1922782 w 5047599"/>
              <a:gd name="connsiteY4455" fmla="*/ 1611522 h 4588585"/>
              <a:gd name="connsiteX4456" fmla="*/ 1919847 w 5047599"/>
              <a:gd name="connsiteY4456" fmla="*/ 1613262 h 4588585"/>
              <a:gd name="connsiteX4457" fmla="*/ 1916848 w 5047599"/>
              <a:gd name="connsiteY4457" fmla="*/ 1613554 h 4588585"/>
              <a:gd name="connsiteX4458" fmla="*/ 1916870 w 5047599"/>
              <a:gd name="connsiteY4458" fmla="*/ 1613558 h 4588585"/>
              <a:gd name="connsiteX4459" fmla="*/ 1919953 w 5047599"/>
              <a:gd name="connsiteY4459" fmla="*/ 1613261 h 4588585"/>
              <a:gd name="connsiteX4460" fmla="*/ 1922866 w 5047599"/>
              <a:gd name="connsiteY4460" fmla="*/ 1611499 h 4588585"/>
              <a:gd name="connsiteX4461" fmla="*/ 1245174 w 5047599"/>
              <a:gd name="connsiteY4461" fmla="*/ 1606059 h 4588585"/>
              <a:gd name="connsiteX4462" fmla="*/ 1245171 w 5047599"/>
              <a:gd name="connsiteY4462" fmla="*/ 1606062 h 4588585"/>
              <a:gd name="connsiteX4463" fmla="*/ 1246270 w 5047599"/>
              <a:gd name="connsiteY4463" fmla="*/ 1610095 h 4588585"/>
              <a:gd name="connsiteX4464" fmla="*/ 1249204 w 5047599"/>
              <a:gd name="connsiteY4464" fmla="*/ 1614787 h 4588585"/>
              <a:gd name="connsiteX4465" fmla="*/ 1251295 w 5047599"/>
              <a:gd name="connsiteY4465" fmla="*/ 1620601 h 4588585"/>
              <a:gd name="connsiteX4466" fmla="*/ 1251295 w 5047599"/>
              <a:gd name="connsiteY4466" fmla="*/ 1620589 h 4588585"/>
              <a:gd name="connsiteX4467" fmla="*/ 1249205 w 5047599"/>
              <a:gd name="connsiteY4467" fmla="*/ 1614774 h 4588585"/>
              <a:gd name="connsiteX4468" fmla="*/ 1246270 w 5047599"/>
              <a:gd name="connsiteY4468" fmla="*/ 1610083 h 4588585"/>
              <a:gd name="connsiteX4469" fmla="*/ 2107944 w 5047599"/>
              <a:gd name="connsiteY4469" fmla="*/ 1596206 h 4588585"/>
              <a:gd name="connsiteX4470" fmla="*/ 2107873 w 5047599"/>
              <a:gd name="connsiteY4470" fmla="*/ 1596220 h 4588585"/>
              <a:gd name="connsiteX4471" fmla="*/ 2105213 w 5047599"/>
              <a:gd name="connsiteY4471" fmla="*/ 1596879 h 4588585"/>
              <a:gd name="connsiteX4472" fmla="*/ 2096935 w 5047599"/>
              <a:gd name="connsiteY4472" fmla="*/ 1600765 h 4588585"/>
              <a:gd name="connsiteX4473" fmla="*/ 2090073 w 5047599"/>
              <a:gd name="connsiteY4473" fmla="*/ 1605072 h 4588585"/>
              <a:gd name="connsiteX4474" fmla="*/ 2071540 w 5047599"/>
              <a:gd name="connsiteY4474" fmla="*/ 1624763 h 4588585"/>
              <a:gd name="connsiteX4475" fmla="*/ 2071619 w 5047599"/>
              <a:gd name="connsiteY4475" fmla="*/ 1624765 h 4588585"/>
              <a:gd name="connsiteX4476" fmla="*/ 2090179 w 5047599"/>
              <a:gd name="connsiteY4476" fmla="*/ 1605049 h 4588585"/>
              <a:gd name="connsiteX4477" fmla="*/ 2097041 w 5047599"/>
              <a:gd name="connsiteY4477" fmla="*/ 1600742 h 4588585"/>
              <a:gd name="connsiteX4478" fmla="*/ 2105318 w 5047599"/>
              <a:gd name="connsiteY4478" fmla="*/ 1596856 h 4588585"/>
              <a:gd name="connsiteX4479" fmla="*/ 1963238 w 5047599"/>
              <a:gd name="connsiteY4479" fmla="*/ 1592762 h 4588585"/>
              <a:gd name="connsiteX4480" fmla="*/ 1937738 w 5047599"/>
              <a:gd name="connsiteY4480" fmla="*/ 1606743 h 4588585"/>
              <a:gd name="connsiteX4481" fmla="*/ 1937795 w 5047599"/>
              <a:gd name="connsiteY4481" fmla="*/ 1606746 h 4588585"/>
              <a:gd name="connsiteX4482" fmla="*/ 1963242 w 5047599"/>
              <a:gd name="connsiteY4482" fmla="*/ 1592762 h 4588585"/>
              <a:gd name="connsiteX4483" fmla="*/ 2818953 w 5047599"/>
              <a:gd name="connsiteY4483" fmla="*/ 1592139 h 4588585"/>
              <a:gd name="connsiteX4484" fmla="*/ 2818886 w 5047599"/>
              <a:gd name="connsiteY4484" fmla="*/ 1593237 h 4588585"/>
              <a:gd name="connsiteX4485" fmla="*/ 2818887 w 5047599"/>
              <a:gd name="connsiteY4485" fmla="*/ 1593237 h 4588585"/>
              <a:gd name="connsiteX4486" fmla="*/ 1560265 w 5047599"/>
              <a:gd name="connsiteY4486" fmla="*/ 1591100 h 4588585"/>
              <a:gd name="connsiteX4487" fmla="*/ 1559569 w 5047599"/>
              <a:gd name="connsiteY4487" fmla="*/ 1593563 h 4588585"/>
              <a:gd name="connsiteX4488" fmla="*/ 1559358 w 5047599"/>
              <a:gd name="connsiteY4488" fmla="*/ 1602944 h 4588585"/>
              <a:gd name="connsiteX4489" fmla="*/ 1559358 w 5047599"/>
              <a:gd name="connsiteY4489" fmla="*/ 1602946 h 4588585"/>
              <a:gd name="connsiteX4490" fmla="*/ 1559569 w 5047599"/>
              <a:gd name="connsiteY4490" fmla="*/ 1593575 h 4588585"/>
              <a:gd name="connsiteX4491" fmla="*/ 1560265 w 5047599"/>
              <a:gd name="connsiteY4491" fmla="*/ 1591113 h 4588585"/>
              <a:gd name="connsiteX4492" fmla="*/ 1565502 w 5047599"/>
              <a:gd name="connsiteY4492" fmla="*/ 1592576 h 4588585"/>
              <a:gd name="connsiteX4493" fmla="*/ 1571076 w 5047599"/>
              <a:gd name="connsiteY4493" fmla="*/ 1593256 h 4588585"/>
              <a:gd name="connsiteX4494" fmla="*/ 1572871 w 5047599"/>
              <a:gd name="connsiteY4494" fmla="*/ 1591559 h 4588585"/>
              <a:gd name="connsiteX4495" fmla="*/ 1572864 w 5047599"/>
              <a:gd name="connsiteY4495" fmla="*/ 1591553 h 4588585"/>
              <a:gd name="connsiteX4496" fmla="*/ 1571076 w 5047599"/>
              <a:gd name="connsiteY4496" fmla="*/ 1593244 h 4588585"/>
              <a:gd name="connsiteX4497" fmla="*/ 1565502 w 5047599"/>
              <a:gd name="connsiteY4497" fmla="*/ 1592564 h 4588585"/>
              <a:gd name="connsiteX4498" fmla="*/ 796803 w 5047599"/>
              <a:gd name="connsiteY4498" fmla="*/ 1588571 h 4588585"/>
              <a:gd name="connsiteX4499" fmla="*/ 796803 w 5047599"/>
              <a:gd name="connsiteY4499" fmla="*/ 1588575 h 4588585"/>
              <a:gd name="connsiteX4500" fmla="*/ 797837 w 5047599"/>
              <a:gd name="connsiteY4500" fmla="*/ 1591123 h 4588585"/>
              <a:gd name="connsiteX4501" fmla="*/ 800561 w 5047599"/>
              <a:gd name="connsiteY4501" fmla="*/ 1594094 h 4588585"/>
              <a:gd name="connsiteX4502" fmla="*/ 802250 w 5047599"/>
              <a:gd name="connsiteY4502" fmla="*/ 1593393 h 4588585"/>
              <a:gd name="connsiteX4503" fmla="*/ 804087 w 5047599"/>
              <a:gd name="connsiteY4503" fmla="*/ 1590974 h 4588585"/>
              <a:gd name="connsiteX4504" fmla="*/ 804911 w 5047599"/>
              <a:gd name="connsiteY4504" fmla="*/ 1589297 h 4588585"/>
              <a:gd name="connsiteX4505" fmla="*/ 809893 w 5047599"/>
              <a:gd name="connsiteY4505" fmla="*/ 1590040 h 4588585"/>
              <a:gd name="connsiteX4506" fmla="*/ 812216 w 5047599"/>
              <a:gd name="connsiteY4506" fmla="*/ 1590805 h 4588585"/>
              <a:gd name="connsiteX4507" fmla="*/ 815405 w 5047599"/>
              <a:gd name="connsiteY4507" fmla="*/ 1595665 h 4588585"/>
              <a:gd name="connsiteX4508" fmla="*/ 816566 w 5047599"/>
              <a:gd name="connsiteY4508" fmla="*/ 1598891 h 4588585"/>
              <a:gd name="connsiteX4509" fmla="*/ 817326 w 5047599"/>
              <a:gd name="connsiteY4509" fmla="*/ 1602945 h 4588585"/>
              <a:gd name="connsiteX4510" fmla="*/ 820641 w 5047599"/>
              <a:gd name="connsiteY4510" fmla="*/ 1607996 h 4588585"/>
              <a:gd name="connsiteX4511" fmla="*/ 823533 w 5047599"/>
              <a:gd name="connsiteY4511" fmla="*/ 1611562 h 4588585"/>
              <a:gd name="connsiteX4512" fmla="*/ 824125 w 5047599"/>
              <a:gd name="connsiteY4512" fmla="*/ 1613790 h 4588585"/>
              <a:gd name="connsiteX4513" fmla="*/ 826700 w 5047599"/>
              <a:gd name="connsiteY4513" fmla="*/ 1616804 h 4588585"/>
              <a:gd name="connsiteX4514" fmla="*/ 826701 w 5047599"/>
              <a:gd name="connsiteY4514" fmla="*/ 1616799 h 4588585"/>
              <a:gd name="connsiteX4515" fmla="*/ 824125 w 5047599"/>
              <a:gd name="connsiteY4515" fmla="*/ 1613784 h 4588585"/>
              <a:gd name="connsiteX4516" fmla="*/ 823533 w 5047599"/>
              <a:gd name="connsiteY4516" fmla="*/ 1611556 h 4588585"/>
              <a:gd name="connsiteX4517" fmla="*/ 820641 w 5047599"/>
              <a:gd name="connsiteY4517" fmla="*/ 1607990 h 4588585"/>
              <a:gd name="connsiteX4518" fmla="*/ 817326 w 5047599"/>
              <a:gd name="connsiteY4518" fmla="*/ 1602939 h 4588585"/>
              <a:gd name="connsiteX4519" fmla="*/ 816566 w 5047599"/>
              <a:gd name="connsiteY4519" fmla="*/ 1598886 h 4588585"/>
              <a:gd name="connsiteX4520" fmla="*/ 815405 w 5047599"/>
              <a:gd name="connsiteY4520" fmla="*/ 1595659 h 4588585"/>
              <a:gd name="connsiteX4521" fmla="*/ 812216 w 5047599"/>
              <a:gd name="connsiteY4521" fmla="*/ 1590798 h 4588585"/>
              <a:gd name="connsiteX4522" fmla="*/ 809893 w 5047599"/>
              <a:gd name="connsiteY4522" fmla="*/ 1590034 h 4588585"/>
              <a:gd name="connsiteX4523" fmla="*/ 804910 w 5047599"/>
              <a:gd name="connsiteY4523" fmla="*/ 1589291 h 4588585"/>
              <a:gd name="connsiteX4524" fmla="*/ 804087 w 5047599"/>
              <a:gd name="connsiteY4524" fmla="*/ 1590967 h 4588585"/>
              <a:gd name="connsiteX4525" fmla="*/ 802249 w 5047599"/>
              <a:gd name="connsiteY4525" fmla="*/ 1593387 h 4588585"/>
              <a:gd name="connsiteX4526" fmla="*/ 800561 w 5047599"/>
              <a:gd name="connsiteY4526" fmla="*/ 1594088 h 4588585"/>
              <a:gd name="connsiteX4527" fmla="*/ 797837 w 5047599"/>
              <a:gd name="connsiteY4527" fmla="*/ 1591117 h 4588585"/>
              <a:gd name="connsiteX4528" fmla="*/ 2264461 w 5047599"/>
              <a:gd name="connsiteY4528" fmla="*/ 1585975 h 4588585"/>
              <a:gd name="connsiteX4529" fmla="*/ 2264438 w 5047599"/>
              <a:gd name="connsiteY4529" fmla="*/ 1585986 h 4588585"/>
              <a:gd name="connsiteX4530" fmla="*/ 2257808 w 5047599"/>
              <a:gd name="connsiteY4530" fmla="*/ 1590146 h 4588585"/>
              <a:gd name="connsiteX4531" fmla="*/ 2251580 w 5047599"/>
              <a:gd name="connsiteY4531" fmla="*/ 1593436 h 4588585"/>
              <a:gd name="connsiteX4532" fmla="*/ 2243007 w 5047599"/>
              <a:gd name="connsiteY4532" fmla="*/ 1601480 h 4588585"/>
              <a:gd name="connsiteX4533" fmla="*/ 2240226 w 5047599"/>
              <a:gd name="connsiteY4533" fmla="*/ 1607578 h 4588585"/>
              <a:gd name="connsiteX4534" fmla="*/ 2240282 w 5047599"/>
              <a:gd name="connsiteY4534" fmla="*/ 1607570 h 4588585"/>
              <a:gd name="connsiteX4535" fmla="*/ 2243070 w 5047599"/>
              <a:gd name="connsiteY4535" fmla="*/ 1601457 h 4588585"/>
              <a:gd name="connsiteX4536" fmla="*/ 2251642 w 5047599"/>
              <a:gd name="connsiteY4536" fmla="*/ 1593413 h 4588585"/>
              <a:gd name="connsiteX4537" fmla="*/ 2257871 w 5047599"/>
              <a:gd name="connsiteY4537" fmla="*/ 1590144 h 4588585"/>
              <a:gd name="connsiteX4538" fmla="*/ 3952747 w 5047599"/>
              <a:gd name="connsiteY4538" fmla="*/ 1582871 h 4588585"/>
              <a:gd name="connsiteX4539" fmla="*/ 3952764 w 5047599"/>
              <a:gd name="connsiteY4539" fmla="*/ 1582888 h 4588585"/>
              <a:gd name="connsiteX4540" fmla="*/ 3957852 w 5047599"/>
              <a:gd name="connsiteY4540" fmla="*/ 1586607 h 4588585"/>
              <a:gd name="connsiteX4541" fmla="*/ 1307904 w 5047599"/>
              <a:gd name="connsiteY4541" fmla="*/ 1578170 h 4588585"/>
              <a:gd name="connsiteX4542" fmla="*/ 1307903 w 5047599"/>
              <a:gd name="connsiteY4542" fmla="*/ 1578174 h 4588585"/>
              <a:gd name="connsiteX4543" fmla="*/ 1308093 w 5047599"/>
              <a:gd name="connsiteY4543" fmla="*/ 1588905 h 4588585"/>
              <a:gd name="connsiteX4544" fmla="*/ 1308093 w 5047599"/>
              <a:gd name="connsiteY4544" fmla="*/ 1588904 h 4588585"/>
              <a:gd name="connsiteX4545" fmla="*/ 2311874 w 5047599"/>
              <a:gd name="connsiteY4545" fmla="*/ 1575911 h 4588585"/>
              <a:gd name="connsiteX4546" fmla="*/ 2317288 w 5047599"/>
              <a:gd name="connsiteY4546" fmla="*/ 1583524 h 4588585"/>
              <a:gd name="connsiteX4547" fmla="*/ 2327295 w 5047599"/>
              <a:gd name="connsiteY4547" fmla="*/ 1597595 h 4588585"/>
              <a:gd name="connsiteX4548" fmla="*/ 2335087 w 5047599"/>
              <a:gd name="connsiteY4548" fmla="*/ 1608526 h 4588585"/>
              <a:gd name="connsiteX4549" fmla="*/ 2336390 w 5047599"/>
              <a:gd name="connsiteY4549" fmla="*/ 1614994 h 4588585"/>
              <a:gd name="connsiteX4550" fmla="*/ 2335090 w 5047599"/>
              <a:gd name="connsiteY4550" fmla="*/ 1608516 h 4588585"/>
              <a:gd name="connsiteX4551" fmla="*/ 2335087 w 5047599"/>
              <a:gd name="connsiteY4551" fmla="*/ 1608516 h 4588585"/>
              <a:gd name="connsiteX4552" fmla="*/ 2327295 w 5047599"/>
              <a:gd name="connsiteY4552" fmla="*/ 1597584 h 4588585"/>
              <a:gd name="connsiteX4553" fmla="*/ 2317288 w 5047599"/>
              <a:gd name="connsiteY4553" fmla="*/ 1583512 h 4588585"/>
              <a:gd name="connsiteX4554" fmla="*/ 787385 w 5047599"/>
              <a:gd name="connsiteY4554" fmla="*/ 1574776 h 4588585"/>
              <a:gd name="connsiteX4555" fmla="*/ 787385 w 5047599"/>
              <a:gd name="connsiteY4555" fmla="*/ 1574780 h 4588585"/>
              <a:gd name="connsiteX4556" fmla="*/ 793129 w 5047599"/>
              <a:gd name="connsiteY4556" fmla="*/ 1582208 h 4588585"/>
              <a:gd name="connsiteX4557" fmla="*/ 796824 w 5047599"/>
              <a:gd name="connsiteY4557" fmla="*/ 1586262 h 4588585"/>
              <a:gd name="connsiteX4558" fmla="*/ 796824 w 5047599"/>
              <a:gd name="connsiteY4558" fmla="*/ 1586257 h 4588585"/>
              <a:gd name="connsiteX4559" fmla="*/ 793128 w 5047599"/>
              <a:gd name="connsiteY4559" fmla="*/ 1582203 h 4588585"/>
              <a:gd name="connsiteX4560" fmla="*/ 1871875 w 5047599"/>
              <a:gd name="connsiteY4560" fmla="*/ 1572344 h 4588585"/>
              <a:gd name="connsiteX4561" fmla="*/ 1868218 w 5047599"/>
              <a:gd name="connsiteY4561" fmla="*/ 1572910 h 4588585"/>
              <a:gd name="connsiteX4562" fmla="*/ 1868243 w 5047599"/>
              <a:gd name="connsiteY4562" fmla="*/ 1572917 h 4588585"/>
              <a:gd name="connsiteX4563" fmla="*/ 1871901 w 5047599"/>
              <a:gd name="connsiteY4563" fmla="*/ 1572351 h 4588585"/>
              <a:gd name="connsiteX4564" fmla="*/ 2294443 w 5047599"/>
              <a:gd name="connsiteY4564" fmla="*/ 1571483 h 4588585"/>
              <a:gd name="connsiteX4565" fmla="*/ 2291233 w 5047599"/>
              <a:gd name="connsiteY4565" fmla="*/ 1572467 h 4588585"/>
              <a:gd name="connsiteX4566" fmla="*/ 2283525 w 5047599"/>
              <a:gd name="connsiteY4566" fmla="*/ 1578431 h 4588585"/>
              <a:gd name="connsiteX4567" fmla="*/ 2280044 w 5047599"/>
              <a:gd name="connsiteY4567" fmla="*/ 1579382 h 4588585"/>
              <a:gd name="connsiteX4568" fmla="*/ 2283568 w 5047599"/>
              <a:gd name="connsiteY4568" fmla="*/ 1578427 h 4588585"/>
              <a:gd name="connsiteX4569" fmla="*/ 2291274 w 5047599"/>
              <a:gd name="connsiteY4569" fmla="*/ 1572465 h 4588585"/>
              <a:gd name="connsiteX4570" fmla="*/ 1771885 w 5047599"/>
              <a:gd name="connsiteY4570" fmla="*/ 1570603 h 4588585"/>
              <a:gd name="connsiteX4571" fmla="*/ 1771876 w 5047599"/>
              <a:gd name="connsiteY4571" fmla="*/ 1570606 h 4588585"/>
              <a:gd name="connsiteX4572" fmla="*/ 1763684 w 5047599"/>
              <a:gd name="connsiteY4572" fmla="*/ 1573896 h 4588585"/>
              <a:gd name="connsiteX4573" fmla="*/ 1753063 w 5047599"/>
              <a:gd name="connsiteY4573" fmla="*/ 1582832 h 4588585"/>
              <a:gd name="connsiteX4574" fmla="*/ 1750023 w 5047599"/>
              <a:gd name="connsiteY4574" fmla="*/ 1583976 h 4588585"/>
              <a:gd name="connsiteX4575" fmla="*/ 1747446 w 5047599"/>
              <a:gd name="connsiteY4575" fmla="*/ 1585462 h 4588585"/>
              <a:gd name="connsiteX4576" fmla="*/ 1743900 w 5047599"/>
              <a:gd name="connsiteY4576" fmla="*/ 1609913 h 4588585"/>
              <a:gd name="connsiteX4577" fmla="*/ 1741007 w 5047599"/>
              <a:gd name="connsiteY4577" fmla="*/ 1617256 h 4588585"/>
              <a:gd name="connsiteX4578" fmla="*/ 1735622 w 5047599"/>
              <a:gd name="connsiteY4578" fmla="*/ 1626957 h 4588585"/>
              <a:gd name="connsiteX4579" fmla="*/ 1725044 w 5047599"/>
              <a:gd name="connsiteY4579" fmla="*/ 1636210 h 4588585"/>
              <a:gd name="connsiteX4580" fmla="*/ 1717780 w 5047599"/>
              <a:gd name="connsiteY4580" fmla="*/ 1641814 h 4588585"/>
              <a:gd name="connsiteX4581" fmla="*/ 1717611 w 5047599"/>
              <a:gd name="connsiteY4581" fmla="*/ 1649367 h 4588585"/>
              <a:gd name="connsiteX4582" fmla="*/ 1717041 w 5047599"/>
              <a:gd name="connsiteY4582" fmla="*/ 1661722 h 4588585"/>
              <a:gd name="connsiteX4583" fmla="*/ 1716936 w 5047599"/>
              <a:gd name="connsiteY4583" fmla="*/ 1670189 h 4588585"/>
              <a:gd name="connsiteX4584" fmla="*/ 1717421 w 5047599"/>
              <a:gd name="connsiteY4584" fmla="*/ 1675708 h 4588585"/>
              <a:gd name="connsiteX4585" fmla="*/ 1716197 w 5047599"/>
              <a:gd name="connsiteY4585" fmla="*/ 1678339 h 4588585"/>
              <a:gd name="connsiteX4586" fmla="*/ 1715711 w 5047599"/>
              <a:gd name="connsiteY4586" fmla="*/ 1680738 h 4588585"/>
              <a:gd name="connsiteX4587" fmla="*/ 1716091 w 5047599"/>
              <a:gd name="connsiteY4587" fmla="*/ 1684326 h 4588585"/>
              <a:gd name="connsiteX4588" fmla="*/ 1717822 w 5047599"/>
              <a:gd name="connsiteY4588" fmla="*/ 1686044 h 4588585"/>
              <a:gd name="connsiteX4589" fmla="*/ 1718837 w 5047599"/>
              <a:gd name="connsiteY4589" fmla="*/ 1688293 h 4588585"/>
              <a:gd name="connsiteX4590" fmla="*/ 1718160 w 5047599"/>
              <a:gd name="connsiteY4590" fmla="*/ 1690119 h 4588585"/>
              <a:gd name="connsiteX4591" fmla="*/ 1714739 w 5047599"/>
              <a:gd name="connsiteY4591" fmla="*/ 1692284 h 4588585"/>
              <a:gd name="connsiteX4592" fmla="*/ 1714738 w 5047599"/>
              <a:gd name="connsiteY4592" fmla="*/ 1692281 h 4588585"/>
              <a:gd name="connsiteX4593" fmla="*/ 1712290 w 5047599"/>
              <a:gd name="connsiteY4593" fmla="*/ 1696163 h 4588585"/>
              <a:gd name="connsiteX4594" fmla="*/ 1708532 w 5047599"/>
              <a:gd name="connsiteY4594" fmla="*/ 1704184 h 4588585"/>
              <a:gd name="connsiteX4595" fmla="*/ 1708363 w 5047599"/>
              <a:gd name="connsiteY4595" fmla="*/ 1710447 h 4588585"/>
              <a:gd name="connsiteX4596" fmla="*/ 1717316 w 5047599"/>
              <a:gd name="connsiteY4596" fmla="*/ 1723648 h 4588585"/>
              <a:gd name="connsiteX4597" fmla="*/ 1718351 w 5047599"/>
              <a:gd name="connsiteY4597" fmla="*/ 1724984 h 4588585"/>
              <a:gd name="connsiteX4598" fmla="*/ 1720652 w 5047599"/>
              <a:gd name="connsiteY4598" fmla="*/ 1727043 h 4588585"/>
              <a:gd name="connsiteX4599" fmla="*/ 1721897 w 5047599"/>
              <a:gd name="connsiteY4599" fmla="*/ 1729505 h 4588585"/>
              <a:gd name="connsiteX4600" fmla="*/ 1722975 w 5047599"/>
              <a:gd name="connsiteY4600" fmla="*/ 1735999 h 4588585"/>
              <a:gd name="connsiteX4601" fmla="*/ 1723587 w 5047599"/>
              <a:gd name="connsiteY4601" fmla="*/ 1743322 h 4588585"/>
              <a:gd name="connsiteX4602" fmla="*/ 1724305 w 5047599"/>
              <a:gd name="connsiteY4602" fmla="*/ 1748246 h 4588585"/>
              <a:gd name="connsiteX4603" fmla="*/ 1728633 w 5047599"/>
              <a:gd name="connsiteY4603" fmla="*/ 1755166 h 4588585"/>
              <a:gd name="connsiteX4604" fmla="*/ 1728908 w 5047599"/>
              <a:gd name="connsiteY4604" fmla="*/ 1757944 h 4588585"/>
              <a:gd name="connsiteX4605" fmla="*/ 1725909 w 5047599"/>
              <a:gd name="connsiteY4605" fmla="*/ 1768282 h 4588585"/>
              <a:gd name="connsiteX4606" fmla="*/ 1725192 w 5047599"/>
              <a:gd name="connsiteY4606" fmla="*/ 1769384 h 4588585"/>
              <a:gd name="connsiteX4607" fmla="*/ 1724410 w 5047599"/>
              <a:gd name="connsiteY4607" fmla="*/ 1769661 h 4588585"/>
              <a:gd name="connsiteX4608" fmla="*/ 1719765 w 5047599"/>
              <a:gd name="connsiteY4608" fmla="*/ 1768767 h 4588585"/>
              <a:gd name="connsiteX4609" fmla="*/ 1717780 w 5047599"/>
              <a:gd name="connsiteY4609" fmla="*/ 1769890 h 4588585"/>
              <a:gd name="connsiteX4610" fmla="*/ 1715247 w 5047599"/>
              <a:gd name="connsiteY4610" fmla="*/ 1773391 h 4588585"/>
              <a:gd name="connsiteX4611" fmla="*/ 1713705 w 5047599"/>
              <a:gd name="connsiteY4611" fmla="*/ 1776894 h 4588585"/>
              <a:gd name="connsiteX4612" fmla="*/ 1713621 w 5047599"/>
              <a:gd name="connsiteY4612" fmla="*/ 1778358 h 4588585"/>
              <a:gd name="connsiteX4613" fmla="*/ 1717738 w 5047599"/>
              <a:gd name="connsiteY4613" fmla="*/ 1784852 h 4588585"/>
              <a:gd name="connsiteX4614" fmla="*/ 1715141 w 5047599"/>
              <a:gd name="connsiteY4614" fmla="*/ 1794212 h 4588585"/>
              <a:gd name="connsiteX4615" fmla="*/ 1712480 w 5047599"/>
              <a:gd name="connsiteY4615" fmla="*/ 1800049 h 4588585"/>
              <a:gd name="connsiteX4616" fmla="*/ 1707708 w 5047599"/>
              <a:gd name="connsiteY4616" fmla="*/ 1803381 h 4588585"/>
              <a:gd name="connsiteX4617" fmla="*/ 1703443 w 5047599"/>
              <a:gd name="connsiteY4617" fmla="*/ 1804164 h 4588585"/>
              <a:gd name="connsiteX4618" fmla="*/ 1700467 w 5047599"/>
              <a:gd name="connsiteY4618" fmla="*/ 1805735 h 4588585"/>
              <a:gd name="connsiteX4619" fmla="*/ 1698734 w 5047599"/>
              <a:gd name="connsiteY4619" fmla="*/ 1807794 h 4588585"/>
              <a:gd name="connsiteX4620" fmla="*/ 1698988 w 5047599"/>
              <a:gd name="connsiteY4620" fmla="*/ 1814479 h 4588585"/>
              <a:gd name="connsiteX4621" fmla="*/ 1692696 w 5047599"/>
              <a:gd name="connsiteY4621" fmla="*/ 1820570 h 4588585"/>
              <a:gd name="connsiteX4622" fmla="*/ 1689212 w 5047599"/>
              <a:gd name="connsiteY4622" fmla="*/ 1824837 h 4588585"/>
              <a:gd name="connsiteX4623" fmla="*/ 1687523 w 5047599"/>
              <a:gd name="connsiteY4623" fmla="*/ 1827404 h 4588585"/>
              <a:gd name="connsiteX4624" fmla="*/ 1688241 w 5047599"/>
              <a:gd name="connsiteY4624" fmla="*/ 1835258 h 4588585"/>
              <a:gd name="connsiteX4625" fmla="*/ 1686003 w 5047599"/>
              <a:gd name="connsiteY4625" fmla="*/ 1843196 h 4588585"/>
              <a:gd name="connsiteX4626" fmla="*/ 1682118 w 5047599"/>
              <a:gd name="connsiteY4626" fmla="*/ 1849457 h 4588585"/>
              <a:gd name="connsiteX4627" fmla="*/ 1673448 w 5047599"/>
              <a:gd name="connsiteY4627" fmla="*/ 1850810 h 4588585"/>
              <a:gd name="connsiteX4628" fmla="*/ 1673544 w 5047599"/>
              <a:gd name="connsiteY4628" fmla="*/ 1850800 h 4588585"/>
              <a:gd name="connsiteX4629" fmla="*/ 1682244 w 5047599"/>
              <a:gd name="connsiteY4629" fmla="*/ 1849463 h 4588585"/>
              <a:gd name="connsiteX4630" fmla="*/ 1686129 w 5047599"/>
              <a:gd name="connsiteY4630" fmla="*/ 1843203 h 4588585"/>
              <a:gd name="connsiteX4631" fmla="*/ 1688367 w 5047599"/>
              <a:gd name="connsiteY4631" fmla="*/ 1835263 h 4588585"/>
              <a:gd name="connsiteX4632" fmla="*/ 1687649 w 5047599"/>
              <a:gd name="connsiteY4632" fmla="*/ 1827411 h 4588585"/>
              <a:gd name="connsiteX4633" fmla="*/ 1689338 w 5047599"/>
              <a:gd name="connsiteY4633" fmla="*/ 1824822 h 4588585"/>
              <a:gd name="connsiteX4634" fmla="*/ 1692823 w 5047599"/>
              <a:gd name="connsiteY4634" fmla="*/ 1820555 h 4588585"/>
              <a:gd name="connsiteX4635" fmla="*/ 1699115 w 5047599"/>
              <a:gd name="connsiteY4635" fmla="*/ 1814463 h 4588585"/>
              <a:gd name="connsiteX4636" fmla="*/ 1698861 w 5047599"/>
              <a:gd name="connsiteY4636" fmla="*/ 1807779 h 4588585"/>
              <a:gd name="connsiteX4637" fmla="*/ 1700592 w 5047599"/>
              <a:gd name="connsiteY4637" fmla="*/ 1805720 h 4588585"/>
              <a:gd name="connsiteX4638" fmla="*/ 1703570 w 5047599"/>
              <a:gd name="connsiteY4638" fmla="*/ 1804170 h 4588585"/>
              <a:gd name="connsiteX4639" fmla="*/ 1707835 w 5047599"/>
              <a:gd name="connsiteY4639" fmla="*/ 1803386 h 4588585"/>
              <a:gd name="connsiteX4640" fmla="*/ 1712607 w 5047599"/>
              <a:gd name="connsiteY4640" fmla="*/ 1800055 h 4588585"/>
              <a:gd name="connsiteX4641" fmla="*/ 1715247 w 5047599"/>
              <a:gd name="connsiteY4641" fmla="*/ 1794217 h 4588585"/>
              <a:gd name="connsiteX4642" fmla="*/ 1717844 w 5047599"/>
              <a:gd name="connsiteY4642" fmla="*/ 1784880 h 4588585"/>
              <a:gd name="connsiteX4643" fmla="*/ 1713748 w 5047599"/>
              <a:gd name="connsiteY4643" fmla="*/ 1778364 h 4588585"/>
              <a:gd name="connsiteX4644" fmla="*/ 1713810 w 5047599"/>
              <a:gd name="connsiteY4644" fmla="*/ 1776922 h 4588585"/>
              <a:gd name="connsiteX4645" fmla="*/ 1715373 w 5047599"/>
              <a:gd name="connsiteY4645" fmla="*/ 1773419 h 4588585"/>
              <a:gd name="connsiteX4646" fmla="*/ 1717886 w 5047599"/>
              <a:gd name="connsiteY4646" fmla="*/ 1769916 h 4588585"/>
              <a:gd name="connsiteX4647" fmla="*/ 1719871 w 5047599"/>
              <a:gd name="connsiteY4647" fmla="*/ 1768793 h 4588585"/>
              <a:gd name="connsiteX4648" fmla="*/ 1724516 w 5047599"/>
              <a:gd name="connsiteY4648" fmla="*/ 1769684 h 4588585"/>
              <a:gd name="connsiteX4649" fmla="*/ 1725318 w 5047599"/>
              <a:gd name="connsiteY4649" fmla="*/ 1769386 h 4588585"/>
              <a:gd name="connsiteX4650" fmla="*/ 1726036 w 5047599"/>
              <a:gd name="connsiteY4650" fmla="*/ 1768284 h 4588585"/>
              <a:gd name="connsiteX4651" fmla="*/ 1729034 w 5047599"/>
              <a:gd name="connsiteY4651" fmla="*/ 1757948 h 4588585"/>
              <a:gd name="connsiteX4652" fmla="*/ 1728760 w 5047599"/>
              <a:gd name="connsiteY4652" fmla="*/ 1755167 h 4588585"/>
              <a:gd name="connsiteX4653" fmla="*/ 1724431 w 5047599"/>
              <a:gd name="connsiteY4653" fmla="*/ 1748248 h 4588585"/>
              <a:gd name="connsiteX4654" fmla="*/ 1723713 w 5047599"/>
              <a:gd name="connsiteY4654" fmla="*/ 1743324 h 4588585"/>
              <a:gd name="connsiteX4655" fmla="*/ 1723079 w 5047599"/>
              <a:gd name="connsiteY4655" fmla="*/ 1736001 h 4588585"/>
              <a:gd name="connsiteX4656" fmla="*/ 1722024 w 5047599"/>
              <a:gd name="connsiteY4656" fmla="*/ 1729509 h 4588585"/>
              <a:gd name="connsiteX4657" fmla="*/ 1720778 w 5047599"/>
              <a:gd name="connsiteY4657" fmla="*/ 1727047 h 4588585"/>
              <a:gd name="connsiteX4658" fmla="*/ 1718476 w 5047599"/>
              <a:gd name="connsiteY4658" fmla="*/ 1724988 h 4588585"/>
              <a:gd name="connsiteX4659" fmla="*/ 1717442 w 5047599"/>
              <a:gd name="connsiteY4659" fmla="*/ 1723652 h 4588585"/>
              <a:gd name="connsiteX4660" fmla="*/ 1708490 w 5047599"/>
              <a:gd name="connsiteY4660" fmla="*/ 1710449 h 4588585"/>
              <a:gd name="connsiteX4661" fmla="*/ 1708638 w 5047599"/>
              <a:gd name="connsiteY4661" fmla="*/ 1704188 h 4588585"/>
              <a:gd name="connsiteX4662" fmla="*/ 1712396 w 5047599"/>
              <a:gd name="connsiteY4662" fmla="*/ 1696186 h 4588585"/>
              <a:gd name="connsiteX4663" fmla="*/ 1714845 w 5047599"/>
              <a:gd name="connsiteY4663" fmla="*/ 1692303 h 4588585"/>
              <a:gd name="connsiteX4664" fmla="*/ 1718265 w 5047599"/>
              <a:gd name="connsiteY4664" fmla="*/ 1690138 h 4588585"/>
              <a:gd name="connsiteX4665" fmla="*/ 1718941 w 5047599"/>
              <a:gd name="connsiteY4665" fmla="*/ 1688291 h 4588585"/>
              <a:gd name="connsiteX4666" fmla="*/ 1717928 w 5047599"/>
              <a:gd name="connsiteY4666" fmla="*/ 1686040 h 4588585"/>
              <a:gd name="connsiteX4667" fmla="*/ 1716196 w 5047599"/>
              <a:gd name="connsiteY4667" fmla="*/ 1684343 h 4588585"/>
              <a:gd name="connsiteX4668" fmla="*/ 1715796 w 5047599"/>
              <a:gd name="connsiteY4668" fmla="*/ 1680734 h 4588585"/>
              <a:gd name="connsiteX4669" fmla="*/ 1716281 w 5047599"/>
              <a:gd name="connsiteY4669" fmla="*/ 1678336 h 4588585"/>
              <a:gd name="connsiteX4670" fmla="*/ 1717506 w 5047599"/>
              <a:gd name="connsiteY4670" fmla="*/ 1675705 h 4588585"/>
              <a:gd name="connsiteX4671" fmla="*/ 1717020 w 5047599"/>
              <a:gd name="connsiteY4671" fmla="*/ 1670185 h 4588585"/>
              <a:gd name="connsiteX4672" fmla="*/ 1717125 w 5047599"/>
              <a:gd name="connsiteY4672" fmla="*/ 1661718 h 4588585"/>
              <a:gd name="connsiteX4673" fmla="*/ 1717696 w 5047599"/>
              <a:gd name="connsiteY4673" fmla="*/ 1649367 h 4588585"/>
              <a:gd name="connsiteX4674" fmla="*/ 1717865 w 5047599"/>
              <a:gd name="connsiteY4674" fmla="*/ 1641809 h 4588585"/>
              <a:gd name="connsiteX4675" fmla="*/ 1725127 w 5047599"/>
              <a:gd name="connsiteY4675" fmla="*/ 1636206 h 4588585"/>
              <a:gd name="connsiteX4676" fmla="*/ 1735707 w 5047599"/>
              <a:gd name="connsiteY4676" fmla="*/ 1626932 h 4588585"/>
              <a:gd name="connsiteX4677" fmla="*/ 1741090 w 5047599"/>
              <a:gd name="connsiteY4677" fmla="*/ 1617232 h 4588585"/>
              <a:gd name="connsiteX4678" fmla="*/ 1743983 w 5047599"/>
              <a:gd name="connsiteY4678" fmla="*/ 1609888 h 4588585"/>
              <a:gd name="connsiteX4679" fmla="*/ 1747530 w 5047599"/>
              <a:gd name="connsiteY4679" fmla="*/ 1585437 h 4588585"/>
              <a:gd name="connsiteX4680" fmla="*/ 1750106 w 5047599"/>
              <a:gd name="connsiteY4680" fmla="*/ 1583952 h 4588585"/>
              <a:gd name="connsiteX4681" fmla="*/ 1753147 w 5047599"/>
              <a:gd name="connsiteY4681" fmla="*/ 1582806 h 4588585"/>
              <a:gd name="connsiteX4682" fmla="*/ 1763767 w 5047599"/>
              <a:gd name="connsiteY4682" fmla="*/ 1573892 h 4588585"/>
              <a:gd name="connsiteX4683" fmla="*/ 1787501 w 5047599"/>
              <a:gd name="connsiteY4683" fmla="*/ 1567061 h 4588585"/>
              <a:gd name="connsiteX4684" fmla="*/ 1778126 w 5047599"/>
              <a:gd name="connsiteY4684" fmla="*/ 1568674 h 4588585"/>
              <a:gd name="connsiteX4685" fmla="*/ 1773468 w 5047599"/>
              <a:gd name="connsiteY4685" fmla="*/ 1570114 h 4588585"/>
              <a:gd name="connsiteX4686" fmla="*/ 1778189 w 5047599"/>
              <a:gd name="connsiteY4686" fmla="*/ 1568670 h 4588585"/>
              <a:gd name="connsiteX4687" fmla="*/ 1787538 w 5047599"/>
              <a:gd name="connsiteY4687" fmla="*/ 1567066 h 4588585"/>
              <a:gd name="connsiteX4688" fmla="*/ 4036800 w 5047599"/>
              <a:gd name="connsiteY4688" fmla="*/ 1566483 h 4588585"/>
              <a:gd name="connsiteX4689" fmla="*/ 4037559 w 5047599"/>
              <a:gd name="connsiteY4689" fmla="*/ 1566673 h 4588585"/>
              <a:gd name="connsiteX4690" fmla="*/ 4035300 w 5047599"/>
              <a:gd name="connsiteY4690" fmla="*/ 1570450 h 4588585"/>
              <a:gd name="connsiteX4691" fmla="*/ 4031373 w 5047599"/>
              <a:gd name="connsiteY4691" fmla="*/ 1572319 h 4588585"/>
              <a:gd name="connsiteX4692" fmla="*/ 4034055 w 5047599"/>
              <a:gd name="connsiteY4692" fmla="*/ 1567479 h 4588585"/>
              <a:gd name="connsiteX4693" fmla="*/ 1328301 w 5047599"/>
              <a:gd name="connsiteY4693" fmla="*/ 1565391 h 4588585"/>
              <a:gd name="connsiteX4694" fmla="*/ 1328299 w 5047599"/>
              <a:gd name="connsiteY4694" fmla="*/ 1565395 h 4588585"/>
              <a:gd name="connsiteX4695" fmla="*/ 1328743 w 5047599"/>
              <a:gd name="connsiteY4695" fmla="*/ 1568474 h 4588585"/>
              <a:gd name="connsiteX4696" fmla="*/ 1328827 w 5047599"/>
              <a:gd name="connsiteY4696" fmla="*/ 1571943 h 4588585"/>
              <a:gd name="connsiteX4697" fmla="*/ 1328743 w 5047599"/>
              <a:gd name="connsiteY4697" fmla="*/ 1568464 h 4588585"/>
              <a:gd name="connsiteX4698" fmla="*/ 2811666 w 5047599"/>
              <a:gd name="connsiteY4698" fmla="*/ 1564615 h 4588585"/>
              <a:gd name="connsiteX4699" fmla="*/ 2811666 w 5047599"/>
              <a:gd name="connsiteY4699" fmla="*/ 1564616 h 4588585"/>
              <a:gd name="connsiteX4700" fmla="*/ 2811729 w 5047599"/>
              <a:gd name="connsiteY4700" fmla="*/ 1568862 h 4588585"/>
              <a:gd name="connsiteX4701" fmla="*/ 2814411 w 5047599"/>
              <a:gd name="connsiteY4701" fmla="*/ 1575186 h 4588585"/>
              <a:gd name="connsiteX4702" fmla="*/ 2817345 w 5047599"/>
              <a:gd name="connsiteY4702" fmla="*/ 1580556 h 4588585"/>
              <a:gd name="connsiteX4703" fmla="*/ 2818464 w 5047599"/>
              <a:gd name="connsiteY4703" fmla="*/ 1584610 h 4588585"/>
              <a:gd name="connsiteX4704" fmla="*/ 2819140 w 5047599"/>
              <a:gd name="connsiteY4704" fmla="*/ 1589043 h 4588585"/>
              <a:gd name="connsiteX4705" fmla="*/ 2819140 w 5047599"/>
              <a:gd name="connsiteY4705" fmla="*/ 1589035 h 4588585"/>
              <a:gd name="connsiteX4706" fmla="*/ 2818464 w 5047599"/>
              <a:gd name="connsiteY4706" fmla="*/ 1584599 h 4588585"/>
              <a:gd name="connsiteX4707" fmla="*/ 2817346 w 5047599"/>
              <a:gd name="connsiteY4707" fmla="*/ 1580545 h 4588585"/>
              <a:gd name="connsiteX4708" fmla="*/ 2814412 w 5047599"/>
              <a:gd name="connsiteY4708" fmla="*/ 1575175 h 4588585"/>
              <a:gd name="connsiteX4709" fmla="*/ 2811729 w 5047599"/>
              <a:gd name="connsiteY4709" fmla="*/ 1568852 h 4588585"/>
              <a:gd name="connsiteX4710" fmla="*/ 3661465 w 5047599"/>
              <a:gd name="connsiteY4710" fmla="*/ 1562044 h 4588585"/>
              <a:gd name="connsiteX4711" fmla="*/ 3658131 w 5047599"/>
              <a:gd name="connsiteY4711" fmla="*/ 1575201 h 4588585"/>
              <a:gd name="connsiteX4712" fmla="*/ 3655491 w 5047599"/>
              <a:gd name="connsiteY4712" fmla="*/ 1581293 h 4588585"/>
              <a:gd name="connsiteX4713" fmla="*/ 3653147 w 5047599"/>
              <a:gd name="connsiteY4713" fmla="*/ 1584880 h 4588585"/>
              <a:gd name="connsiteX4714" fmla="*/ 3651184 w 5047599"/>
              <a:gd name="connsiteY4714" fmla="*/ 1588615 h 4588585"/>
              <a:gd name="connsiteX4715" fmla="*/ 3647552 w 5047599"/>
              <a:gd name="connsiteY4715" fmla="*/ 1596807 h 4588585"/>
              <a:gd name="connsiteX4716" fmla="*/ 3644469 w 5047599"/>
              <a:gd name="connsiteY4716" fmla="*/ 1607611 h 4588585"/>
              <a:gd name="connsiteX4717" fmla="*/ 3643097 w 5047599"/>
              <a:gd name="connsiteY4717" fmla="*/ 1618670 h 4588585"/>
              <a:gd name="connsiteX4718" fmla="*/ 3643097 w 5047599"/>
              <a:gd name="connsiteY4718" fmla="*/ 1618683 h 4588585"/>
              <a:gd name="connsiteX4719" fmla="*/ 3644469 w 5047599"/>
              <a:gd name="connsiteY4719" fmla="*/ 1607631 h 4588585"/>
              <a:gd name="connsiteX4720" fmla="*/ 3647551 w 5047599"/>
              <a:gd name="connsiteY4720" fmla="*/ 1596827 h 4588585"/>
              <a:gd name="connsiteX4721" fmla="*/ 3651184 w 5047599"/>
              <a:gd name="connsiteY4721" fmla="*/ 1588634 h 4588585"/>
              <a:gd name="connsiteX4722" fmla="*/ 3653147 w 5047599"/>
              <a:gd name="connsiteY4722" fmla="*/ 1584898 h 4588585"/>
              <a:gd name="connsiteX4723" fmla="*/ 3655491 w 5047599"/>
              <a:gd name="connsiteY4723" fmla="*/ 1581311 h 4588585"/>
              <a:gd name="connsiteX4724" fmla="*/ 3658131 w 5047599"/>
              <a:gd name="connsiteY4724" fmla="*/ 1575219 h 4588585"/>
              <a:gd name="connsiteX4725" fmla="*/ 3661466 w 5047599"/>
              <a:gd name="connsiteY4725" fmla="*/ 1562061 h 4588585"/>
              <a:gd name="connsiteX4726" fmla="*/ 1827133 w 5047599"/>
              <a:gd name="connsiteY4726" fmla="*/ 1560161 h 4588585"/>
              <a:gd name="connsiteX4727" fmla="*/ 1822614 w 5047599"/>
              <a:gd name="connsiteY4727" fmla="*/ 1561012 h 4588585"/>
              <a:gd name="connsiteX4728" fmla="*/ 1819405 w 5047599"/>
              <a:gd name="connsiteY4728" fmla="*/ 1562369 h 4588585"/>
              <a:gd name="connsiteX4729" fmla="*/ 1812311 w 5047599"/>
              <a:gd name="connsiteY4729" fmla="*/ 1567209 h 4588585"/>
              <a:gd name="connsiteX4730" fmla="*/ 1803949 w 5047599"/>
              <a:gd name="connsiteY4730" fmla="*/ 1568102 h 4588585"/>
              <a:gd name="connsiteX4731" fmla="*/ 1796791 w 5047599"/>
              <a:gd name="connsiteY4731" fmla="*/ 1567845 h 4588585"/>
              <a:gd name="connsiteX4732" fmla="*/ 1804033 w 5047599"/>
              <a:gd name="connsiteY4732" fmla="*/ 1568119 h 4588585"/>
              <a:gd name="connsiteX4733" fmla="*/ 1812395 w 5047599"/>
              <a:gd name="connsiteY4733" fmla="*/ 1567228 h 4588585"/>
              <a:gd name="connsiteX4734" fmla="*/ 1819489 w 5047599"/>
              <a:gd name="connsiteY4734" fmla="*/ 1562368 h 4588585"/>
              <a:gd name="connsiteX4735" fmla="*/ 1822699 w 5047599"/>
              <a:gd name="connsiteY4735" fmla="*/ 1561010 h 4588585"/>
              <a:gd name="connsiteX4736" fmla="*/ 1827164 w 5047599"/>
              <a:gd name="connsiteY4736" fmla="*/ 1560171 h 4588585"/>
              <a:gd name="connsiteX4737" fmla="*/ 789392 w 5047599"/>
              <a:gd name="connsiteY4737" fmla="*/ 1553956 h 4588585"/>
              <a:gd name="connsiteX4738" fmla="*/ 789392 w 5047599"/>
              <a:gd name="connsiteY4738" fmla="*/ 1553959 h 4588585"/>
              <a:gd name="connsiteX4739" fmla="*/ 791292 w 5047599"/>
              <a:gd name="connsiteY4739" fmla="*/ 1556633 h 4588585"/>
              <a:gd name="connsiteX4740" fmla="*/ 792896 w 5047599"/>
              <a:gd name="connsiteY4740" fmla="*/ 1560029 h 4588585"/>
              <a:gd name="connsiteX4741" fmla="*/ 792897 w 5047599"/>
              <a:gd name="connsiteY4741" fmla="*/ 1560023 h 4588585"/>
              <a:gd name="connsiteX4742" fmla="*/ 791291 w 5047599"/>
              <a:gd name="connsiteY4742" fmla="*/ 1556626 h 4588585"/>
              <a:gd name="connsiteX4743" fmla="*/ 4035680 w 5047599"/>
              <a:gd name="connsiteY4743" fmla="*/ 1548290 h 4588585"/>
              <a:gd name="connsiteX4744" fmla="*/ 4037834 w 5047599"/>
              <a:gd name="connsiteY4744" fmla="*/ 1551664 h 4588585"/>
              <a:gd name="connsiteX4745" fmla="*/ 4037180 w 5047599"/>
              <a:gd name="connsiteY4745" fmla="*/ 1554149 h 4588585"/>
              <a:gd name="connsiteX4746" fmla="*/ 4036398 w 5047599"/>
              <a:gd name="connsiteY4746" fmla="*/ 1555444 h 4588585"/>
              <a:gd name="connsiteX4747" fmla="*/ 4035322 w 5047599"/>
              <a:gd name="connsiteY4747" fmla="*/ 1555167 h 4588585"/>
              <a:gd name="connsiteX4748" fmla="*/ 4031648 w 5047599"/>
              <a:gd name="connsiteY4748" fmla="*/ 1551919 h 4588585"/>
              <a:gd name="connsiteX4749" fmla="*/ 789791 w 5047599"/>
              <a:gd name="connsiteY4749" fmla="*/ 1545768 h 4588585"/>
              <a:gd name="connsiteX4750" fmla="*/ 789919 w 5047599"/>
              <a:gd name="connsiteY4750" fmla="*/ 1548035 h 4588585"/>
              <a:gd name="connsiteX4751" fmla="*/ 789919 w 5047599"/>
              <a:gd name="connsiteY4751" fmla="*/ 1548033 h 4588585"/>
              <a:gd name="connsiteX4752" fmla="*/ 3903061 w 5047599"/>
              <a:gd name="connsiteY4752" fmla="*/ 1538665 h 4588585"/>
              <a:gd name="connsiteX4753" fmla="*/ 3903081 w 5047599"/>
              <a:gd name="connsiteY4753" fmla="*/ 1538679 h 4588585"/>
              <a:gd name="connsiteX4754" fmla="*/ 3917586 w 5047599"/>
              <a:gd name="connsiteY4754" fmla="*/ 1543595 h 4588585"/>
              <a:gd name="connsiteX4755" fmla="*/ 3917565 w 5047599"/>
              <a:gd name="connsiteY4755" fmla="*/ 1543581 h 4588585"/>
              <a:gd name="connsiteX4756" fmla="*/ 1524347 w 5047599"/>
              <a:gd name="connsiteY4756" fmla="*/ 1537413 h 4588585"/>
              <a:gd name="connsiteX4757" fmla="*/ 1522702 w 5047599"/>
              <a:gd name="connsiteY4757" fmla="*/ 1543920 h 4588585"/>
              <a:gd name="connsiteX4758" fmla="*/ 1522704 w 5047599"/>
              <a:gd name="connsiteY4758" fmla="*/ 1543926 h 4588585"/>
              <a:gd name="connsiteX4759" fmla="*/ 1524349 w 5047599"/>
              <a:gd name="connsiteY4759" fmla="*/ 1537416 h 4588585"/>
              <a:gd name="connsiteX4760" fmla="*/ 3890007 w 5047599"/>
              <a:gd name="connsiteY4760" fmla="*/ 1529651 h 4588585"/>
              <a:gd name="connsiteX4761" fmla="*/ 3892925 w 5047599"/>
              <a:gd name="connsiteY4761" fmla="*/ 1531781 h 4588585"/>
              <a:gd name="connsiteX4762" fmla="*/ 3897687 w 5047599"/>
              <a:gd name="connsiteY4762" fmla="*/ 1535015 h 4588585"/>
              <a:gd name="connsiteX4763" fmla="*/ 3892904 w 5047599"/>
              <a:gd name="connsiteY4763" fmla="*/ 1531760 h 4588585"/>
              <a:gd name="connsiteX4764" fmla="*/ 3709376 w 5047599"/>
              <a:gd name="connsiteY4764" fmla="*/ 1524671 h 4588585"/>
              <a:gd name="connsiteX4765" fmla="*/ 3705110 w 5047599"/>
              <a:gd name="connsiteY4765" fmla="*/ 1525140 h 4588585"/>
              <a:gd name="connsiteX4766" fmla="*/ 3702006 w 5047599"/>
              <a:gd name="connsiteY4766" fmla="*/ 1527581 h 4588585"/>
              <a:gd name="connsiteX4767" fmla="*/ 3700043 w 5047599"/>
              <a:gd name="connsiteY4767" fmla="*/ 1531996 h 4588585"/>
              <a:gd name="connsiteX4768" fmla="*/ 3697910 w 5047599"/>
              <a:gd name="connsiteY4768" fmla="*/ 1534711 h 4588585"/>
              <a:gd name="connsiteX4769" fmla="*/ 3695609 w 5047599"/>
              <a:gd name="connsiteY4769" fmla="*/ 1535771 h 4588585"/>
              <a:gd name="connsiteX4770" fmla="*/ 3690647 w 5047599"/>
              <a:gd name="connsiteY4770" fmla="*/ 1535239 h 4588585"/>
              <a:gd name="connsiteX4771" fmla="*/ 3683024 w 5047599"/>
              <a:gd name="connsiteY4771" fmla="*/ 1533138 h 4588585"/>
              <a:gd name="connsiteX4772" fmla="*/ 3675149 w 5047599"/>
              <a:gd name="connsiteY4772" fmla="*/ 1533584 h 4588585"/>
              <a:gd name="connsiteX4773" fmla="*/ 3667041 w 5047599"/>
              <a:gd name="connsiteY4773" fmla="*/ 1536599 h 4588585"/>
              <a:gd name="connsiteX4774" fmla="*/ 3666043 w 5047599"/>
              <a:gd name="connsiteY4774" fmla="*/ 1536677 h 4588585"/>
              <a:gd name="connsiteX4775" fmla="*/ 3666048 w 5047599"/>
              <a:gd name="connsiteY4775" fmla="*/ 1536722 h 4588585"/>
              <a:gd name="connsiteX4776" fmla="*/ 3661276 w 5047599"/>
              <a:gd name="connsiteY4776" fmla="*/ 1553109 h 4588585"/>
              <a:gd name="connsiteX4777" fmla="*/ 3661276 w 5047599"/>
              <a:gd name="connsiteY4777" fmla="*/ 1553124 h 4588585"/>
              <a:gd name="connsiteX4778" fmla="*/ 3666048 w 5047599"/>
              <a:gd name="connsiteY4778" fmla="*/ 1536740 h 4588585"/>
              <a:gd name="connsiteX4779" fmla="*/ 3667104 w 5047599"/>
              <a:gd name="connsiteY4779" fmla="*/ 1536656 h 4588585"/>
              <a:gd name="connsiteX4780" fmla="*/ 3675212 w 5047599"/>
              <a:gd name="connsiteY4780" fmla="*/ 1533643 h 4588585"/>
              <a:gd name="connsiteX4781" fmla="*/ 3683088 w 5047599"/>
              <a:gd name="connsiteY4781" fmla="*/ 1533197 h 4588585"/>
              <a:gd name="connsiteX4782" fmla="*/ 3690710 w 5047599"/>
              <a:gd name="connsiteY4782" fmla="*/ 1535298 h 4588585"/>
              <a:gd name="connsiteX4783" fmla="*/ 3695672 w 5047599"/>
              <a:gd name="connsiteY4783" fmla="*/ 1535830 h 4588585"/>
              <a:gd name="connsiteX4784" fmla="*/ 3697995 w 5047599"/>
              <a:gd name="connsiteY4784" fmla="*/ 1534770 h 4588585"/>
              <a:gd name="connsiteX4785" fmla="*/ 3700127 w 5047599"/>
              <a:gd name="connsiteY4785" fmla="*/ 1532053 h 4588585"/>
              <a:gd name="connsiteX4786" fmla="*/ 3702091 w 5047599"/>
              <a:gd name="connsiteY4786" fmla="*/ 1527640 h 4588585"/>
              <a:gd name="connsiteX4787" fmla="*/ 3705216 w 5047599"/>
              <a:gd name="connsiteY4787" fmla="*/ 1525199 h 4588585"/>
              <a:gd name="connsiteX4788" fmla="*/ 3709449 w 5047599"/>
              <a:gd name="connsiteY4788" fmla="*/ 1524736 h 4588585"/>
              <a:gd name="connsiteX4789" fmla="*/ 777061 w 5047599"/>
              <a:gd name="connsiteY4789" fmla="*/ 1524411 h 4588585"/>
              <a:gd name="connsiteX4790" fmla="*/ 777061 w 5047599"/>
              <a:gd name="connsiteY4790" fmla="*/ 1524413 h 4588585"/>
              <a:gd name="connsiteX4791" fmla="*/ 780207 w 5047599"/>
              <a:gd name="connsiteY4791" fmla="*/ 1529424 h 4588585"/>
              <a:gd name="connsiteX4792" fmla="*/ 783902 w 5047599"/>
              <a:gd name="connsiteY4792" fmla="*/ 1532672 h 4588585"/>
              <a:gd name="connsiteX4793" fmla="*/ 786541 w 5047599"/>
              <a:gd name="connsiteY4793" fmla="*/ 1535685 h 4588585"/>
              <a:gd name="connsiteX4794" fmla="*/ 789454 w 5047599"/>
              <a:gd name="connsiteY4794" fmla="*/ 1539801 h 4588585"/>
              <a:gd name="connsiteX4795" fmla="*/ 789454 w 5047599"/>
              <a:gd name="connsiteY4795" fmla="*/ 1539796 h 4588585"/>
              <a:gd name="connsiteX4796" fmla="*/ 786540 w 5047599"/>
              <a:gd name="connsiteY4796" fmla="*/ 1535678 h 4588585"/>
              <a:gd name="connsiteX4797" fmla="*/ 783902 w 5047599"/>
              <a:gd name="connsiteY4797" fmla="*/ 1532666 h 4588585"/>
              <a:gd name="connsiteX4798" fmla="*/ 780206 w 5047599"/>
              <a:gd name="connsiteY4798" fmla="*/ 1529419 h 4588585"/>
              <a:gd name="connsiteX4799" fmla="*/ 3844214 w 5047599"/>
              <a:gd name="connsiteY4799" fmla="*/ 1519597 h 4588585"/>
              <a:gd name="connsiteX4800" fmla="*/ 3839125 w 5047599"/>
              <a:gd name="connsiteY4800" fmla="*/ 1521126 h 4588585"/>
              <a:gd name="connsiteX4801" fmla="*/ 3828694 w 5047599"/>
              <a:gd name="connsiteY4801" fmla="*/ 1523673 h 4588585"/>
              <a:gd name="connsiteX4802" fmla="*/ 3824461 w 5047599"/>
              <a:gd name="connsiteY4802" fmla="*/ 1523127 h 4588585"/>
              <a:gd name="connsiteX4803" fmla="*/ 3824472 w 5047599"/>
              <a:gd name="connsiteY4803" fmla="*/ 1523142 h 4588585"/>
              <a:gd name="connsiteX4804" fmla="*/ 3828758 w 5047599"/>
              <a:gd name="connsiteY4804" fmla="*/ 1523696 h 4588585"/>
              <a:gd name="connsiteX4805" fmla="*/ 3839167 w 5047599"/>
              <a:gd name="connsiteY4805" fmla="*/ 1521169 h 4588585"/>
              <a:gd name="connsiteX4806" fmla="*/ 3844277 w 5047599"/>
              <a:gd name="connsiteY4806" fmla="*/ 1519639 h 4588585"/>
              <a:gd name="connsiteX4807" fmla="*/ 3848584 w 5047599"/>
              <a:gd name="connsiteY4807" fmla="*/ 1520891 h 4588585"/>
              <a:gd name="connsiteX4808" fmla="*/ 3854095 w 5047599"/>
              <a:gd name="connsiteY4808" fmla="*/ 1521933 h 4588585"/>
              <a:gd name="connsiteX4809" fmla="*/ 3857558 w 5047599"/>
              <a:gd name="connsiteY4809" fmla="*/ 1521933 h 4588585"/>
              <a:gd name="connsiteX4810" fmla="*/ 3865792 w 5047599"/>
              <a:gd name="connsiteY4810" fmla="*/ 1525518 h 4588585"/>
              <a:gd name="connsiteX4811" fmla="*/ 3875674 w 5047599"/>
              <a:gd name="connsiteY4811" fmla="*/ 1524374 h 4588585"/>
              <a:gd name="connsiteX4812" fmla="*/ 3880341 w 5047599"/>
              <a:gd name="connsiteY4812" fmla="*/ 1524564 h 4588585"/>
              <a:gd name="connsiteX4813" fmla="*/ 3885110 w 5047599"/>
              <a:gd name="connsiteY4813" fmla="*/ 1526085 h 4588585"/>
              <a:gd name="connsiteX4814" fmla="*/ 3885092 w 5047599"/>
              <a:gd name="connsiteY4814" fmla="*/ 1526071 h 4588585"/>
              <a:gd name="connsiteX4815" fmla="*/ 3880299 w 5047599"/>
              <a:gd name="connsiteY4815" fmla="*/ 1524543 h 4588585"/>
              <a:gd name="connsiteX4816" fmla="*/ 3875653 w 5047599"/>
              <a:gd name="connsiteY4816" fmla="*/ 1524353 h 4588585"/>
              <a:gd name="connsiteX4817" fmla="*/ 3865750 w 5047599"/>
              <a:gd name="connsiteY4817" fmla="*/ 1525476 h 4588585"/>
              <a:gd name="connsiteX4818" fmla="*/ 3857516 w 5047599"/>
              <a:gd name="connsiteY4818" fmla="*/ 1521910 h 4588585"/>
              <a:gd name="connsiteX4819" fmla="*/ 3854053 w 5047599"/>
              <a:gd name="connsiteY4819" fmla="*/ 1521910 h 4588585"/>
              <a:gd name="connsiteX4820" fmla="*/ 3848542 w 5047599"/>
              <a:gd name="connsiteY4820" fmla="*/ 1520871 h 4588585"/>
              <a:gd name="connsiteX4821" fmla="*/ 2827969 w 5047599"/>
              <a:gd name="connsiteY4821" fmla="*/ 1518791 h 4588585"/>
              <a:gd name="connsiteX4822" fmla="*/ 2827966 w 5047599"/>
              <a:gd name="connsiteY4822" fmla="*/ 1518794 h 4588585"/>
              <a:gd name="connsiteX4823" fmla="*/ 2829043 w 5047599"/>
              <a:gd name="connsiteY4823" fmla="*/ 1521617 h 4588585"/>
              <a:gd name="connsiteX4824" fmla="*/ 2830541 w 5047599"/>
              <a:gd name="connsiteY4824" fmla="*/ 1525481 h 4588585"/>
              <a:gd name="connsiteX4825" fmla="*/ 2831386 w 5047599"/>
              <a:gd name="connsiteY4825" fmla="*/ 1531530 h 4588585"/>
              <a:gd name="connsiteX4826" fmla="*/ 2831978 w 5047599"/>
              <a:gd name="connsiteY4826" fmla="*/ 1535073 h 4588585"/>
              <a:gd name="connsiteX4827" fmla="*/ 2834891 w 5047599"/>
              <a:gd name="connsiteY4827" fmla="*/ 1537959 h 4588585"/>
              <a:gd name="connsiteX4828" fmla="*/ 2836664 w 5047599"/>
              <a:gd name="connsiteY4828" fmla="*/ 1540018 h 4588585"/>
              <a:gd name="connsiteX4829" fmla="*/ 2837275 w 5047599"/>
              <a:gd name="connsiteY4829" fmla="*/ 1542536 h 4588585"/>
              <a:gd name="connsiteX4830" fmla="*/ 2837278 w 5047599"/>
              <a:gd name="connsiteY4830" fmla="*/ 1542532 h 4588585"/>
              <a:gd name="connsiteX4831" fmla="*/ 2836665 w 5047599"/>
              <a:gd name="connsiteY4831" fmla="*/ 1540007 h 4588585"/>
              <a:gd name="connsiteX4832" fmla="*/ 2834892 w 5047599"/>
              <a:gd name="connsiteY4832" fmla="*/ 1537949 h 4588585"/>
              <a:gd name="connsiteX4833" fmla="*/ 2831978 w 5047599"/>
              <a:gd name="connsiteY4833" fmla="*/ 1535062 h 4588585"/>
              <a:gd name="connsiteX4834" fmla="*/ 2831387 w 5047599"/>
              <a:gd name="connsiteY4834" fmla="*/ 1531517 h 4588585"/>
              <a:gd name="connsiteX4835" fmla="*/ 2830542 w 5047599"/>
              <a:gd name="connsiteY4835" fmla="*/ 1525469 h 4588585"/>
              <a:gd name="connsiteX4836" fmla="*/ 2829044 w 5047599"/>
              <a:gd name="connsiteY4836" fmla="*/ 1521606 h 4588585"/>
              <a:gd name="connsiteX4837" fmla="*/ 3814083 w 5047599"/>
              <a:gd name="connsiteY4837" fmla="*/ 1514036 h 4588585"/>
              <a:gd name="connsiteX4838" fmla="*/ 3812415 w 5047599"/>
              <a:gd name="connsiteY4838" fmla="*/ 1516561 h 4588585"/>
              <a:gd name="connsiteX4839" fmla="*/ 3801520 w 5047599"/>
              <a:gd name="connsiteY4839" fmla="*/ 1522950 h 4588585"/>
              <a:gd name="connsiteX4840" fmla="*/ 3783317 w 5047599"/>
              <a:gd name="connsiteY4840" fmla="*/ 1526492 h 4588585"/>
              <a:gd name="connsiteX4841" fmla="*/ 3783382 w 5047599"/>
              <a:gd name="connsiteY4841" fmla="*/ 1526495 h 4588585"/>
              <a:gd name="connsiteX4842" fmla="*/ 3801604 w 5047599"/>
              <a:gd name="connsiteY4842" fmla="*/ 1522950 h 4588585"/>
              <a:gd name="connsiteX4843" fmla="*/ 3812499 w 5047599"/>
              <a:gd name="connsiteY4843" fmla="*/ 1516561 h 4588585"/>
              <a:gd name="connsiteX4844" fmla="*/ 3814145 w 5047599"/>
              <a:gd name="connsiteY4844" fmla="*/ 1514036 h 4588585"/>
              <a:gd name="connsiteX4845" fmla="*/ 3757577 w 5047599"/>
              <a:gd name="connsiteY4845" fmla="*/ 1509466 h 4588585"/>
              <a:gd name="connsiteX4846" fmla="*/ 3757622 w 5047599"/>
              <a:gd name="connsiteY4846" fmla="*/ 1509490 h 4588585"/>
              <a:gd name="connsiteX4847" fmla="*/ 3761909 w 5047599"/>
              <a:gd name="connsiteY4847" fmla="*/ 1510784 h 4588585"/>
              <a:gd name="connsiteX4848" fmla="*/ 3763942 w 5047599"/>
              <a:gd name="connsiteY4848" fmla="*/ 1510950 h 4588585"/>
              <a:gd name="connsiteX4849" fmla="*/ 3763894 w 5047599"/>
              <a:gd name="connsiteY4849" fmla="*/ 1510917 h 4588585"/>
              <a:gd name="connsiteX4850" fmla="*/ 3761803 w 5047599"/>
              <a:gd name="connsiteY4850" fmla="*/ 1510748 h 4588585"/>
              <a:gd name="connsiteX4851" fmla="*/ 2845597 w 5047599"/>
              <a:gd name="connsiteY4851" fmla="*/ 1500369 h 4588585"/>
              <a:gd name="connsiteX4852" fmla="*/ 2845786 w 5047599"/>
              <a:gd name="connsiteY4852" fmla="*/ 1504225 h 4588585"/>
              <a:gd name="connsiteX4853" fmla="*/ 2845787 w 5047599"/>
              <a:gd name="connsiteY4853" fmla="*/ 1504222 h 4588585"/>
              <a:gd name="connsiteX4854" fmla="*/ 3746516 w 5047599"/>
              <a:gd name="connsiteY4854" fmla="*/ 1500284 h 4588585"/>
              <a:gd name="connsiteX4855" fmla="*/ 3742737 w 5047599"/>
              <a:gd name="connsiteY4855" fmla="*/ 1509093 h 4588585"/>
              <a:gd name="connsiteX4856" fmla="*/ 3736107 w 5047599"/>
              <a:gd name="connsiteY4856" fmla="*/ 1524458 h 4588585"/>
              <a:gd name="connsiteX4857" fmla="*/ 3732560 w 5047599"/>
              <a:gd name="connsiteY4857" fmla="*/ 1532695 h 4588585"/>
              <a:gd name="connsiteX4858" fmla="*/ 3727978 w 5047599"/>
              <a:gd name="connsiteY4858" fmla="*/ 1543286 h 4588585"/>
              <a:gd name="connsiteX4859" fmla="*/ 3726541 w 5047599"/>
              <a:gd name="connsiteY4859" fmla="*/ 1543605 h 4588585"/>
              <a:gd name="connsiteX4860" fmla="*/ 3724273 w 5047599"/>
              <a:gd name="connsiteY4860" fmla="*/ 1542866 h 4588585"/>
              <a:gd name="connsiteX4861" fmla="*/ 3724282 w 5047599"/>
              <a:gd name="connsiteY4861" fmla="*/ 1542879 h 4588585"/>
              <a:gd name="connsiteX4862" fmla="*/ 3726626 w 5047599"/>
              <a:gd name="connsiteY4862" fmla="*/ 1543662 h 4588585"/>
              <a:gd name="connsiteX4863" fmla="*/ 3728082 w 5047599"/>
              <a:gd name="connsiteY4863" fmla="*/ 1543321 h 4588585"/>
              <a:gd name="connsiteX4864" fmla="*/ 3732643 w 5047599"/>
              <a:gd name="connsiteY4864" fmla="*/ 1532730 h 4588585"/>
              <a:gd name="connsiteX4865" fmla="*/ 3736212 w 5047599"/>
              <a:gd name="connsiteY4865" fmla="*/ 1524517 h 4588585"/>
              <a:gd name="connsiteX4866" fmla="*/ 3742842 w 5047599"/>
              <a:gd name="connsiteY4866" fmla="*/ 1509149 h 4588585"/>
              <a:gd name="connsiteX4867" fmla="*/ 3746615 w 5047599"/>
              <a:gd name="connsiteY4867" fmla="*/ 1500357 h 4588585"/>
              <a:gd name="connsiteX4868" fmla="*/ 56272 w 5047599"/>
              <a:gd name="connsiteY4868" fmla="*/ 1488907 h 4588585"/>
              <a:gd name="connsiteX4869" fmla="*/ 59987 w 5047599"/>
              <a:gd name="connsiteY4869" fmla="*/ 1490051 h 4588585"/>
              <a:gd name="connsiteX4870" fmla="*/ 61971 w 5047599"/>
              <a:gd name="connsiteY4870" fmla="*/ 1495571 h 4588585"/>
              <a:gd name="connsiteX4871" fmla="*/ 61234 w 5047599"/>
              <a:gd name="connsiteY4871" fmla="*/ 1500070 h 4588585"/>
              <a:gd name="connsiteX4872" fmla="*/ 56630 w 5047599"/>
              <a:gd name="connsiteY4872" fmla="*/ 1502406 h 4588585"/>
              <a:gd name="connsiteX4873" fmla="*/ 53400 w 5047599"/>
              <a:gd name="connsiteY4873" fmla="*/ 1501388 h 4588585"/>
              <a:gd name="connsiteX4874" fmla="*/ 50339 w 5047599"/>
              <a:gd name="connsiteY4874" fmla="*/ 1498968 h 4588585"/>
              <a:gd name="connsiteX4875" fmla="*/ 48860 w 5047599"/>
              <a:gd name="connsiteY4875" fmla="*/ 1495465 h 4588585"/>
              <a:gd name="connsiteX4876" fmla="*/ 50063 w 5047599"/>
              <a:gd name="connsiteY4876" fmla="*/ 1492453 h 4588585"/>
              <a:gd name="connsiteX4877" fmla="*/ 126308 w 5047599"/>
              <a:gd name="connsiteY4877" fmla="*/ 1471463 h 4588585"/>
              <a:gd name="connsiteX4878" fmla="*/ 130615 w 5047599"/>
              <a:gd name="connsiteY4878" fmla="*/ 1471824 h 4588585"/>
              <a:gd name="connsiteX4879" fmla="*/ 131713 w 5047599"/>
              <a:gd name="connsiteY4879" fmla="*/ 1474857 h 4588585"/>
              <a:gd name="connsiteX4880" fmla="*/ 131925 w 5047599"/>
              <a:gd name="connsiteY4880" fmla="*/ 1481097 h 4588585"/>
              <a:gd name="connsiteX4881" fmla="*/ 127956 w 5047599"/>
              <a:gd name="connsiteY4881" fmla="*/ 1482879 h 4588585"/>
              <a:gd name="connsiteX4882" fmla="*/ 126308 w 5047599"/>
              <a:gd name="connsiteY4882" fmla="*/ 1483114 h 4588585"/>
              <a:gd name="connsiteX4883" fmla="*/ 123838 w 5047599"/>
              <a:gd name="connsiteY4883" fmla="*/ 1480354 h 4588585"/>
              <a:gd name="connsiteX4884" fmla="*/ 124387 w 5047599"/>
              <a:gd name="connsiteY4884" fmla="*/ 1476534 h 4588585"/>
              <a:gd name="connsiteX4885" fmla="*/ 124114 w 5047599"/>
              <a:gd name="connsiteY4885" fmla="*/ 1475538 h 4588585"/>
              <a:gd name="connsiteX4886" fmla="*/ 94425 w 5047599"/>
              <a:gd name="connsiteY4886" fmla="*/ 1471143 h 4588585"/>
              <a:gd name="connsiteX4887" fmla="*/ 96854 w 5047599"/>
              <a:gd name="connsiteY4887" fmla="*/ 1471866 h 4588585"/>
              <a:gd name="connsiteX4888" fmla="*/ 97256 w 5047599"/>
              <a:gd name="connsiteY4888" fmla="*/ 1474644 h 4588585"/>
              <a:gd name="connsiteX4889" fmla="*/ 104392 w 5047599"/>
              <a:gd name="connsiteY4889" fmla="*/ 1481437 h 4588585"/>
              <a:gd name="connsiteX4890" fmla="*/ 107030 w 5047599"/>
              <a:gd name="connsiteY4890" fmla="*/ 1482753 h 4588585"/>
              <a:gd name="connsiteX4891" fmla="*/ 112415 w 5047599"/>
              <a:gd name="connsiteY4891" fmla="*/ 1490775 h 4588585"/>
              <a:gd name="connsiteX4892" fmla="*/ 108846 w 5047599"/>
              <a:gd name="connsiteY4892" fmla="*/ 1496398 h 4588585"/>
              <a:gd name="connsiteX4893" fmla="*/ 100992 w 5047599"/>
              <a:gd name="connsiteY4893" fmla="*/ 1495953 h 4588585"/>
              <a:gd name="connsiteX4894" fmla="*/ 96960 w 5047599"/>
              <a:gd name="connsiteY4894" fmla="*/ 1493639 h 4588585"/>
              <a:gd name="connsiteX4895" fmla="*/ 92229 w 5047599"/>
              <a:gd name="connsiteY4895" fmla="*/ 1486572 h 4588585"/>
              <a:gd name="connsiteX4896" fmla="*/ 92377 w 5047599"/>
              <a:gd name="connsiteY4896" fmla="*/ 1481097 h 4588585"/>
              <a:gd name="connsiteX4897" fmla="*/ 94045 w 5047599"/>
              <a:gd name="connsiteY4897" fmla="*/ 1476342 h 4588585"/>
              <a:gd name="connsiteX4898" fmla="*/ 93750 w 5047599"/>
              <a:gd name="connsiteY4898" fmla="*/ 1472225 h 4588585"/>
              <a:gd name="connsiteX4899" fmla="*/ 869609 w 5047599"/>
              <a:gd name="connsiteY4899" fmla="*/ 1465135 h 4588585"/>
              <a:gd name="connsiteX4900" fmla="*/ 867916 w 5047599"/>
              <a:gd name="connsiteY4900" fmla="*/ 1465327 h 4588585"/>
              <a:gd name="connsiteX4901" fmla="*/ 867907 w 5047599"/>
              <a:gd name="connsiteY4901" fmla="*/ 1465335 h 4588585"/>
              <a:gd name="connsiteX4902" fmla="*/ 4026242 w 5047599"/>
              <a:gd name="connsiteY4902" fmla="*/ 1464752 h 4588585"/>
              <a:gd name="connsiteX4903" fmla="*/ 4027551 w 5047599"/>
              <a:gd name="connsiteY4903" fmla="*/ 1468722 h 4588585"/>
              <a:gd name="connsiteX4904" fmla="*/ 4026707 w 5047599"/>
              <a:gd name="connsiteY4904" fmla="*/ 1470907 h 4588585"/>
              <a:gd name="connsiteX4905" fmla="*/ 4025503 w 5047599"/>
              <a:gd name="connsiteY4905" fmla="*/ 1472669 h 4588585"/>
              <a:gd name="connsiteX4906" fmla="*/ 4025503 w 5047599"/>
              <a:gd name="connsiteY4906" fmla="*/ 1472671 h 4588585"/>
              <a:gd name="connsiteX4907" fmla="*/ 4023646 w 5047599"/>
              <a:gd name="connsiteY4907" fmla="*/ 1474028 h 4588585"/>
              <a:gd name="connsiteX4908" fmla="*/ 4023075 w 5047599"/>
              <a:gd name="connsiteY4908" fmla="*/ 1471650 h 4588585"/>
              <a:gd name="connsiteX4909" fmla="*/ 4024299 w 5047599"/>
              <a:gd name="connsiteY4909" fmla="*/ 1466302 h 4588585"/>
              <a:gd name="connsiteX4910" fmla="*/ 880804 w 5047599"/>
              <a:gd name="connsiteY4910" fmla="*/ 1464307 h 4588585"/>
              <a:gd name="connsiteX4911" fmla="*/ 884703 w 5047599"/>
              <a:gd name="connsiteY4911" fmla="*/ 1464409 h 4588585"/>
              <a:gd name="connsiteX4912" fmla="*/ 893571 w 5047599"/>
              <a:gd name="connsiteY4912" fmla="*/ 1465745 h 4588585"/>
              <a:gd name="connsiteX4913" fmla="*/ 897625 w 5047599"/>
              <a:gd name="connsiteY4913" fmla="*/ 1466976 h 4588585"/>
              <a:gd name="connsiteX4914" fmla="*/ 901425 w 5047599"/>
              <a:gd name="connsiteY4914" fmla="*/ 1467719 h 4588585"/>
              <a:gd name="connsiteX4915" fmla="*/ 901498 w 5047599"/>
              <a:gd name="connsiteY4915" fmla="*/ 1467724 h 4588585"/>
              <a:gd name="connsiteX4916" fmla="*/ 897709 w 5047599"/>
              <a:gd name="connsiteY4916" fmla="*/ 1466962 h 4588585"/>
              <a:gd name="connsiteX4917" fmla="*/ 893677 w 5047599"/>
              <a:gd name="connsiteY4917" fmla="*/ 1465730 h 4588585"/>
              <a:gd name="connsiteX4918" fmla="*/ 884808 w 5047599"/>
              <a:gd name="connsiteY4918" fmla="*/ 1464394 h 4588585"/>
              <a:gd name="connsiteX4919" fmla="*/ 941881 w 5047599"/>
              <a:gd name="connsiteY4919" fmla="*/ 1463156 h 4588585"/>
              <a:gd name="connsiteX4920" fmla="*/ 934196 w 5047599"/>
              <a:gd name="connsiteY4920" fmla="*/ 1464436 h 4588585"/>
              <a:gd name="connsiteX4921" fmla="*/ 934182 w 5047599"/>
              <a:gd name="connsiteY4921" fmla="*/ 1464439 h 4588585"/>
              <a:gd name="connsiteX4922" fmla="*/ 941881 w 5047599"/>
              <a:gd name="connsiteY4922" fmla="*/ 1463157 h 4588585"/>
              <a:gd name="connsiteX4923" fmla="*/ 2860695 w 5047599"/>
              <a:gd name="connsiteY4923" fmla="*/ 1458555 h 4588585"/>
              <a:gd name="connsiteX4924" fmla="*/ 2860694 w 5047599"/>
              <a:gd name="connsiteY4924" fmla="*/ 1458557 h 4588585"/>
              <a:gd name="connsiteX4925" fmla="*/ 2862805 w 5047599"/>
              <a:gd name="connsiteY4925" fmla="*/ 1472182 h 4588585"/>
              <a:gd name="connsiteX4926" fmla="*/ 2862806 w 5047599"/>
              <a:gd name="connsiteY4926" fmla="*/ 1472172 h 4588585"/>
              <a:gd name="connsiteX4927" fmla="*/ 820176 w 5047599"/>
              <a:gd name="connsiteY4927" fmla="*/ 1452166 h 4588585"/>
              <a:gd name="connsiteX4928" fmla="*/ 820125 w 5047599"/>
              <a:gd name="connsiteY4928" fmla="*/ 1452202 h 4588585"/>
              <a:gd name="connsiteX4929" fmla="*/ 822879 w 5047599"/>
              <a:gd name="connsiteY4929" fmla="*/ 1452884 h 4588585"/>
              <a:gd name="connsiteX4930" fmla="*/ 828179 w 5047599"/>
              <a:gd name="connsiteY4930" fmla="*/ 1458338 h 4588585"/>
              <a:gd name="connsiteX4931" fmla="*/ 839813 w 5047599"/>
              <a:gd name="connsiteY4931" fmla="*/ 1469269 h 4588585"/>
              <a:gd name="connsiteX4932" fmla="*/ 849420 w 5047599"/>
              <a:gd name="connsiteY4932" fmla="*/ 1477589 h 4588585"/>
              <a:gd name="connsiteX4933" fmla="*/ 852925 w 5047599"/>
              <a:gd name="connsiteY4933" fmla="*/ 1482003 h 4588585"/>
              <a:gd name="connsiteX4934" fmla="*/ 856028 w 5047599"/>
              <a:gd name="connsiteY4934" fmla="*/ 1482046 h 4588585"/>
              <a:gd name="connsiteX4935" fmla="*/ 856038 w 5047599"/>
              <a:gd name="connsiteY4935" fmla="*/ 1482028 h 4588585"/>
              <a:gd name="connsiteX4936" fmla="*/ 853031 w 5047599"/>
              <a:gd name="connsiteY4936" fmla="*/ 1481987 h 4588585"/>
              <a:gd name="connsiteX4937" fmla="*/ 849525 w 5047599"/>
              <a:gd name="connsiteY4937" fmla="*/ 1477574 h 4588585"/>
              <a:gd name="connsiteX4938" fmla="*/ 839919 w 5047599"/>
              <a:gd name="connsiteY4938" fmla="*/ 1469252 h 4588585"/>
              <a:gd name="connsiteX4939" fmla="*/ 828284 w 5047599"/>
              <a:gd name="connsiteY4939" fmla="*/ 1458300 h 4588585"/>
              <a:gd name="connsiteX4940" fmla="*/ 822984 w 5047599"/>
              <a:gd name="connsiteY4940" fmla="*/ 1452868 h 4588585"/>
              <a:gd name="connsiteX4941" fmla="*/ 946069 w 5047599"/>
              <a:gd name="connsiteY4941" fmla="*/ 1450137 h 4588585"/>
              <a:gd name="connsiteX4942" fmla="*/ 945640 w 5047599"/>
              <a:gd name="connsiteY4942" fmla="*/ 1450260 h 4588585"/>
              <a:gd name="connsiteX4943" fmla="*/ 945634 w 5047599"/>
              <a:gd name="connsiteY4943" fmla="*/ 1450266 h 4588585"/>
              <a:gd name="connsiteX4944" fmla="*/ 947709 w 5047599"/>
              <a:gd name="connsiteY4944" fmla="*/ 1449665 h 4588585"/>
              <a:gd name="connsiteX4945" fmla="*/ 947605 w 5047599"/>
              <a:gd name="connsiteY4945" fmla="*/ 1449695 h 4588585"/>
              <a:gd name="connsiteX4946" fmla="*/ 948490 w 5047599"/>
              <a:gd name="connsiteY4946" fmla="*/ 1459018 h 4588585"/>
              <a:gd name="connsiteX4947" fmla="*/ 950960 w 5047599"/>
              <a:gd name="connsiteY4947" fmla="*/ 1460418 h 4588585"/>
              <a:gd name="connsiteX4948" fmla="*/ 957886 w 5047599"/>
              <a:gd name="connsiteY4948" fmla="*/ 1460821 h 4588585"/>
              <a:gd name="connsiteX4949" fmla="*/ 969140 w 5047599"/>
              <a:gd name="connsiteY4949" fmla="*/ 1460821 h 4588585"/>
              <a:gd name="connsiteX4950" fmla="*/ 981218 w 5047599"/>
              <a:gd name="connsiteY4950" fmla="*/ 1460821 h 4588585"/>
              <a:gd name="connsiteX4951" fmla="*/ 993295 w 5047599"/>
              <a:gd name="connsiteY4951" fmla="*/ 1460821 h 4588585"/>
              <a:gd name="connsiteX4952" fmla="*/ 1005394 w 5047599"/>
              <a:gd name="connsiteY4952" fmla="*/ 1460821 h 4588585"/>
              <a:gd name="connsiteX4953" fmla="*/ 1017472 w 5047599"/>
              <a:gd name="connsiteY4953" fmla="*/ 1460821 h 4588585"/>
              <a:gd name="connsiteX4954" fmla="*/ 1029549 w 5047599"/>
              <a:gd name="connsiteY4954" fmla="*/ 1460821 h 4588585"/>
              <a:gd name="connsiteX4955" fmla="*/ 1041648 w 5047599"/>
              <a:gd name="connsiteY4955" fmla="*/ 1460821 h 4588585"/>
              <a:gd name="connsiteX4956" fmla="*/ 1053725 w 5047599"/>
              <a:gd name="connsiteY4956" fmla="*/ 1460821 h 4588585"/>
              <a:gd name="connsiteX4957" fmla="*/ 1065824 w 5047599"/>
              <a:gd name="connsiteY4957" fmla="*/ 1460821 h 4588585"/>
              <a:gd name="connsiteX4958" fmla="*/ 1077902 w 5047599"/>
              <a:gd name="connsiteY4958" fmla="*/ 1460821 h 4588585"/>
              <a:gd name="connsiteX4959" fmla="*/ 1089979 w 5047599"/>
              <a:gd name="connsiteY4959" fmla="*/ 1460821 h 4588585"/>
              <a:gd name="connsiteX4960" fmla="*/ 1102056 w 5047599"/>
              <a:gd name="connsiteY4960" fmla="*/ 1460821 h 4588585"/>
              <a:gd name="connsiteX4961" fmla="*/ 1114156 w 5047599"/>
              <a:gd name="connsiteY4961" fmla="*/ 1460821 h 4588585"/>
              <a:gd name="connsiteX4962" fmla="*/ 1126232 w 5047599"/>
              <a:gd name="connsiteY4962" fmla="*/ 1460821 h 4588585"/>
              <a:gd name="connsiteX4963" fmla="*/ 1138332 w 5047599"/>
              <a:gd name="connsiteY4963" fmla="*/ 1460821 h 4588585"/>
              <a:gd name="connsiteX4964" fmla="*/ 1150410 w 5047599"/>
              <a:gd name="connsiteY4964" fmla="*/ 1460821 h 4588585"/>
              <a:gd name="connsiteX4965" fmla="*/ 1162508 w 5047599"/>
              <a:gd name="connsiteY4965" fmla="*/ 1460821 h 4588585"/>
              <a:gd name="connsiteX4966" fmla="*/ 1175029 w 5047599"/>
              <a:gd name="connsiteY4966" fmla="*/ 1460821 h 4588585"/>
              <a:gd name="connsiteX4967" fmla="*/ 1175032 w 5047599"/>
              <a:gd name="connsiteY4967" fmla="*/ 1460807 h 4588585"/>
              <a:gd name="connsiteX4968" fmla="*/ 1162571 w 5047599"/>
              <a:gd name="connsiteY4968" fmla="*/ 1460807 h 4588585"/>
              <a:gd name="connsiteX4969" fmla="*/ 1150472 w 5047599"/>
              <a:gd name="connsiteY4969" fmla="*/ 1460807 h 4588585"/>
              <a:gd name="connsiteX4970" fmla="*/ 1138395 w 5047599"/>
              <a:gd name="connsiteY4970" fmla="*/ 1460807 h 4588585"/>
              <a:gd name="connsiteX4971" fmla="*/ 1126317 w 5047599"/>
              <a:gd name="connsiteY4971" fmla="*/ 1460807 h 4588585"/>
              <a:gd name="connsiteX4972" fmla="*/ 1114239 w 5047599"/>
              <a:gd name="connsiteY4972" fmla="*/ 1460807 h 4588585"/>
              <a:gd name="connsiteX4973" fmla="*/ 1102141 w 5047599"/>
              <a:gd name="connsiteY4973" fmla="*/ 1460807 h 4588585"/>
              <a:gd name="connsiteX4974" fmla="*/ 1090063 w 5047599"/>
              <a:gd name="connsiteY4974" fmla="*/ 1460807 h 4588585"/>
              <a:gd name="connsiteX4975" fmla="*/ 1077986 w 5047599"/>
              <a:gd name="connsiteY4975" fmla="*/ 1460807 h 4588585"/>
              <a:gd name="connsiteX4976" fmla="*/ 1065908 w 5047599"/>
              <a:gd name="connsiteY4976" fmla="*/ 1460807 h 4588585"/>
              <a:gd name="connsiteX4977" fmla="*/ 1053830 w 5047599"/>
              <a:gd name="connsiteY4977" fmla="*/ 1460807 h 4588585"/>
              <a:gd name="connsiteX4978" fmla="*/ 1041732 w 5047599"/>
              <a:gd name="connsiteY4978" fmla="*/ 1460807 h 4588585"/>
              <a:gd name="connsiteX4979" fmla="*/ 1029654 w 5047599"/>
              <a:gd name="connsiteY4979" fmla="*/ 1460807 h 4588585"/>
              <a:gd name="connsiteX4980" fmla="*/ 1017577 w 5047599"/>
              <a:gd name="connsiteY4980" fmla="*/ 1460807 h 4588585"/>
              <a:gd name="connsiteX4981" fmla="*/ 1005499 w 5047599"/>
              <a:gd name="connsiteY4981" fmla="*/ 1460807 h 4588585"/>
              <a:gd name="connsiteX4982" fmla="*/ 993400 w 5047599"/>
              <a:gd name="connsiteY4982" fmla="*/ 1460807 h 4588585"/>
              <a:gd name="connsiteX4983" fmla="*/ 981323 w 5047599"/>
              <a:gd name="connsiteY4983" fmla="*/ 1460807 h 4588585"/>
              <a:gd name="connsiteX4984" fmla="*/ 969245 w 5047599"/>
              <a:gd name="connsiteY4984" fmla="*/ 1460807 h 4588585"/>
              <a:gd name="connsiteX4985" fmla="*/ 957991 w 5047599"/>
              <a:gd name="connsiteY4985" fmla="*/ 1460807 h 4588585"/>
              <a:gd name="connsiteX4986" fmla="*/ 951066 w 5047599"/>
              <a:gd name="connsiteY4986" fmla="*/ 1460382 h 4588585"/>
              <a:gd name="connsiteX4987" fmla="*/ 948595 w 5047599"/>
              <a:gd name="connsiteY4987" fmla="*/ 1458983 h 4588585"/>
              <a:gd name="connsiteX4988" fmla="*/ 3869446 w 5047599"/>
              <a:gd name="connsiteY4988" fmla="*/ 1436632 h 4588585"/>
              <a:gd name="connsiteX4989" fmla="*/ 3874534 w 5047599"/>
              <a:gd name="connsiteY4989" fmla="*/ 1437481 h 4588585"/>
              <a:gd name="connsiteX4990" fmla="*/ 3877744 w 5047599"/>
              <a:gd name="connsiteY4990" fmla="*/ 1439753 h 4588585"/>
              <a:gd name="connsiteX4991" fmla="*/ 3879855 w 5047599"/>
              <a:gd name="connsiteY4991" fmla="*/ 1442405 h 4588585"/>
              <a:gd name="connsiteX4992" fmla="*/ 3880362 w 5047599"/>
              <a:gd name="connsiteY4992" fmla="*/ 1448540 h 4588585"/>
              <a:gd name="connsiteX4993" fmla="*/ 3880362 w 5047599"/>
              <a:gd name="connsiteY4993" fmla="*/ 1448539 h 4588585"/>
              <a:gd name="connsiteX4994" fmla="*/ 3882811 w 5047599"/>
              <a:gd name="connsiteY4994" fmla="*/ 1451807 h 4588585"/>
              <a:gd name="connsiteX4995" fmla="*/ 3884521 w 5047599"/>
              <a:gd name="connsiteY4995" fmla="*/ 1451488 h 4588585"/>
              <a:gd name="connsiteX4996" fmla="*/ 3885872 w 5047599"/>
              <a:gd name="connsiteY4996" fmla="*/ 1450408 h 4588585"/>
              <a:gd name="connsiteX4997" fmla="*/ 3886823 w 5047599"/>
              <a:gd name="connsiteY4997" fmla="*/ 1448093 h 4588585"/>
              <a:gd name="connsiteX4998" fmla="*/ 3896177 w 5047599"/>
              <a:gd name="connsiteY4998" fmla="*/ 1452656 h 4588585"/>
              <a:gd name="connsiteX4999" fmla="*/ 3895649 w 5047599"/>
              <a:gd name="connsiteY4999" fmla="*/ 1455692 h 4588585"/>
              <a:gd name="connsiteX5000" fmla="*/ 3890054 w 5047599"/>
              <a:gd name="connsiteY5000" fmla="*/ 1455840 h 4588585"/>
              <a:gd name="connsiteX5001" fmla="*/ 3883613 w 5047599"/>
              <a:gd name="connsiteY5001" fmla="*/ 1454546 h 4588585"/>
              <a:gd name="connsiteX5002" fmla="*/ 3877638 w 5047599"/>
              <a:gd name="connsiteY5002" fmla="*/ 1454991 h 4588585"/>
              <a:gd name="connsiteX5003" fmla="*/ 3870522 w 5047599"/>
              <a:gd name="connsiteY5003" fmla="*/ 1453676 h 4588585"/>
              <a:gd name="connsiteX5004" fmla="*/ 3868875 w 5047599"/>
              <a:gd name="connsiteY5004" fmla="*/ 1448517 h 4588585"/>
              <a:gd name="connsiteX5005" fmla="*/ 3873415 w 5047599"/>
              <a:gd name="connsiteY5005" fmla="*/ 1451001 h 4588585"/>
              <a:gd name="connsiteX5006" fmla="*/ 3875759 w 5047599"/>
              <a:gd name="connsiteY5006" fmla="*/ 1450384 h 4588585"/>
              <a:gd name="connsiteX5007" fmla="*/ 3876181 w 5047599"/>
              <a:gd name="connsiteY5007" fmla="*/ 1449725 h 4588585"/>
              <a:gd name="connsiteX5008" fmla="*/ 3872971 w 5047599"/>
              <a:gd name="connsiteY5008" fmla="*/ 1446243 h 4588585"/>
              <a:gd name="connsiteX5009" fmla="*/ 3868453 w 5047599"/>
              <a:gd name="connsiteY5009" fmla="*/ 1445546 h 4588585"/>
              <a:gd name="connsiteX5010" fmla="*/ 3868770 w 5047599"/>
              <a:gd name="connsiteY5010" fmla="*/ 1442808 h 4588585"/>
              <a:gd name="connsiteX5011" fmla="*/ 3870797 w 5047599"/>
              <a:gd name="connsiteY5011" fmla="*/ 1441727 h 4588585"/>
              <a:gd name="connsiteX5012" fmla="*/ 3872043 w 5047599"/>
              <a:gd name="connsiteY5012" fmla="*/ 1440391 h 4588585"/>
              <a:gd name="connsiteX5013" fmla="*/ 3874872 w 5047599"/>
              <a:gd name="connsiteY5013" fmla="*/ 1423410 h 4588585"/>
              <a:gd name="connsiteX5014" fmla="*/ 3876540 w 5047599"/>
              <a:gd name="connsiteY5014" fmla="*/ 1424768 h 4588585"/>
              <a:gd name="connsiteX5015" fmla="*/ 3878525 w 5047599"/>
              <a:gd name="connsiteY5015" fmla="*/ 1430710 h 4588585"/>
              <a:gd name="connsiteX5016" fmla="*/ 3872739 w 5047599"/>
              <a:gd name="connsiteY5016" fmla="*/ 1428438 h 4588585"/>
              <a:gd name="connsiteX5017" fmla="*/ 3871790 w 5047599"/>
              <a:gd name="connsiteY5017" fmla="*/ 1427209 h 4588585"/>
              <a:gd name="connsiteX5018" fmla="*/ 3874323 w 5047599"/>
              <a:gd name="connsiteY5018" fmla="*/ 1424852 h 4588585"/>
              <a:gd name="connsiteX5019" fmla="*/ 698555 w 5047599"/>
              <a:gd name="connsiteY5019" fmla="*/ 1420919 h 4588585"/>
              <a:gd name="connsiteX5020" fmla="*/ 698413 w 5047599"/>
              <a:gd name="connsiteY5020" fmla="*/ 1420975 h 4588585"/>
              <a:gd name="connsiteX5021" fmla="*/ 701280 w 5047599"/>
              <a:gd name="connsiteY5021" fmla="*/ 1421527 h 4588585"/>
              <a:gd name="connsiteX5022" fmla="*/ 701808 w 5047599"/>
              <a:gd name="connsiteY5022" fmla="*/ 1423055 h 4588585"/>
              <a:gd name="connsiteX5023" fmla="*/ 702483 w 5047599"/>
              <a:gd name="connsiteY5023" fmla="*/ 1423883 h 4588585"/>
              <a:gd name="connsiteX5024" fmla="*/ 704426 w 5047599"/>
              <a:gd name="connsiteY5024" fmla="*/ 1424244 h 4588585"/>
              <a:gd name="connsiteX5025" fmla="*/ 707044 w 5047599"/>
              <a:gd name="connsiteY5025" fmla="*/ 1426197 h 4588585"/>
              <a:gd name="connsiteX5026" fmla="*/ 710740 w 5047599"/>
              <a:gd name="connsiteY5026" fmla="*/ 1431482 h 4588585"/>
              <a:gd name="connsiteX5027" fmla="*/ 713738 w 5047599"/>
              <a:gd name="connsiteY5027" fmla="*/ 1438847 h 4588585"/>
              <a:gd name="connsiteX5028" fmla="*/ 716039 w 5047599"/>
              <a:gd name="connsiteY5028" fmla="*/ 1448292 h 4588585"/>
              <a:gd name="connsiteX5029" fmla="*/ 719101 w 5047599"/>
              <a:gd name="connsiteY5029" fmla="*/ 1453428 h 4588585"/>
              <a:gd name="connsiteX5030" fmla="*/ 722880 w 5047599"/>
              <a:gd name="connsiteY5030" fmla="*/ 1454257 h 4588585"/>
              <a:gd name="connsiteX5031" fmla="*/ 725097 w 5047599"/>
              <a:gd name="connsiteY5031" fmla="*/ 1456188 h 4588585"/>
              <a:gd name="connsiteX5032" fmla="*/ 725520 w 5047599"/>
              <a:gd name="connsiteY5032" fmla="*/ 1458437 h 4588585"/>
              <a:gd name="connsiteX5033" fmla="*/ 726639 w 5047599"/>
              <a:gd name="connsiteY5033" fmla="*/ 1459968 h 4588585"/>
              <a:gd name="connsiteX5034" fmla="*/ 728455 w 5047599"/>
              <a:gd name="connsiteY5034" fmla="*/ 1460819 h 4588585"/>
              <a:gd name="connsiteX5035" fmla="*/ 731664 w 5047599"/>
              <a:gd name="connsiteY5035" fmla="*/ 1460305 h 4588585"/>
              <a:gd name="connsiteX5036" fmla="*/ 735423 w 5047599"/>
              <a:gd name="connsiteY5036" fmla="*/ 1463489 h 4588585"/>
              <a:gd name="connsiteX5037" fmla="*/ 739477 w 5047599"/>
              <a:gd name="connsiteY5037" fmla="*/ 1470409 h 4588585"/>
              <a:gd name="connsiteX5038" fmla="*/ 740110 w 5047599"/>
              <a:gd name="connsiteY5038" fmla="*/ 1473508 h 4588585"/>
              <a:gd name="connsiteX5039" fmla="*/ 739477 w 5047599"/>
              <a:gd name="connsiteY5039" fmla="*/ 1475185 h 4588585"/>
              <a:gd name="connsiteX5040" fmla="*/ 739709 w 5047599"/>
              <a:gd name="connsiteY5040" fmla="*/ 1476416 h 4588585"/>
              <a:gd name="connsiteX5041" fmla="*/ 742411 w 5047599"/>
              <a:gd name="connsiteY5041" fmla="*/ 1477584 h 4588585"/>
              <a:gd name="connsiteX5042" fmla="*/ 744945 w 5047599"/>
              <a:gd name="connsiteY5042" fmla="*/ 1479832 h 4588585"/>
              <a:gd name="connsiteX5043" fmla="*/ 747014 w 5047599"/>
              <a:gd name="connsiteY5043" fmla="*/ 1483229 h 4588585"/>
              <a:gd name="connsiteX5044" fmla="*/ 751490 w 5047599"/>
              <a:gd name="connsiteY5044" fmla="*/ 1486243 h 4588585"/>
              <a:gd name="connsiteX5045" fmla="*/ 758374 w 5047599"/>
              <a:gd name="connsiteY5045" fmla="*/ 1488895 h 4588585"/>
              <a:gd name="connsiteX5046" fmla="*/ 763336 w 5047599"/>
              <a:gd name="connsiteY5046" fmla="*/ 1492843 h 4588585"/>
              <a:gd name="connsiteX5047" fmla="*/ 766377 w 5047599"/>
              <a:gd name="connsiteY5047" fmla="*/ 1498086 h 4588585"/>
              <a:gd name="connsiteX5048" fmla="*/ 772669 w 5047599"/>
              <a:gd name="connsiteY5048" fmla="*/ 1502501 h 4588585"/>
              <a:gd name="connsiteX5049" fmla="*/ 773956 w 5047599"/>
              <a:gd name="connsiteY5049" fmla="*/ 1502978 h 4588585"/>
              <a:gd name="connsiteX5050" fmla="*/ 779530 w 5047599"/>
              <a:gd name="connsiteY5050" fmla="*/ 1512803 h 4588585"/>
              <a:gd name="connsiteX5051" fmla="*/ 779531 w 5047599"/>
              <a:gd name="connsiteY5051" fmla="*/ 1512799 h 4588585"/>
              <a:gd name="connsiteX5052" fmla="*/ 773956 w 5047599"/>
              <a:gd name="connsiteY5052" fmla="*/ 1502972 h 4588585"/>
              <a:gd name="connsiteX5053" fmla="*/ 784387 w 5047599"/>
              <a:gd name="connsiteY5053" fmla="*/ 1506857 h 4588585"/>
              <a:gd name="connsiteX5054" fmla="*/ 784442 w 5047599"/>
              <a:gd name="connsiteY5054" fmla="*/ 1506806 h 4588585"/>
              <a:gd name="connsiteX5055" fmla="*/ 774104 w 5047599"/>
              <a:gd name="connsiteY5055" fmla="*/ 1502935 h 4588585"/>
              <a:gd name="connsiteX5056" fmla="*/ 772795 w 5047599"/>
              <a:gd name="connsiteY5056" fmla="*/ 1502447 h 4588585"/>
              <a:gd name="connsiteX5057" fmla="*/ 766503 w 5047599"/>
              <a:gd name="connsiteY5057" fmla="*/ 1498031 h 4588585"/>
              <a:gd name="connsiteX5058" fmla="*/ 763463 w 5047599"/>
              <a:gd name="connsiteY5058" fmla="*/ 1492789 h 4588585"/>
              <a:gd name="connsiteX5059" fmla="*/ 758501 w 5047599"/>
              <a:gd name="connsiteY5059" fmla="*/ 1488843 h 4588585"/>
              <a:gd name="connsiteX5060" fmla="*/ 751617 w 5047599"/>
              <a:gd name="connsiteY5060" fmla="*/ 1486188 h 4588585"/>
              <a:gd name="connsiteX5061" fmla="*/ 747141 w 5047599"/>
              <a:gd name="connsiteY5061" fmla="*/ 1483175 h 4588585"/>
              <a:gd name="connsiteX5062" fmla="*/ 745051 w 5047599"/>
              <a:gd name="connsiteY5062" fmla="*/ 1479780 h 4588585"/>
              <a:gd name="connsiteX5063" fmla="*/ 742517 w 5047599"/>
              <a:gd name="connsiteY5063" fmla="*/ 1477530 h 4588585"/>
              <a:gd name="connsiteX5064" fmla="*/ 739835 w 5047599"/>
              <a:gd name="connsiteY5064" fmla="*/ 1476362 h 4588585"/>
              <a:gd name="connsiteX5065" fmla="*/ 739581 w 5047599"/>
              <a:gd name="connsiteY5065" fmla="*/ 1475152 h 4588585"/>
              <a:gd name="connsiteX5066" fmla="*/ 740215 w 5047599"/>
              <a:gd name="connsiteY5066" fmla="*/ 1473475 h 4588585"/>
              <a:gd name="connsiteX5067" fmla="*/ 739581 w 5047599"/>
              <a:gd name="connsiteY5067" fmla="*/ 1470375 h 4588585"/>
              <a:gd name="connsiteX5068" fmla="*/ 735549 w 5047599"/>
              <a:gd name="connsiteY5068" fmla="*/ 1463459 h 4588585"/>
              <a:gd name="connsiteX5069" fmla="*/ 731791 w 5047599"/>
              <a:gd name="connsiteY5069" fmla="*/ 1460275 h 4588585"/>
              <a:gd name="connsiteX5070" fmla="*/ 728581 w 5047599"/>
              <a:gd name="connsiteY5070" fmla="*/ 1460785 h 4588585"/>
              <a:gd name="connsiteX5071" fmla="*/ 726765 w 5047599"/>
              <a:gd name="connsiteY5071" fmla="*/ 1459935 h 4588585"/>
              <a:gd name="connsiteX5072" fmla="*/ 725667 w 5047599"/>
              <a:gd name="connsiteY5072" fmla="*/ 1458406 h 4588585"/>
              <a:gd name="connsiteX5073" fmla="*/ 725224 w 5047599"/>
              <a:gd name="connsiteY5073" fmla="*/ 1456176 h 4588585"/>
              <a:gd name="connsiteX5074" fmla="*/ 723028 w 5047599"/>
              <a:gd name="connsiteY5074" fmla="*/ 1454245 h 4588585"/>
              <a:gd name="connsiteX5075" fmla="*/ 719227 w 5047599"/>
              <a:gd name="connsiteY5075" fmla="*/ 1453393 h 4588585"/>
              <a:gd name="connsiteX5076" fmla="*/ 716166 w 5047599"/>
              <a:gd name="connsiteY5076" fmla="*/ 1448258 h 4588585"/>
              <a:gd name="connsiteX5077" fmla="*/ 713864 w 5047599"/>
              <a:gd name="connsiteY5077" fmla="*/ 1438814 h 4588585"/>
              <a:gd name="connsiteX5078" fmla="*/ 710866 w 5047599"/>
              <a:gd name="connsiteY5078" fmla="*/ 1431449 h 4588585"/>
              <a:gd name="connsiteX5079" fmla="*/ 707192 w 5047599"/>
              <a:gd name="connsiteY5079" fmla="*/ 1426164 h 4588585"/>
              <a:gd name="connsiteX5080" fmla="*/ 704553 w 5047599"/>
              <a:gd name="connsiteY5080" fmla="*/ 1424190 h 4588585"/>
              <a:gd name="connsiteX5081" fmla="*/ 702610 w 5047599"/>
              <a:gd name="connsiteY5081" fmla="*/ 1423828 h 4588585"/>
              <a:gd name="connsiteX5082" fmla="*/ 701955 w 5047599"/>
              <a:gd name="connsiteY5082" fmla="*/ 1423001 h 4588585"/>
              <a:gd name="connsiteX5083" fmla="*/ 701427 w 5047599"/>
              <a:gd name="connsiteY5083" fmla="*/ 1421472 h 4588585"/>
              <a:gd name="connsiteX5084" fmla="*/ 686647 w 5047599"/>
              <a:gd name="connsiteY5084" fmla="*/ 1419153 h 4588585"/>
              <a:gd name="connsiteX5085" fmla="*/ 686556 w 5047599"/>
              <a:gd name="connsiteY5085" fmla="*/ 1419216 h 4588585"/>
              <a:gd name="connsiteX5086" fmla="*/ 688970 w 5047599"/>
              <a:gd name="connsiteY5086" fmla="*/ 1419445 h 4588585"/>
              <a:gd name="connsiteX5087" fmla="*/ 690744 w 5047599"/>
              <a:gd name="connsiteY5087" fmla="*/ 1422033 h 4588585"/>
              <a:gd name="connsiteX5088" fmla="*/ 694376 w 5047599"/>
              <a:gd name="connsiteY5088" fmla="*/ 1422565 h 4588585"/>
              <a:gd name="connsiteX5089" fmla="*/ 694515 w 5047599"/>
              <a:gd name="connsiteY5089" fmla="*/ 1422510 h 4588585"/>
              <a:gd name="connsiteX5090" fmla="*/ 690891 w 5047599"/>
              <a:gd name="connsiteY5090" fmla="*/ 1421979 h 4588585"/>
              <a:gd name="connsiteX5091" fmla="*/ 689118 w 5047599"/>
              <a:gd name="connsiteY5091" fmla="*/ 1419388 h 4588585"/>
              <a:gd name="connsiteX5092" fmla="*/ 143622 w 5047599"/>
              <a:gd name="connsiteY5092" fmla="*/ 1415215 h 4588585"/>
              <a:gd name="connsiteX5093" fmla="*/ 148564 w 5047599"/>
              <a:gd name="connsiteY5093" fmla="*/ 1416338 h 4588585"/>
              <a:gd name="connsiteX5094" fmla="*/ 150444 w 5047599"/>
              <a:gd name="connsiteY5094" fmla="*/ 1415935 h 4588585"/>
              <a:gd name="connsiteX5095" fmla="*/ 153589 w 5047599"/>
              <a:gd name="connsiteY5095" fmla="*/ 1416191 h 4588585"/>
              <a:gd name="connsiteX5096" fmla="*/ 156967 w 5047599"/>
              <a:gd name="connsiteY5096" fmla="*/ 1419417 h 4588585"/>
              <a:gd name="connsiteX5097" fmla="*/ 157601 w 5047599"/>
              <a:gd name="connsiteY5097" fmla="*/ 1422856 h 4588585"/>
              <a:gd name="connsiteX5098" fmla="*/ 155932 w 5047599"/>
              <a:gd name="connsiteY5098" fmla="*/ 1427164 h 4588585"/>
              <a:gd name="connsiteX5099" fmla="*/ 149387 w 5047599"/>
              <a:gd name="connsiteY5099" fmla="*/ 1430709 h 4588585"/>
              <a:gd name="connsiteX5100" fmla="*/ 145608 w 5047599"/>
              <a:gd name="connsiteY5100" fmla="*/ 1430284 h 4588585"/>
              <a:gd name="connsiteX5101" fmla="*/ 141152 w 5047599"/>
              <a:gd name="connsiteY5101" fmla="*/ 1427058 h 4588585"/>
              <a:gd name="connsiteX5102" fmla="*/ 143707 w 5047599"/>
              <a:gd name="connsiteY5102" fmla="*/ 1420690 h 4588585"/>
              <a:gd name="connsiteX5103" fmla="*/ 543743 w 5047599"/>
              <a:gd name="connsiteY5103" fmla="*/ 1396040 h 4588585"/>
              <a:gd name="connsiteX5104" fmla="*/ 539562 w 5047599"/>
              <a:gd name="connsiteY5104" fmla="*/ 1397015 h 4588585"/>
              <a:gd name="connsiteX5105" fmla="*/ 539545 w 5047599"/>
              <a:gd name="connsiteY5105" fmla="*/ 1397038 h 4588585"/>
              <a:gd name="connsiteX5106" fmla="*/ 543575 w 5047599"/>
              <a:gd name="connsiteY5106" fmla="*/ 1396096 h 4588585"/>
              <a:gd name="connsiteX5107" fmla="*/ 546848 w 5047599"/>
              <a:gd name="connsiteY5107" fmla="*/ 1396543 h 4588585"/>
              <a:gd name="connsiteX5108" fmla="*/ 549170 w 5047599"/>
              <a:gd name="connsiteY5108" fmla="*/ 1398368 h 4588585"/>
              <a:gd name="connsiteX5109" fmla="*/ 555990 w 5047599"/>
              <a:gd name="connsiteY5109" fmla="*/ 1399514 h 4588585"/>
              <a:gd name="connsiteX5110" fmla="*/ 567286 w 5047599"/>
              <a:gd name="connsiteY5110" fmla="*/ 1399937 h 4588585"/>
              <a:gd name="connsiteX5111" fmla="*/ 576029 w 5047599"/>
              <a:gd name="connsiteY5111" fmla="*/ 1398600 h 4588585"/>
              <a:gd name="connsiteX5112" fmla="*/ 576119 w 5047599"/>
              <a:gd name="connsiteY5112" fmla="*/ 1398555 h 4588585"/>
              <a:gd name="connsiteX5113" fmla="*/ 567455 w 5047599"/>
              <a:gd name="connsiteY5113" fmla="*/ 1399881 h 4588585"/>
              <a:gd name="connsiteX5114" fmla="*/ 556138 w 5047599"/>
              <a:gd name="connsiteY5114" fmla="*/ 1399455 h 4588585"/>
              <a:gd name="connsiteX5115" fmla="*/ 549318 w 5047599"/>
              <a:gd name="connsiteY5115" fmla="*/ 1398311 h 4588585"/>
              <a:gd name="connsiteX5116" fmla="*/ 546995 w 5047599"/>
              <a:gd name="connsiteY5116" fmla="*/ 1396485 h 4588585"/>
              <a:gd name="connsiteX5117" fmla="*/ 605639 w 5047599"/>
              <a:gd name="connsiteY5117" fmla="*/ 1392574 h 4588585"/>
              <a:gd name="connsiteX5118" fmla="*/ 600499 w 5047599"/>
              <a:gd name="connsiteY5118" fmla="*/ 1393854 h 4588585"/>
              <a:gd name="connsiteX5119" fmla="*/ 590470 w 5047599"/>
              <a:gd name="connsiteY5119" fmla="*/ 1393875 h 4588585"/>
              <a:gd name="connsiteX5120" fmla="*/ 582362 w 5047599"/>
              <a:gd name="connsiteY5120" fmla="*/ 1395447 h 4588585"/>
              <a:gd name="connsiteX5121" fmla="*/ 582218 w 5047599"/>
              <a:gd name="connsiteY5121" fmla="*/ 1395519 h 4588585"/>
              <a:gd name="connsiteX5122" fmla="*/ 590302 w 5047599"/>
              <a:gd name="connsiteY5122" fmla="*/ 1393953 h 4588585"/>
              <a:gd name="connsiteX5123" fmla="*/ 600331 w 5047599"/>
              <a:gd name="connsiteY5123" fmla="*/ 1393911 h 4588585"/>
              <a:gd name="connsiteX5124" fmla="*/ 605631 w 5047599"/>
              <a:gd name="connsiteY5124" fmla="*/ 1392616 h 4588585"/>
              <a:gd name="connsiteX5125" fmla="*/ 607594 w 5047599"/>
              <a:gd name="connsiteY5125" fmla="*/ 1389230 h 4588585"/>
              <a:gd name="connsiteX5126" fmla="*/ 607455 w 5047599"/>
              <a:gd name="connsiteY5126" fmla="*/ 1389312 h 4588585"/>
              <a:gd name="connsiteX5127" fmla="*/ 609537 w 5047599"/>
              <a:gd name="connsiteY5127" fmla="*/ 1390305 h 4588585"/>
              <a:gd name="connsiteX5128" fmla="*/ 611522 w 5047599"/>
              <a:gd name="connsiteY5128" fmla="*/ 1389901 h 4588585"/>
              <a:gd name="connsiteX5129" fmla="*/ 611562 w 5047599"/>
              <a:gd name="connsiteY5129" fmla="*/ 1389862 h 4588585"/>
              <a:gd name="connsiteX5130" fmla="*/ 609684 w 5047599"/>
              <a:gd name="connsiteY5130" fmla="*/ 1390248 h 4588585"/>
              <a:gd name="connsiteX5131" fmla="*/ 57180 w 5047599"/>
              <a:gd name="connsiteY5131" fmla="*/ 1388009 h 4588585"/>
              <a:gd name="connsiteX5132" fmla="*/ 63430 w 5047599"/>
              <a:gd name="connsiteY5132" fmla="*/ 1390046 h 4588585"/>
              <a:gd name="connsiteX5133" fmla="*/ 74304 w 5047599"/>
              <a:gd name="connsiteY5133" fmla="*/ 1391446 h 4588585"/>
              <a:gd name="connsiteX5134" fmla="*/ 74304 w 5047599"/>
              <a:gd name="connsiteY5134" fmla="*/ 1391444 h 4588585"/>
              <a:gd name="connsiteX5135" fmla="*/ 76753 w 5047599"/>
              <a:gd name="connsiteY5135" fmla="*/ 1393250 h 4588585"/>
              <a:gd name="connsiteX5136" fmla="*/ 77555 w 5047599"/>
              <a:gd name="connsiteY5136" fmla="*/ 1394565 h 4588585"/>
              <a:gd name="connsiteX5137" fmla="*/ 73923 w 5047599"/>
              <a:gd name="connsiteY5137" fmla="*/ 1395245 h 4588585"/>
              <a:gd name="connsiteX5138" fmla="*/ 65097 w 5047599"/>
              <a:gd name="connsiteY5138" fmla="*/ 1392868 h 4588585"/>
              <a:gd name="connsiteX5139" fmla="*/ 62753 w 5047599"/>
              <a:gd name="connsiteY5139" fmla="*/ 1394312 h 4588585"/>
              <a:gd name="connsiteX5140" fmla="*/ 60409 w 5047599"/>
              <a:gd name="connsiteY5140" fmla="*/ 1399428 h 4588585"/>
              <a:gd name="connsiteX5141" fmla="*/ 55912 w 5047599"/>
              <a:gd name="connsiteY5141" fmla="*/ 1391681 h 4588585"/>
              <a:gd name="connsiteX5142" fmla="*/ 56228 w 5047599"/>
              <a:gd name="connsiteY5142" fmla="*/ 1388837 h 4588585"/>
              <a:gd name="connsiteX5143" fmla="*/ 615344 w 5047599"/>
              <a:gd name="connsiteY5143" fmla="*/ 1387892 h 4588585"/>
              <a:gd name="connsiteX5144" fmla="*/ 613506 w 5047599"/>
              <a:gd name="connsiteY5144" fmla="*/ 1388018 h 4588585"/>
              <a:gd name="connsiteX5145" fmla="*/ 613453 w 5047599"/>
              <a:gd name="connsiteY5145" fmla="*/ 1388069 h 4588585"/>
              <a:gd name="connsiteX5146" fmla="*/ 615217 w 5047599"/>
              <a:gd name="connsiteY5146" fmla="*/ 1387969 h 4588585"/>
              <a:gd name="connsiteX5147" fmla="*/ 617054 w 5047599"/>
              <a:gd name="connsiteY5147" fmla="*/ 1389540 h 4588585"/>
              <a:gd name="connsiteX5148" fmla="*/ 625458 w 5047599"/>
              <a:gd name="connsiteY5148" fmla="*/ 1390007 h 4588585"/>
              <a:gd name="connsiteX5149" fmla="*/ 640449 w 5047599"/>
              <a:gd name="connsiteY5149" fmla="*/ 1389390 h 4588585"/>
              <a:gd name="connsiteX5150" fmla="*/ 654279 w 5047599"/>
              <a:gd name="connsiteY5150" fmla="*/ 1394058 h 4588585"/>
              <a:gd name="connsiteX5151" fmla="*/ 666990 w 5047599"/>
              <a:gd name="connsiteY5151" fmla="*/ 1404014 h 4588585"/>
              <a:gd name="connsiteX5152" fmla="*/ 673557 w 5047599"/>
              <a:gd name="connsiteY5152" fmla="*/ 1410656 h 4588585"/>
              <a:gd name="connsiteX5153" fmla="*/ 673958 w 5047599"/>
              <a:gd name="connsiteY5153" fmla="*/ 1413988 h 4588585"/>
              <a:gd name="connsiteX5154" fmla="*/ 676069 w 5047599"/>
              <a:gd name="connsiteY5154" fmla="*/ 1417341 h 4588585"/>
              <a:gd name="connsiteX5155" fmla="*/ 679870 w 5047599"/>
              <a:gd name="connsiteY5155" fmla="*/ 1420716 h 4588585"/>
              <a:gd name="connsiteX5156" fmla="*/ 683333 w 5047599"/>
              <a:gd name="connsiteY5156" fmla="*/ 1421332 h 4588585"/>
              <a:gd name="connsiteX5157" fmla="*/ 683434 w 5047599"/>
              <a:gd name="connsiteY5157" fmla="*/ 1421264 h 4588585"/>
              <a:gd name="connsiteX5158" fmla="*/ 680018 w 5047599"/>
              <a:gd name="connsiteY5158" fmla="*/ 1420660 h 4588585"/>
              <a:gd name="connsiteX5159" fmla="*/ 676216 w 5047599"/>
              <a:gd name="connsiteY5159" fmla="*/ 1417285 h 4588585"/>
              <a:gd name="connsiteX5160" fmla="*/ 674105 w 5047599"/>
              <a:gd name="connsiteY5160" fmla="*/ 1413932 h 4588585"/>
              <a:gd name="connsiteX5161" fmla="*/ 673704 w 5047599"/>
              <a:gd name="connsiteY5161" fmla="*/ 1410600 h 4588585"/>
              <a:gd name="connsiteX5162" fmla="*/ 667137 w 5047599"/>
              <a:gd name="connsiteY5162" fmla="*/ 1403956 h 4588585"/>
              <a:gd name="connsiteX5163" fmla="*/ 654426 w 5047599"/>
              <a:gd name="connsiteY5163" fmla="*/ 1393981 h 4588585"/>
              <a:gd name="connsiteX5164" fmla="*/ 640575 w 5047599"/>
              <a:gd name="connsiteY5164" fmla="*/ 1389313 h 4588585"/>
              <a:gd name="connsiteX5165" fmla="*/ 625584 w 5047599"/>
              <a:gd name="connsiteY5165" fmla="*/ 1389929 h 4588585"/>
              <a:gd name="connsiteX5166" fmla="*/ 617180 w 5047599"/>
              <a:gd name="connsiteY5166" fmla="*/ 1389462 h 4588585"/>
              <a:gd name="connsiteX5167" fmla="*/ 144383 w 5047599"/>
              <a:gd name="connsiteY5167" fmla="*/ 1377779 h 4588585"/>
              <a:gd name="connsiteX5168" fmla="*/ 144424 w 5047599"/>
              <a:gd name="connsiteY5168" fmla="*/ 1384675 h 4588585"/>
              <a:gd name="connsiteX5169" fmla="*/ 145374 w 5047599"/>
              <a:gd name="connsiteY5169" fmla="*/ 1389197 h 4588585"/>
              <a:gd name="connsiteX5170" fmla="*/ 143475 w 5047599"/>
              <a:gd name="connsiteY5170" fmla="*/ 1392356 h 4588585"/>
              <a:gd name="connsiteX5171" fmla="*/ 141152 w 5047599"/>
              <a:gd name="connsiteY5171" fmla="*/ 1387709 h 4588585"/>
              <a:gd name="connsiteX5172" fmla="*/ 139885 w 5047599"/>
              <a:gd name="connsiteY5172" fmla="*/ 1386607 h 4588585"/>
              <a:gd name="connsiteX5173" fmla="*/ 139273 w 5047599"/>
              <a:gd name="connsiteY5173" fmla="*/ 1379943 h 4588585"/>
              <a:gd name="connsiteX5174" fmla="*/ 142713 w 5047599"/>
              <a:gd name="connsiteY5174" fmla="*/ 1377947 h 4588585"/>
              <a:gd name="connsiteX5175" fmla="*/ 23987 w 5047599"/>
              <a:gd name="connsiteY5175" fmla="*/ 1372915 h 4588585"/>
              <a:gd name="connsiteX5176" fmla="*/ 26626 w 5047599"/>
              <a:gd name="connsiteY5176" fmla="*/ 1377604 h 4588585"/>
              <a:gd name="connsiteX5177" fmla="*/ 26923 w 5047599"/>
              <a:gd name="connsiteY5177" fmla="*/ 1379343 h 4588585"/>
              <a:gd name="connsiteX5178" fmla="*/ 26923 w 5047599"/>
              <a:gd name="connsiteY5178" fmla="*/ 1379345 h 4588585"/>
              <a:gd name="connsiteX5179" fmla="*/ 22066 w 5047599"/>
              <a:gd name="connsiteY5179" fmla="*/ 1380830 h 4588585"/>
              <a:gd name="connsiteX5180" fmla="*/ 19047 w 5047599"/>
              <a:gd name="connsiteY5180" fmla="*/ 1380640 h 4588585"/>
              <a:gd name="connsiteX5181" fmla="*/ 14718 w 5047599"/>
              <a:gd name="connsiteY5181" fmla="*/ 1378454 h 4588585"/>
              <a:gd name="connsiteX5182" fmla="*/ 16069 w 5047599"/>
              <a:gd name="connsiteY5182" fmla="*/ 1376098 h 4588585"/>
              <a:gd name="connsiteX5183" fmla="*/ 20756 w 5047599"/>
              <a:gd name="connsiteY5183" fmla="*/ 1373467 h 4588585"/>
              <a:gd name="connsiteX5184" fmla="*/ 3982218 w 5047599"/>
              <a:gd name="connsiteY5184" fmla="*/ 1367947 h 4588585"/>
              <a:gd name="connsiteX5185" fmla="*/ 3985596 w 5047599"/>
              <a:gd name="connsiteY5185" fmla="*/ 1368500 h 4588585"/>
              <a:gd name="connsiteX5186" fmla="*/ 3987412 w 5047599"/>
              <a:gd name="connsiteY5186" fmla="*/ 1372045 h 4588585"/>
              <a:gd name="connsiteX5187" fmla="*/ 3987772 w 5047599"/>
              <a:gd name="connsiteY5187" fmla="*/ 1380087 h 4588585"/>
              <a:gd name="connsiteX5188" fmla="*/ 3988278 w 5047599"/>
              <a:gd name="connsiteY5188" fmla="*/ 1381785 h 4588585"/>
              <a:gd name="connsiteX5189" fmla="*/ 3987349 w 5047599"/>
              <a:gd name="connsiteY5189" fmla="*/ 1383632 h 4588585"/>
              <a:gd name="connsiteX5190" fmla="*/ 3989798 w 5047599"/>
              <a:gd name="connsiteY5190" fmla="*/ 1385693 h 4588585"/>
              <a:gd name="connsiteX5191" fmla="*/ 3994380 w 5047599"/>
              <a:gd name="connsiteY5191" fmla="*/ 1386054 h 4588585"/>
              <a:gd name="connsiteX5192" fmla="*/ 3992480 w 5047599"/>
              <a:gd name="connsiteY5192" fmla="*/ 1384081 h 4588585"/>
              <a:gd name="connsiteX5193" fmla="*/ 3992078 w 5047599"/>
              <a:gd name="connsiteY5193" fmla="*/ 1383126 h 4588585"/>
              <a:gd name="connsiteX5194" fmla="*/ 3994063 w 5047599"/>
              <a:gd name="connsiteY5194" fmla="*/ 1380282 h 4588585"/>
              <a:gd name="connsiteX5195" fmla="*/ 4000608 w 5047599"/>
              <a:gd name="connsiteY5195" fmla="*/ 1386141 h 4588585"/>
              <a:gd name="connsiteX5196" fmla="*/ 4000419 w 5047599"/>
              <a:gd name="connsiteY5196" fmla="*/ 1393079 h 4588585"/>
              <a:gd name="connsiteX5197" fmla="*/ 3999870 w 5047599"/>
              <a:gd name="connsiteY5197" fmla="*/ 1394672 h 4588585"/>
              <a:gd name="connsiteX5198" fmla="*/ 3998096 w 5047599"/>
              <a:gd name="connsiteY5198" fmla="*/ 1393185 h 4588585"/>
              <a:gd name="connsiteX5199" fmla="*/ 3996935 w 5047599"/>
              <a:gd name="connsiteY5199" fmla="*/ 1391720 h 4588585"/>
              <a:gd name="connsiteX5200" fmla="*/ 3996576 w 5047599"/>
              <a:gd name="connsiteY5200" fmla="*/ 1390148 h 4588585"/>
              <a:gd name="connsiteX5201" fmla="*/ 3994760 w 5047599"/>
              <a:gd name="connsiteY5201" fmla="*/ 1388451 h 4588585"/>
              <a:gd name="connsiteX5202" fmla="*/ 3988383 w 5047599"/>
              <a:gd name="connsiteY5202" fmla="*/ 1389553 h 4588585"/>
              <a:gd name="connsiteX5203" fmla="*/ 3984414 w 5047599"/>
              <a:gd name="connsiteY5203" fmla="*/ 1387663 h 4588585"/>
              <a:gd name="connsiteX5204" fmla="*/ 3978734 w 5047599"/>
              <a:gd name="connsiteY5204" fmla="*/ 1381828 h 4588585"/>
              <a:gd name="connsiteX5205" fmla="*/ 3977214 w 5047599"/>
              <a:gd name="connsiteY5205" fmla="*/ 1377605 h 4588585"/>
              <a:gd name="connsiteX5206" fmla="*/ 3979579 w 5047599"/>
              <a:gd name="connsiteY5206" fmla="*/ 1376776 h 4588585"/>
              <a:gd name="connsiteX5207" fmla="*/ 3982091 w 5047599"/>
              <a:gd name="connsiteY5207" fmla="*/ 1374739 h 4588585"/>
              <a:gd name="connsiteX5208" fmla="*/ 3983675 w 5047599"/>
              <a:gd name="connsiteY5208" fmla="*/ 1371407 h 4588585"/>
              <a:gd name="connsiteX5209" fmla="*/ 13514 w 5047599"/>
              <a:gd name="connsiteY5209" fmla="*/ 1356107 h 4588585"/>
              <a:gd name="connsiteX5210" fmla="*/ 18180 w 5047599"/>
              <a:gd name="connsiteY5210" fmla="*/ 1357167 h 4588585"/>
              <a:gd name="connsiteX5211" fmla="*/ 21432 w 5047599"/>
              <a:gd name="connsiteY5211" fmla="*/ 1362239 h 4588585"/>
              <a:gd name="connsiteX5212" fmla="*/ 19214 w 5047599"/>
              <a:gd name="connsiteY5212" fmla="*/ 1365040 h 4588585"/>
              <a:gd name="connsiteX5213" fmla="*/ 10177 w 5047599"/>
              <a:gd name="connsiteY5213" fmla="*/ 1371407 h 4588585"/>
              <a:gd name="connsiteX5214" fmla="*/ 10177 w 5047599"/>
              <a:gd name="connsiteY5214" fmla="*/ 1371408 h 4588585"/>
              <a:gd name="connsiteX5215" fmla="*/ 4414 w 5047599"/>
              <a:gd name="connsiteY5215" fmla="*/ 1372682 h 4588585"/>
              <a:gd name="connsiteX5216" fmla="*/ 1964 w 5047599"/>
              <a:gd name="connsiteY5216" fmla="*/ 1372065 h 4588585"/>
              <a:gd name="connsiteX5217" fmla="*/ 1161 w 5047599"/>
              <a:gd name="connsiteY5217" fmla="*/ 1367141 h 4588585"/>
              <a:gd name="connsiteX5218" fmla="*/ 0 w 5047599"/>
              <a:gd name="connsiteY5218" fmla="*/ 1363894 h 4588585"/>
              <a:gd name="connsiteX5219" fmla="*/ 275 w 5047599"/>
              <a:gd name="connsiteY5219" fmla="*/ 1362452 h 4588585"/>
              <a:gd name="connsiteX5220" fmla="*/ 4059071 w 5047599"/>
              <a:gd name="connsiteY5220" fmla="*/ 1355492 h 4588585"/>
              <a:gd name="connsiteX5221" fmla="*/ 4058886 w 5047599"/>
              <a:gd name="connsiteY5221" fmla="*/ 1355593 h 4588585"/>
              <a:gd name="connsiteX5222" fmla="*/ 4057682 w 5047599"/>
              <a:gd name="connsiteY5222" fmla="*/ 1361301 h 4588585"/>
              <a:gd name="connsiteX5223" fmla="*/ 4057112 w 5047599"/>
              <a:gd name="connsiteY5223" fmla="*/ 1364422 h 4588585"/>
              <a:gd name="connsiteX5224" fmla="*/ 4056542 w 5047599"/>
              <a:gd name="connsiteY5224" fmla="*/ 1371893 h 4588585"/>
              <a:gd name="connsiteX5225" fmla="*/ 4058273 w 5047599"/>
              <a:gd name="connsiteY5225" fmla="*/ 1377771 h 4588585"/>
              <a:gd name="connsiteX5226" fmla="*/ 4060574 w 5047599"/>
              <a:gd name="connsiteY5226" fmla="*/ 1379938 h 4588585"/>
              <a:gd name="connsiteX5227" fmla="*/ 4060680 w 5047599"/>
              <a:gd name="connsiteY5227" fmla="*/ 1382463 h 4588585"/>
              <a:gd name="connsiteX5228" fmla="*/ 4059424 w 5047599"/>
              <a:gd name="connsiteY5228" fmla="*/ 1387468 h 4588585"/>
              <a:gd name="connsiteX5229" fmla="*/ 4059604 w 5047599"/>
              <a:gd name="connsiteY5229" fmla="*/ 1387390 h 4588585"/>
              <a:gd name="connsiteX5230" fmla="*/ 4060870 w 5047599"/>
              <a:gd name="connsiteY5230" fmla="*/ 1382340 h 4588585"/>
              <a:gd name="connsiteX5231" fmla="*/ 4060765 w 5047599"/>
              <a:gd name="connsiteY5231" fmla="*/ 1379815 h 4588585"/>
              <a:gd name="connsiteX5232" fmla="*/ 4058463 w 5047599"/>
              <a:gd name="connsiteY5232" fmla="*/ 1377648 h 4588585"/>
              <a:gd name="connsiteX5233" fmla="*/ 4056732 w 5047599"/>
              <a:gd name="connsiteY5233" fmla="*/ 1371770 h 4588585"/>
              <a:gd name="connsiteX5234" fmla="*/ 4057302 w 5047599"/>
              <a:gd name="connsiteY5234" fmla="*/ 1364300 h 4588585"/>
              <a:gd name="connsiteX5235" fmla="*/ 4057872 w 5047599"/>
              <a:gd name="connsiteY5235" fmla="*/ 1361179 h 4588585"/>
              <a:gd name="connsiteX5236" fmla="*/ 1752560 w 5047599"/>
              <a:gd name="connsiteY5236" fmla="*/ 1351205 h 4588585"/>
              <a:gd name="connsiteX5237" fmla="*/ 1752619 w 5047599"/>
              <a:gd name="connsiteY5237" fmla="*/ 1368331 h 4588585"/>
              <a:gd name="connsiteX5238" fmla="*/ 1750740 w 5047599"/>
              <a:gd name="connsiteY5238" fmla="*/ 1370413 h 4588585"/>
              <a:gd name="connsiteX5239" fmla="*/ 1750044 w 5047599"/>
              <a:gd name="connsiteY5239" fmla="*/ 1380578 h 4588585"/>
              <a:gd name="connsiteX5240" fmla="*/ 1749516 w 5047599"/>
              <a:gd name="connsiteY5240" fmla="*/ 1393949 h 4588585"/>
              <a:gd name="connsiteX5241" fmla="*/ 1745904 w 5047599"/>
              <a:gd name="connsiteY5241" fmla="*/ 1407787 h 4588585"/>
              <a:gd name="connsiteX5242" fmla="*/ 1739591 w 5047599"/>
              <a:gd name="connsiteY5242" fmla="*/ 1417975 h 4588585"/>
              <a:gd name="connsiteX5243" fmla="*/ 1737311 w 5047599"/>
              <a:gd name="connsiteY5243" fmla="*/ 1427652 h 4588585"/>
              <a:gd name="connsiteX5244" fmla="*/ 1735580 w 5047599"/>
              <a:gd name="connsiteY5244" fmla="*/ 1433193 h 4588585"/>
              <a:gd name="connsiteX5245" fmla="*/ 1733215 w 5047599"/>
              <a:gd name="connsiteY5245" fmla="*/ 1436205 h 4588585"/>
              <a:gd name="connsiteX5246" fmla="*/ 1732666 w 5047599"/>
              <a:gd name="connsiteY5246" fmla="*/ 1439815 h 4588585"/>
              <a:gd name="connsiteX5247" fmla="*/ 1731420 w 5047599"/>
              <a:gd name="connsiteY5247" fmla="*/ 1444909 h 4588585"/>
              <a:gd name="connsiteX5248" fmla="*/ 1729415 w 5047599"/>
              <a:gd name="connsiteY5248" fmla="*/ 1448199 h 4588585"/>
              <a:gd name="connsiteX5249" fmla="*/ 1727852 w 5047599"/>
              <a:gd name="connsiteY5249" fmla="*/ 1449897 h 4588585"/>
              <a:gd name="connsiteX5250" fmla="*/ 1721496 w 5047599"/>
              <a:gd name="connsiteY5250" fmla="*/ 1451892 h 4588585"/>
              <a:gd name="connsiteX5251" fmla="*/ 1710305 w 5047599"/>
              <a:gd name="connsiteY5251" fmla="*/ 1461634 h 4588585"/>
              <a:gd name="connsiteX5252" fmla="*/ 1709335 w 5047599"/>
              <a:gd name="connsiteY5252" fmla="*/ 1469423 h 4588585"/>
              <a:gd name="connsiteX5253" fmla="*/ 1696581 w 5047599"/>
              <a:gd name="connsiteY5253" fmla="*/ 1467278 h 4588585"/>
              <a:gd name="connsiteX5254" fmla="*/ 1683025 w 5047599"/>
              <a:gd name="connsiteY5254" fmla="*/ 1465072 h 4588585"/>
              <a:gd name="connsiteX5255" fmla="*/ 1681209 w 5047599"/>
              <a:gd name="connsiteY5255" fmla="*/ 1465220 h 4588585"/>
              <a:gd name="connsiteX5256" fmla="*/ 1680070 w 5047599"/>
              <a:gd name="connsiteY5256" fmla="*/ 1466237 h 4588585"/>
              <a:gd name="connsiteX5257" fmla="*/ 1679521 w 5047599"/>
              <a:gd name="connsiteY5257" fmla="*/ 1470354 h 4588585"/>
              <a:gd name="connsiteX5258" fmla="*/ 1661066 w 5047599"/>
              <a:gd name="connsiteY5258" fmla="*/ 1471034 h 4588585"/>
              <a:gd name="connsiteX5259" fmla="*/ 1645146 w 5047599"/>
              <a:gd name="connsiteY5259" fmla="*/ 1471630 h 4588585"/>
              <a:gd name="connsiteX5260" fmla="*/ 1625425 w 5047599"/>
              <a:gd name="connsiteY5260" fmla="*/ 1472310 h 4588585"/>
              <a:gd name="connsiteX5261" fmla="*/ 1611869 w 5047599"/>
              <a:gd name="connsiteY5261" fmla="*/ 1472776 h 4588585"/>
              <a:gd name="connsiteX5262" fmla="*/ 1594682 w 5047599"/>
              <a:gd name="connsiteY5262" fmla="*/ 1473709 h 4588585"/>
              <a:gd name="connsiteX5263" fmla="*/ 1578741 w 5047599"/>
              <a:gd name="connsiteY5263" fmla="*/ 1474579 h 4588585"/>
              <a:gd name="connsiteX5264" fmla="*/ 1568141 w 5047599"/>
              <a:gd name="connsiteY5264" fmla="*/ 1483536 h 4588585"/>
              <a:gd name="connsiteX5265" fmla="*/ 1558576 w 5047599"/>
              <a:gd name="connsiteY5265" fmla="*/ 1492069 h 4588585"/>
              <a:gd name="connsiteX5266" fmla="*/ 1557816 w 5047599"/>
              <a:gd name="connsiteY5266" fmla="*/ 1492367 h 4588585"/>
              <a:gd name="connsiteX5267" fmla="*/ 1544260 w 5047599"/>
              <a:gd name="connsiteY5267" fmla="*/ 1494043 h 4588585"/>
              <a:gd name="connsiteX5268" fmla="*/ 1527348 w 5047599"/>
              <a:gd name="connsiteY5268" fmla="*/ 1492557 h 4588585"/>
              <a:gd name="connsiteX5269" fmla="*/ 1518649 w 5047599"/>
              <a:gd name="connsiteY5269" fmla="*/ 1492472 h 4588585"/>
              <a:gd name="connsiteX5270" fmla="*/ 1515228 w 5047599"/>
              <a:gd name="connsiteY5270" fmla="*/ 1493490 h 4588585"/>
              <a:gd name="connsiteX5271" fmla="*/ 1514573 w 5047599"/>
              <a:gd name="connsiteY5271" fmla="*/ 1496695 h 4588585"/>
              <a:gd name="connsiteX5272" fmla="*/ 1513121 w 5047599"/>
              <a:gd name="connsiteY5272" fmla="*/ 1496171 h 4588585"/>
              <a:gd name="connsiteX5273" fmla="*/ 1514574 w 5047599"/>
              <a:gd name="connsiteY5273" fmla="*/ 1496697 h 4588585"/>
              <a:gd name="connsiteX5274" fmla="*/ 1513750 w 5047599"/>
              <a:gd name="connsiteY5274" fmla="*/ 1499541 h 4588585"/>
              <a:gd name="connsiteX5275" fmla="*/ 1513708 w 5047599"/>
              <a:gd name="connsiteY5275" fmla="*/ 1504571 h 4588585"/>
              <a:gd name="connsiteX5276" fmla="*/ 1512651 w 5047599"/>
              <a:gd name="connsiteY5276" fmla="*/ 1512529 h 4588585"/>
              <a:gd name="connsiteX5277" fmla="*/ 1511385 w 5047599"/>
              <a:gd name="connsiteY5277" fmla="*/ 1522060 h 4588585"/>
              <a:gd name="connsiteX5278" fmla="*/ 1511386 w 5047599"/>
              <a:gd name="connsiteY5278" fmla="*/ 1522062 h 4588585"/>
              <a:gd name="connsiteX5279" fmla="*/ 1512651 w 5047599"/>
              <a:gd name="connsiteY5279" fmla="*/ 1512541 h 4588585"/>
              <a:gd name="connsiteX5280" fmla="*/ 1513708 w 5047599"/>
              <a:gd name="connsiteY5280" fmla="*/ 1504583 h 4588585"/>
              <a:gd name="connsiteX5281" fmla="*/ 1513750 w 5047599"/>
              <a:gd name="connsiteY5281" fmla="*/ 1499553 h 4588585"/>
              <a:gd name="connsiteX5282" fmla="*/ 1514574 w 5047599"/>
              <a:gd name="connsiteY5282" fmla="*/ 1496710 h 4588585"/>
              <a:gd name="connsiteX5283" fmla="*/ 1515228 w 5047599"/>
              <a:gd name="connsiteY5283" fmla="*/ 1493504 h 4588585"/>
              <a:gd name="connsiteX5284" fmla="*/ 1518649 w 5047599"/>
              <a:gd name="connsiteY5284" fmla="*/ 1492486 h 4588585"/>
              <a:gd name="connsiteX5285" fmla="*/ 1527348 w 5047599"/>
              <a:gd name="connsiteY5285" fmla="*/ 1492571 h 4588585"/>
              <a:gd name="connsiteX5286" fmla="*/ 1544260 w 5047599"/>
              <a:gd name="connsiteY5286" fmla="*/ 1494057 h 4588585"/>
              <a:gd name="connsiteX5287" fmla="*/ 1557816 w 5047599"/>
              <a:gd name="connsiteY5287" fmla="*/ 1492381 h 4588585"/>
              <a:gd name="connsiteX5288" fmla="*/ 1558576 w 5047599"/>
              <a:gd name="connsiteY5288" fmla="*/ 1492083 h 4588585"/>
              <a:gd name="connsiteX5289" fmla="*/ 1568141 w 5047599"/>
              <a:gd name="connsiteY5289" fmla="*/ 1483551 h 4588585"/>
              <a:gd name="connsiteX5290" fmla="*/ 1578741 w 5047599"/>
              <a:gd name="connsiteY5290" fmla="*/ 1474594 h 4588585"/>
              <a:gd name="connsiteX5291" fmla="*/ 1594682 w 5047599"/>
              <a:gd name="connsiteY5291" fmla="*/ 1473724 h 4588585"/>
              <a:gd name="connsiteX5292" fmla="*/ 1611869 w 5047599"/>
              <a:gd name="connsiteY5292" fmla="*/ 1472791 h 4588585"/>
              <a:gd name="connsiteX5293" fmla="*/ 1625425 w 5047599"/>
              <a:gd name="connsiteY5293" fmla="*/ 1472324 h 4588585"/>
              <a:gd name="connsiteX5294" fmla="*/ 1645146 w 5047599"/>
              <a:gd name="connsiteY5294" fmla="*/ 1471644 h 4588585"/>
              <a:gd name="connsiteX5295" fmla="*/ 1661066 w 5047599"/>
              <a:gd name="connsiteY5295" fmla="*/ 1471049 h 4588585"/>
              <a:gd name="connsiteX5296" fmla="*/ 1679521 w 5047599"/>
              <a:gd name="connsiteY5296" fmla="*/ 1470369 h 4588585"/>
              <a:gd name="connsiteX5297" fmla="*/ 1680070 w 5047599"/>
              <a:gd name="connsiteY5297" fmla="*/ 1466252 h 4588585"/>
              <a:gd name="connsiteX5298" fmla="*/ 1681209 w 5047599"/>
              <a:gd name="connsiteY5298" fmla="*/ 1465234 h 4588585"/>
              <a:gd name="connsiteX5299" fmla="*/ 1683026 w 5047599"/>
              <a:gd name="connsiteY5299" fmla="*/ 1465086 h 4588585"/>
              <a:gd name="connsiteX5300" fmla="*/ 1696581 w 5047599"/>
              <a:gd name="connsiteY5300" fmla="*/ 1467292 h 4588585"/>
              <a:gd name="connsiteX5301" fmla="*/ 1709335 w 5047599"/>
              <a:gd name="connsiteY5301" fmla="*/ 1469438 h 4588585"/>
              <a:gd name="connsiteX5302" fmla="*/ 1710305 w 5047599"/>
              <a:gd name="connsiteY5302" fmla="*/ 1461647 h 4588585"/>
              <a:gd name="connsiteX5303" fmla="*/ 1721496 w 5047599"/>
              <a:gd name="connsiteY5303" fmla="*/ 1451906 h 4588585"/>
              <a:gd name="connsiteX5304" fmla="*/ 1727852 w 5047599"/>
              <a:gd name="connsiteY5304" fmla="*/ 1449911 h 4588585"/>
              <a:gd name="connsiteX5305" fmla="*/ 1729415 w 5047599"/>
              <a:gd name="connsiteY5305" fmla="*/ 1448213 h 4588585"/>
              <a:gd name="connsiteX5306" fmla="*/ 1731420 w 5047599"/>
              <a:gd name="connsiteY5306" fmla="*/ 1444924 h 4588585"/>
              <a:gd name="connsiteX5307" fmla="*/ 1732666 w 5047599"/>
              <a:gd name="connsiteY5307" fmla="*/ 1439828 h 4588585"/>
              <a:gd name="connsiteX5308" fmla="*/ 1733215 w 5047599"/>
              <a:gd name="connsiteY5308" fmla="*/ 1436220 h 4588585"/>
              <a:gd name="connsiteX5309" fmla="*/ 1735580 w 5047599"/>
              <a:gd name="connsiteY5309" fmla="*/ 1433208 h 4588585"/>
              <a:gd name="connsiteX5310" fmla="*/ 1737311 w 5047599"/>
              <a:gd name="connsiteY5310" fmla="*/ 1427667 h 4588585"/>
              <a:gd name="connsiteX5311" fmla="*/ 1739591 w 5047599"/>
              <a:gd name="connsiteY5311" fmla="*/ 1417990 h 4588585"/>
              <a:gd name="connsiteX5312" fmla="*/ 1745905 w 5047599"/>
              <a:gd name="connsiteY5312" fmla="*/ 1407802 h 4588585"/>
              <a:gd name="connsiteX5313" fmla="*/ 1749516 w 5047599"/>
              <a:gd name="connsiteY5313" fmla="*/ 1393963 h 4588585"/>
              <a:gd name="connsiteX5314" fmla="*/ 1750044 w 5047599"/>
              <a:gd name="connsiteY5314" fmla="*/ 1380591 h 4588585"/>
              <a:gd name="connsiteX5315" fmla="*/ 1750740 w 5047599"/>
              <a:gd name="connsiteY5315" fmla="*/ 1370425 h 4588585"/>
              <a:gd name="connsiteX5316" fmla="*/ 1752620 w 5047599"/>
              <a:gd name="connsiteY5316" fmla="*/ 1368346 h 4588585"/>
              <a:gd name="connsiteX5317" fmla="*/ 2420566 w 5047599"/>
              <a:gd name="connsiteY5317" fmla="*/ 1350247 h 4588585"/>
              <a:gd name="connsiteX5318" fmla="*/ 2418659 w 5047599"/>
              <a:gd name="connsiteY5318" fmla="*/ 1373765 h 4588585"/>
              <a:gd name="connsiteX5319" fmla="*/ 2403119 w 5047599"/>
              <a:gd name="connsiteY5319" fmla="*/ 1390744 h 4588585"/>
              <a:gd name="connsiteX5320" fmla="*/ 2375543 w 5047599"/>
              <a:gd name="connsiteY5320" fmla="*/ 1420798 h 4588585"/>
              <a:gd name="connsiteX5321" fmla="*/ 2353098 w 5047599"/>
              <a:gd name="connsiteY5321" fmla="*/ 1445207 h 4588585"/>
              <a:gd name="connsiteX5322" fmla="*/ 2341844 w 5047599"/>
              <a:gd name="connsiteY5322" fmla="*/ 1461528 h 4588585"/>
              <a:gd name="connsiteX5323" fmla="*/ 2319864 w 5047599"/>
              <a:gd name="connsiteY5323" fmla="*/ 1493342 h 4588585"/>
              <a:gd name="connsiteX5324" fmla="*/ 2310108 w 5047599"/>
              <a:gd name="connsiteY5324" fmla="*/ 1513888 h 4588585"/>
              <a:gd name="connsiteX5325" fmla="*/ 2302466 w 5047599"/>
              <a:gd name="connsiteY5325" fmla="*/ 1524606 h 4588585"/>
              <a:gd name="connsiteX5326" fmla="*/ 2298602 w 5047599"/>
              <a:gd name="connsiteY5326" fmla="*/ 1529169 h 4588585"/>
              <a:gd name="connsiteX5327" fmla="*/ 2298604 w 5047599"/>
              <a:gd name="connsiteY5327" fmla="*/ 1529175 h 4588585"/>
              <a:gd name="connsiteX5328" fmla="*/ 2302465 w 5047599"/>
              <a:gd name="connsiteY5328" fmla="*/ 1524614 h 4588585"/>
              <a:gd name="connsiteX5329" fmla="*/ 2310108 w 5047599"/>
              <a:gd name="connsiteY5329" fmla="*/ 1513897 h 4588585"/>
              <a:gd name="connsiteX5330" fmla="*/ 2319864 w 5047599"/>
              <a:gd name="connsiteY5330" fmla="*/ 1493352 h 4588585"/>
              <a:gd name="connsiteX5331" fmla="*/ 2341844 w 5047599"/>
              <a:gd name="connsiteY5331" fmla="*/ 1461537 h 4588585"/>
              <a:gd name="connsiteX5332" fmla="*/ 2353098 w 5047599"/>
              <a:gd name="connsiteY5332" fmla="*/ 1445216 h 4588585"/>
              <a:gd name="connsiteX5333" fmla="*/ 2375543 w 5047599"/>
              <a:gd name="connsiteY5333" fmla="*/ 1420807 h 4588585"/>
              <a:gd name="connsiteX5334" fmla="*/ 2403119 w 5047599"/>
              <a:gd name="connsiteY5334" fmla="*/ 1390755 h 4588585"/>
              <a:gd name="connsiteX5335" fmla="*/ 2418659 w 5047599"/>
              <a:gd name="connsiteY5335" fmla="*/ 1373774 h 4588585"/>
              <a:gd name="connsiteX5336" fmla="*/ 4070175 w 5047599"/>
              <a:gd name="connsiteY5336" fmla="*/ 1338130 h 4588585"/>
              <a:gd name="connsiteX5337" fmla="*/ 4070140 w 5047599"/>
              <a:gd name="connsiteY5337" fmla="*/ 1338146 h 4588585"/>
              <a:gd name="connsiteX5338" fmla="*/ 4067542 w 5047599"/>
              <a:gd name="connsiteY5338" fmla="*/ 1339950 h 4588585"/>
              <a:gd name="connsiteX5339" fmla="*/ 4060955 w 5047599"/>
              <a:gd name="connsiteY5339" fmla="*/ 1346000 h 4588585"/>
              <a:gd name="connsiteX5340" fmla="*/ 4060680 w 5047599"/>
              <a:gd name="connsiteY5340" fmla="*/ 1348165 h 4588585"/>
              <a:gd name="connsiteX5341" fmla="*/ 4063678 w 5047599"/>
              <a:gd name="connsiteY5341" fmla="*/ 1351773 h 4588585"/>
              <a:gd name="connsiteX5342" fmla="*/ 4062784 w 5047599"/>
              <a:gd name="connsiteY5342" fmla="*/ 1353444 h 4588585"/>
              <a:gd name="connsiteX5343" fmla="*/ 4062961 w 5047599"/>
              <a:gd name="connsiteY5343" fmla="*/ 1353347 h 4588585"/>
              <a:gd name="connsiteX5344" fmla="*/ 4063869 w 5047599"/>
              <a:gd name="connsiteY5344" fmla="*/ 1351650 h 4588585"/>
              <a:gd name="connsiteX5345" fmla="*/ 4060870 w 5047599"/>
              <a:gd name="connsiteY5345" fmla="*/ 1348041 h 4588585"/>
              <a:gd name="connsiteX5346" fmla="*/ 4061145 w 5047599"/>
              <a:gd name="connsiteY5346" fmla="*/ 1345877 h 4588585"/>
              <a:gd name="connsiteX5347" fmla="*/ 4067733 w 5047599"/>
              <a:gd name="connsiteY5347" fmla="*/ 1339828 h 4588585"/>
              <a:gd name="connsiteX5348" fmla="*/ 4356276 w 5047599"/>
              <a:gd name="connsiteY5348" fmla="*/ 1296306 h 4588585"/>
              <a:gd name="connsiteX5349" fmla="*/ 4356116 w 5047599"/>
              <a:gd name="connsiteY5349" fmla="*/ 1296389 h 4588585"/>
              <a:gd name="connsiteX5350" fmla="*/ 4347205 w 5047599"/>
              <a:gd name="connsiteY5350" fmla="*/ 1307595 h 4588585"/>
              <a:gd name="connsiteX5351" fmla="*/ 4342687 w 5047599"/>
              <a:gd name="connsiteY5351" fmla="*/ 1313262 h 4588585"/>
              <a:gd name="connsiteX5352" fmla="*/ 4334537 w 5047599"/>
              <a:gd name="connsiteY5352" fmla="*/ 1323513 h 4588585"/>
              <a:gd name="connsiteX5353" fmla="*/ 4328372 w 5047599"/>
              <a:gd name="connsiteY5353" fmla="*/ 1331238 h 4588585"/>
              <a:gd name="connsiteX5354" fmla="*/ 4321002 w 5047599"/>
              <a:gd name="connsiteY5354" fmla="*/ 1340470 h 4588585"/>
              <a:gd name="connsiteX5355" fmla="*/ 4317793 w 5047599"/>
              <a:gd name="connsiteY5355" fmla="*/ 1348662 h 4588585"/>
              <a:gd name="connsiteX5356" fmla="*/ 4312831 w 5047599"/>
              <a:gd name="connsiteY5356" fmla="*/ 1361312 h 4588585"/>
              <a:gd name="connsiteX5357" fmla="*/ 4308585 w 5047599"/>
              <a:gd name="connsiteY5357" fmla="*/ 1364466 h 4588585"/>
              <a:gd name="connsiteX5358" fmla="*/ 4308735 w 5047599"/>
              <a:gd name="connsiteY5358" fmla="*/ 1364378 h 4588585"/>
              <a:gd name="connsiteX5359" fmla="*/ 4313021 w 5047599"/>
              <a:gd name="connsiteY5359" fmla="*/ 1361194 h 4588585"/>
              <a:gd name="connsiteX5360" fmla="*/ 4317984 w 5047599"/>
              <a:gd name="connsiteY5360" fmla="*/ 1348544 h 4588585"/>
              <a:gd name="connsiteX5361" fmla="*/ 4321192 w 5047599"/>
              <a:gd name="connsiteY5361" fmla="*/ 1340352 h 4588585"/>
              <a:gd name="connsiteX5362" fmla="*/ 4328562 w 5047599"/>
              <a:gd name="connsiteY5362" fmla="*/ 1331120 h 4588585"/>
              <a:gd name="connsiteX5363" fmla="*/ 4334727 w 5047599"/>
              <a:gd name="connsiteY5363" fmla="*/ 1323394 h 4588585"/>
              <a:gd name="connsiteX5364" fmla="*/ 4342878 w 5047599"/>
              <a:gd name="connsiteY5364" fmla="*/ 1313143 h 4588585"/>
              <a:gd name="connsiteX5365" fmla="*/ 4347396 w 5047599"/>
              <a:gd name="connsiteY5365" fmla="*/ 1307476 h 4588585"/>
              <a:gd name="connsiteX5366" fmla="*/ 2428818 w 5047599"/>
              <a:gd name="connsiteY5366" fmla="*/ 1249681 h 4588585"/>
              <a:gd name="connsiteX5367" fmla="*/ 2428329 w 5047599"/>
              <a:gd name="connsiteY5367" fmla="*/ 1255429 h 4588585"/>
              <a:gd name="connsiteX5368" fmla="*/ 2428070 w 5047599"/>
              <a:gd name="connsiteY5368" fmla="*/ 1258509 h 4588585"/>
              <a:gd name="connsiteX5369" fmla="*/ 2428330 w 5047599"/>
              <a:gd name="connsiteY5369" fmla="*/ 1255418 h 4588585"/>
              <a:gd name="connsiteX5370" fmla="*/ 1707940 w 5047599"/>
              <a:gd name="connsiteY5370" fmla="*/ 1243345 h 4588585"/>
              <a:gd name="connsiteX5371" fmla="*/ 1705470 w 5047599"/>
              <a:gd name="connsiteY5371" fmla="*/ 1243830 h 4588585"/>
              <a:gd name="connsiteX5372" fmla="*/ 1705316 w 5047599"/>
              <a:gd name="connsiteY5372" fmla="*/ 1243864 h 4588585"/>
              <a:gd name="connsiteX5373" fmla="*/ 1705471 w 5047599"/>
              <a:gd name="connsiteY5373" fmla="*/ 1243830 h 4588585"/>
              <a:gd name="connsiteX5374" fmla="*/ 1694617 w 5047599"/>
              <a:gd name="connsiteY5374" fmla="*/ 1217830 h 4588585"/>
              <a:gd name="connsiteX5375" fmla="*/ 1694533 w 5047599"/>
              <a:gd name="connsiteY5375" fmla="*/ 1220226 h 4588585"/>
              <a:gd name="connsiteX5376" fmla="*/ 1692464 w 5047599"/>
              <a:gd name="connsiteY5376" fmla="*/ 1221926 h 4588585"/>
              <a:gd name="connsiteX5377" fmla="*/ 1690859 w 5047599"/>
              <a:gd name="connsiteY5377" fmla="*/ 1224027 h 4588585"/>
              <a:gd name="connsiteX5378" fmla="*/ 1689972 w 5047599"/>
              <a:gd name="connsiteY5378" fmla="*/ 1226785 h 4588585"/>
              <a:gd name="connsiteX5379" fmla="*/ 1687628 w 5047599"/>
              <a:gd name="connsiteY5379" fmla="*/ 1230288 h 4588585"/>
              <a:gd name="connsiteX5380" fmla="*/ 1685749 w 5047599"/>
              <a:gd name="connsiteY5380" fmla="*/ 1234192 h 4588585"/>
              <a:gd name="connsiteX5381" fmla="*/ 1685749 w 5047599"/>
              <a:gd name="connsiteY5381" fmla="*/ 1234194 h 4588585"/>
              <a:gd name="connsiteX5382" fmla="*/ 1687628 w 5047599"/>
              <a:gd name="connsiteY5382" fmla="*/ 1230288 h 4588585"/>
              <a:gd name="connsiteX5383" fmla="*/ 1689972 w 5047599"/>
              <a:gd name="connsiteY5383" fmla="*/ 1226787 h 4588585"/>
              <a:gd name="connsiteX5384" fmla="*/ 1690859 w 5047599"/>
              <a:gd name="connsiteY5384" fmla="*/ 1224028 h 4588585"/>
              <a:gd name="connsiteX5385" fmla="*/ 1692464 w 5047599"/>
              <a:gd name="connsiteY5385" fmla="*/ 1221926 h 4588585"/>
              <a:gd name="connsiteX5386" fmla="*/ 1694533 w 5047599"/>
              <a:gd name="connsiteY5386" fmla="*/ 1220229 h 4588585"/>
              <a:gd name="connsiteX5387" fmla="*/ 1691514 w 5047599"/>
              <a:gd name="connsiteY5387" fmla="*/ 1195204 h 4588585"/>
              <a:gd name="connsiteX5388" fmla="*/ 1691472 w 5047599"/>
              <a:gd name="connsiteY5388" fmla="*/ 1198515 h 4588585"/>
              <a:gd name="connsiteX5389" fmla="*/ 1691408 w 5047599"/>
              <a:gd name="connsiteY5389" fmla="*/ 1208428 h 4588585"/>
              <a:gd name="connsiteX5390" fmla="*/ 1691472 w 5047599"/>
              <a:gd name="connsiteY5390" fmla="*/ 1198516 h 4588585"/>
              <a:gd name="connsiteX5391" fmla="*/ 1691514 w 5047599"/>
              <a:gd name="connsiteY5391" fmla="*/ 1195206 h 4588585"/>
              <a:gd name="connsiteX5392" fmla="*/ 533207 w 5047599"/>
              <a:gd name="connsiteY5392" fmla="*/ 1189222 h 4588585"/>
              <a:gd name="connsiteX5393" fmla="*/ 531434 w 5047599"/>
              <a:gd name="connsiteY5393" fmla="*/ 1199260 h 4588585"/>
              <a:gd name="connsiteX5394" fmla="*/ 527633 w 5047599"/>
              <a:gd name="connsiteY5394" fmla="*/ 1205372 h 4588585"/>
              <a:gd name="connsiteX5395" fmla="*/ 525944 w 5047599"/>
              <a:gd name="connsiteY5395" fmla="*/ 1203038 h 4588585"/>
              <a:gd name="connsiteX5396" fmla="*/ 525290 w 5047599"/>
              <a:gd name="connsiteY5396" fmla="*/ 1199025 h 4588585"/>
              <a:gd name="connsiteX5397" fmla="*/ 528668 w 5047599"/>
              <a:gd name="connsiteY5397" fmla="*/ 1193274 h 4588585"/>
              <a:gd name="connsiteX5398" fmla="*/ 530272 w 5047599"/>
              <a:gd name="connsiteY5398" fmla="*/ 1190303 h 4588585"/>
              <a:gd name="connsiteX5399" fmla="*/ 2447625 w 5047599"/>
              <a:gd name="connsiteY5399" fmla="*/ 1158940 h 4588585"/>
              <a:gd name="connsiteX5400" fmla="*/ 2446784 w 5047599"/>
              <a:gd name="connsiteY5400" fmla="*/ 1161650 h 4588585"/>
              <a:gd name="connsiteX5401" fmla="*/ 2435952 w 5047599"/>
              <a:gd name="connsiteY5401" fmla="*/ 1181876 h 4588585"/>
              <a:gd name="connsiteX5402" fmla="*/ 2434115 w 5047599"/>
              <a:gd name="connsiteY5402" fmla="*/ 1186821 h 4588585"/>
              <a:gd name="connsiteX5403" fmla="*/ 2431961 w 5047599"/>
              <a:gd name="connsiteY5403" fmla="*/ 1212524 h 4588585"/>
              <a:gd name="connsiteX5404" fmla="*/ 2430626 w 5047599"/>
              <a:gd name="connsiteY5404" fmla="*/ 1228428 h 4588585"/>
              <a:gd name="connsiteX5405" fmla="*/ 2431961 w 5047599"/>
              <a:gd name="connsiteY5405" fmla="*/ 1212535 h 4588585"/>
              <a:gd name="connsiteX5406" fmla="*/ 2434115 w 5047599"/>
              <a:gd name="connsiteY5406" fmla="*/ 1186832 h 4588585"/>
              <a:gd name="connsiteX5407" fmla="*/ 2435952 w 5047599"/>
              <a:gd name="connsiteY5407" fmla="*/ 1181887 h 4588585"/>
              <a:gd name="connsiteX5408" fmla="*/ 2446783 w 5047599"/>
              <a:gd name="connsiteY5408" fmla="*/ 1161659 h 4588585"/>
              <a:gd name="connsiteX5409" fmla="*/ 2447628 w 5047599"/>
              <a:gd name="connsiteY5409" fmla="*/ 1158943 h 4588585"/>
              <a:gd name="connsiteX5410" fmla="*/ 4991054 w 5047599"/>
              <a:gd name="connsiteY5410" fmla="*/ 1137816 h 4588585"/>
              <a:gd name="connsiteX5411" fmla="*/ 4995002 w 5047599"/>
              <a:gd name="connsiteY5411" fmla="*/ 1148217 h 4588585"/>
              <a:gd name="connsiteX5412" fmla="*/ 4988140 w 5047599"/>
              <a:gd name="connsiteY5412" fmla="*/ 1154033 h 4588585"/>
              <a:gd name="connsiteX5413" fmla="*/ 4984424 w 5047599"/>
              <a:gd name="connsiteY5413" fmla="*/ 1163965 h 4588585"/>
              <a:gd name="connsiteX5414" fmla="*/ 4981426 w 5047599"/>
              <a:gd name="connsiteY5414" fmla="*/ 1166980 h 4588585"/>
              <a:gd name="connsiteX5415" fmla="*/ 4981426 w 5047599"/>
              <a:gd name="connsiteY5415" fmla="*/ 1166978 h 4588585"/>
              <a:gd name="connsiteX5416" fmla="*/ 4977689 w 5047599"/>
              <a:gd name="connsiteY5416" fmla="*/ 1167934 h 4588585"/>
              <a:gd name="connsiteX5417" fmla="*/ 4976611 w 5047599"/>
              <a:gd name="connsiteY5417" fmla="*/ 1167489 h 4588585"/>
              <a:gd name="connsiteX5418" fmla="*/ 4976632 w 5047599"/>
              <a:gd name="connsiteY5418" fmla="*/ 1159507 h 4588585"/>
              <a:gd name="connsiteX5419" fmla="*/ 4985332 w 5047599"/>
              <a:gd name="connsiteY5419" fmla="*/ 1149449 h 4588585"/>
              <a:gd name="connsiteX5420" fmla="*/ 2426532 w 5047599"/>
              <a:gd name="connsiteY5420" fmla="*/ 1120458 h 4588585"/>
              <a:gd name="connsiteX5421" fmla="*/ 2422565 w 5047599"/>
              <a:gd name="connsiteY5421" fmla="*/ 1125483 h 4588585"/>
              <a:gd name="connsiteX5422" fmla="*/ 2422568 w 5047599"/>
              <a:gd name="connsiteY5422" fmla="*/ 1125491 h 4588585"/>
              <a:gd name="connsiteX5423" fmla="*/ 2426534 w 5047599"/>
              <a:gd name="connsiteY5423" fmla="*/ 1120462 h 4588585"/>
              <a:gd name="connsiteX5424" fmla="*/ 1571181 w 5047599"/>
              <a:gd name="connsiteY5424" fmla="*/ 1118688 h 4588585"/>
              <a:gd name="connsiteX5425" fmla="*/ 1570674 w 5047599"/>
              <a:gd name="connsiteY5425" fmla="*/ 1124438 h 4588585"/>
              <a:gd name="connsiteX5426" fmla="*/ 1570674 w 5047599"/>
              <a:gd name="connsiteY5426" fmla="*/ 1124441 h 4588585"/>
              <a:gd name="connsiteX5427" fmla="*/ 1571181 w 5047599"/>
              <a:gd name="connsiteY5427" fmla="*/ 1118689 h 4588585"/>
              <a:gd name="connsiteX5428" fmla="*/ 3367486 w 5047599"/>
              <a:gd name="connsiteY5428" fmla="*/ 1044465 h 4588585"/>
              <a:gd name="connsiteX5429" fmla="*/ 3366494 w 5047599"/>
              <a:gd name="connsiteY5429" fmla="*/ 1047902 h 4588585"/>
              <a:gd name="connsiteX5430" fmla="*/ 3367487 w 5047599"/>
              <a:gd name="connsiteY5430" fmla="*/ 1044469 h 4588585"/>
              <a:gd name="connsiteX5431" fmla="*/ 4793298 w 5047599"/>
              <a:gd name="connsiteY5431" fmla="*/ 925827 h 4588585"/>
              <a:gd name="connsiteX5432" fmla="*/ 4793295 w 5047599"/>
              <a:gd name="connsiteY5432" fmla="*/ 925828 h 4588585"/>
              <a:gd name="connsiteX5433" fmla="*/ 4788586 w 5047599"/>
              <a:gd name="connsiteY5433" fmla="*/ 929096 h 4588585"/>
              <a:gd name="connsiteX5434" fmla="*/ 4789959 w 5047599"/>
              <a:gd name="connsiteY5434" fmla="*/ 931134 h 4588585"/>
              <a:gd name="connsiteX5435" fmla="*/ 4791584 w 5047599"/>
              <a:gd name="connsiteY5435" fmla="*/ 932705 h 4588585"/>
              <a:gd name="connsiteX5436" fmla="*/ 4792323 w 5047599"/>
              <a:gd name="connsiteY5436" fmla="*/ 937014 h 4588585"/>
              <a:gd name="connsiteX5437" fmla="*/ 4790951 w 5047599"/>
              <a:gd name="connsiteY5437" fmla="*/ 943127 h 4588585"/>
              <a:gd name="connsiteX5438" fmla="*/ 4788459 w 5047599"/>
              <a:gd name="connsiteY5438" fmla="*/ 949047 h 4588585"/>
              <a:gd name="connsiteX5439" fmla="*/ 4785356 w 5047599"/>
              <a:gd name="connsiteY5439" fmla="*/ 956433 h 4588585"/>
              <a:gd name="connsiteX5440" fmla="*/ 4781766 w 5047599"/>
              <a:gd name="connsiteY5440" fmla="*/ 964902 h 4588585"/>
              <a:gd name="connsiteX5441" fmla="*/ 4776846 w 5047599"/>
              <a:gd name="connsiteY5441" fmla="*/ 977637 h 4588585"/>
              <a:gd name="connsiteX5442" fmla="*/ 4772686 w 5047599"/>
              <a:gd name="connsiteY5442" fmla="*/ 987635 h 4588585"/>
              <a:gd name="connsiteX5443" fmla="*/ 4772244 w 5047599"/>
              <a:gd name="connsiteY5443" fmla="*/ 994828 h 4588585"/>
              <a:gd name="connsiteX5444" fmla="*/ 4772349 w 5047599"/>
              <a:gd name="connsiteY5444" fmla="*/ 999520 h 4588585"/>
              <a:gd name="connsiteX5445" fmla="*/ 4771885 w 5047599"/>
              <a:gd name="connsiteY5445" fmla="*/ 1008880 h 4588585"/>
              <a:gd name="connsiteX5446" fmla="*/ 4771822 w 5047599"/>
              <a:gd name="connsiteY5446" fmla="*/ 1008962 h 4588585"/>
              <a:gd name="connsiteX5447" fmla="*/ 4776150 w 5047599"/>
              <a:gd name="connsiteY5447" fmla="*/ 1016204 h 4588585"/>
              <a:gd name="connsiteX5448" fmla="*/ 4779760 w 5047599"/>
              <a:gd name="connsiteY5448" fmla="*/ 1022233 h 4588585"/>
              <a:gd name="connsiteX5449" fmla="*/ 4784701 w 5047599"/>
              <a:gd name="connsiteY5449" fmla="*/ 1030509 h 4588585"/>
              <a:gd name="connsiteX5450" fmla="*/ 4789979 w 5047599"/>
              <a:gd name="connsiteY5450" fmla="*/ 1039297 h 4588585"/>
              <a:gd name="connsiteX5451" fmla="*/ 4795005 w 5047599"/>
              <a:gd name="connsiteY5451" fmla="*/ 1047701 h 4588585"/>
              <a:gd name="connsiteX5452" fmla="*/ 4798764 w 5047599"/>
              <a:gd name="connsiteY5452" fmla="*/ 1053942 h 4588585"/>
              <a:gd name="connsiteX5453" fmla="*/ 4796757 w 5047599"/>
              <a:gd name="connsiteY5453" fmla="*/ 1060416 h 4588585"/>
              <a:gd name="connsiteX5454" fmla="*/ 4794582 w 5047599"/>
              <a:gd name="connsiteY5454" fmla="*/ 1067483 h 4588585"/>
              <a:gd name="connsiteX5455" fmla="*/ 4792407 w 5047599"/>
              <a:gd name="connsiteY5455" fmla="*/ 1074550 h 4588585"/>
              <a:gd name="connsiteX5456" fmla="*/ 4790233 w 5047599"/>
              <a:gd name="connsiteY5456" fmla="*/ 1081596 h 4588585"/>
              <a:gd name="connsiteX5457" fmla="*/ 4788037 w 5047599"/>
              <a:gd name="connsiteY5457" fmla="*/ 1088644 h 4588585"/>
              <a:gd name="connsiteX5458" fmla="*/ 4785862 w 5047599"/>
              <a:gd name="connsiteY5458" fmla="*/ 1095690 h 4588585"/>
              <a:gd name="connsiteX5459" fmla="*/ 4783687 w 5047599"/>
              <a:gd name="connsiteY5459" fmla="*/ 1102736 h 4588585"/>
              <a:gd name="connsiteX5460" fmla="*/ 4781512 w 5047599"/>
              <a:gd name="connsiteY5460" fmla="*/ 1109761 h 4588585"/>
              <a:gd name="connsiteX5461" fmla="*/ 4779338 w 5047599"/>
              <a:gd name="connsiteY5461" fmla="*/ 1116786 h 4588585"/>
              <a:gd name="connsiteX5462" fmla="*/ 4777142 w 5047599"/>
              <a:gd name="connsiteY5462" fmla="*/ 1123814 h 4588585"/>
              <a:gd name="connsiteX5463" fmla="*/ 4774967 w 5047599"/>
              <a:gd name="connsiteY5463" fmla="*/ 1130837 h 4588585"/>
              <a:gd name="connsiteX5464" fmla="*/ 4772792 w 5047599"/>
              <a:gd name="connsiteY5464" fmla="*/ 1137842 h 4588585"/>
              <a:gd name="connsiteX5465" fmla="*/ 4770617 w 5047599"/>
              <a:gd name="connsiteY5465" fmla="*/ 1144845 h 4588585"/>
              <a:gd name="connsiteX5466" fmla="*/ 4768421 w 5047599"/>
              <a:gd name="connsiteY5466" fmla="*/ 1151849 h 4588585"/>
              <a:gd name="connsiteX5467" fmla="*/ 4766247 w 5047599"/>
              <a:gd name="connsiteY5467" fmla="*/ 1158852 h 4588585"/>
              <a:gd name="connsiteX5468" fmla="*/ 4764072 w 5047599"/>
              <a:gd name="connsiteY5468" fmla="*/ 1165835 h 4588585"/>
              <a:gd name="connsiteX5469" fmla="*/ 4761897 w 5047599"/>
              <a:gd name="connsiteY5469" fmla="*/ 1172818 h 4588585"/>
              <a:gd name="connsiteX5470" fmla="*/ 4759292 w 5047599"/>
              <a:gd name="connsiteY5470" fmla="*/ 1181183 h 4588585"/>
              <a:gd name="connsiteX5471" fmla="*/ 4759427 w 5047599"/>
              <a:gd name="connsiteY5471" fmla="*/ 1181136 h 4588585"/>
              <a:gd name="connsiteX5472" fmla="*/ 4762045 w 5047599"/>
              <a:gd name="connsiteY5472" fmla="*/ 1172729 h 4588585"/>
              <a:gd name="connsiteX5473" fmla="*/ 4764220 w 5047599"/>
              <a:gd name="connsiteY5473" fmla="*/ 1165747 h 4588585"/>
              <a:gd name="connsiteX5474" fmla="*/ 4766395 w 5047599"/>
              <a:gd name="connsiteY5474" fmla="*/ 1158764 h 4588585"/>
              <a:gd name="connsiteX5475" fmla="*/ 4768569 w 5047599"/>
              <a:gd name="connsiteY5475" fmla="*/ 1151760 h 4588585"/>
              <a:gd name="connsiteX5476" fmla="*/ 4770765 w 5047599"/>
              <a:gd name="connsiteY5476" fmla="*/ 1144755 h 4588585"/>
              <a:gd name="connsiteX5477" fmla="*/ 4772940 w 5047599"/>
              <a:gd name="connsiteY5477" fmla="*/ 1137751 h 4588585"/>
              <a:gd name="connsiteX5478" fmla="*/ 4775115 w 5047599"/>
              <a:gd name="connsiteY5478" fmla="*/ 1130747 h 4588585"/>
              <a:gd name="connsiteX5479" fmla="*/ 4777290 w 5047599"/>
              <a:gd name="connsiteY5479" fmla="*/ 1123723 h 4588585"/>
              <a:gd name="connsiteX5480" fmla="*/ 4779485 w 5047599"/>
              <a:gd name="connsiteY5480" fmla="*/ 1116698 h 4588585"/>
              <a:gd name="connsiteX5481" fmla="*/ 4781660 w 5047599"/>
              <a:gd name="connsiteY5481" fmla="*/ 1109673 h 4588585"/>
              <a:gd name="connsiteX5482" fmla="*/ 4783835 w 5047599"/>
              <a:gd name="connsiteY5482" fmla="*/ 1102646 h 4588585"/>
              <a:gd name="connsiteX5483" fmla="*/ 4786010 w 5047599"/>
              <a:gd name="connsiteY5483" fmla="*/ 1095600 h 4588585"/>
              <a:gd name="connsiteX5484" fmla="*/ 4788185 w 5047599"/>
              <a:gd name="connsiteY5484" fmla="*/ 1088554 h 4588585"/>
              <a:gd name="connsiteX5485" fmla="*/ 4790380 w 5047599"/>
              <a:gd name="connsiteY5485" fmla="*/ 1081508 h 4588585"/>
              <a:gd name="connsiteX5486" fmla="*/ 4792555 w 5047599"/>
              <a:gd name="connsiteY5486" fmla="*/ 1074460 h 4588585"/>
              <a:gd name="connsiteX5487" fmla="*/ 4794730 w 5047599"/>
              <a:gd name="connsiteY5487" fmla="*/ 1067393 h 4588585"/>
              <a:gd name="connsiteX5488" fmla="*/ 4796905 w 5047599"/>
              <a:gd name="connsiteY5488" fmla="*/ 1060326 h 4588585"/>
              <a:gd name="connsiteX5489" fmla="*/ 4798911 w 5047599"/>
              <a:gd name="connsiteY5489" fmla="*/ 1053852 h 4588585"/>
              <a:gd name="connsiteX5490" fmla="*/ 4795152 w 5047599"/>
              <a:gd name="connsiteY5490" fmla="*/ 1047613 h 4588585"/>
              <a:gd name="connsiteX5491" fmla="*/ 4790127 w 5047599"/>
              <a:gd name="connsiteY5491" fmla="*/ 1039207 h 4588585"/>
              <a:gd name="connsiteX5492" fmla="*/ 4784849 w 5047599"/>
              <a:gd name="connsiteY5492" fmla="*/ 1030421 h 4588585"/>
              <a:gd name="connsiteX5493" fmla="*/ 4779908 w 5047599"/>
              <a:gd name="connsiteY5493" fmla="*/ 1022143 h 4588585"/>
              <a:gd name="connsiteX5494" fmla="*/ 4776297 w 5047599"/>
              <a:gd name="connsiteY5494" fmla="*/ 1016116 h 4588585"/>
              <a:gd name="connsiteX5495" fmla="*/ 4771947 w 5047599"/>
              <a:gd name="connsiteY5495" fmla="*/ 1008836 h 4588585"/>
              <a:gd name="connsiteX5496" fmla="*/ 4772412 w 5047599"/>
              <a:gd name="connsiteY5496" fmla="*/ 999476 h 4588585"/>
              <a:gd name="connsiteX5497" fmla="*/ 4772306 w 5047599"/>
              <a:gd name="connsiteY5497" fmla="*/ 994784 h 4588585"/>
              <a:gd name="connsiteX5498" fmla="*/ 4772750 w 5047599"/>
              <a:gd name="connsiteY5498" fmla="*/ 987591 h 4588585"/>
              <a:gd name="connsiteX5499" fmla="*/ 4776909 w 5047599"/>
              <a:gd name="connsiteY5499" fmla="*/ 977595 h 4588585"/>
              <a:gd name="connsiteX5500" fmla="*/ 4781829 w 5047599"/>
              <a:gd name="connsiteY5500" fmla="*/ 964858 h 4588585"/>
              <a:gd name="connsiteX5501" fmla="*/ 4785418 w 5047599"/>
              <a:gd name="connsiteY5501" fmla="*/ 956391 h 4588585"/>
              <a:gd name="connsiteX5502" fmla="*/ 4788522 w 5047599"/>
              <a:gd name="connsiteY5502" fmla="*/ 949006 h 4588585"/>
              <a:gd name="connsiteX5503" fmla="*/ 4791014 w 5047599"/>
              <a:gd name="connsiteY5503" fmla="*/ 943083 h 4588585"/>
              <a:gd name="connsiteX5504" fmla="*/ 4792386 w 5047599"/>
              <a:gd name="connsiteY5504" fmla="*/ 936970 h 4588585"/>
              <a:gd name="connsiteX5505" fmla="*/ 4791647 w 5047599"/>
              <a:gd name="connsiteY5505" fmla="*/ 932663 h 4588585"/>
              <a:gd name="connsiteX5506" fmla="*/ 4790021 w 5047599"/>
              <a:gd name="connsiteY5506" fmla="*/ 931092 h 4588585"/>
              <a:gd name="connsiteX5507" fmla="*/ 4788649 w 5047599"/>
              <a:gd name="connsiteY5507" fmla="*/ 929054 h 4588585"/>
              <a:gd name="connsiteX5508" fmla="*/ 4691754 w 5047599"/>
              <a:gd name="connsiteY5508" fmla="*/ 908419 h 4588585"/>
              <a:gd name="connsiteX5509" fmla="*/ 4695302 w 5047599"/>
              <a:gd name="connsiteY5509" fmla="*/ 911263 h 4588585"/>
              <a:gd name="connsiteX5510" fmla="*/ 4697329 w 5047599"/>
              <a:gd name="connsiteY5510" fmla="*/ 913703 h 4588585"/>
              <a:gd name="connsiteX5511" fmla="*/ 4697329 w 5047599"/>
              <a:gd name="connsiteY5511" fmla="*/ 913708 h 4588585"/>
              <a:gd name="connsiteX5512" fmla="*/ 4697350 w 5047599"/>
              <a:gd name="connsiteY5512" fmla="*/ 915915 h 4588585"/>
              <a:gd name="connsiteX5513" fmla="*/ 4691333 w 5047599"/>
              <a:gd name="connsiteY5513" fmla="*/ 915276 h 4588585"/>
              <a:gd name="connsiteX5514" fmla="*/ 4689727 w 5047599"/>
              <a:gd name="connsiteY5514" fmla="*/ 916421 h 4588585"/>
              <a:gd name="connsiteX5515" fmla="*/ 4684786 w 5047599"/>
              <a:gd name="connsiteY5515" fmla="*/ 915783 h 4588585"/>
              <a:gd name="connsiteX5516" fmla="*/ 4679952 w 5047599"/>
              <a:gd name="connsiteY5516" fmla="*/ 914192 h 4588585"/>
              <a:gd name="connsiteX5517" fmla="*/ 4683224 w 5047599"/>
              <a:gd name="connsiteY5517" fmla="*/ 911539 h 4588585"/>
              <a:gd name="connsiteX5518" fmla="*/ 4620387 w 5047599"/>
              <a:gd name="connsiteY5518" fmla="*/ 900762 h 4588585"/>
              <a:gd name="connsiteX5519" fmla="*/ 4622055 w 5047599"/>
              <a:gd name="connsiteY5519" fmla="*/ 903627 h 4588585"/>
              <a:gd name="connsiteX5520" fmla="*/ 4619648 w 5047599"/>
              <a:gd name="connsiteY5520" fmla="*/ 906493 h 4588585"/>
              <a:gd name="connsiteX5521" fmla="*/ 4619648 w 5047599"/>
              <a:gd name="connsiteY5521" fmla="*/ 906491 h 4588585"/>
              <a:gd name="connsiteX5522" fmla="*/ 4618656 w 5047599"/>
              <a:gd name="connsiteY5522" fmla="*/ 906958 h 4588585"/>
              <a:gd name="connsiteX5523" fmla="*/ 4617600 w 5047599"/>
              <a:gd name="connsiteY5523" fmla="*/ 903457 h 4588585"/>
              <a:gd name="connsiteX5524" fmla="*/ 4617663 w 5047599"/>
              <a:gd name="connsiteY5524" fmla="*/ 902354 h 4588585"/>
              <a:gd name="connsiteX5525" fmla="*/ 4666775 w 5047599"/>
              <a:gd name="connsiteY5525" fmla="*/ 898514 h 4588585"/>
              <a:gd name="connsiteX5526" fmla="*/ 4668740 w 5047599"/>
              <a:gd name="connsiteY5526" fmla="*/ 901124 h 4588585"/>
              <a:gd name="connsiteX5527" fmla="*/ 4666565 w 5047599"/>
              <a:gd name="connsiteY5527" fmla="*/ 905220 h 4588585"/>
              <a:gd name="connsiteX5528" fmla="*/ 4665023 w 5047599"/>
              <a:gd name="connsiteY5528" fmla="*/ 906980 h 4588585"/>
              <a:gd name="connsiteX5529" fmla="*/ 4662047 w 5047599"/>
              <a:gd name="connsiteY5529" fmla="*/ 908422 h 4588585"/>
              <a:gd name="connsiteX5530" fmla="*/ 4657655 w 5047599"/>
              <a:gd name="connsiteY5530" fmla="*/ 908784 h 4588585"/>
              <a:gd name="connsiteX5531" fmla="*/ 4653684 w 5047599"/>
              <a:gd name="connsiteY5531" fmla="*/ 906322 h 4588585"/>
              <a:gd name="connsiteX5532" fmla="*/ 4662068 w 5047599"/>
              <a:gd name="connsiteY5532" fmla="*/ 903032 h 4588585"/>
              <a:gd name="connsiteX5533" fmla="*/ 4664327 w 5047599"/>
              <a:gd name="connsiteY5533" fmla="*/ 901548 h 4588585"/>
              <a:gd name="connsiteX5534" fmla="*/ 4725263 w 5047599"/>
              <a:gd name="connsiteY5534" fmla="*/ 892359 h 4588585"/>
              <a:gd name="connsiteX5535" fmla="*/ 4726932 w 5047599"/>
              <a:gd name="connsiteY5535" fmla="*/ 894650 h 4588585"/>
              <a:gd name="connsiteX5536" fmla="*/ 4729212 w 5047599"/>
              <a:gd name="connsiteY5536" fmla="*/ 896455 h 4588585"/>
              <a:gd name="connsiteX5537" fmla="*/ 4728684 w 5047599"/>
              <a:gd name="connsiteY5537" fmla="*/ 897726 h 4588585"/>
              <a:gd name="connsiteX5538" fmla="*/ 4727015 w 5047599"/>
              <a:gd name="connsiteY5538" fmla="*/ 897620 h 4588585"/>
              <a:gd name="connsiteX5539" fmla="*/ 4722835 w 5047599"/>
              <a:gd name="connsiteY5539" fmla="*/ 896476 h 4588585"/>
              <a:gd name="connsiteX5540" fmla="*/ 4721484 w 5047599"/>
              <a:gd name="connsiteY5540" fmla="*/ 894650 h 4588585"/>
              <a:gd name="connsiteX5541" fmla="*/ 4724102 w 5047599"/>
              <a:gd name="connsiteY5541" fmla="*/ 892464 h 4588585"/>
              <a:gd name="connsiteX5542" fmla="*/ 4832283 w 5047599"/>
              <a:gd name="connsiteY5542" fmla="*/ 870988 h 4588585"/>
              <a:gd name="connsiteX5543" fmla="*/ 4832251 w 5047599"/>
              <a:gd name="connsiteY5543" fmla="*/ 871006 h 4588585"/>
              <a:gd name="connsiteX5544" fmla="*/ 4829253 w 5047599"/>
              <a:gd name="connsiteY5544" fmla="*/ 873468 h 4588585"/>
              <a:gd name="connsiteX5545" fmla="*/ 4826457 w 5047599"/>
              <a:gd name="connsiteY5545" fmla="*/ 876487 h 4588585"/>
              <a:gd name="connsiteX5546" fmla="*/ 4826486 w 5047599"/>
              <a:gd name="connsiteY5546" fmla="*/ 876478 h 4588585"/>
              <a:gd name="connsiteX5547" fmla="*/ 4829316 w 5047599"/>
              <a:gd name="connsiteY5547" fmla="*/ 873424 h 4588585"/>
              <a:gd name="connsiteX5548" fmla="*/ 4820500 w 5047599"/>
              <a:gd name="connsiteY5548" fmla="*/ 868148 h 4588585"/>
              <a:gd name="connsiteX5549" fmla="*/ 4818969 w 5047599"/>
              <a:gd name="connsiteY5549" fmla="*/ 868415 h 4588585"/>
              <a:gd name="connsiteX5550" fmla="*/ 4818946 w 5047599"/>
              <a:gd name="connsiteY5550" fmla="*/ 868453 h 4588585"/>
              <a:gd name="connsiteX5551" fmla="*/ 4820490 w 5047599"/>
              <a:gd name="connsiteY5551" fmla="*/ 868183 h 4588585"/>
              <a:gd name="connsiteX5552" fmla="*/ 4812478 w 5047599"/>
              <a:gd name="connsiteY5552" fmla="*/ 863266 h 4588585"/>
              <a:gd name="connsiteX5553" fmla="*/ 4812446 w 5047599"/>
              <a:gd name="connsiteY5553" fmla="*/ 863282 h 4588585"/>
              <a:gd name="connsiteX5554" fmla="*/ 4809595 w 5047599"/>
              <a:gd name="connsiteY5554" fmla="*/ 865913 h 4588585"/>
              <a:gd name="connsiteX5555" fmla="*/ 4807991 w 5047599"/>
              <a:gd name="connsiteY5555" fmla="*/ 868735 h 4588585"/>
              <a:gd name="connsiteX5556" fmla="*/ 4807758 w 5047599"/>
              <a:gd name="connsiteY5556" fmla="*/ 874403 h 4588585"/>
              <a:gd name="connsiteX5557" fmla="*/ 4808497 w 5047599"/>
              <a:gd name="connsiteY5557" fmla="*/ 880769 h 4588585"/>
              <a:gd name="connsiteX5558" fmla="*/ 4808476 w 5047599"/>
              <a:gd name="connsiteY5558" fmla="*/ 883869 h 4588585"/>
              <a:gd name="connsiteX5559" fmla="*/ 4806914 w 5047599"/>
              <a:gd name="connsiteY5559" fmla="*/ 887710 h 4588585"/>
              <a:gd name="connsiteX5560" fmla="*/ 4806364 w 5047599"/>
              <a:gd name="connsiteY5560" fmla="*/ 893355 h 4588585"/>
              <a:gd name="connsiteX5561" fmla="*/ 4807484 w 5047599"/>
              <a:gd name="connsiteY5561" fmla="*/ 897728 h 4588585"/>
              <a:gd name="connsiteX5562" fmla="*/ 4808497 w 5047599"/>
              <a:gd name="connsiteY5562" fmla="*/ 900338 h 4588585"/>
              <a:gd name="connsiteX5563" fmla="*/ 4808603 w 5047599"/>
              <a:gd name="connsiteY5563" fmla="*/ 902546 h 4588585"/>
              <a:gd name="connsiteX5564" fmla="*/ 4805943 w 5047599"/>
              <a:gd name="connsiteY5564" fmla="*/ 909508 h 4588585"/>
              <a:gd name="connsiteX5565" fmla="*/ 4808243 w 5047599"/>
              <a:gd name="connsiteY5565" fmla="*/ 910824 h 4588585"/>
              <a:gd name="connsiteX5566" fmla="*/ 4815866 w 5047599"/>
              <a:gd name="connsiteY5566" fmla="*/ 911312 h 4588585"/>
              <a:gd name="connsiteX5567" fmla="*/ 4818104 w 5047599"/>
              <a:gd name="connsiteY5567" fmla="*/ 916022 h 4588585"/>
              <a:gd name="connsiteX5568" fmla="*/ 4819624 w 5047599"/>
              <a:gd name="connsiteY5568" fmla="*/ 919249 h 4588585"/>
              <a:gd name="connsiteX5569" fmla="*/ 4819209 w 5047599"/>
              <a:gd name="connsiteY5569" fmla="*/ 921130 h 4588585"/>
              <a:gd name="connsiteX5570" fmla="*/ 4819265 w 5047599"/>
              <a:gd name="connsiteY5570" fmla="*/ 921116 h 4588585"/>
              <a:gd name="connsiteX5571" fmla="*/ 4819688 w 5047599"/>
              <a:gd name="connsiteY5571" fmla="*/ 919204 h 4588585"/>
              <a:gd name="connsiteX5572" fmla="*/ 4818168 w 5047599"/>
              <a:gd name="connsiteY5572" fmla="*/ 915978 h 4588585"/>
              <a:gd name="connsiteX5573" fmla="*/ 4815929 w 5047599"/>
              <a:gd name="connsiteY5573" fmla="*/ 911268 h 4588585"/>
              <a:gd name="connsiteX5574" fmla="*/ 4808307 w 5047599"/>
              <a:gd name="connsiteY5574" fmla="*/ 910780 h 4588585"/>
              <a:gd name="connsiteX5575" fmla="*/ 4806005 w 5047599"/>
              <a:gd name="connsiteY5575" fmla="*/ 909464 h 4588585"/>
              <a:gd name="connsiteX5576" fmla="*/ 4808666 w 5047599"/>
              <a:gd name="connsiteY5576" fmla="*/ 902502 h 4588585"/>
              <a:gd name="connsiteX5577" fmla="*/ 4808560 w 5047599"/>
              <a:gd name="connsiteY5577" fmla="*/ 900296 h 4588585"/>
              <a:gd name="connsiteX5578" fmla="*/ 4807547 w 5047599"/>
              <a:gd name="connsiteY5578" fmla="*/ 897684 h 4588585"/>
              <a:gd name="connsiteX5579" fmla="*/ 4806428 w 5047599"/>
              <a:gd name="connsiteY5579" fmla="*/ 893312 h 4588585"/>
              <a:gd name="connsiteX5580" fmla="*/ 4806977 w 5047599"/>
              <a:gd name="connsiteY5580" fmla="*/ 887667 h 4588585"/>
              <a:gd name="connsiteX5581" fmla="*/ 4808539 w 5047599"/>
              <a:gd name="connsiteY5581" fmla="*/ 883825 h 4588585"/>
              <a:gd name="connsiteX5582" fmla="*/ 4808560 w 5047599"/>
              <a:gd name="connsiteY5582" fmla="*/ 880727 h 4588585"/>
              <a:gd name="connsiteX5583" fmla="*/ 4807821 w 5047599"/>
              <a:gd name="connsiteY5583" fmla="*/ 874359 h 4588585"/>
              <a:gd name="connsiteX5584" fmla="*/ 4808053 w 5047599"/>
              <a:gd name="connsiteY5584" fmla="*/ 868692 h 4588585"/>
              <a:gd name="connsiteX5585" fmla="*/ 4809658 w 5047599"/>
              <a:gd name="connsiteY5585" fmla="*/ 865869 h 4588585"/>
              <a:gd name="connsiteX5586" fmla="*/ 4841065 w 5047599"/>
              <a:gd name="connsiteY5586" fmla="*/ 861851 h 4588585"/>
              <a:gd name="connsiteX5587" fmla="*/ 4841035 w 5047599"/>
              <a:gd name="connsiteY5587" fmla="*/ 861857 h 4588585"/>
              <a:gd name="connsiteX5588" fmla="*/ 4838712 w 5047599"/>
              <a:gd name="connsiteY5588" fmla="*/ 864595 h 4588585"/>
              <a:gd name="connsiteX5589" fmla="*/ 4835996 w 5047599"/>
              <a:gd name="connsiteY5589" fmla="*/ 868807 h 4588585"/>
              <a:gd name="connsiteX5590" fmla="*/ 4836052 w 5047599"/>
              <a:gd name="connsiteY5590" fmla="*/ 868774 h 4588585"/>
              <a:gd name="connsiteX5591" fmla="*/ 4838776 w 5047599"/>
              <a:gd name="connsiteY5591" fmla="*/ 864551 h 4588585"/>
              <a:gd name="connsiteX5592" fmla="*/ 1110946 w 5047599"/>
              <a:gd name="connsiteY5592" fmla="*/ 860436 h 4588585"/>
              <a:gd name="connsiteX5593" fmla="*/ 1110948 w 5047599"/>
              <a:gd name="connsiteY5593" fmla="*/ 860451 h 4588585"/>
              <a:gd name="connsiteX5594" fmla="*/ 1129126 w 5047599"/>
              <a:gd name="connsiteY5594" fmla="*/ 860451 h 4588585"/>
              <a:gd name="connsiteX5595" fmla="*/ 1142650 w 5047599"/>
              <a:gd name="connsiteY5595" fmla="*/ 860436 h 4588585"/>
              <a:gd name="connsiteX5596" fmla="*/ 1129126 w 5047599"/>
              <a:gd name="connsiteY5596" fmla="*/ 860436 h 4588585"/>
              <a:gd name="connsiteX5597" fmla="*/ 4836559 w 5047599"/>
              <a:gd name="connsiteY5597" fmla="*/ 840421 h 4588585"/>
              <a:gd name="connsiteX5598" fmla="*/ 4837170 w 5047599"/>
              <a:gd name="connsiteY5598" fmla="*/ 841882 h 4588585"/>
              <a:gd name="connsiteX5599" fmla="*/ 4836812 w 5047599"/>
              <a:gd name="connsiteY5599" fmla="*/ 844705 h 4588585"/>
              <a:gd name="connsiteX5600" fmla="*/ 4836812 w 5047599"/>
              <a:gd name="connsiteY5600" fmla="*/ 844707 h 4588585"/>
              <a:gd name="connsiteX5601" fmla="*/ 4834362 w 5047599"/>
              <a:gd name="connsiteY5601" fmla="*/ 846469 h 4588585"/>
              <a:gd name="connsiteX5602" fmla="*/ 4832611 w 5047599"/>
              <a:gd name="connsiteY5602" fmla="*/ 846171 h 4588585"/>
              <a:gd name="connsiteX5603" fmla="*/ 4832610 w 5047599"/>
              <a:gd name="connsiteY5603" fmla="*/ 846175 h 4588585"/>
              <a:gd name="connsiteX5604" fmla="*/ 4834363 w 5047599"/>
              <a:gd name="connsiteY5604" fmla="*/ 846472 h 4588585"/>
              <a:gd name="connsiteX5605" fmla="*/ 4836812 w 5047599"/>
              <a:gd name="connsiteY5605" fmla="*/ 844712 h 4588585"/>
              <a:gd name="connsiteX5606" fmla="*/ 4836812 w 5047599"/>
              <a:gd name="connsiteY5606" fmla="*/ 844707 h 4588585"/>
              <a:gd name="connsiteX5607" fmla="*/ 4837171 w 5047599"/>
              <a:gd name="connsiteY5607" fmla="*/ 841884 h 4588585"/>
              <a:gd name="connsiteX5608" fmla="*/ 4837759 w 5047599"/>
              <a:gd name="connsiteY5608" fmla="*/ 817511 h 4588585"/>
              <a:gd name="connsiteX5609" fmla="*/ 4836622 w 5047599"/>
              <a:gd name="connsiteY5609" fmla="*/ 818986 h 4588585"/>
              <a:gd name="connsiteX5610" fmla="*/ 4835040 w 5047599"/>
              <a:gd name="connsiteY5610" fmla="*/ 819122 h 4588585"/>
              <a:gd name="connsiteX5611" fmla="*/ 4835060 w 5047599"/>
              <a:gd name="connsiteY5611" fmla="*/ 819129 h 4588585"/>
              <a:gd name="connsiteX5612" fmla="*/ 4836770 w 5047599"/>
              <a:gd name="connsiteY5612" fmla="*/ 818981 h 4588585"/>
              <a:gd name="connsiteX5613" fmla="*/ 3666596 w 5047599"/>
              <a:gd name="connsiteY5613" fmla="*/ 814951 h 4588585"/>
              <a:gd name="connsiteX5614" fmla="*/ 3667821 w 5047599"/>
              <a:gd name="connsiteY5614" fmla="*/ 817794 h 4588585"/>
              <a:gd name="connsiteX5615" fmla="*/ 3669891 w 5047599"/>
              <a:gd name="connsiteY5615" fmla="*/ 819471 h 4588585"/>
              <a:gd name="connsiteX5616" fmla="*/ 3679287 w 5047599"/>
              <a:gd name="connsiteY5616" fmla="*/ 823483 h 4588585"/>
              <a:gd name="connsiteX5617" fmla="*/ 3689759 w 5047599"/>
              <a:gd name="connsiteY5617" fmla="*/ 832229 h 4588585"/>
              <a:gd name="connsiteX5618" fmla="*/ 3691554 w 5047599"/>
              <a:gd name="connsiteY5618" fmla="*/ 832951 h 4588585"/>
              <a:gd name="connsiteX5619" fmla="*/ 3688408 w 5047599"/>
              <a:gd name="connsiteY5619" fmla="*/ 835031 h 4588585"/>
              <a:gd name="connsiteX5620" fmla="*/ 3686845 w 5047599"/>
              <a:gd name="connsiteY5620" fmla="*/ 835031 h 4588585"/>
              <a:gd name="connsiteX5621" fmla="*/ 3682686 w 5047599"/>
              <a:gd name="connsiteY5621" fmla="*/ 830594 h 4588585"/>
              <a:gd name="connsiteX5622" fmla="*/ 3680258 w 5047599"/>
              <a:gd name="connsiteY5622" fmla="*/ 827326 h 4588585"/>
              <a:gd name="connsiteX5623" fmla="*/ 3677766 w 5047599"/>
              <a:gd name="connsiteY5623" fmla="*/ 825118 h 4588585"/>
              <a:gd name="connsiteX5624" fmla="*/ 3666406 w 5047599"/>
              <a:gd name="connsiteY5624" fmla="*/ 820684 h 4588585"/>
              <a:gd name="connsiteX5625" fmla="*/ 3664865 w 5047599"/>
              <a:gd name="connsiteY5625" fmla="*/ 817818 h 4588585"/>
              <a:gd name="connsiteX5626" fmla="*/ 3669510 w 5047599"/>
              <a:gd name="connsiteY5626" fmla="*/ 804001 h 4588585"/>
              <a:gd name="connsiteX5627" fmla="*/ 3669341 w 5047599"/>
              <a:gd name="connsiteY5627" fmla="*/ 807947 h 4588585"/>
              <a:gd name="connsiteX5628" fmla="*/ 3670271 w 5047599"/>
              <a:gd name="connsiteY5628" fmla="*/ 811938 h 4588585"/>
              <a:gd name="connsiteX5629" fmla="*/ 3670250 w 5047599"/>
              <a:gd name="connsiteY5629" fmla="*/ 813380 h 4588585"/>
              <a:gd name="connsiteX5630" fmla="*/ 3670250 w 5047599"/>
              <a:gd name="connsiteY5630" fmla="*/ 813381 h 4588585"/>
              <a:gd name="connsiteX5631" fmla="*/ 3669701 w 5047599"/>
              <a:gd name="connsiteY5631" fmla="*/ 814273 h 4588585"/>
              <a:gd name="connsiteX5632" fmla="*/ 3667209 w 5047599"/>
              <a:gd name="connsiteY5632" fmla="*/ 811959 h 4588585"/>
              <a:gd name="connsiteX5633" fmla="*/ 3667357 w 5047599"/>
              <a:gd name="connsiteY5633" fmla="*/ 806887 h 4588585"/>
              <a:gd name="connsiteX5634" fmla="*/ 2060049 w 5047599"/>
              <a:gd name="connsiteY5634" fmla="*/ 784768 h 4588585"/>
              <a:gd name="connsiteX5635" fmla="*/ 2060049 w 5047599"/>
              <a:gd name="connsiteY5635" fmla="*/ 784770 h 4588585"/>
              <a:gd name="connsiteX5636" fmla="*/ 2061569 w 5047599"/>
              <a:gd name="connsiteY5636" fmla="*/ 790055 h 4588585"/>
              <a:gd name="connsiteX5637" fmla="*/ 2069444 w 5047599"/>
              <a:gd name="connsiteY5637" fmla="*/ 801729 h 4588585"/>
              <a:gd name="connsiteX5638" fmla="*/ 2081289 w 5047599"/>
              <a:gd name="connsiteY5638" fmla="*/ 819197 h 4588585"/>
              <a:gd name="connsiteX5639" fmla="*/ 2094317 w 5047599"/>
              <a:gd name="connsiteY5639" fmla="*/ 838384 h 4588585"/>
              <a:gd name="connsiteX5640" fmla="*/ 2095394 w 5047599"/>
              <a:gd name="connsiteY5640" fmla="*/ 843200 h 4588585"/>
              <a:gd name="connsiteX5641" fmla="*/ 2095922 w 5047599"/>
              <a:gd name="connsiteY5641" fmla="*/ 856785 h 4588585"/>
              <a:gd name="connsiteX5642" fmla="*/ 2101348 w 5047599"/>
              <a:gd name="connsiteY5642" fmla="*/ 873827 h 4588585"/>
              <a:gd name="connsiteX5643" fmla="*/ 2107219 w 5047599"/>
              <a:gd name="connsiteY5643" fmla="*/ 881257 h 4588585"/>
              <a:gd name="connsiteX5644" fmla="*/ 2109415 w 5047599"/>
              <a:gd name="connsiteY5644" fmla="*/ 886795 h 4588585"/>
              <a:gd name="connsiteX5645" fmla="*/ 2113574 w 5047599"/>
              <a:gd name="connsiteY5645" fmla="*/ 890765 h 4588585"/>
              <a:gd name="connsiteX5646" fmla="*/ 2117712 w 5047599"/>
              <a:gd name="connsiteY5646" fmla="*/ 893672 h 4588585"/>
              <a:gd name="connsiteX5647" fmla="*/ 2120288 w 5047599"/>
              <a:gd name="connsiteY5647" fmla="*/ 894013 h 4588585"/>
              <a:gd name="connsiteX5648" fmla="*/ 2134920 w 5047599"/>
              <a:gd name="connsiteY5648" fmla="*/ 889386 h 4588585"/>
              <a:gd name="connsiteX5649" fmla="*/ 2159941 w 5047599"/>
              <a:gd name="connsiteY5649" fmla="*/ 897028 h 4588585"/>
              <a:gd name="connsiteX5650" fmla="*/ 2183611 w 5047599"/>
              <a:gd name="connsiteY5650" fmla="*/ 904794 h 4588585"/>
              <a:gd name="connsiteX5651" fmla="*/ 2185343 w 5047599"/>
              <a:gd name="connsiteY5651" fmla="*/ 906322 h 4588585"/>
              <a:gd name="connsiteX5652" fmla="*/ 2190516 w 5047599"/>
              <a:gd name="connsiteY5652" fmla="*/ 916151 h 4588585"/>
              <a:gd name="connsiteX5653" fmla="*/ 2198983 w 5047599"/>
              <a:gd name="connsiteY5653" fmla="*/ 932175 h 4588585"/>
              <a:gd name="connsiteX5654" fmla="*/ 2205254 w 5047599"/>
              <a:gd name="connsiteY5654" fmla="*/ 944972 h 4588585"/>
              <a:gd name="connsiteX5655" fmla="*/ 2210870 w 5047599"/>
              <a:gd name="connsiteY5655" fmla="*/ 956413 h 4588585"/>
              <a:gd name="connsiteX5656" fmla="*/ 2180190 w 5047599"/>
              <a:gd name="connsiteY5656" fmla="*/ 976108 h 4588585"/>
              <a:gd name="connsiteX5657" fmla="*/ 2149490 w 5047599"/>
              <a:gd name="connsiteY5657" fmla="*/ 995762 h 4588585"/>
              <a:gd name="connsiteX5658" fmla="*/ 2118810 w 5047599"/>
              <a:gd name="connsiteY5658" fmla="*/ 1015373 h 4588585"/>
              <a:gd name="connsiteX5659" fmla="*/ 2088131 w 5047599"/>
              <a:gd name="connsiteY5659" fmla="*/ 1034920 h 4588585"/>
              <a:gd name="connsiteX5660" fmla="*/ 2057451 w 5047599"/>
              <a:gd name="connsiteY5660" fmla="*/ 1054447 h 4588585"/>
              <a:gd name="connsiteX5661" fmla="*/ 2026750 w 5047599"/>
              <a:gd name="connsiteY5661" fmla="*/ 1073930 h 4588585"/>
              <a:gd name="connsiteX5662" fmla="*/ 1996071 w 5047599"/>
              <a:gd name="connsiteY5662" fmla="*/ 1093372 h 4588585"/>
              <a:gd name="connsiteX5663" fmla="*/ 1965392 w 5047599"/>
              <a:gd name="connsiteY5663" fmla="*/ 1112750 h 4588585"/>
              <a:gd name="connsiteX5664" fmla="*/ 1945037 w 5047599"/>
              <a:gd name="connsiteY5664" fmla="*/ 1125592 h 4588585"/>
              <a:gd name="connsiteX5665" fmla="*/ 1932093 w 5047599"/>
              <a:gd name="connsiteY5665" fmla="*/ 1136926 h 4588585"/>
              <a:gd name="connsiteX5666" fmla="*/ 1915857 w 5047599"/>
              <a:gd name="connsiteY5666" fmla="*/ 1151081 h 4588585"/>
              <a:gd name="connsiteX5667" fmla="*/ 1900528 w 5047599"/>
              <a:gd name="connsiteY5667" fmla="*/ 1165132 h 4588585"/>
              <a:gd name="connsiteX5668" fmla="*/ 1888471 w 5047599"/>
              <a:gd name="connsiteY5668" fmla="*/ 1176190 h 4588585"/>
              <a:gd name="connsiteX5669" fmla="*/ 1872846 w 5047599"/>
              <a:gd name="connsiteY5669" fmla="*/ 1190453 h 4588585"/>
              <a:gd name="connsiteX5670" fmla="*/ 1864970 w 5047599"/>
              <a:gd name="connsiteY5670" fmla="*/ 1197647 h 4588585"/>
              <a:gd name="connsiteX5671" fmla="*/ 1847551 w 5047599"/>
              <a:gd name="connsiteY5671" fmla="*/ 1213544 h 4588585"/>
              <a:gd name="connsiteX5672" fmla="*/ 1842314 w 5047599"/>
              <a:gd name="connsiteY5672" fmla="*/ 1216367 h 4588585"/>
              <a:gd name="connsiteX5673" fmla="*/ 1819236 w 5047599"/>
              <a:gd name="connsiteY5673" fmla="*/ 1221057 h 4588585"/>
              <a:gd name="connsiteX5674" fmla="*/ 1798058 w 5047599"/>
              <a:gd name="connsiteY5674" fmla="*/ 1225345 h 4588585"/>
              <a:gd name="connsiteX5675" fmla="*/ 1778506 w 5047599"/>
              <a:gd name="connsiteY5675" fmla="*/ 1229314 h 4588585"/>
              <a:gd name="connsiteX5676" fmla="*/ 1765141 w 5047599"/>
              <a:gd name="connsiteY5676" fmla="*/ 1232030 h 4588585"/>
              <a:gd name="connsiteX5677" fmla="*/ 1752197 w 5047599"/>
              <a:gd name="connsiteY5677" fmla="*/ 1234642 h 4588585"/>
              <a:gd name="connsiteX5678" fmla="*/ 1752197 w 5047599"/>
              <a:gd name="connsiteY5678" fmla="*/ 1234654 h 4588585"/>
              <a:gd name="connsiteX5679" fmla="*/ 1765141 w 5047599"/>
              <a:gd name="connsiteY5679" fmla="*/ 1232044 h 4588585"/>
              <a:gd name="connsiteX5680" fmla="*/ 1778506 w 5047599"/>
              <a:gd name="connsiteY5680" fmla="*/ 1229327 h 4588585"/>
              <a:gd name="connsiteX5681" fmla="*/ 1798058 w 5047599"/>
              <a:gd name="connsiteY5681" fmla="*/ 1225357 h 4588585"/>
              <a:gd name="connsiteX5682" fmla="*/ 1819236 w 5047599"/>
              <a:gd name="connsiteY5682" fmla="*/ 1221070 h 4588585"/>
              <a:gd name="connsiteX5683" fmla="*/ 1842315 w 5047599"/>
              <a:gd name="connsiteY5683" fmla="*/ 1216381 h 4588585"/>
              <a:gd name="connsiteX5684" fmla="*/ 1847551 w 5047599"/>
              <a:gd name="connsiteY5684" fmla="*/ 1213558 h 4588585"/>
              <a:gd name="connsiteX5685" fmla="*/ 1864971 w 5047599"/>
              <a:gd name="connsiteY5685" fmla="*/ 1197661 h 4588585"/>
              <a:gd name="connsiteX5686" fmla="*/ 1872846 w 5047599"/>
              <a:gd name="connsiteY5686" fmla="*/ 1190466 h 4588585"/>
              <a:gd name="connsiteX5687" fmla="*/ 1888471 w 5047599"/>
              <a:gd name="connsiteY5687" fmla="*/ 1176202 h 4588585"/>
              <a:gd name="connsiteX5688" fmla="*/ 1900528 w 5047599"/>
              <a:gd name="connsiteY5688" fmla="*/ 1165144 h 4588585"/>
              <a:gd name="connsiteX5689" fmla="*/ 1915857 w 5047599"/>
              <a:gd name="connsiteY5689" fmla="*/ 1151095 h 4588585"/>
              <a:gd name="connsiteX5690" fmla="*/ 1932094 w 5047599"/>
              <a:gd name="connsiteY5690" fmla="*/ 1136937 h 4588585"/>
              <a:gd name="connsiteX5691" fmla="*/ 1945037 w 5047599"/>
              <a:gd name="connsiteY5691" fmla="*/ 1125603 h 4588585"/>
              <a:gd name="connsiteX5692" fmla="*/ 1965392 w 5047599"/>
              <a:gd name="connsiteY5692" fmla="*/ 1112763 h 4588585"/>
              <a:gd name="connsiteX5693" fmla="*/ 1996071 w 5047599"/>
              <a:gd name="connsiteY5693" fmla="*/ 1093387 h 4588585"/>
              <a:gd name="connsiteX5694" fmla="*/ 2026751 w 5047599"/>
              <a:gd name="connsiteY5694" fmla="*/ 1073944 h 4588585"/>
              <a:gd name="connsiteX5695" fmla="*/ 2057451 w 5047599"/>
              <a:gd name="connsiteY5695" fmla="*/ 1054459 h 4588585"/>
              <a:gd name="connsiteX5696" fmla="*/ 2088131 w 5047599"/>
              <a:gd name="connsiteY5696" fmla="*/ 1034935 h 4588585"/>
              <a:gd name="connsiteX5697" fmla="*/ 2118811 w 5047599"/>
              <a:gd name="connsiteY5697" fmla="*/ 1015387 h 4588585"/>
              <a:gd name="connsiteX5698" fmla="*/ 2149490 w 5047599"/>
              <a:gd name="connsiteY5698" fmla="*/ 995776 h 4588585"/>
              <a:gd name="connsiteX5699" fmla="*/ 2180190 w 5047599"/>
              <a:gd name="connsiteY5699" fmla="*/ 976122 h 4588585"/>
              <a:gd name="connsiteX5700" fmla="*/ 2210870 w 5047599"/>
              <a:gd name="connsiteY5700" fmla="*/ 956425 h 4588585"/>
              <a:gd name="connsiteX5701" fmla="*/ 2241740 w 5047599"/>
              <a:gd name="connsiteY5701" fmla="*/ 963939 h 4588585"/>
              <a:gd name="connsiteX5702" fmla="*/ 2271068 w 5047599"/>
              <a:gd name="connsiteY5702" fmla="*/ 971048 h 4588585"/>
              <a:gd name="connsiteX5703" fmla="*/ 2300565 w 5047599"/>
              <a:gd name="connsiteY5703" fmla="*/ 978203 h 4588585"/>
              <a:gd name="connsiteX5704" fmla="*/ 2307512 w 5047599"/>
              <a:gd name="connsiteY5704" fmla="*/ 982127 h 4588585"/>
              <a:gd name="connsiteX5705" fmla="*/ 2323158 w 5047599"/>
              <a:gd name="connsiteY5705" fmla="*/ 996116 h 4588585"/>
              <a:gd name="connsiteX5706" fmla="*/ 2343196 w 5047599"/>
              <a:gd name="connsiteY5706" fmla="*/ 1013985 h 4588585"/>
              <a:gd name="connsiteX5707" fmla="*/ 2344061 w 5047599"/>
              <a:gd name="connsiteY5707" fmla="*/ 1014241 h 4588585"/>
              <a:gd name="connsiteX5708" fmla="*/ 2344969 w 5047599"/>
              <a:gd name="connsiteY5708" fmla="*/ 1014325 h 4588585"/>
              <a:gd name="connsiteX5709" fmla="*/ 2364225 w 5047599"/>
              <a:gd name="connsiteY5709" fmla="*/ 1003799 h 4588585"/>
              <a:gd name="connsiteX5710" fmla="*/ 2389310 w 5047599"/>
              <a:gd name="connsiteY5710" fmla="*/ 990067 h 4588585"/>
              <a:gd name="connsiteX5711" fmla="*/ 2389310 w 5047599"/>
              <a:gd name="connsiteY5711" fmla="*/ 990060 h 4588585"/>
              <a:gd name="connsiteX5712" fmla="*/ 2389310 w 5047599"/>
              <a:gd name="connsiteY5712" fmla="*/ 990052 h 4588585"/>
              <a:gd name="connsiteX5713" fmla="*/ 2389311 w 5047599"/>
              <a:gd name="connsiteY5713" fmla="*/ 990060 h 4588585"/>
              <a:gd name="connsiteX5714" fmla="*/ 2411142 w 5047599"/>
              <a:gd name="connsiteY5714" fmla="*/ 979469 h 4588585"/>
              <a:gd name="connsiteX5715" fmla="*/ 2427716 w 5047599"/>
              <a:gd name="connsiteY5715" fmla="*/ 971405 h 4588585"/>
              <a:gd name="connsiteX5716" fmla="*/ 2448874 w 5047599"/>
              <a:gd name="connsiteY5716" fmla="*/ 961110 h 4588585"/>
              <a:gd name="connsiteX5717" fmla="*/ 2468468 w 5047599"/>
              <a:gd name="connsiteY5717" fmla="*/ 971659 h 4588585"/>
              <a:gd name="connsiteX5718" fmla="*/ 2496867 w 5047599"/>
              <a:gd name="connsiteY5718" fmla="*/ 986900 h 4588585"/>
              <a:gd name="connsiteX5719" fmla="*/ 2525266 w 5047599"/>
              <a:gd name="connsiteY5719" fmla="*/ 1002096 h 4588585"/>
              <a:gd name="connsiteX5720" fmla="*/ 2553645 w 5047599"/>
              <a:gd name="connsiteY5720" fmla="*/ 1017292 h 4588585"/>
              <a:gd name="connsiteX5721" fmla="*/ 2582044 w 5047599"/>
              <a:gd name="connsiteY5721" fmla="*/ 1032467 h 4588585"/>
              <a:gd name="connsiteX5722" fmla="*/ 2610422 w 5047599"/>
              <a:gd name="connsiteY5722" fmla="*/ 1047600 h 4588585"/>
              <a:gd name="connsiteX5723" fmla="*/ 2638821 w 5047599"/>
              <a:gd name="connsiteY5723" fmla="*/ 1062690 h 4588585"/>
              <a:gd name="connsiteX5724" fmla="*/ 2667199 w 5047599"/>
              <a:gd name="connsiteY5724" fmla="*/ 1077781 h 4588585"/>
              <a:gd name="connsiteX5725" fmla="*/ 2695598 w 5047599"/>
              <a:gd name="connsiteY5725" fmla="*/ 1092850 h 4588585"/>
              <a:gd name="connsiteX5726" fmla="*/ 2723976 w 5047599"/>
              <a:gd name="connsiteY5726" fmla="*/ 1107878 h 4588585"/>
              <a:gd name="connsiteX5727" fmla="*/ 2752375 w 5047599"/>
              <a:gd name="connsiteY5727" fmla="*/ 1122882 h 4588585"/>
              <a:gd name="connsiteX5728" fmla="*/ 2780753 w 5047599"/>
              <a:gd name="connsiteY5728" fmla="*/ 1137867 h 4588585"/>
              <a:gd name="connsiteX5729" fmla="*/ 2809153 w 5047599"/>
              <a:gd name="connsiteY5729" fmla="*/ 1152831 h 4588585"/>
              <a:gd name="connsiteX5730" fmla="*/ 2837531 w 5047599"/>
              <a:gd name="connsiteY5730" fmla="*/ 1167772 h 4588585"/>
              <a:gd name="connsiteX5731" fmla="*/ 2865929 w 5047599"/>
              <a:gd name="connsiteY5731" fmla="*/ 1182693 h 4588585"/>
              <a:gd name="connsiteX5732" fmla="*/ 2894308 w 5047599"/>
              <a:gd name="connsiteY5732" fmla="*/ 1197570 h 4588585"/>
              <a:gd name="connsiteX5733" fmla="*/ 2922707 w 5047599"/>
              <a:gd name="connsiteY5733" fmla="*/ 1212439 h 4588585"/>
              <a:gd name="connsiteX5734" fmla="*/ 2922728 w 5047599"/>
              <a:gd name="connsiteY5734" fmla="*/ 1240414 h 4588585"/>
              <a:gd name="connsiteX5735" fmla="*/ 2922749 w 5047599"/>
              <a:gd name="connsiteY5735" fmla="*/ 1268323 h 4588585"/>
              <a:gd name="connsiteX5736" fmla="*/ 2922770 w 5047599"/>
              <a:gd name="connsiteY5736" fmla="*/ 1296148 h 4588585"/>
              <a:gd name="connsiteX5737" fmla="*/ 2922791 w 5047599"/>
              <a:gd name="connsiteY5737" fmla="*/ 1323910 h 4588585"/>
              <a:gd name="connsiteX5738" fmla="*/ 2922812 w 5047599"/>
              <a:gd name="connsiteY5738" fmla="*/ 1351608 h 4588585"/>
              <a:gd name="connsiteX5739" fmla="*/ 2922834 w 5047599"/>
              <a:gd name="connsiteY5739" fmla="*/ 1379219 h 4588585"/>
              <a:gd name="connsiteX5740" fmla="*/ 2922855 w 5047599"/>
              <a:gd name="connsiteY5740" fmla="*/ 1406770 h 4588585"/>
              <a:gd name="connsiteX5741" fmla="*/ 2922876 w 5047599"/>
              <a:gd name="connsiteY5741" fmla="*/ 1434276 h 4588585"/>
              <a:gd name="connsiteX5742" fmla="*/ 2922897 w 5047599"/>
              <a:gd name="connsiteY5742" fmla="*/ 1443353 h 4588585"/>
              <a:gd name="connsiteX5743" fmla="*/ 2922898 w 5047599"/>
              <a:gd name="connsiteY5743" fmla="*/ 1443349 h 4588585"/>
              <a:gd name="connsiteX5744" fmla="*/ 2922877 w 5047599"/>
              <a:gd name="connsiteY5744" fmla="*/ 1434265 h 4588585"/>
              <a:gd name="connsiteX5745" fmla="*/ 2922856 w 5047599"/>
              <a:gd name="connsiteY5745" fmla="*/ 1406757 h 4588585"/>
              <a:gd name="connsiteX5746" fmla="*/ 2922834 w 5047599"/>
              <a:gd name="connsiteY5746" fmla="*/ 1379208 h 4588585"/>
              <a:gd name="connsiteX5747" fmla="*/ 2922813 w 5047599"/>
              <a:gd name="connsiteY5747" fmla="*/ 1351595 h 4588585"/>
              <a:gd name="connsiteX5748" fmla="*/ 2922792 w 5047599"/>
              <a:gd name="connsiteY5748" fmla="*/ 1323899 h 4588585"/>
              <a:gd name="connsiteX5749" fmla="*/ 2922771 w 5047599"/>
              <a:gd name="connsiteY5749" fmla="*/ 1296138 h 4588585"/>
              <a:gd name="connsiteX5750" fmla="*/ 2922750 w 5047599"/>
              <a:gd name="connsiteY5750" fmla="*/ 1268313 h 4588585"/>
              <a:gd name="connsiteX5751" fmla="*/ 2922729 w 5047599"/>
              <a:gd name="connsiteY5751" fmla="*/ 1240401 h 4588585"/>
              <a:gd name="connsiteX5752" fmla="*/ 2922708 w 5047599"/>
              <a:gd name="connsiteY5752" fmla="*/ 1212428 h 4588585"/>
              <a:gd name="connsiteX5753" fmla="*/ 2922708 w 5047599"/>
              <a:gd name="connsiteY5753" fmla="*/ 1212438 h 4588585"/>
              <a:gd name="connsiteX5754" fmla="*/ 2894309 w 5047599"/>
              <a:gd name="connsiteY5754" fmla="*/ 1197559 h 4588585"/>
              <a:gd name="connsiteX5755" fmla="*/ 2865930 w 5047599"/>
              <a:gd name="connsiteY5755" fmla="*/ 1182680 h 4588585"/>
              <a:gd name="connsiteX5756" fmla="*/ 2837531 w 5047599"/>
              <a:gd name="connsiteY5756" fmla="*/ 1167761 h 4588585"/>
              <a:gd name="connsiteX5757" fmla="*/ 2809154 w 5047599"/>
              <a:gd name="connsiteY5757" fmla="*/ 1152818 h 4588585"/>
              <a:gd name="connsiteX5758" fmla="*/ 2780754 w 5047599"/>
              <a:gd name="connsiteY5758" fmla="*/ 1137856 h 4588585"/>
              <a:gd name="connsiteX5759" fmla="*/ 2752376 w 5047599"/>
              <a:gd name="connsiteY5759" fmla="*/ 1122871 h 4588585"/>
              <a:gd name="connsiteX5760" fmla="*/ 2723977 w 5047599"/>
              <a:gd name="connsiteY5760" fmla="*/ 1107865 h 4588585"/>
              <a:gd name="connsiteX5761" fmla="*/ 2695599 w 5047599"/>
              <a:gd name="connsiteY5761" fmla="*/ 1092839 h 4588585"/>
              <a:gd name="connsiteX5762" fmla="*/ 2667200 w 5047599"/>
              <a:gd name="connsiteY5762" fmla="*/ 1077770 h 4588585"/>
              <a:gd name="connsiteX5763" fmla="*/ 2638821 w 5047599"/>
              <a:gd name="connsiteY5763" fmla="*/ 1062680 h 4588585"/>
              <a:gd name="connsiteX5764" fmla="*/ 2610422 w 5047599"/>
              <a:gd name="connsiteY5764" fmla="*/ 1047589 h 4588585"/>
              <a:gd name="connsiteX5765" fmla="*/ 2582045 w 5047599"/>
              <a:gd name="connsiteY5765" fmla="*/ 1032456 h 4588585"/>
              <a:gd name="connsiteX5766" fmla="*/ 2553645 w 5047599"/>
              <a:gd name="connsiteY5766" fmla="*/ 1017282 h 4588585"/>
              <a:gd name="connsiteX5767" fmla="*/ 2525267 w 5047599"/>
              <a:gd name="connsiteY5767" fmla="*/ 1002085 h 4588585"/>
              <a:gd name="connsiteX5768" fmla="*/ 2496868 w 5047599"/>
              <a:gd name="connsiteY5768" fmla="*/ 986887 h 4588585"/>
              <a:gd name="connsiteX5769" fmla="*/ 2468469 w 5047599"/>
              <a:gd name="connsiteY5769" fmla="*/ 971648 h 4588585"/>
              <a:gd name="connsiteX5770" fmla="*/ 2448875 w 5047599"/>
              <a:gd name="connsiteY5770" fmla="*/ 961099 h 4588585"/>
              <a:gd name="connsiteX5771" fmla="*/ 2427717 w 5047599"/>
              <a:gd name="connsiteY5771" fmla="*/ 971393 h 4588585"/>
              <a:gd name="connsiteX5772" fmla="*/ 2411143 w 5047599"/>
              <a:gd name="connsiteY5772" fmla="*/ 979458 h 4588585"/>
              <a:gd name="connsiteX5773" fmla="*/ 2389310 w 5047599"/>
              <a:gd name="connsiteY5773" fmla="*/ 990050 h 4588585"/>
              <a:gd name="connsiteX5774" fmla="*/ 2364226 w 5047599"/>
              <a:gd name="connsiteY5774" fmla="*/ 1003783 h 4588585"/>
              <a:gd name="connsiteX5775" fmla="*/ 2344969 w 5047599"/>
              <a:gd name="connsiteY5775" fmla="*/ 1014308 h 4588585"/>
              <a:gd name="connsiteX5776" fmla="*/ 2344062 w 5047599"/>
              <a:gd name="connsiteY5776" fmla="*/ 1014223 h 4588585"/>
              <a:gd name="connsiteX5777" fmla="*/ 2343196 w 5047599"/>
              <a:gd name="connsiteY5777" fmla="*/ 1013968 h 4588585"/>
              <a:gd name="connsiteX5778" fmla="*/ 2323158 w 5047599"/>
              <a:gd name="connsiteY5778" fmla="*/ 996099 h 4588585"/>
              <a:gd name="connsiteX5779" fmla="*/ 2307512 w 5047599"/>
              <a:gd name="connsiteY5779" fmla="*/ 982112 h 4588585"/>
              <a:gd name="connsiteX5780" fmla="*/ 2300565 w 5047599"/>
              <a:gd name="connsiteY5780" fmla="*/ 978185 h 4588585"/>
              <a:gd name="connsiteX5781" fmla="*/ 2271068 w 5047599"/>
              <a:gd name="connsiteY5781" fmla="*/ 971034 h 4588585"/>
              <a:gd name="connsiteX5782" fmla="*/ 2241740 w 5047599"/>
              <a:gd name="connsiteY5782" fmla="*/ 963922 h 4588585"/>
              <a:gd name="connsiteX5783" fmla="*/ 2210870 w 5047599"/>
              <a:gd name="connsiteY5783" fmla="*/ 956410 h 4588585"/>
              <a:gd name="connsiteX5784" fmla="*/ 2205254 w 5047599"/>
              <a:gd name="connsiteY5784" fmla="*/ 944970 h 4588585"/>
              <a:gd name="connsiteX5785" fmla="*/ 2198983 w 5047599"/>
              <a:gd name="connsiteY5785" fmla="*/ 932172 h 4588585"/>
              <a:gd name="connsiteX5786" fmla="*/ 2190516 w 5047599"/>
              <a:gd name="connsiteY5786" fmla="*/ 916146 h 4588585"/>
              <a:gd name="connsiteX5787" fmla="*/ 2185343 w 5047599"/>
              <a:gd name="connsiteY5787" fmla="*/ 906319 h 4588585"/>
              <a:gd name="connsiteX5788" fmla="*/ 2183611 w 5047599"/>
              <a:gd name="connsiteY5788" fmla="*/ 904791 h 4588585"/>
              <a:gd name="connsiteX5789" fmla="*/ 2159942 w 5047599"/>
              <a:gd name="connsiteY5789" fmla="*/ 897023 h 4588585"/>
              <a:gd name="connsiteX5790" fmla="*/ 2134921 w 5047599"/>
              <a:gd name="connsiteY5790" fmla="*/ 889384 h 4588585"/>
              <a:gd name="connsiteX5791" fmla="*/ 2120288 w 5047599"/>
              <a:gd name="connsiteY5791" fmla="*/ 894010 h 4588585"/>
              <a:gd name="connsiteX5792" fmla="*/ 2117712 w 5047599"/>
              <a:gd name="connsiteY5792" fmla="*/ 893670 h 4588585"/>
              <a:gd name="connsiteX5793" fmla="*/ 2113574 w 5047599"/>
              <a:gd name="connsiteY5793" fmla="*/ 890762 h 4588585"/>
              <a:gd name="connsiteX5794" fmla="*/ 2109415 w 5047599"/>
              <a:gd name="connsiteY5794" fmla="*/ 886793 h 4588585"/>
              <a:gd name="connsiteX5795" fmla="*/ 2107219 w 5047599"/>
              <a:gd name="connsiteY5795" fmla="*/ 881252 h 4588585"/>
              <a:gd name="connsiteX5796" fmla="*/ 2101349 w 5047599"/>
              <a:gd name="connsiteY5796" fmla="*/ 873824 h 4588585"/>
              <a:gd name="connsiteX5797" fmla="*/ 2095922 w 5047599"/>
              <a:gd name="connsiteY5797" fmla="*/ 856782 h 4588585"/>
              <a:gd name="connsiteX5798" fmla="*/ 2095394 w 5047599"/>
              <a:gd name="connsiteY5798" fmla="*/ 843197 h 4588585"/>
              <a:gd name="connsiteX5799" fmla="*/ 2094318 w 5047599"/>
              <a:gd name="connsiteY5799" fmla="*/ 838381 h 4588585"/>
              <a:gd name="connsiteX5800" fmla="*/ 2081290 w 5047599"/>
              <a:gd name="connsiteY5800" fmla="*/ 819194 h 4588585"/>
              <a:gd name="connsiteX5801" fmla="*/ 2069445 w 5047599"/>
              <a:gd name="connsiteY5801" fmla="*/ 801726 h 4588585"/>
              <a:gd name="connsiteX5802" fmla="*/ 2061569 w 5047599"/>
              <a:gd name="connsiteY5802" fmla="*/ 790052 h 4588585"/>
              <a:gd name="connsiteX5803" fmla="*/ 4539371 w 5047599"/>
              <a:gd name="connsiteY5803" fmla="*/ 784366 h 4588585"/>
              <a:gd name="connsiteX5804" fmla="*/ 4546887 w 5047599"/>
              <a:gd name="connsiteY5804" fmla="*/ 793748 h 4588585"/>
              <a:gd name="connsiteX5805" fmla="*/ 4556009 w 5047599"/>
              <a:gd name="connsiteY5805" fmla="*/ 800899 h 4588585"/>
              <a:gd name="connsiteX5806" fmla="*/ 4557761 w 5047599"/>
              <a:gd name="connsiteY5806" fmla="*/ 808902 h 4588585"/>
              <a:gd name="connsiteX5807" fmla="*/ 4555080 w 5047599"/>
              <a:gd name="connsiteY5807" fmla="*/ 815418 h 4588585"/>
              <a:gd name="connsiteX5808" fmla="*/ 4552589 w 5047599"/>
              <a:gd name="connsiteY5808" fmla="*/ 825732 h 4588585"/>
              <a:gd name="connsiteX5809" fmla="*/ 4554087 w 5047599"/>
              <a:gd name="connsiteY5809" fmla="*/ 830487 h 4588585"/>
              <a:gd name="connsiteX5810" fmla="*/ 4554637 w 5047599"/>
              <a:gd name="connsiteY5810" fmla="*/ 834605 h 4588585"/>
              <a:gd name="connsiteX5811" fmla="*/ 4557107 w 5047599"/>
              <a:gd name="connsiteY5811" fmla="*/ 841503 h 4588585"/>
              <a:gd name="connsiteX5812" fmla="*/ 4559513 w 5047599"/>
              <a:gd name="connsiteY5812" fmla="*/ 850436 h 4588585"/>
              <a:gd name="connsiteX5813" fmla="*/ 4559916 w 5047599"/>
              <a:gd name="connsiteY5813" fmla="*/ 856657 h 4588585"/>
              <a:gd name="connsiteX5814" fmla="*/ 4558627 w 5047599"/>
              <a:gd name="connsiteY5814" fmla="*/ 862409 h 4588585"/>
              <a:gd name="connsiteX5815" fmla="*/ 4555438 w 5047599"/>
              <a:gd name="connsiteY5815" fmla="*/ 867248 h 4588585"/>
              <a:gd name="connsiteX5816" fmla="*/ 4549189 w 5047599"/>
              <a:gd name="connsiteY5816" fmla="*/ 881764 h 4588585"/>
              <a:gd name="connsiteX5817" fmla="*/ 4547331 w 5047599"/>
              <a:gd name="connsiteY5817" fmla="*/ 883271 h 4588585"/>
              <a:gd name="connsiteX5818" fmla="*/ 4539729 w 5047599"/>
              <a:gd name="connsiteY5818" fmla="*/ 885757 h 4588585"/>
              <a:gd name="connsiteX5819" fmla="*/ 4534388 w 5047599"/>
              <a:gd name="connsiteY5819" fmla="*/ 887093 h 4588585"/>
              <a:gd name="connsiteX5820" fmla="*/ 4529383 w 5047599"/>
              <a:gd name="connsiteY5820" fmla="*/ 888514 h 4588585"/>
              <a:gd name="connsiteX5821" fmla="*/ 4525203 w 5047599"/>
              <a:gd name="connsiteY5821" fmla="*/ 888472 h 4588585"/>
              <a:gd name="connsiteX5822" fmla="*/ 4521824 w 5047599"/>
              <a:gd name="connsiteY5822" fmla="*/ 887919 h 4588585"/>
              <a:gd name="connsiteX5823" fmla="*/ 4519586 w 5047599"/>
              <a:gd name="connsiteY5823" fmla="*/ 886540 h 4588585"/>
              <a:gd name="connsiteX5824" fmla="*/ 4515278 w 5047599"/>
              <a:gd name="connsiteY5824" fmla="*/ 881021 h 4588585"/>
              <a:gd name="connsiteX5825" fmla="*/ 4512239 w 5047599"/>
              <a:gd name="connsiteY5825" fmla="*/ 873869 h 4588585"/>
              <a:gd name="connsiteX5826" fmla="*/ 4514118 w 5047599"/>
              <a:gd name="connsiteY5826" fmla="*/ 869879 h 4588585"/>
              <a:gd name="connsiteX5827" fmla="*/ 4514750 w 5047599"/>
              <a:gd name="connsiteY5827" fmla="*/ 867395 h 4588585"/>
              <a:gd name="connsiteX5828" fmla="*/ 4510633 w 5047599"/>
              <a:gd name="connsiteY5828" fmla="*/ 848507 h 4588585"/>
              <a:gd name="connsiteX5829" fmla="*/ 4509303 w 5047599"/>
              <a:gd name="connsiteY5829" fmla="*/ 833967 h 4588585"/>
              <a:gd name="connsiteX5830" fmla="*/ 4509789 w 5047599"/>
              <a:gd name="connsiteY5830" fmla="*/ 830996 h 4588585"/>
              <a:gd name="connsiteX5831" fmla="*/ 4512133 w 5047599"/>
              <a:gd name="connsiteY5831" fmla="*/ 827559 h 4588585"/>
              <a:gd name="connsiteX5832" fmla="*/ 4516060 w 5047599"/>
              <a:gd name="connsiteY5832" fmla="*/ 819959 h 4588585"/>
              <a:gd name="connsiteX5833" fmla="*/ 4518150 w 5047599"/>
              <a:gd name="connsiteY5833" fmla="*/ 812637 h 4588585"/>
              <a:gd name="connsiteX5834" fmla="*/ 4524020 w 5047599"/>
              <a:gd name="connsiteY5834" fmla="*/ 795699 h 4588585"/>
              <a:gd name="connsiteX5835" fmla="*/ 4530248 w 5047599"/>
              <a:gd name="connsiteY5835" fmla="*/ 789161 h 4588585"/>
              <a:gd name="connsiteX5836" fmla="*/ 2060957 w 5047599"/>
              <a:gd name="connsiteY5836" fmla="*/ 778275 h 4588585"/>
              <a:gd name="connsiteX5837" fmla="*/ 2060956 w 5047599"/>
              <a:gd name="connsiteY5837" fmla="*/ 778276 h 4588585"/>
              <a:gd name="connsiteX5838" fmla="*/ 2060377 w 5047599"/>
              <a:gd name="connsiteY5838" fmla="*/ 782418 h 4588585"/>
              <a:gd name="connsiteX5839" fmla="*/ 4498006 w 5047599"/>
              <a:gd name="connsiteY5839" fmla="*/ 778213 h 4588585"/>
              <a:gd name="connsiteX5840" fmla="*/ 4499295 w 5047599"/>
              <a:gd name="connsiteY5840" fmla="*/ 778595 h 4588585"/>
              <a:gd name="connsiteX5841" fmla="*/ 4497626 w 5047599"/>
              <a:gd name="connsiteY5841" fmla="*/ 781397 h 4588585"/>
              <a:gd name="connsiteX5842" fmla="*/ 4500709 w 5047599"/>
              <a:gd name="connsiteY5842" fmla="*/ 786279 h 4588585"/>
              <a:gd name="connsiteX5843" fmla="*/ 4501174 w 5047599"/>
              <a:gd name="connsiteY5843" fmla="*/ 794321 h 4588585"/>
              <a:gd name="connsiteX5844" fmla="*/ 4500582 w 5047599"/>
              <a:gd name="connsiteY5844" fmla="*/ 802174 h 4588585"/>
              <a:gd name="connsiteX5845" fmla="*/ 4498661 w 5047599"/>
              <a:gd name="connsiteY5845" fmla="*/ 807205 h 4588585"/>
              <a:gd name="connsiteX5846" fmla="*/ 4496824 w 5047599"/>
              <a:gd name="connsiteY5846" fmla="*/ 805445 h 4588585"/>
              <a:gd name="connsiteX5847" fmla="*/ 4492179 w 5047599"/>
              <a:gd name="connsiteY5847" fmla="*/ 796741 h 4588585"/>
              <a:gd name="connsiteX5848" fmla="*/ 4493572 w 5047599"/>
              <a:gd name="connsiteY5848" fmla="*/ 790628 h 4588585"/>
              <a:gd name="connsiteX5849" fmla="*/ 4491397 w 5047599"/>
              <a:gd name="connsiteY5849" fmla="*/ 781885 h 4588585"/>
              <a:gd name="connsiteX5850" fmla="*/ 4492432 w 5047599"/>
              <a:gd name="connsiteY5850" fmla="*/ 779380 h 4588585"/>
              <a:gd name="connsiteX5851" fmla="*/ 987129 w 5047599"/>
              <a:gd name="connsiteY5851" fmla="*/ 709231 h 4588585"/>
              <a:gd name="connsiteX5852" fmla="*/ 987129 w 5047599"/>
              <a:gd name="connsiteY5852" fmla="*/ 709236 h 4588585"/>
              <a:gd name="connsiteX5853" fmla="*/ 987151 w 5047599"/>
              <a:gd name="connsiteY5853" fmla="*/ 720335 h 4588585"/>
              <a:gd name="connsiteX5854" fmla="*/ 987151 w 5047599"/>
              <a:gd name="connsiteY5854" fmla="*/ 733515 h 4588585"/>
              <a:gd name="connsiteX5855" fmla="*/ 987172 w 5047599"/>
              <a:gd name="connsiteY5855" fmla="*/ 746651 h 4588585"/>
              <a:gd name="connsiteX5856" fmla="*/ 987193 w 5047599"/>
              <a:gd name="connsiteY5856" fmla="*/ 761595 h 4588585"/>
              <a:gd name="connsiteX5857" fmla="*/ 987193 w 5047599"/>
              <a:gd name="connsiteY5857" fmla="*/ 776451 h 4588585"/>
              <a:gd name="connsiteX5858" fmla="*/ 987193 w 5047599"/>
              <a:gd name="connsiteY5858" fmla="*/ 787255 h 4588585"/>
              <a:gd name="connsiteX5859" fmla="*/ 987193 w 5047599"/>
              <a:gd name="connsiteY5859" fmla="*/ 794767 h 4588585"/>
              <a:gd name="connsiteX5860" fmla="*/ 975136 w 5047599"/>
              <a:gd name="connsiteY5860" fmla="*/ 794767 h 4588585"/>
              <a:gd name="connsiteX5861" fmla="*/ 964093 w 5047599"/>
              <a:gd name="connsiteY5861" fmla="*/ 794767 h 4588585"/>
              <a:gd name="connsiteX5862" fmla="*/ 953050 w 5047599"/>
              <a:gd name="connsiteY5862" fmla="*/ 794767 h 4588585"/>
              <a:gd name="connsiteX5863" fmla="*/ 942029 w 5047599"/>
              <a:gd name="connsiteY5863" fmla="*/ 794767 h 4588585"/>
              <a:gd name="connsiteX5864" fmla="*/ 930986 w 5047599"/>
              <a:gd name="connsiteY5864" fmla="*/ 794767 h 4588585"/>
              <a:gd name="connsiteX5865" fmla="*/ 919943 w 5047599"/>
              <a:gd name="connsiteY5865" fmla="*/ 794767 h 4588585"/>
              <a:gd name="connsiteX5866" fmla="*/ 908900 w 5047599"/>
              <a:gd name="connsiteY5866" fmla="*/ 794767 h 4588585"/>
              <a:gd name="connsiteX5867" fmla="*/ 897857 w 5047599"/>
              <a:gd name="connsiteY5867" fmla="*/ 794767 h 4588585"/>
              <a:gd name="connsiteX5868" fmla="*/ 886814 w 5047599"/>
              <a:gd name="connsiteY5868" fmla="*/ 794767 h 4588585"/>
              <a:gd name="connsiteX5869" fmla="*/ 875771 w 5047599"/>
              <a:gd name="connsiteY5869" fmla="*/ 794767 h 4588585"/>
              <a:gd name="connsiteX5870" fmla="*/ 864728 w 5047599"/>
              <a:gd name="connsiteY5870" fmla="*/ 794767 h 4588585"/>
              <a:gd name="connsiteX5871" fmla="*/ 853685 w 5047599"/>
              <a:gd name="connsiteY5871" fmla="*/ 794767 h 4588585"/>
              <a:gd name="connsiteX5872" fmla="*/ 842642 w 5047599"/>
              <a:gd name="connsiteY5872" fmla="*/ 794767 h 4588585"/>
              <a:gd name="connsiteX5873" fmla="*/ 831599 w 5047599"/>
              <a:gd name="connsiteY5873" fmla="*/ 794767 h 4588585"/>
              <a:gd name="connsiteX5874" fmla="*/ 820556 w 5047599"/>
              <a:gd name="connsiteY5874" fmla="*/ 794767 h 4588585"/>
              <a:gd name="connsiteX5875" fmla="*/ 809534 w 5047599"/>
              <a:gd name="connsiteY5875" fmla="*/ 794767 h 4588585"/>
              <a:gd name="connsiteX5876" fmla="*/ 798491 w 5047599"/>
              <a:gd name="connsiteY5876" fmla="*/ 794767 h 4588585"/>
              <a:gd name="connsiteX5877" fmla="*/ 789623 w 5047599"/>
              <a:gd name="connsiteY5877" fmla="*/ 794767 h 4588585"/>
              <a:gd name="connsiteX5878" fmla="*/ 789623 w 5047599"/>
              <a:gd name="connsiteY5878" fmla="*/ 802641 h 4588585"/>
              <a:gd name="connsiteX5879" fmla="*/ 789623 w 5047599"/>
              <a:gd name="connsiteY5879" fmla="*/ 811577 h 4588585"/>
              <a:gd name="connsiteX5880" fmla="*/ 789623 w 5047599"/>
              <a:gd name="connsiteY5880" fmla="*/ 820534 h 4588585"/>
              <a:gd name="connsiteX5881" fmla="*/ 789623 w 5047599"/>
              <a:gd name="connsiteY5881" fmla="*/ 829469 h 4588585"/>
              <a:gd name="connsiteX5882" fmla="*/ 789623 w 5047599"/>
              <a:gd name="connsiteY5882" fmla="*/ 838405 h 4588585"/>
              <a:gd name="connsiteX5883" fmla="*/ 789623 w 5047599"/>
              <a:gd name="connsiteY5883" fmla="*/ 847319 h 4588585"/>
              <a:gd name="connsiteX5884" fmla="*/ 789623 w 5047599"/>
              <a:gd name="connsiteY5884" fmla="*/ 856234 h 4588585"/>
              <a:gd name="connsiteX5885" fmla="*/ 789623 w 5047599"/>
              <a:gd name="connsiteY5885" fmla="*/ 865125 h 4588585"/>
              <a:gd name="connsiteX5886" fmla="*/ 789623 w 5047599"/>
              <a:gd name="connsiteY5886" fmla="*/ 874019 h 4588585"/>
              <a:gd name="connsiteX5887" fmla="*/ 789623 w 5047599"/>
              <a:gd name="connsiteY5887" fmla="*/ 882892 h 4588585"/>
              <a:gd name="connsiteX5888" fmla="*/ 789623 w 5047599"/>
              <a:gd name="connsiteY5888" fmla="*/ 891762 h 4588585"/>
              <a:gd name="connsiteX5889" fmla="*/ 789623 w 5047599"/>
              <a:gd name="connsiteY5889" fmla="*/ 900634 h 4588585"/>
              <a:gd name="connsiteX5890" fmla="*/ 789623 w 5047599"/>
              <a:gd name="connsiteY5890" fmla="*/ 909464 h 4588585"/>
              <a:gd name="connsiteX5891" fmla="*/ 789623 w 5047599"/>
              <a:gd name="connsiteY5891" fmla="*/ 918314 h 4588585"/>
              <a:gd name="connsiteX5892" fmla="*/ 789623 w 5047599"/>
              <a:gd name="connsiteY5892" fmla="*/ 927143 h 4588585"/>
              <a:gd name="connsiteX5893" fmla="*/ 789623 w 5047599"/>
              <a:gd name="connsiteY5893" fmla="*/ 935974 h 4588585"/>
              <a:gd name="connsiteX5894" fmla="*/ 789623 w 5047599"/>
              <a:gd name="connsiteY5894" fmla="*/ 944780 h 4588585"/>
              <a:gd name="connsiteX5895" fmla="*/ 789623 w 5047599"/>
              <a:gd name="connsiteY5895" fmla="*/ 952633 h 4588585"/>
              <a:gd name="connsiteX5896" fmla="*/ 789201 w 5047599"/>
              <a:gd name="connsiteY5896" fmla="*/ 959660 h 4588585"/>
              <a:gd name="connsiteX5897" fmla="*/ 785654 w 5047599"/>
              <a:gd name="connsiteY5897" fmla="*/ 961739 h 4588585"/>
              <a:gd name="connsiteX5898" fmla="*/ 777186 w 5047599"/>
              <a:gd name="connsiteY5898" fmla="*/ 965474 h 4588585"/>
              <a:gd name="connsiteX5899" fmla="*/ 768487 w 5047599"/>
              <a:gd name="connsiteY5899" fmla="*/ 969315 h 4588585"/>
              <a:gd name="connsiteX5900" fmla="*/ 757444 w 5047599"/>
              <a:gd name="connsiteY5900" fmla="*/ 971077 h 4588585"/>
              <a:gd name="connsiteX5901" fmla="*/ 753813 w 5047599"/>
              <a:gd name="connsiteY5901" fmla="*/ 972328 h 4588585"/>
              <a:gd name="connsiteX5902" fmla="*/ 746761 w 5047599"/>
              <a:gd name="connsiteY5902" fmla="*/ 977379 h 4588585"/>
              <a:gd name="connsiteX5903" fmla="*/ 737491 w 5047599"/>
              <a:gd name="connsiteY5903" fmla="*/ 984024 h 4588585"/>
              <a:gd name="connsiteX5904" fmla="*/ 729468 w 5047599"/>
              <a:gd name="connsiteY5904" fmla="*/ 989775 h 4588585"/>
              <a:gd name="connsiteX5905" fmla="*/ 724168 w 5047599"/>
              <a:gd name="connsiteY5905" fmla="*/ 997246 h 4588585"/>
              <a:gd name="connsiteX5906" fmla="*/ 722247 w 5047599"/>
              <a:gd name="connsiteY5906" fmla="*/ 1001342 h 4588585"/>
              <a:gd name="connsiteX5907" fmla="*/ 721465 w 5047599"/>
              <a:gd name="connsiteY5907" fmla="*/ 1005652 h 4588585"/>
              <a:gd name="connsiteX5908" fmla="*/ 722078 w 5047599"/>
              <a:gd name="connsiteY5908" fmla="*/ 1009769 h 4588585"/>
              <a:gd name="connsiteX5909" fmla="*/ 724971 w 5047599"/>
              <a:gd name="connsiteY5909" fmla="*/ 1018003 h 4588585"/>
              <a:gd name="connsiteX5910" fmla="*/ 725751 w 5047599"/>
              <a:gd name="connsiteY5910" fmla="*/ 1022163 h 4588585"/>
              <a:gd name="connsiteX5911" fmla="*/ 726195 w 5047599"/>
              <a:gd name="connsiteY5911" fmla="*/ 1029402 h 4588585"/>
              <a:gd name="connsiteX5912" fmla="*/ 726681 w 5047599"/>
              <a:gd name="connsiteY5912" fmla="*/ 1037254 h 4588585"/>
              <a:gd name="connsiteX5913" fmla="*/ 727209 w 5047599"/>
              <a:gd name="connsiteY5913" fmla="*/ 1045723 h 4588585"/>
              <a:gd name="connsiteX5914" fmla="*/ 727737 w 5047599"/>
              <a:gd name="connsiteY5914" fmla="*/ 1054190 h 4588585"/>
              <a:gd name="connsiteX5915" fmla="*/ 728285 w 5047599"/>
              <a:gd name="connsiteY5915" fmla="*/ 1063168 h 4588585"/>
              <a:gd name="connsiteX5916" fmla="*/ 728855 w 5047599"/>
              <a:gd name="connsiteY5916" fmla="*/ 1072167 h 4588585"/>
              <a:gd name="connsiteX5917" fmla="*/ 729426 w 5047599"/>
              <a:gd name="connsiteY5917" fmla="*/ 1081187 h 4588585"/>
              <a:gd name="connsiteX5918" fmla="*/ 729848 w 5047599"/>
              <a:gd name="connsiteY5918" fmla="*/ 1087895 h 4588585"/>
              <a:gd name="connsiteX5919" fmla="*/ 730375 w 5047599"/>
              <a:gd name="connsiteY5919" fmla="*/ 1096343 h 4588585"/>
              <a:gd name="connsiteX5920" fmla="*/ 721402 w 5047599"/>
              <a:gd name="connsiteY5920" fmla="*/ 1096364 h 4588585"/>
              <a:gd name="connsiteX5921" fmla="*/ 707825 w 5047599"/>
              <a:gd name="connsiteY5921" fmla="*/ 1096364 h 4588585"/>
              <a:gd name="connsiteX5922" fmla="*/ 694227 w 5047599"/>
              <a:gd name="connsiteY5922" fmla="*/ 1096385 h 4588585"/>
              <a:gd name="connsiteX5923" fmla="*/ 680629 w 5047599"/>
              <a:gd name="connsiteY5923" fmla="*/ 1096405 h 4588585"/>
              <a:gd name="connsiteX5924" fmla="*/ 667053 w 5047599"/>
              <a:gd name="connsiteY5924" fmla="*/ 1096426 h 4588585"/>
              <a:gd name="connsiteX5925" fmla="*/ 653477 w 5047599"/>
              <a:gd name="connsiteY5925" fmla="*/ 1096447 h 4588585"/>
              <a:gd name="connsiteX5926" fmla="*/ 639879 w 5047599"/>
              <a:gd name="connsiteY5926" fmla="*/ 1096470 h 4588585"/>
              <a:gd name="connsiteX5927" fmla="*/ 626281 w 5047599"/>
              <a:gd name="connsiteY5927" fmla="*/ 1096470 h 4588585"/>
              <a:gd name="connsiteX5928" fmla="*/ 612704 w 5047599"/>
              <a:gd name="connsiteY5928" fmla="*/ 1096491 h 4588585"/>
              <a:gd name="connsiteX5929" fmla="*/ 599106 w 5047599"/>
              <a:gd name="connsiteY5929" fmla="*/ 1096510 h 4588585"/>
              <a:gd name="connsiteX5930" fmla="*/ 592606 w 5047599"/>
              <a:gd name="connsiteY5930" fmla="*/ 1096520 h 4588585"/>
              <a:gd name="connsiteX5931" fmla="*/ 599317 w 5047599"/>
              <a:gd name="connsiteY5931" fmla="*/ 1096520 h 4588585"/>
              <a:gd name="connsiteX5932" fmla="*/ 612915 w 5047599"/>
              <a:gd name="connsiteY5932" fmla="*/ 1096499 h 4588585"/>
              <a:gd name="connsiteX5933" fmla="*/ 626513 w 5047599"/>
              <a:gd name="connsiteY5933" fmla="*/ 1096478 h 4588585"/>
              <a:gd name="connsiteX5934" fmla="*/ 640110 w 5047599"/>
              <a:gd name="connsiteY5934" fmla="*/ 1096478 h 4588585"/>
              <a:gd name="connsiteX5935" fmla="*/ 653708 w 5047599"/>
              <a:gd name="connsiteY5935" fmla="*/ 1096457 h 4588585"/>
              <a:gd name="connsiteX5936" fmla="*/ 667306 w 5047599"/>
              <a:gd name="connsiteY5936" fmla="*/ 1096436 h 4588585"/>
              <a:gd name="connsiteX5937" fmla="*/ 680883 w 5047599"/>
              <a:gd name="connsiteY5937" fmla="*/ 1096436 h 4588585"/>
              <a:gd name="connsiteX5938" fmla="*/ 694481 w 5047599"/>
              <a:gd name="connsiteY5938" fmla="*/ 1096415 h 4588585"/>
              <a:gd name="connsiteX5939" fmla="*/ 708078 w 5047599"/>
              <a:gd name="connsiteY5939" fmla="*/ 1096394 h 4588585"/>
              <a:gd name="connsiteX5940" fmla="*/ 721655 w 5047599"/>
              <a:gd name="connsiteY5940" fmla="*/ 1096394 h 4588585"/>
              <a:gd name="connsiteX5941" fmla="*/ 730629 w 5047599"/>
              <a:gd name="connsiteY5941" fmla="*/ 1096394 h 4588585"/>
              <a:gd name="connsiteX5942" fmla="*/ 730101 w 5047599"/>
              <a:gd name="connsiteY5942" fmla="*/ 1087948 h 4588585"/>
              <a:gd name="connsiteX5943" fmla="*/ 729679 w 5047599"/>
              <a:gd name="connsiteY5943" fmla="*/ 1081240 h 4588585"/>
              <a:gd name="connsiteX5944" fmla="*/ 729109 w 5047599"/>
              <a:gd name="connsiteY5944" fmla="*/ 1072219 h 4588585"/>
              <a:gd name="connsiteX5945" fmla="*/ 728539 w 5047599"/>
              <a:gd name="connsiteY5945" fmla="*/ 1063242 h 4588585"/>
              <a:gd name="connsiteX5946" fmla="*/ 727989 w 5047599"/>
              <a:gd name="connsiteY5946" fmla="*/ 1054243 h 4588585"/>
              <a:gd name="connsiteX5947" fmla="*/ 727462 w 5047599"/>
              <a:gd name="connsiteY5947" fmla="*/ 1045776 h 4588585"/>
              <a:gd name="connsiteX5948" fmla="*/ 726934 w 5047599"/>
              <a:gd name="connsiteY5948" fmla="*/ 1037306 h 4588585"/>
              <a:gd name="connsiteX5949" fmla="*/ 726448 w 5047599"/>
              <a:gd name="connsiteY5949" fmla="*/ 1029454 h 4588585"/>
              <a:gd name="connsiteX5950" fmla="*/ 726005 w 5047599"/>
              <a:gd name="connsiteY5950" fmla="*/ 1022237 h 4588585"/>
              <a:gd name="connsiteX5951" fmla="*/ 725224 w 5047599"/>
              <a:gd name="connsiteY5951" fmla="*/ 1018078 h 4588585"/>
              <a:gd name="connsiteX5952" fmla="*/ 722331 w 5047599"/>
              <a:gd name="connsiteY5952" fmla="*/ 1009821 h 4588585"/>
              <a:gd name="connsiteX5953" fmla="*/ 721719 w 5047599"/>
              <a:gd name="connsiteY5953" fmla="*/ 1005725 h 4588585"/>
              <a:gd name="connsiteX5954" fmla="*/ 722500 w 5047599"/>
              <a:gd name="connsiteY5954" fmla="*/ 1001395 h 4588585"/>
              <a:gd name="connsiteX5955" fmla="*/ 724421 w 5047599"/>
              <a:gd name="connsiteY5955" fmla="*/ 997320 h 4588585"/>
              <a:gd name="connsiteX5956" fmla="*/ 729721 w 5047599"/>
              <a:gd name="connsiteY5956" fmla="*/ 989850 h 4588585"/>
              <a:gd name="connsiteX5957" fmla="*/ 737745 w 5047599"/>
              <a:gd name="connsiteY5957" fmla="*/ 984098 h 4588585"/>
              <a:gd name="connsiteX5958" fmla="*/ 746993 w 5047599"/>
              <a:gd name="connsiteY5958" fmla="*/ 977455 h 4588585"/>
              <a:gd name="connsiteX5959" fmla="*/ 754045 w 5047599"/>
              <a:gd name="connsiteY5959" fmla="*/ 972382 h 4588585"/>
              <a:gd name="connsiteX5960" fmla="*/ 757656 w 5047599"/>
              <a:gd name="connsiteY5960" fmla="*/ 971129 h 4588585"/>
              <a:gd name="connsiteX5961" fmla="*/ 768698 w 5047599"/>
              <a:gd name="connsiteY5961" fmla="*/ 969368 h 4588585"/>
              <a:gd name="connsiteX5962" fmla="*/ 777398 w 5047599"/>
              <a:gd name="connsiteY5962" fmla="*/ 965528 h 4588585"/>
              <a:gd name="connsiteX5963" fmla="*/ 785865 w 5047599"/>
              <a:gd name="connsiteY5963" fmla="*/ 961793 h 4588585"/>
              <a:gd name="connsiteX5964" fmla="*/ 789412 w 5047599"/>
              <a:gd name="connsiteY5964" fmla="*/ 959712 h 4588585"/>
              <a:gd name="connsiteX5965" fmla="*/ 789835 w 5047599"/>
              <a:gd name="connsiteY5965" fmla="*/ 952686 h 4588585"/>
              <a:gd name="connsiteX5966" fmla="*/ 789835 w 5047599"/>
              <a:gd name="connsiteY5966" fmla="*/ 944833 h 4588585"/>
              <a:gd name="connsiteX5967" fmla="*/ 789835 w 5047599"/>
              <a:gd name="connsiteY5967" fmla="*/ 936026 h 4588585"/>
              <a:gd name="connsiteX5968" fmla="*/ 789835 w 5047599"/>
              <a:gd name="connsiteY5968" fmla="*/ 927196 h 4588585"/>
              <a:gd name="connsiteX5969" fmla="*/ 789835 w 5047599"/>
              <a:gd name="connsiteY5969" fmla="*/ 918368 h 4588585"/>
              <a:gd name="connsiteX5970" fmla="*/ 789835 w 5047599"/>
              <a:gd name="connsiteY5970" fmla="*/ 909517 h 4588585"/>
              <a:gd name="connsiteX5971" fmla="*/ 789835 w 5047599"/>
              <a:gd name="connsiteY5971" fmla="*/ 900665 h 4588585"/>
              <a:gd name="connsiteX5972" fmla="*/ 789835 w 5047599"/>
              <a:gd name="connsiteY5972" fmla="*/ 891817 h 4588585"/>
              <a:gd name="connsiteX5973" fmla="*/ 789835 w 5047599"/>
              <a:gd name="connsiteY5973" fmla="*/ 882944 h 4588585"/>
              <a:gd name="connsiteX5974" fmla="*/ 789835 w 5047599"/>
              <a:gd name="connsiteY5974" fmla="*/ 874071 h 4588585"/>
              <a:gd name="connsiteX5975" fmla="*/ 789835 w 5047599"/>
              <a:gd name="connsiteY5975" fmla="*/ 865200 h 4588585"/>
              <a:gd name="connsiteX5976" fmla="*/ 789835 w 5047599"/>
              <a:gd name="connsiteY5976" fmla="*/ 856308 h 4588585"/>
              <a:gd name="connsiteX5977" fmla="*/ 789835 w 5047599"/>
              <a:gd name="connsiteY5977" fmla="*/ 847394 h 4588585"/>
              <a:gd name="connsiteX5978" fmla="*/ 789835 w 5047599"/>
              <a:gd name="connsiteY5978" fmla="*/ 838479 h 4588585"/>
              <a:gd name="connsiteX5979" fmla="*/ 789835 w 5047599"/>
              <a:gd name="connsiteY5979" fmla="*/ 829543 h 4588585"/>
              <a:gd name="connsiteX5980" fmla="*/ 789835 w 5047599"/>
              <a:gd name="connsiteY5980" fmla="*/ 820607 h 4588585"/>
              <a:gd name="connsiteX5981" fmla="*/ 789835 w 5047599"/>
              <a:gd name="connsiteY5981" fmla="*/ 811650 h 4588585"/>
              <a:gd name="connsiteX5982" fmla="*/ 789835 w 5047599"/>
              <a:gd name="connsiteY5982" fmla="*/ 802694 h 4588585"/>
              <a:gd name="connsiteX5983" fmla="*/ 789835 w 5047599"/>
              <a:gd name="connsiteY5983" fmla="*/ 794842 h 4588585"/>
              <a:gd name="connsiteX5984" fmla="*/ 798703 w 5047599"/>
              <a:gd name="connsiteY5984" fmla="*/ 794842 h 4588585"/>
              <a:gd name="connsiteX5985" fmla="*/ 809745 w 5047599"/>
              <a:gd name="connsiteY5985" fmla="*/ 794842 h 4588585"/>
              <a:gd name="connsiteX5986" fmla="*/ 820767 w 5047599"/>
              <a:gd name="connsiteY5986" fmla="*/ 794842 h 4588585"/>
              <a:gd name="connsiteX5987" fmla="*/ 831810 w 5047599"/>
              <a:gd name="connsiteY5987" fmla="*/ 794842 h 4588585"/>
              <a:gd name="connsiteX5988" fmla="*/ 842853 w 5047599"/>
              <a:gd name="connsiteY5988" fmla="*/ 794842 h 4588585"/>
              <a:gd name="connsiteX5989" fmla="*/ 853896 w 5047599"/>
              <a:gd name="connsiteY5989" fmla="*/ 794842 h 4588585"/>
              <a:gd name="connsiteX5990" fmla="*/ 864939 w 5047599"/>
              <a:gd name="connsiteY5990" fmla="*/ 794842 h 4588585"/>
              <a:gd name="connsiteX5991" fmla="*/ 875983 w 5047599"/>
              <a:gd name="connsiteY5991" fmla="*/ 794842 h 4588585"/>
              <a:gd name="connsiteX5992" fmla="*/ 887025 w 5047599"/>
              <a:gd name="connsiteY5992" fmla="*/ 794842 h 4588585"/>
              <a:gd name="connsiteX5993" fmla="*/ 898068 w 5047599"/>
              <a:gd name="connsiteY5993" fmla="*/ 794842 h 4588585"/>
              <a:gd name="connsiteX5994" fmla="*/ 909111 w 5047599"/>
              <a:gd name="connsiteY5994" fmla="*/ 794842 h 4588585"/>
              <a:gd name="connsiteX5995" fmla="*/ 920154 w 5047599"/>
              <a:gd name="connsiteY5995" fmla="*/ 794842 h 4588585"/>
              <a:gd name="connsiteX5996" fmla="*/ 931197 w 5047599"/>
              <a:gd name="connsiteY5996" fmla="*/ 794842 h 4588585"/>
              <a:gd name="connsiteX5997" fmla="*/ 942240 w 5047599"/>
              <a:gd name="connsiteY5997" fmla="*/ 794842 h 4588585"/>
              <a:gd name="connsiteX5998" fmla="*/ 953262 w 5047599"/>
              <a:gd name="connsiteY5998" fmla="*/ 794842 h 4588585"/>
              <a:gd name="connsiteX5999" fmla="*/ 964304 w 5047599"/>
              <a:gd name="connsiteY5999" fmla="*/ 794842 h 4588585"/>
              <a:gd name="connsiteX6000" fmla="*/ 975347 w 5047599"/>
              <a:gd name="connsiteY6000" fmla="*/ 794842 h 4588585"/>
              <a:gd name="connsiteX6001" fmla="*/ 987404 w 5047599"/>
              <a:gd name="connsiteY6001" fmla="*/ 794842 h 4588585"/>
              <a:gd name="connsiteX6002" fmla="*/ 987404 w 5047599"/>
              <a:gd name="connsiteY6002" fmla="*/ 787328 h 4588585"/>
              <a:gd name="connsiteX6003" fmla="*/ 987404 w 5047599"/>
              <a:gd name="connsiteY6003" fmla="*/ 776524 h 4588585"/>
              <a:gd name="connsiteX6004" fmla="*/ 987383 w 5047599"/>
              <a:gd name="connsiteY6004" fmla="*/ 761668 h 4588585"/>
              <a:gd name="connsiteX6005" fmla="*/ 987383 w 5047599"/>
              <a:gd name="connsiteY6005" fmla="*/ 746726 h 4588585"/>
              <a:gd name="connsiteX6006" fmla="*/ 987362 w 5047599"/>
              <a:gd name="connsiteY6006" fmla="*/ 733567 h 4588585"/>
              <a:gd name="connsiteX6007" fmla="*/ 987362 w 5047599"/>
              <a:gd name="connsiteY6007" fmla="*/ 720387 h 4588585"/>
              <a:gd name="connsiteX6008" fmla="*/ 987341 w 5047599"/>
              <a:gd name="connsiteY6008" fmla="*/ 709371 h 4588585"/>
              <a:gd name="connsiteX6009" fmla="*/ 2079305 w 5047599"/>
              <a:gd name="connsiteY6009" fmla="*/ 706241 h 4588585"/>
              <a:gd name="connsiteX6010" fmla="*/ 2079305 w 5047599"/>
              <a:gd name="connsiteY6010" fmla="*/ 706242 h 4588585"/>
              <a:gd name="connsiteX6011" fmla="*/ 2079601 w 5047599"/>
              <a:gd name="connsiteY6011" fmla="*/ 713692 h 4588585"/>
              <a:gd name="connsiteX6012" fmla="*/ 2082134 w 5047599"/>
              <a:gd name="connsiteY6012" fmla="*/ 725301 h 4588585"/>
              <a:gd name="connsiteX6013" fmla="*/ 2084626 w 5047599"/>
              <a:gd name="connsiteY6013" fmla="*/ 733876 h 4588585"/>
              <a:gd name="connsiteX6014" fmla="*/ 2088004 w 5047599"/>
              <a:gd name="connsiteY6014" fmla="*/ 738375 h 4588585"/>
              <a:gd name="connsiteX6015" fmla="*/ 2087349 w 5047599"/>
              <a:gd name="connsiteY6015" fmla="*/ 752785 h 4588585"/>
              <a:gd name="connsiteX6016" fmla="*/ 2085935 w 5047599"/>
              <a:gd name="connsiteY6016" fmla="*/ 758005 h 4588585"/>
              <a:gd name="connsiteX6017" fmla="*/ 2085936 w 5047599"/>
              <a:gd name="connsiteY6017" fmla="*/ 758005 h 4588585"/>
              <a:gd name="connsiteX6018" fmla="*/ 2087350 w 5047599"/>
              <a:gd name="connsiteY6018" fmla="*/ 752783 h 4588585"/>
              <a:gd name="connsiteX6019" fmla="*/ 2088005 w 5047599"/>
              <a:gd name="connsiteY6019" fmla="*/ 738372 h 4588585"/>
              <a:gd name="connsiteX6020" fmla="*/ 2084626 w 5047599"/>
              <a:gd name="connsiteY6020" fmla="*/ 733873 h 4588585"/>
              <a:gd name="connsiteX6021" fmla="*/ 2082134 w 5047599"/>
              <a:gd name="connsiteY6021" fmla="*/ 725298 h 4588585"/>
              <a:gd name="connsiteX6022" fmla="*/ 2079601 w 5047599"/>
              <a:gd name="connsiteY6022" fmla="*/ 713689 h 4588585"/>
              <a:gd name="connsiteX6023" fmla="*/ 979170 w 5047599"/>
              <a:gd name="connsiteY6023" fmla="*/ 684503 h 4588585"/>
              <a:gd name="connsiteX6024" fmla="*/ 979170 w 5047599"/>
              <a:gd name="connsiteY6024" fmla="*/ 684506 h 4588585"/>
              <a:gd name="connsiteX6025" fmla="*/ 987129 w 5047599"/>
              <a:gd name="connsiteY6025" fmla="*/ 684506 h 4588585"/>
              <a:gd name="connsiteX6026" fmla="*/ 987129 w 5047599"/>
              <a:gd name="connsiteY6026" fmla="*/ 684503 h 4588585"/>
              <a:gd name="connsiteX6027" fmla="*/ 4312484 w 5047599"/>
              <a:gd name="connsiteY6027" fmla="*/ 594773 h 4588585"/>
              <a:gd name="connsiteX6028" fmla="*/ 4317688 w 5047599"/>
              <a:gd name="connsiteY6028" fmla="*/ 605021 h 4588585"/>
              <a:gd name="connsiteX6029" fmla="*/ 4319588 w 5047599"/>
              <a:gd name="connsiteY6029" fmla="*/ 612216 h 4588585"/>
              <a:gd name="connsiteX6030" fmla="*/ 4321340 w 5047599"/>
              <a:gd name="connsiteY6030" fmla="*/ 619220 h 4588585"/>
              <a:gd name="connsiteX6031" fmla="*/ 4326576 w 5047599"/>
              <a:gd name="connsiteY6031" fmla="*/ 625610 h 4588585"/>
              <a:gd name="connsiteX6032" fmla="*/ 4326579 w 5047599"/>
              <a:gd name="connsiteY6032" fmla="*/ 625610 h 4588585"/>
              <a:gd name="connsiteX6033" fmla="*/ 4321361 w 5047599"/>
              <a:gd name="connsiteY6033" fmla="*/ 619244 h 4588585"/>
              <a:gd name="connsiteX6034" fmla="*/ 4319609 w 5047599"/>
              <a:gd name="connsiteY6034" fmla="*/ 612240 h 4588585"/>
              <a:gd name="connsiteX6035" fmla="*/ 4317709 w 5047599"/>
              <a:gd name="connsiteY6035" fmla="*/ 605046 h 4588585"/>
              <a:gd name="connsiteX6036" fmla="*/ 4312493 w 5047599"/>
              <a:gd name="connsiteY6036" fmla="*/ 594774 h 4588585"/>
              <a:gd name="connsiteX6037" fmla="*/ 1058096 w 5047599"/>
              <a:gd name="connsiteY6037" fmla="*/ 567409 h 4588585"/>
              <a:gd name="connsiteX6038" fmla="*/ 1049862 w 5047599"/>
              <a:gd name="connsiteY6038" fmla="*/ 568577 h 4588585"/>
              <a:gd name="connsiteX6039" fmla="*/ 1046272 w 5047599"/>
              <a:gd name="connsiteY6039" fmla="*/ 570317 h 4588585"/>
              <a:gd name="connsiteX6040" fmla="*/ 1030943 w 5047599"/>
              <a:gd name="connsiteY6040" fmla="*/ 582181 h 4588585"/>
              <a:gd name="connsiteX6041" fmla="*/ 1027670 w 5047599"/>
              <a:gd name="connsiteY6041" fmla="*/ 585068 h 4588585"/>
              <a:gd name="connsiteX6042" fmla="*/ 1011897 w 5047599"/>
              <a:gd name="connsiteY6042" fmla="*/ 595361 h 4588585"/>
              <a:gd name="connsiteX6043" fmla="*/ 1007442 w 5047599"/>
              <a:gd name="connsiteY6043" fmla="*/ 598778 h 4588585"/>
              <a:gd name="connsiteX6044" fmla="*/ 1003958 w 5047599"/>
              <a:gd name="connsiteY6044" fmla="*/ 602152 h 4588585"/>
              <a:gd name="connsiteX6045" fmla="*/ 994541 w 5047599"/>
              <a:gd name="connsiteY6045" fmla="*/ 609751 h 4588585"/>
              <a:gd name="connsiteX6046" fmla="*/ 988524 w 5047599"/>
              <a:gd name="connsiteY6046" fmla="*/ 613082 h 4588585"/>
              <a:gd name="connsiteX6047" fmla="*/ 987425 w 5047599"/>
              <a:gd name="connsiteY6047" fmla="*/ 615057 h 4588585"/>
              <a:gd name="connsiteX6048" fmla="*/ 987129 w 5047599"/>
              <a:gd name="connsiteY6048" fmla="*/ 619685 h 4588585"/>
              <a:gd name="connsiteX6049" fmla="*/ 987129 w 5047599"/>
              <a:gd name="connsiteY6049" fmla="*/ 619686 h 4588585"/>
              <a:gd name="connsiteX6050" fmla="*/ 987425 w 5047599"/>
              <a:gd name="connsiteY6050" fmla="*/ 615060 h 4588585"/>
              <a:gd name="connsiteX6051" fmla="*/ 988523 w 5047599"/>
              <a:gd name="connsiteY6051" fmla="*/ 613084 h 4588585"/>
              <a:gd name="connsiteX6052" fmla="*/ 994541 w 5047599"/>
              <a:gd name="connsiteY6052" fmla="*/ 609753 h 4588585"/>
              <a:gd name="connsiteX6053" fmla="*/ 1003958 w 5047599"/>
              <a:gd name="connsiteY6053" fmla="*/ 602154 h 4588585"/>
              <a:gd name="connsiteX6054" fmla="*/ 1007442 w 5047599"/>
              <a:gd name="connsiteY6054" fmla="*/ 598779 h 4588585"/>
              <a:gd name="connsiteX6055" fmla="*/ 1011897 w 5047599"/>
              <a:gd name="connsiteY6055" fmla="*/ 595364 h 4588585"/>
              <a:gd name="connsiteX6056" fmla="*/ 1027670 w 5047599"/>
              <a:gd name="connsiteY6056" fmla="*/ 585070 h 4588585"/>
              <a:gd name="connsiteX6057" fmla="*/ 1030943 w 5047599"/>
              <a:gd name="connsiteY6057" fmla="*/ 582185 h 4588585"/>
              <a:gd name="connsiteX6058" fmla="*/ 1046272 w 5047599"/>
              <a:gd name="connsiteY6058" fmla="*/ 570318 h 4588585"/>
              <a:gd name="connsiteX6059" fmla="*/ 1049861 w 5047599"/>
              <a:gd name="connsiteY6059" fmla="*/ 568578 h 4588585"/>
              <a:gd name="connsiteX6060" fmla="*/ 1058095 w 5047599"/>
              <a:gd name="connsiteY6060" fmla="*/ 567410 h 4588585"/>
              <a:gd name="connsiteX6061" fmla="*/ 1116361 w 5047599"/>
              <a:gd name="connsiteY6061" fmla="*/ 539403 h 4588585"/>
              <a:gd name="connsiteX6062" fmla="*/ 1116035 w 5047599"/>
              <a:gd name="connsiteY6062" fmla="*/ 540731 h 4588585"/>
              <a:gd name="connsiteX6063" fmla="*/ 1115866 w 5047599"/>
              <a:gd name="connsiteY6063" fmla="*/ 544680 h 4588585"/>
              <a:gd name="connsiteX6064" fmla="*/ 1115295 w 5047599"/>
              <a:gd name="connsiteY6064" fmla="*/ 549200 h 4588585"/>
              <a:gd name="connsiteX6065" fmla="*/ 1112615 w 5047599"/>
              <a:gd name="connsiteY6065" fmla="*/ 552999 h 4588585"/>
              <a:gd name="connsiteX6066" fmla="*/ 1110713 w 5047599"/>
              <a:gd name="connsiteY6066" fmla="*/ 554696 h 4588585"/>
              <a:gd name="connsiteX6067" fmla="*/ 1108496 w 5047599"/>
              <a:gd name="connsiteY6067" fmla="*/ 555395 h 4588585"/>
              <a:gd name="connsiteX6068" fmla="*/ 1101382 w 5047599"/>
              <a:gd name="connsiteY6068" fmla="*/ 554377 h 4588585"/>
              <a:gd name="connsiteX6069" fmla="*/ 1095426 w 5047599"/>
              <a:gd name="connsiteY6069" fmla="*/ 553168 h 4588585"/>
              <a:gd name="connsiteX6070" fmla="*/ 1081259 w 5047599"/>
              <a:gd name="connsiteY6070" fmla="*/ 551554 h 4588585"/>
              <a:gd name="connsiteX6071" fmla="*/ 1078430 w 5047599"/>
              <a:gd name="connsiteY6071" fmla="*/ 551936 h 4588585"/>
              <a:gd name="connsiteX6072" fmla="*/ 1077374 w 5047599"/>
              <a:gd name="connsiteY6072" fmla="*/ 552404 h 4588585"/>
              <a:gd name="connsiteX6073" fmla="*/ 1072961 w 5047599"/>
              <a:gd name="connsiteY6073" fmla="*/ 554992 h 4588585"/>
              <a:gd name="connsiteX6074" fmla="*/ 1066162 w 5047599"/>
              <a:gd name="connsiteY6074" fmla="*/ 560425 h 4588585"/>
              <a:gd name="connsiteX6075" fmla="*/ 1061538 w 5047599"/>
              <a:gd name="connsiteY6075" fmla="*/ 565179 h 4588585"/>
              <a:gd name="connsiteX6076" fmla="*/ 1058134 w 5047599"/>
              <a:gd name="connsiteY6076" fmla="*/ 567386 h 4588585"/>
              <a:gd name="connsiteX6077" fmla="*/ 1061538 w 5047599"/>
              <a:gd name="connsiteY6077" fmla="*/ 565182 h 4588585"/>
              <a:gd name="connsiteX6078" fmla="*/ 1066162 w 5047599"/>
              <a:gd name="connsiteY6078" fmla="*/ 560427 h 4588585"/>
              <a:gd name="connsiteX6079" fmla="*/ 1072961 w 5047599"/>
              <a:gd name="connsiteY6079" fmla="*/ 554995 h 4588585"/>
              <a:gd name="connsiteX6080" fmla="*/ 1077374 w 5047599"/>
              <a:gd name="connsiteY6080" fmla="*/ 552406 h 4588585"/>
              <a:gd name="connsiteX6081" fmla="*/ 1078429 w 5047599"/>
              <a:gd name="connsiteY6081" fmla="*/ 551940 h 4588585"/>
              <a:gd name="connsiteX6082" fmla="*/ 1081258 w 5047599"/>
              <a:gd name="connsiteY6082" fmla="*/ 551558 h 4588585"/>
              <a:gd name="connsiteX6083" fmla="*/ 1095426 w 5047599"/>
              <a:gd name="connsiteY6083" fmla="*/ 553171 h 4588585"/>
              <a:gd name="connsiteX6084" fmla="*/ 1101381 w 5047599"/>
              <a:gd name="connsiteY6084" fmla="*/ 554381 h 4588585"/>
              <a:gd name="connsiteX6085" fmla="*/ 1108496 w 5047599"/>
              <a:gd name="connsiteY6085" fmla="*/ 555399 h 4588585"/>
              <a:gd name="connsiteX6086" fmla="*/ 1110713 w 5047599"/>
              <a:gd name="connsiteY6086" fmla="*/ 554700 h 4588585"/>
              <a:gd name="connsiteX6087" fmla="*/ 1112614 w 5047599"/>
              <a:gd name="connsiteY6087" fmla="*/ 553001 h 4588585"/>
              <a:gd name="connsiteX6088" fmla="*/ 1115295 w 5047599"/>
              <a:gd name="connsiteY6088" fmla="*/ 549200 h 4588585"/>
              <a:gd name="connsiteX6089" fmla="*/ 1115866 w 5047599"/>
              <a:gd name="connsiteY6089" fmla="*/ 544681 h 4588585"/>
              <a:gd name="connsiteX6090" fmla="*/ 1116035 w 5047599"/>
              <a:gd name="connsiteY6090" fmla="*/ 540734 h 4588585"/>
              <a:gd name="connsiteX6091" fmla="*/ 3577585 w 5047599"/>
              <a:gd name="connsiteY6091" fmla="*/ 538575 h 4588585"/>
              <a:gd name="connsiteX6092" fmla="*/ 3577134 w 5047599"/>
              <a:gd name="connsiteY6092" fmla="*/ 540502 h 4588585"/>
              <a:gd name="connsiteX6093" fmla="*/ 3575629 w 5047599"/>
              <a:gd name="connsiteY6093" fmla="*/ 548454 h 4588585"/>
              <a:gd name="connsiteX6094" fmla="*/ 3577135 w 5047599"/>
              <a:gd name="connsiteY6094" fmla="*/ 540499 h 4588585"/>
              <a:gd name="connsiteX6095" fmla="*/ 3562689 w 5047599"/>
              <a:gd name="connsiteY6095" fmla="*/ 536570 h 4588585"/>
              <a:gd name="connsiteX6096" fmla="*/ 3563326 w 5047599"/>
              <a:gd name="connsiteY6096" fmla="*/ 538805 h 4588585"/>
              <a:gd name="connsiteX6097" fmla="*/ 3565498 w 5047599"/>
              <a:gd name="connsiteY6097" fmla="*/ 546653 h 4588585"/>
              <a:gd name="connsiteX6098" fmla="*/ 3563326 w 5047599"/>
              <a:gd name="connsiteY6098" fmla="*/ 538803 h 4588585"/>
              <a:gd name="connsiteX6099" fmla="*/ 3678317 w 5047599"/>
              <a:gd name="connsiteY6099" fmla="*/ 536209 h 4588585"/>
              <a:gd name="connsiteX6100" fmla="*/ 3676669 w 5047599"/>
              <a:gd name="connsiteY6100" fmla="*/ 537466 h 4588585"/>
              <a:gd name="connsiteX6101" fmla="*/ 3676660 w 5047599"/>
              <a:gd name="connsiteY6101" fmla="*/ 537481 h 4588585"/>
              <a:gd name="connsiteX6102" fmla="*/ 3579753 w 5047599"/>
              <a:gd name="connsiteY6102" fmla="*/ 527467 h 4588585"/>
              <a:gd name="connsiteX6103" fmla="*/ 3579752 w 5047599"/>
              <a:gd name="connsiteY6103" fmla="*/ 527470 h 4588585"/>
              <a:gd name="connsiteX6104" fmla="*/ 3579282 w 5047599"/>
              <a:gd name="connsiteY6104" fmla="*/ 530479 h 4588585"/>
              <a:gd name="connsiteX6105" fmla="*/ 4357045 w 5047599"/>
              <a:gd name="connsiteY6105" fmla="*/ 527365 h 4588585"/>
              <a:gd name="connsiteX6106" fmla="*/ 4359579 w 5047599"/>
              <a:gd name="connsiteY6106" fmla="*/ 530274 h 4588585"/>
              <a:gd name="connsiteX6107" fmla="*/ 4366716 w 5047599"/>
              <a:gd name="connsiteY6107" fmla="*/ 540780 h 4588585"/>
              <a:gd name="connsiteX6108" fmla="*/ 4366674 w 5047599"/>
              <a:gd name="connsiteY6108" fmla="*/ 545066 h 4588585"/>
              <a:gd name="connsiteX6109" fmla="*/ 4366251 w 5047599"/>
              <a:gd name="connsiteY6109" fmla="*/ 546786 h 4588585"/>
              <a:gd name="connsiteX6110" fmla="*/ 4362387 w 5047599"/>
              <a:gd name="connsiteY6110" fmla="*/ 551604 h 4588585"/>
              <a:gd name="connsiteX6111" fmla="*/ 4362387 w 5047599"/>
              <a:gd name="connsiteY6111" fmla="*/ 551601 h 4588585"/>
              <a:gd name="connsiteX6112" fmla="*/ 4358987 w 5047599"/>
              <a:gd name="connsiteY6112" fmla="*/ 553129 h 4588585"/>
              <a:gd name="connsiteX6113" fmla="*/ 4356707 w 5047599"/>
              <a:gd name="connsiteY6113" fmla="*/ 552472 h 4588585"/>
              <a:gd name="connsiteX6114" fmla="*/ 4354511 w 5047599"/>
              <a:gd name="connsiteY6114" fmla="*/ 548800 h 4588585"/>
              <a:gd name="connsiteX6115" fmla="*/ 4350901 w 5047599"/>
              <a:gd name="connsiteY6115" fmla="*/ 539674 h 4588585"/>
              <a:gd name="connsiteX6116" fmla="*/ 4352864 w 5047599"/>
              <a:gd name="connsiteY6116" fmla="*/ 536256 h 4588585"/>
              <a:gd name="connsiteX6117" fmla="*/ 4352801 w 5047599"/>
              <a:gd name="connsiteY6117" fmla="*/ 534794 h 4588585"/>
              <a:gd name="connsiteX6118" fmla="*/ 4353202 w 5047599"/>
              <a:gd name="connsiteY6118" fmla="*/ 533691 h 4588585"/>
              <a:gd name="connsiteX6119" fmla="*/ 4354322 w 5047599"/>
              <a:gd name="connsiteY6119" fmla="*/ 532989 h 4588585"/>
              <a:gd name="connsiteX6120" fmla="*/ 4355483 w 5047599"/>
              <a:gd name="connsiteY6120" fmla="*/ 528681 h 4588585"/>
              <a:gd name="connsiteX6121" fmla="*/ 4344799 w 5047599"/>
              <a:gd name="connsiteY6121" fmla="*/ 527130 h 4588585"/>
              <a:gd name="connsiteX6122" fmla="*/ 4344799 w 5047599"/>
              <a:gd name="connsiteY6122" fmla="*/ 527134 h 4588585"/>
              <a:gd name="connsiteX6123" fmla="*/ 4344798 w 5047599"/>
              <a:gd name="connsiteY6123" fmla="*/ 527134 h 4588585"/>
              <a:gd name="connsiteX6124" fmla="*/ 3723272 w 5047599"/>
              <a:gd name="connsiteY6124" fmla="*/ 525190 h 4588585"/>
              <a:gd name="connsiteX6125" fmla="*/ 3722023 w 5047599"/>
              <a:gd name="connsiteY6125" fmla="*/ 526278 h 4588585"/>
              <a:gd name="connsiteX6126" fmla="*/ 3706060 w 5047599"/>
              <a:gd name="connsiteY6126" fmla="*/ 529633 h 4588585"/>
              <a:gd name="connsiteX6127" fmla="*/ 3689908 w 5047599"/>
              <a:gd name="connsiteY6127" fmla="*/ 532986 h 4588585"/>
              <a:gd name="connsiteX6128" fmla="*/ 3679730 w 5047599"/>
              <a:gd name="connsiteY6128" fmla="*/ 535130 h 4588585"/>
              <a:gd name="connsiteX6129" fmla="*/ 3679679 w 5047599"/>
              <a:gd name="connsiteY6129" fmla="*/ 535169 h 4588585"/>
              <a:gd name="connsiteX6130" fmla="*/ 3689844 w 5047599"/>
              <a:gd name="connsiteY6130" fmla="*/ 533049 h 4588585"/>
              <a:gd name="connsiteX6131" fmla="*/ 3705997 w 5047599"/>
              <a:gd name="connsiteY6131" fmla="*/ 529675 h 4588585"/>
              <a:gd name="connsiteX6132" fmla="*/ 3721980 w 5047599"/>
              <a:gd name="connsiteY6132" fmla="*/ 526344 h 4588585"/>
              <a:gd name="connsiteX6133" fmla="*/ 3723268 w 5047599"/>
              <a:gd name="connsiteY6133" fmla="*/ 525199 h 4588585"/>
              <a:gd name="connsiteX6134" fmla="*/ 2053398 w 5047599"/>
              <a:gd name="connsiteY6134" fmla="*/ 518066 h 4588585"/>
              <a:gd name="connsiteX6135" fmla="*/ 2058169 w 5047599"/>
              <a:gd name="connsiteY6135" fmla="*/ 526386 h 4588585"/>
              <a:gd name="connsiteX6136" fmla="*/ 2067375 w 5047599"/>
              <a:gd name="connsiteY6136" fmla="*/ 539906 h 4588585"/>
              <a:gd name="connsiteX6137" fmla="*/ 2072928 w 5047599"/>
              <a:gd name="connsiteY6137" fmla="*/ 550795 h 4588585"/>
              <a:gd name="connsiteX6138" fmla="*/ 2074871 w 5047599"/>
              <a:gd name="connsiteY6138" fmla="*/ 555528 h 4588585"/>
              <a:gd name="connsiteX6139" fmla="*/ 2079199 w 5047599"/>
              <a:gd name="connsiteY6139" fmla="*/ 569006 h 4588585"/>
              <a:gd name="connsiteX6140" fmla="*/ 2082725 w 5047599"/>
              <a:gd name="connsiteY6140" fmla="*/ 582036 h 4588585"/>
              <a:gd name="connsiteX6141" fmla="*/ 2083633 w 5047599"/>
              <a:gd name="connsiteY6141" fmla="*/ 586261 h 4588585"/>
              <a:gd name="connsiteX6142" fmla="*/ 2084921 w 5047599"/>
              <a:gd name="connsiteY6142" fmla="*/ 596278 h 4588585"/>
              <a:gd name="connsiteX6143" fmla="*/ 2083338 w 5047599"/>
              <a:gd name="connsiteY6143" fmla="*/ 623786 h 4588585"/>
              <a:gd name="connsiteX6144" fmla="*/ 2085871 w 5047599"/>
              <a:gd name="connsiteY6144" fmla="*/ 658573 h 4588585"/>
              <a:gd name="connsiteX6145" fmla="*/ 2089292 w 5047599"/>
              <a:gd name="connsiteY6145" fmla="*/ 675848 h 4588585"/>
              <a:gd name="connsiteX6146" fmla="*/ 2089292 w 5047599"/>
              <a:gd name="connsiteY6146" fmla="*/ 675845 h 4588585"/>
              <a:gd name="connsiteX6147" fmla="*/ 2085872 w 5047599"/>
              <a:gd name="connsiteY6147" fmla="*/ 658569 h 4588585"/>
              <a:gd name="connsiteX6148" fmla="*/ 2083338 w 5047599"/>
              <a:gd name="connsiteY6148" fmla="*/ 623783 h 4588585"/>
              <a:gd name="connsiteX6149" fmla="*/ 2084922 w 5047599"/>
              <a:gd name="connsiteY6149" fmla="*/ 596275 h 4588585"/>
              <a:gd name="connsiteX6150" fmla="*/ 2083634 w 5047599"/>
              <a:gd name="connsiteY6150" fmla="*/ 586258 h 4588585"/>
              <a:gd name="connsiteX6151" fmla="*/ 2082726 w 5047599"/>
              <a:gd name="connsiteY6151" fmla="*/ 582033 h 4588585"/>
              <a:gd name="connsiteX6152" fmla="*/ 2079200 w 5047599"/>
              <a:gd name="connsiteY6152" fmla="*/ 569001 h 4588585"/>
              <a:gd name="connsiteX6153" fmla="*/ 2074871 w 5047599"/>
              <a:gd name="connsiteY6153" fmla="*/ 555523 h 4588585"/>
              <a:gd name="connsiteX6154" fmla="*/ 2072928 w 5047599"/>
              <a:gd name="connsiteY6154" fmla="*/ 550793 h 4588585"/>
              <a:gd name="connsiteX6155" fmla="*/ 2067376 w 5047599"/>
              <a:gd name="connsiteY6155" fmla="*/ 539903 h 4588585"/>
              <a:gd name="connsiteX6156" fmla="*/ 2058170 w 5047599"/>
              <a:gd name="connsiteY6156" fmla="*/ 526384 h 4588585"/>
              <a:gd name="connsiteX6157" fmla="*/ 2053399 w 5047599"/>
              <a:gd name="connsiteY6157" fmla="*/ 518066 h 4588585"/>
              <a:gd name="connsiteX6158" fmla="*/ 3583575 w 5047599"/>
              <a:gd name="connsiteY6158" fmla="*/ 512568 h 4588585"/>
              <a:gd name="connsiteX6159" fmla="*/ 3583575 w 5047599"/>
              <a:gd name="connsiteY6159" fmla="*/ 512572 h 4588585"/>
              <a:gd name="connsiteX6160" fmla="*/ 3584102 w 5047599"/>
              <a:gd name="connsiteY6160" fmla="*/ 516242 h 4588585"/>
              <a:gd name="connsiteX6161" fmla="*/ 3580175 w 5047599"/>
              <a:gd name="connsiteY6161" fmla="*/ 526378 h 4588585"/>
              <a:gd name="connsiteX6162" fmla="*/ 3584102 w 5047599"/>
              <a:gd name="connsiteY6162" fmla="*/ 516242 h 4588585"/>
              <a:gd name="connsiteX6163" fmla="*/ 3584102 w 5047599"/>
              <a:gd name="connsiteY6163" fmla="*/ 516242 h 4588585"/>
              <a:gd name="connsiteX6164" fmla="*/ 3584103 w 5047599"/>
              <a:gd name="connsiteY6164" fmla="*/ 516241 h 4588585"/>
              <a:gd name="connsiteX6165" fmla="*/ 3584039 w 5047599"/>
              <a:gd name="connsiteY6165" fmla="*/ 497097 h 4588585"/>
              <a:gd name="connsiteX6166" fmla="*/ 3584482 w 5047599"/>
              <a:gd name="connsiteY6166" fmla="*/ 499602 h 4588585"/>
              <a:gd name="connsiteX6167" fmla="*/ 3583839 w 5047599"/>
              <a:gd name="connsiteY6167" fmla="*/ 508789 h 4588585"/>
              <a:gd name="connsiteX6168" fmla="*/ 3584483 w 5047599"/>
              <a:gd name="connsiteY6168" fmla="*/ 499600 h 4588585"/>
              <a:gd name="connsiteX6169" fmla="*/ 3752233 w 5047599"/>
              <a:gd name="connsiteY6169" fmla="*/ 491682 h 4588585"/>
              <a:gd name="connsiteX6170" fmla="*/ 3745355 w 5047599"/>
              <a:gd name="connsiteY6170" fmla="*/ 495591 h 4588585"/>
              <a:gd name="connsiteX6171" fmla="*/ 3733911 w 5047599"/>
              <a:gd name="connsiteY6171" fmla="*/ 502085 h 4588585"/>
              <a:gd name="connsiteX6172" fmla="*/ 3733898 w 5047599"/>
              <a:gd name="connsiteY6172" fmla="*/ 502098 h 4588585"/>
              <a:gd name="connsiteX6173" fmla="*/ 3745291 w 5047599"/>
              <a:gd name="connsiteY6173" fmla="*/ 495633 h 4588585"/>
              <a:gd name="connsiteX6174" fmla="*/ 3752237 w 5047599"/>
              <a:gd name="connsiteY6174" fmla="*/ 491686 h 4588585"/>
              <a:gd name="connsiteX6175" fmla="*/ 2981597 w 5047599"/>
              <a:gd name="connsiteY6175" fmla="*/ 472606 h 4588585"/>
              <a:gd name="connsiteX6176" fmla="*/ 2980836 w 5047599"/>
              <a:gd name="connsiteY6176" fmla="*/ 479356 h 4588585"/>
              <a:gd name="connsiteX6177" fmla="*/ 2978577 w 5047599"/>
              <a:gd name="connsiteY6177" fmla="*/ 487653 h 4588585"/>
              <a:gd name="connsiteX6178" fmla="*/ 2975874 w 5047599"/>
              <a:gd name="connsiteY6178" fmla="*/ 494572 h 4588585"/>
              <a:gd name="connsiteX6179" fmla="*/ 2966921 w 5047599"/>
              <a:gd name="connsiteY6179" fmla="*/ 508771 h 4588585"/>
              <a:gd name="connsiteX6180" fmla="*/ 2965549 w 5047599"/>
              <a:gd name="connsiteY6180" fmla="*/ 512167 h 4588585"/>
              <a:gd name="connsiteX6181" fmla="*/ 2965549 w 5047599"/>
              <a:gd name="connsiteY6181" fmla="*/ 512167 h 4588585"/>
              <a:gd name="connsiteX6182" fmla="*/ 2966921 w 5047599"/>
              <a:gd name="connsiteY6182" fmla="*/ 508773 h 4588585"/>
              <a:gd name="connsiteX6183" fmla="*/ 2975874 w 5047599"/>
              <a:gd name="connsiteY6183" fmla="*/ 494573 h 4588585"/>
              <a:gd name="connsiteX6184" fmla="*/ 2978577 w 5047599"/>
              <a:gd name="connsiteY6184" fmla="*/ 487653 h 4588585"/>
              <a:gd name="connsiteX6185" fmla="*/ 2980836 w 5047599"/>
              <a:gd name="connsiteY6185" fmla="*/ 479357 h 4588585"/>
              <a:gd name="connsiteX6186" fmla="*/ 1286894 w 5047599"/>
              <a:gd name="connsiteY6186" fmla="*/ 452612 h 4588585"/>
              <a:gd name="connsiteX6187" fmla="*/ 1286767 w 5047599"/>
              <a:gd name="connsiteY6187" fmla="*/ 457108 h 4588585"/>
              <a:gd name="connsiteX6188" fmla="*/ 1284403 w 5047599"/>
              <a:gd name="connsiteY6188" fmla="*/ 459657 h 4588585"/>
              <a:gd name="connsiteX6189" fmla="*/ 1282312 w 5047599"/>
              <a:gd name="connsiteY6189" fmla="*/ 460991 h 4588585"/>
              <a:gd name="connsiteX6190" fmla="*/ 1272937 w 5047599"/>
              <a:gd name="connsiteY6190" fmla="*/ 462182 h 4588585"/>
              <a:gd name="connsiteX6191" fmla="*/ 1265527 w 5047599"/>
              <a:gd name="connsiteY6191" fmla="*/ 463136 h 4588585"/>
              <a:gd name="connsiteX6192" fmla="*/ 1255835 w 5047599"/>
              <a:gd name="connsiteY6192" fmla="*/ 470309 h 4588585"/>
              <a:gd name="connsiteX6193" fmla="*/ 1245509 w 5047599"/>
              <a:gd name="connsiteY6193" fmla="*/ 477951 h 4588585"/>
              <a:gd name="connsiteX6194" fmla="*/ 1233305 w 5047599"/>
              <a:gd name="connsiteY6194" fmla="*/ 483002 h 4588585"/>
              <a:gd name="connsiteX6195" fmla="*/ 1227921 w 5047599"/>
              <a:gd name="connsiteY6195" fmla="*/ 484422 h 4588585"/>
              <a:gd name="connsiteX6196" fmla="*/ 1218525 w 5047599"/>
              <a:gd name="connsiteY6196" fmla="*/ 488052 h 4588585"/>
              <a:gd name="connsiteX6197" fmla="*/ 1207271 w 5047599"/>
              <a:gd name="connsiteY6197" fmla="*/ 494017 h 4588585"/>
              <a:gd name="connsiteX6198" fmla="*/ 1201718 w 5047599"/>
              <a:gd name="connsiteY6198" fmla="*/ 503568 h 4588585"/>
              <a:gd name="connsiteX6199" fmla="*/ 1194729 w 5047599"/>
              <a:gd name="connsiteY6199" fmla="*/ 514563 h 4588585"/>
              <a:gd name="connsiteX6200" fmla="*/ 1187993 w 5047599"/>
              <a:gd name="connsiteY6200" fmla="*/ 521926 h 4588585"/>
              <a:gd name="connsiteX6201" fmla="*/ 1178808 w 5047599"/>
              <a:gd name="connsiteY6201" fmla="*/ 528909 h 4588585"/>
              <a:gd name="connsiteX6202" fmla="*/ 1170236 w 5047599"/>
              <a:gd name="connsiteY6202" fmla="*/ 531561 h 4588585"/>
              <a:gd name="connsiteX6203" fmla="*/ 1159468 w 5047599"/>
              <a:gd name="connsiteY6203" fmla="*/ 534916 h 4588585"/>
              <a:gd name="connsiteX6204" fmla="*/ 1145891 w 5047599"/>
              <a:gd name="connsiteY6204" fmla="*/ 537483 h 4588585"/>
              <a:gd name="connsiteX6205" fmla="*/ 1136284 w 5047599"/>
              <a:gd name="connsiteY6205" fmla="*/ 538335 h 4588585"/>
              <a:gd name="connsiteX6206" fmla="*/ 1133412 w 5047599"/>
              <a:gd name="connsiteY6206" fmla="*/ 538888 h 4588585"/>
              <a:gd name="connsiteX6207" fmla="*/ 1124945 w 5047599"/>
              <a:gd name="connsiteY6207" fmla="*/ 539057 h 4588585"/>
              <a:gd name="connsiteX6208" fmla="*/ 1120807 w 5047599"/>
              <a:gd name="connsiteY6208" fmla="*/ 538525 h 4588585"/>
              <a:gd name="connsiteX6209" fmla="*/ 1117702 w 5047599"/>
              <a:gd name="connsiteY6209" fmla="*/ 538227 h 4588585"/>
              <a:gd name="connsiteX6210" fmla="*/ 1116457 w 5047599"/>
              <a:gd name="connsiteY6210" fmla="*/ 539012 h 4588585"/>
              <a:gd name="connsiteX6211" fmla="*/ 1116456 w 5047599"/>
              <a:gd name="connsiteY6211" fmla="*/ 539015 h 4588585"/>
              <a:gd name="connsiteX6212" fmla="*/ 1117702 w 5047599"/>
              <a:gd name="connsiteY6212" fmla="*/ 538229 h 4588585"/>
              <a:gd name="connsiteX6213" fmla="*/ 1120807 w 5047599"/>
              <a:gd name="connsiteY6213" fmla="*/ 538528 h 4588585"/>
              <a:gd name="connsiteX6214" fmla="*/ 1124945 w 5047599"/>
              <a:gd name="connsiteY6214" fmla="*/ 539059 h 4588585"/>
              <a:gd name="connsiteX6215" fmla="*/ 1133412 w 5047599"/>
              <a:gd name="connsiteY6215" fmla="*/ 538892 h 4588585"/>
              <a:gd name="connsiteX6216" fmla="*/ 1136284 w 5047599"/>
              <a:gd name="connsiteY6216" fmla="*/ 538336 h 4588585"/>
              <a:gd name="connsiteX6217" fmla="*/ 1145890 w 5047599"/>
              <a:gd name="connsiteY6217" fmla="*/ 537487 h 4588585"/>
              <a:gd name="connsiteX6218" fmla="*/ 1159467 w 5047599"/>
              <a:gd name="connsiteY6218" fmla="*/ 534917 h 4588585"/>
              <a:gd name="connsiteX6219" fmla="*/ 1170236 w 5047599"/>
              <a:gd name="connsiteY6219" fmla="*/ 531564 h 4588585"/>
              <a:gd name="connsiteX6220" fmla="*/ 1178808 w 5047599"/>
              <a:gd name="connsiteY6220" fmla="*/ 528912 h 4588585"/>
              <a:gd name="connsiteX6221" fmla="*/ 1187993 w 5047599"/>
              <a:gd name="connsiteY6221" fmla="*/ 521929 h 4588585"/>
              <a:gd name="connsiteX6222" fmla="*/ 1194729 w 5047599"/>
              <a:gd name="connsiteY6222" fmla="*/ 514563 h 4588585"/>
              <a:gd name="connsiteX6223" fmla="*/ 1201718 w 5047599"/>
              <a:gd name="connsiteY6223" fmla="*/ 503569 h 4588585"/>
              <a:gd name="connsiteX6224" fmla="*/ 1207271 w 5047599"/>
              <a:gd name="connsiteY6224" fmla="*/ 494018 h 4588585"/>
              <a:gd name="connsiteX6225" fmla="*/ 1218525 w 5047599"/>
              <a:gd name="connsiteY6225" fmla="*/ 488055 h 4588585"/>
              <a:gd name="connsiteX6226" fmla="*/ 1227921 w 5047599"/>
              <a:gd name="connsiteY6226" fmla="*/ 484425 h 4588585"/>
              <a:gd name="connsiteX6227" fmla="*/ 1233305 w 5047599"/>
              <a:gd name="connsiteY6227" fmla="*/ 483005 h 4588585"/>
              <a:gd name="connsiteX6228" fmla="*/ 1245509 w 5047599"/>
              <a:gd name="connsiteY6228" fmla="*/ 477952 h 4588585"/>
              <a:gd name="connsiteX6229" fmla="*/ 1255834 w 5047599"/>
              <a:gd name="connsiteY6229" fmla="*/ 470313 h 4588585"/>
              <a:gd name="connsiteX6230" fmla="*/ 1265526 w 5047599"/>
              <a:gd name="connsiteY6230" fmla="*/ 463138 h 4588585"/>
              <a:gd name="connsiteX6231" fmla="*/ 1272937 w 5047599"/>
              <a:gd name="connsiteY6231" fmla="*/ 462183 h 4588585"/>
              <a:gd name="connsiteX6232" fmla="*/ 1282312 w 5047599"/>
              <a:gd name="connsiteY6232" fmla="*/ 460995 h 4588585"/>
              <a:gd name="connsiteX6233" fmla="*/ 1284403 w 5047599"/>
              <a:gd name="connsiteY6233" fmla="*/ 459659 h 4588585"/>
              <a:gd name="connsiteX6234" fmla="*/ 1286767 w 5047599"/>
              <a:gd name="connsiteY6234" fmla="*/ 457111 h 4588585"/>
              <a:gd name="connsiteX6235" fmla="*/ 3599453 w 5047599"/>
              <a:gd name="connsiteY6235" fmla="*/ 441215 h 4588585"/>
              <a:gd name="connsiteX6236" fmla="*/ 3599453 w 5047599"/>
              <a:gd name="connsiteY6236" fmla="*/ 441216 h 4588585"/>
              <a:gd name="connsiteX6237" fmla="*/ 3599980 w 5047599"/>
              <a:gd name="connsiteY6237" fmla="*/ 442319 h 4588585"/>
              <a:gd name="connsiteX6238" fmla="*/ 3601753 w 5047599"/>
              <a:gd name="connsiteY6238" fmla="*/ 448006 h 4588585"/>
              <a:gd name="connsiteX6239" fmla="*/ 3600672 w 5047599"/>
              <a:gd name="connsiteY6239" fmla="*/ 451351 h 4588585"/>
              <a:gd name="connsiteX6240" fmla="*/ 3601754 w 5047599"/>
              <a:gd name="connsiteY6240" fmla="*/ 448005 h 4588585"/>
              <a:gd name="connsiteX6241" fmla="*/ 3599981 w 5047599"/>
              <a:gd name="connsiteY6241" fmla="*/ 442316 h 4588585"/>
              <a:gd name="connsiteX6242" fmla="*/ 3600762 w 5047599"/>
              <a:gd name="connsiteY6242" fmla="*/ 434635 h 4588585"/>
              <a:gd name="connsiteX6243" fmla="*/ 3600762 w 5047599"/>
              <a:gd name="connsiteY6243" fmla="*/ 434638 h 4588585"/>
              <a:gd name="connsiteX6244" fmla="*/ 3600803 w 5047599"/>
              <a:gd name="connsiteY6244" fmla="*/ 434679 h 4588585"/>
              <a:gd name="connsiteX6245" fmla="*/ 3600804 w 5047599"/>
              <a:gd name="connsiteY6245" fmla="*/ 434676 h 4588585"/>
              <a:gd name="connsiteX6246" fmla="*/ 1277139 w 5047599"/>
              <a:gd name="connsiteY6246" fmla="*/ 432084 h 4588585"/>
              <a:gd name="connsiteX6247" fmla="*/ 1275598 w 5047599"/>
              <a:gd name="connsiteY6247" fmla="*/ 435777 h 4588585"/>
              <a:gd name="connsiteX6248" fmla="*/ 1275239 w 5047599"/>
              <a:gd name="connsiteY6248" fmla="*/ 439469 h 4588585"/>
              <a:gd name="connsiteX6249" fmla="*/ 1274792 w 5047599"/>
              <a:gd name="connsiteY6249" fmla="*/ 441952 h 4588585"/>
              <a:gd name="connsiteX6250" fmla="*/ 1275239 w 5047599"/>
              <a:gd name="connsiteY6250" fmla="*/ 439473 h 4588585"/>
              <a:gd name="connsiteX6251" fmla="*/ 1275598 w 5047599"/>
              <a:gd name="connsiteY6251" fmla="*/ 435779 h 4588585"/>
              <a:gd name="connsiteX6252" fmla="*/ 1277139 w 5047599"/>
              <a:gd name="connsiteY6252" fmla="*/ 432087 h 4588585"/>
              <a:gd name="connsiteX6253" fmla="*/ 3537206 w 5047599"/>
              <a:gd name="connsiteY6253" fmla="*/ 432047 h 4588585"/>
              <a:gd name="connsiteX6254" fmla="*/ 3537101 w 5047599"/>
              <a:gd name="connsiteY6254" fmla="*/ 436885 h 4588585"/>
              <a:gd name="connsiteX6255" fmla="*/ 3537101 w 5047599"/>
              <a:gd name="connsiteY6255" fmla="*/ 436883 h 4588585"/>
              <a:gd name="connsiteX6256" fmla="*/ 3530999 w 5047599"/>
              <a:gd name="connsiteY6256" fmla="*/ 442743 h 4588585"/>
              <a:gd name="connsiteX6257" fmla="*/ 3537101 w 5047599"/>
              <a:gd name="connsiteY6257" fmla="*/ 436886 h 4588585"/>
              <a:gd name="connsiteX6258" fmla="*/ 3547510 w 5047599"/>
              <a:gd name="connsiteY6258" fmla="*/ 419609 h 4588585"/>
              <a:gd name="connsiteX6259" fmla="*/ 3547593 w 5047599"/>
              <a:gd name="connsiteY6259" fmla="*/ 420713 h 4588585"/>
              <a:gd name="connsiteX6260" fmla="*/ 3547595 w 5047599"/>
              <a:gd name="connsiteY6260" fmla="*/ 420711 h 4588585"/>
              <a:gd name="connsiteX6261" fmla="*/ 3547511 w 5047599"/>
              <a:gd name="connsiteY6261" fmla="*/ 419609 h 4588585"/>
              <a:gd name="connsiteX6262" fmla="*/ 3718258 w 5047599"/>
              <a:gd name="connsiteY6262" fmla="*/ 415281 h 4588585"/>
              <a:gd name="connsiteX6263" fmla="*/ 3707011 w 5047599"/>
              <a:gd name="connsiteY6263" fmla="*/ 418590 h 4588585"/>
              <a:gd name="connsiteX6264" fmla="*/ 3691766 w 5047599"/>
              <a:gd name="connsiteY6264" fmla="*/ 423089 h 4588585"/>
              <a:gd name="connsiteX6265" fmla="*/ 3691778 w 5047599"/>
              <a:gd name="connsiteY6265" fmla="*/ 423103 h 4588585"/>
              <a:gd name="connsiteX6266" fmla="*/ 3706904 w 5047599"/>
              <a:gd name="connsiteY6266" fmla="*/ 418632 h 4588585"/>
              <a:gd name="connsiteX6267" fmla="*/ 2112374 w 5047599"/>
              <a:gd name="connsiteY6267" fmla="*/ 408245 h 4588585"/>
              <a:gd name="connsiteX6268" fmla="*/ 2112328 w 5047599"/>
              <a:gd name="connsiteY6268" fmla="*/ 408254 h 4588585"/>
              <a:gd name="connsiteX6269" fmla="*/ 2110470 w 5047599"/>
              <a:gd name="connsiteY6269" fmla="*/ 409632 h 4588585"/>
              <a:gd name="connsiteX6270" fmla="*/ 2105803 w 5047599"/>
              <a:gd name="connsiteY6270" fmla="*/ 416594 h 4588585"/>
              <a:gd name="connsiteX6271" fmla="*/ 2103650 w 5047599"/>
              <a:gd name="connsiteY6271" fmla="*/ 419310 h 4588585"/>
              <a:gd name="connsiteX6272" fmla="*/ 2100989 w 5047599"/>
              <a:gd name="connsiteY6272" fmla="*/ 425020 h 4588585"/>
              <a:gd name="connsiteX6273" fmla="*/ 2104409 w 5047599"/>
              <a:gd name="connsiteY6273" fmla="*/ 439793 h 4588585"/>
              <a:gd name="connsiteX6274" fmla="*/ 2108591 w 5047599"/>
              <a:gd name="connsiteY6274" fmla="*/ 454947 h 4588585"/>
              <a:gd name="connsiteX6275" fmla="*/ 2109414 w 5047599"/>
              <a:gd name="connsiteY6275" fmla="*/ 461249 h 4588585"/>
              <a:gd name="connsiteX6276" fmla="*/ 2109350 w 5047599"/>
              <a:gd name="connsiteY6276" fmla="*/ 466492 h 4588585"/>
              <a:gd name="connsiteX6277" fmla="*/ 2107007 w 5047599"/>
              <a:gd name="connsiteY6277" fmla="*/ 472138 h 4588585"/>
              <a:gd name="connsiteX6278" fmla="*/ 2101644 w 5047599"/>
              <a:gd name="connsiteY6278" fmla="*/ 480202 h 4588585"/>
              <a:gd name="connsiteX6279" fmla="*/ 2097716 w 5047599"/>
              <a:gd name="connsiteY6279" fmla="*/ 486124 h 4588585"/>
              <a:gd name="connsiteX6280" fmla="*/ 2090179 w 5047599"/>
              <a:gd name="connsiteY6280" fmla="*/ 496758 h 4588585"/>
              <a:gd name="connsiteX6281" fmla="*/ 2087962 w 5047599"/>
              <a:gd name="connsiteY6281" fmla="*/ 499389 h 4588585"/>
              <a:gd name="connsiteX6282" fmla="*/ 2082767 w 5047599"/>
              <a:gd name="connsiteY6282" fmla="*/ 502488 h 4588585"/>
              <a:gd name="connsiteX6283" fmla="*/ 2072738 w 5047599"/>
              <a:gd name="connsiteY6283" fmla="*/ 506585 h 4588585"/>
              <a:gd name="connsiteX6284" fmla="*/ 2065736 w 5047599"/>
              <a:gd name="connsiteY6284" fmla="*/ 510177 h 4588585"/>
              <a:gd name="connsiteX6285" fmla="*/ 2065748 w 5047599"/>
              <a:gd name="connsiteY6285" fmla="*/ 510233 h 4588585"/>
              <a:gd name="connsiteX6286" fmla="*/ 2065749 w 5047599"/>
              <a:gd name="connsiteY6286" fmla="*/ 510232 h 4588585"/>
              <a:gd name="connsiteX6287" fmla="*/ 2072823 w 5047599"/>
              <a:gd name="connsiteY6287" fmla="*/ 506603 h 4588585"/>
              <a:gd name="connsiteX6288" fmla="*/ 2082853 w 5047599"/>
              <a:gd name="connsiteY6288" fmla="*/ 502486 h 4588585"/>
              <a:gd name="connsiteX6289" fmla="*/ 2088047 w 5047599"/>
              <a:gd name="connsiteY6289" fmla="*/ 499386 h 4588585"/>
              <a:gd name="connsiteX6290" fmla="*/ 2090264 w 5047599"/>
              <a:gd name="connsiteY6290" fmla="*/ 496776 h 4588585"/>
              <a:gd name="connsiteX6291" fmla="*/ 2097801 w 5047599"/>
              <a:gd name="connsiteY6291" fmla="*/ 486122 h 4588585"/>
              <a:gd name="connsiteX6292" fmla="*/ 2101729 w 5047599"/>
              <a:gd name="connsiteY6292" fmla="*/ 480222 h 4588585"/>
              <a:gd name="connsiteX6293" fmla="*/ 2107092 w 5047599"/>
              <a:gd name="connsiteY6293" fmla="*/ 472133 h 4588585"/>
              <a:gd name="connsiteX6294" fmla="*/ 2109436 w 5047599"/>
              <a:gd name="connsiteY6294" fmla="*/ 466490 h 4588585"/>
              <a:gd name="connsiteX6295" fmla="*/ 2109499 w 5047599"/>
              <a:gd name="connsiteY6295" fmla="*/ 461268 h 4588585"/>
              <a:gd name="connsiteX6296" fmla="*/ 2108675 w 5047599"/>
              <a:gd name="connsiteY6296" fmla="*/ 454942 h 4588585"/>
              <a:gd name="connsiteX6297" fmla="*/ 2104495 w 5047599"/>
              <a:gd name="connsiteY6297" fmla="*/ 439788 h 4588585"/>
              <a:gd name="connsiteX6298" fmla="*/ 2101075 w 5047599"/>
              <a:gd name="connsiteY6298" fmla="*/ 425017 h 4588585"/>
              <a:gd name="connsiteX6299" fmla="*/ 2103735 w 5047599"/>
              <a:gd name="connsiteY6299" fmla="*/ 419307 h 4588585"/>
              <a:gd name="connsiteX6300" fmla="*/ 2105868 w 5047599"/>
              <a:gd name="connsiteY6300" fmla="*/ 416589 h 4588585"/>
              <a:gd name="connsiteX6301" fmla="*/ 2110534 w 5047599"/>
              <a:gd name="connsiteY6301" fmla="*/ 409628 h 4588585"/>
              <a:gd name="connsiteX6302" fmla="*/ 3587769 w 5047599"/>
              <a:gd name="connsiteY6302" fmla="*/ 405095 h 4588585"/>
              <a:gd name="connsiteX6303" fmla="*/ 3584799 w 5047599"/>
              <a:gd name="connsiteY6303" fmla="*/ 406173 h 4588585"/>
              <a:gd name="connsiteX6304" fmla="*/ 3577768 w 5047599"/>
              <a:gd name="connsiteY6304" fmla="*/ 410440 h 4588585"/>
              <a:gd name="connsiteX6305" fmla="*/ 3572806 w 5047599"/>
              <a:gd name="connsiteY6305" fmla="*/ 415384 h 4588585"/>
              <a:gd name="connsiteX6306" fmla="*/ 3571518 w 5047599"/>
              <a:gd name="connsiteY6306" fmla="*/ 419948 h 4588585"/>
              <a:gd name="connsiteX6307" fmla="*/ 3568161 w 5047599"/>
              <a:gd name="connsiteY6307" fmla="*/ 429669 h 4588585"/>
              <a:gd name="connsiteX6308" fmla="*/ 3568163 w 5047599"/>
              <a:gd name="connsiteY6308" fmla="*/ 429678 h 4588585"/>
              <a:gd name="connsiteX6309" fmla="*/ 3571518 w 5047599"/>
              <a:gd name="connsiteY6309" fmla="*/ 419966 h 4588585"/>
              <a:gd name="connsiteX6310" fmla="*/ 3572805 w 5047599"/>
              <a:gd name="connsiteY6310" fmla="*/ 415404 h 4588585"/>
              <a:gd name="connsiteX6311" fmla="*/ 3577768 w 5047599"/>
              <a:gd name="connsiteY6311" fmla="*/ 410479 h 4588585"/>
              <a:gd name="connsiteX6312" fmla="*/ 3584799 w 5047599"/>
              <a:gd name="connsiteY6312" fmla="*/ 406212 h 4588585"/>
              <a:gd name="connsiteX6313" fmla="*/ 3587776 w 5047599"/>
              <a:gd name="connsiteY6313" fmla="*/ 405131 h 4588585"/>
              <a:gd name="connsiteX6314" fmla="*/ 3573648 w 5047599"/>
              <a:gd name="connsiteY6314" fmla="*/ 397918 h 4588585"/>
              <a:gd name="connsiteX6315" fmla="*/ 3572974 w 5047599"/>
              <a:gd name="connsiteY6315" fmla="*/ 398723 h 4588585"/>
              <a:gd name="connsiteX6316" fmla="*/ 3572976 w 5047599"/>
              <a:gd name="connsiteY6316" fmla="*/ 398730 h 4588585"/>
              <a:gd name="connsiteX6317" fmla="*/ 1324927 w 5047599"/>
              <a:gd name="connsiteY6317" fmla="*/ 395170 h 4588585"/>
              <a:gd name="connsiteX6318" fmla="*/ 1324605 w 5047599"/>
              <a:gd name="connsiteY6318" fmla="*/ 396428 h 4588585"/>
              <a:gd name="connsiteX6319" fmla="*/ 1322873 w 5047599"/>
              <a:gd name="connsiteY6319" fmla="*/ 399209 h 4588585"/>
              <a:gd name="connsiteX6320" fmla="*/ 1297853 w 5047599"/>
              <a:gd name="connsiteY6320" fmla="*/ 408249 h 4588585"/>
              <a:gd name="connsiteX6321" fmla="*/ 1288077 w 5047599"/>
              <a:gd name="connsiteY6321" fmla="*/ 409502 h 4588585"/>
              <a:gd name="connsiteX6322" fmla="*/ 1282418 w 5047599"/>
              <a:gd name="connsiteY6322" fmla="*/ 408566 h 4588585"/>
              <a:gd name="connsiteX6323" fmla="*/ 1278385 w 5047599"/>
              <a:gd name="connsiteY6323" fmla="*/ 409309 h 4588585"/>
              <a:gd name="connsiteX6324" fmla="*/ 1274922 w 5047599"/>
              <a:gd name="connsiteY6324" fmla="*/ 411241 h 4588585"/>
              <a:gd name="connsiteX6325" fmla="*/ 1273802 w 5047599"/>
              <a:gd name="connsiteY6325" fmla="*/ 413995 h 4588585"/>
              <a:gd name="connsiteX6326" fmla="*/ 1274922 w 5047599"/>
              <a:gd name="connsiteY6326" fmla="*/ 411244 h 4588585"/>
              <a:gd name="connsiteX6327" fmla="*/ 1278384 w 5047599"/>
              <a:gd name="connsiteY6327" fmla="*/ 409313 h 4588585"/>
              <a:gd name="connsiteX6328" fmla="*/ 1282418 w 5047599"/>
              <a:gd name="connsiteY6328" fmla="*/ 408570 h 4588585"/>
              <a:gd name="connsiteX6329" fmla="*/ 1288076 w 5047599"/>
              <a:gd name="connsiteY6329" fmla="*/ 409503 h 4588585"/>
              <a:gd name="connsiteX6330" fmla="*/ 1297853 w 5047599"/>
              <a:gd name="connsiteY6330" fmla="*/ 408250 h 4588585"/>
              <a:gd name="connsiteX6331" fmla="*/ 1322873 w 5047599"/>
              <a:gd name="connsiteY6331" fmla="*/ 399209 h 4588585"/>
              <a:gd name="connsiteX6332" fmla="*/ 1324605 w 5047599"/>
              <a:gd name="connsiteY6332" fmla="*/ 396429 h 4588585"/>
              <a:gd name="connsiteX6333" fmla="*/ 3810484 w 5047599"/>
              <a:gd name="connsiteY6333" fmla="*/ 388014 h 4588585"/>
              <a:gd name="connsiteX6334" fmla="*/ 3799092 w 5047599"/>
              <a:gd name="connsiteY6334" fmla="*/ 391380 h 4588585"/>
              <a:gd name="connsiteX6335" fmla="*/ 3775739 w 5047599"/>
              <a:gd name="connsiteY6335" fmla="*/ 398299 h 4588585"/>
              <a:gd name="connsiteX6336" fmla="*/ 3760093 w 5047599"/>
              <a:gd name="connsiteY6336" fmla="*/ 402925 h 4588585"/>
              <a:gd name="connsiteX6337" fmla="*/ 3740076 w 5047599"/>
              <a:gd name="connsiteY6337" fmla="*/ 408827 h 4588585"/>
              <a:gd name="connsiteX6338" fmla="*/ 3727028 w 5047599"/>
              <a:gd name="connsiteY6338" fmla="*/ 412693 h 4588585"/>
              <a:gd name="connsiteX6339" fmla="*/ 3739991 w 5047599"/>
              <a:gd name="connsiteY6339" fmla="*/ 408868 h 4588585"/>
              <a:gd name="connsiteX6340" fmla="*/ 3759987 w 5047599"/>
              <a:gd name="connsiteY6340" fmla="*/ 402969 h 4588585"/>
              <a:gd name="connsiteX6341" fmla="*/ 3775633 w 5047599"/>
              <a:gd name="connsiteY6341" fmla="*/ 398341 h 4588585"/>
              <a:gd name="connsiteX6342" fmla="*/ 3798985 w 5047599"/>
              <a:gd name="connsiteY6342" fmla="*/ 391421 h 4588585"/>
              <a:gd name="connsiteX6343" fmla="*/ 3810408 w 5047599"/>
              <a:gd name="connsiteY6343" fmla="*/ 388047 h 4588585"/>
              <a:gd name="connsiteX6344" fmla="*/ 1429037 w 5047599"/>
              <a:gd name="connsiteY6344" fmla="*/ 380154 h 4588585"/>
              <a:gd name="connsiteX6345" fmla="*/ 1426103 w 5047599"/>
              <a:gd name="connsiteY6345" fmla="*/ 381425 h 4588585"/>
              <a:gd name="connsiteX6346" fmla="*/ 1414152 w 5047599"/>
              <a:gd name="connsiteY6346" fmla="*/ 381001 h 4588585"/>
              <a:gd name="connsiteX6347" fmla="*/ 1404778 w 5047599"/>
              <a:gd name="connsiteY6347" fmla="*/ 380683 h 4588585"/>
              <a:gd name="connsiteX6348" fmla="*/ 1394008 w 5047599"/>
              <a:gd name="connsiteY6348" fmla="*/ 380323 h 4588585"/>
              <a:gd name="connsiteX6349" fmla="*/ 1404777 w 5047599"/>
              <a:gd name="connsiteY6349" fmla="*/ 380683 h 4588585"/>
              <a:gd name="connsiteX6350" fmla="*/ 1414152 w 5047599"/>
              <a:gd name="connsiteY6350" fmla="*/ 381002 h 4588585"/>
              <a:gd name="connsiteX6351" fmla="*/ 1426103 w 5047599"/>
              <a:gd name="connsiteY6351" fmla="*/ 381427 h 4588585"/>
              <a:gd name="connsiteX6352" fmla="*/ 3821371 w 5047599"/>
              <a:gd name="connsiteY6352" fmla="*/ 378938 h 4588585"/>
              <a:gd name="connsiteX6353" fmla="*/ 3821367 w 5047599"/>
              <a:gd name="connsiteY6353" fmla="*/ 378943 h 4588585"/>
              <a:gd name="connsiteX6354" fmla="*/ 3821333 w 5047599"/>
              <a:gd name="connsiteY6354" fmla="*/ 378974 h 4588585"/>
              <a:gd name="connsiteX6355" fmla="*/ 3834479 w 5047599"/>
              <a:gd name="connsiteY6355" fmla="*/ 381255 h 4588585"/>
              <a:gd name="connsiteX6356" fmla="*/ 3854348 w 5047599"/>
              <a:gd name="connsiteY6356" fmla="*/ 384714 h 4588585"/>
              <a:gd name="connsiteX6357" fmla="*/ 3873541 w 5047599"/>
              <a:gd name="connsiteY6357" fmla="*/ 388024 h 4588585"/>
              <a:gd name="connsiteX6358" fmla="*/ 3893769 w 5047599"/>
              <a:gd name="connsiteY6358" fmla="*/ 391951 h 4588585"/>
              <a:gd name="connsiteX6359" fmla="*/ 3900251 w 5047599"/>
              <a:gd name="connsiteY6359" fmla="*/ 395135 h 4588585"/>
              <a:gd name="connsiteX6360" fmla="*/ 3919782 w 5047599"/>
              <a:gd name="connsiteY6360" fmla="*/ 406850 h 4588585"/>
              <a:gd name="connsiteX6361" fmla="*/ 3932472 w 5047599"/>
              <a:gd name="connsiteY6361" fmla="*/ 414449 h 4588585"/>
              <a:gd name="connsiteX6362" fmla="*/ 3947294 w 5047599"/>
              <a:gd name="connsiteY6362" fmla="*/ 423298 h 4588585"/>
              <a:gd name="connsiteX6363" fmla="*/ 3965812 w 5047599"/>
              <a:gd name="connsiteY6363" fmla="*/ 434358 h 4588585"/>
              <a:gd name="connsiteX6364" fmla="*/ 3978523 w 5047599"/>
              <a:gd name="connsiteY6364" fmla="*/ 441934 h 4588585"/>
              <a:gd name="connsiteX6365" fmla="*/ 3994802 w 5047599"/>
              <a:gd name="connsiteY6365" fmla="*/ 451634 h 4588585"/>
              <a:gd name="connsiteX6366" fmla="*/ 4007493 w 5047599"/>
              <a:gd name="connsiteY6366" fmla="*/ 462691 h 4588585"/>
              <a:gd name="connsiteX6367" fmla="*/ 4023560 w 5047599"/>
              <a:gd name="connsiteY6367" fmla="*/ 476678 h 4588585"/>
              <a:gd name="connsiteX6368" fmla="*/ 4041213 w 5047599"/>
              <a:gd name="connsiteY6368" fmla="*/ 492003 h 4588585"/>
              <a:gd name="connsiteX6369" fmla="*/ 4055739 w 5047599"/>
              <a:gd name="connsiteY6369" fmla="*/ 503888 h 4588585"/>
              <a:gd name="connsiteX6370" fmla="*/ 4075756 w 5047599"/>
              <a:gd name="connsiteY6370" fmla="*/ 520231 h 4588585"/>
              <a:gd name="connsiteX6371" fmla="*/ 4095477 w 5047599"/>
              <a:gd name="connsiteY6371" fmla="*/ 536297 h 4588585"/>
              <a:gd name="connsiteX6372" fmla="*/ 4114797 w 5047599"/>
              <a:gd name="connsiteY6372" fmla="*/ 551981 h 4588585"/>
              <a:gd name="connsiteX6373" fmla="*/ 4130253 w 5047599"/>
              <a:gd name="connsiteY6373" fmla="*/ 564525 h 4588585"/>
              <a:gd name="connsiteX6374" fmla="*/ 4149826 w 5047599"/>
              <a:gd name="connsiteY6374" fmla="*/ 580359 h 4588585"/>
              <a:gd name="connsiteX6375" fmla="*/ 4151347 w 5047599"/>
              <a:gd name="connsiteY6375" fmla="*/ 580955 h 4588585"/>
              <a:gd name="connsiteX6376" fmla="*/ 4171131 w 5047599"/>
              <a:gd name="connsiteY6376" fmla="*/ 582737 h 4588585"/>
              <a:gd name="connsiteX6377" fmla="*/ 4197714 w 5047599"/>
              <a:gd name="connsiteY6377" fmla="*/ 585158 h 4588585"/>
              <a:gd name="connsiteX6378" fmla="*/ 4224424 w 5047599"/>
              <a:gd name="connsiteY6378" fmla="*/ 587576 h 4588585"/>
              <a:gd name="connsiteX6379" fmla="*/ 4248537 w 5047599"/>
              <a:gd name="connsiteY6379" fmla="*/ 589762 h 4588585"/>
              <a:gd name="connsiteX6380" fmla="*/ 4248647 w 5047599"/>
              <a:gd name="connsiteY6380" fmla="*/ 589739 h 4588585"/>
              <a:gd name="connsiteX6381" fmla="*/ 4224573 w 5047599"/>
              <a:gd name="connsiteY6381" fmla="*/ 587555 h 4588585"/>
              <a:gd name="connsiteX6382" fmla="*/ 4197863 w 5047599"/>
              <a:gd name="connsiteY6382" fmla="*/ 585113 h 4588585"/>
              <a:gd name="connsiteX6383" fmla="*/ 4171279 w 5047599"/>
              <a:gd name="connsiteY6383" fmla="*/ 582715 h 4588585"/>
              <a:gd name="connsiteX6384" fmla="*/ 4151495 w 5047599"/>
              <a:gd name="connsiteY6384" fmla="*/ 580909 h 4588585"/>
              <a:gd name="connsiteX6385" fmla="*/ 4149975 w 5047599"/>
              <a:gd name="connsiteY6385" fmla="*/ 580314 h 4588585"/>
              <a:gd name="connsiteX6386" fmla="*/ 4130401 w 5047599"/>
              <a:gd name="connsiteY6386" fmla="*/ 564481 h 4588585"/>
              <a:gd name="connsiteX6387" fmla="*/ 4114945 w 5047599"/>
              <a:gd name="connsiteY6387" fmla="*/ 551938 h 4588585"/>
              <a:gd name="connsiteX6388" fmla="*/ 4095625 w 5047599"/>
              <a:gd name="connsiteY6388" fmla="*/ 536253 h 4588585"/>
              <a:gd name="connsiteX6389" fmla="*/ 4075904 w 5047599"/>
              <a:gd name="connsiteY6389" fmla="*/ 520186 h 4588585"/>
              <a:gd name="connsiteX6390" fmla="*/ 4055888 w 5047599"/>
              <a:gd name="connsiteY6390" fmla="*/ 503865 h 4588585"/>
              <a:gd name="connsiteX6391" fmla="*/ 4041339 w 5047599"/>
              <a:gd name="connsiteY6391" fmla="*/ 491980 h 4588585"/>
              <a:gd name="connsiteX6392" fmla="*/ 4023688 w 5047599"/>
              <a:gd name="connsiteY6392" fmla="*/ 476654 h 4588585"/>
              <a:gd name="connsiteX6393" fmla="*/ 4007619 w 5047599"/>
              <a:gd name="connsiteY6393" fmla="*/ 462668 h 4588585"/>
              <a:gd name="connsiteX6394" fmla="*/ 3994930 w 5047599"/>
              <a:gd name="connsiteY6394" fmla="*/ 451590 h 4588585"/>
              <a:gd name="connsiteX6395" fmla="*/ 3978650 w 5047599"/>
              <a:gd name="connsiteY6395" fmla="*/ 441911 h 4588585"/>
              <a:gd name="connsiteX6396" fmla="*/ 3965940 w 5047599"/>
              <a:gd name="connsiteY6396" fmla="*/ 434314 h 4588585"/>
              <a:gd name="connsiteX6397" fmla="*/ 3947401 w 5047599"/>
              <a:gd name="connsiteY6397" fmla="*/ 423255 h 4588585"/>
              <a:gd name="connsiteX6398" fmla="*/ 3932600 w 5047599"/>
              <a:gd name="connsiteY6398" fmla="*/ 414404 h 4588585"/>
              <a:gd name="connsiteX6399" fmla="*/ 3919909 w 5047599"/>
              <a:gd name="connsiteY6399" fmla="*/ 406806 h 4588585"/>
              <a:gd name="connsiteX6400" fmla="*/ 3900378 w 5047599"/>
              <a:gd name="connsiteY6400" fmla="*/ 395091 h 4588585"/>
              <a:gd name="connsiteX6401" fmla="*/ 3893896 w 5047599"/>
              <a:gd name="connsiteY6401" fmla="*/ 391907 h 4588585"/>
              <a:gd name="connsiteX6402" fmla="*/ 3873647 w 5047599"/>
              <a:gd name="connsiteY6402" fmla="*/ 387979 h 4588585"/>
              <a:gd name="connsiteX6403" fmla="*/ 3854454 w 5047599"/>
              <a:gd name="connsiteY6403" fmla="*/ 384669 h 4588585"/>
              <a:gd name="connsiteX6404" fmla="*/ 3834585 w 5047599"/>
              <a:gd name="connsiteY6404" fmla="*/ 381231 h 4588585"/>
              <a:gd name="connsiteX6405" fmla="*/ 1356594 w 5047599"/>
              <a:gd name="connsiteY6405" fmla="*/ 378558 h 4588585"/>
              <a:gd name="connsiteX6406" fmla="*/ 1352160 w 5047599"/>
              <a:gd name="connsiteY6406" fmla="*/ 378857 h 4588585"/>
              <a:gd name="connsiteX6407" fmla="*/ 1340356 w 5047599"/>
              <a:gd name="connsiteY6407" fmla="*/ 380936 h 4588585"/>
              <a:gd name="connsiteX6408" fmla="*/ 1332016 w 5047599"/>
              <a:gd name="connsiteY6408" fmla="*/ 382420 h 4588585"/>
              <a:gd name="connsiteX6409" fmla="*/ 1330602 w 5047599"/>
              <a:gd name="connsiteY6409" fmla="*/ 382823 h 4588585"/>
              <a:gd name="connsiteX6410" fmla="*/ 1330601 w 5047599"/>
              <a:gd name="connsiteY6410" fmla="*/ 382824 h 4588585"/>
              <a:gd name="connsiteX6411" fmla="*/ 1332016 w 5047599"/>
              <a:gd name="connsiteY6411" fmla="*/ 382421 h 4588585"/>
              <a:gd name="connsiteX6412" fmla="*/ 1340356 w 5047599"/>
              <a:gd name="connsiteY6412" fmla="*/ 380937 h 4588585"/>
              <a:gd name="connsiteX6413" fmla="*/ 1352160 w 5047599"/>
              <a:gd name="connsiteY6413" fmla="*/ 378857 h 4588585"/>
              <a:gd name="connsiteX6414" fmla="*/ 1356594 w 5047599"/>
              <a:gd name="connsiteY6414" fmla="*/ 378559 h 4588585"/>
              <a:gd name="connsiteX6415" fmla="*/ 1369473 w 5047599"/>
              <a:gd name="connsiteY6415" fmla="*/ 379154 h 4588585"/>
              <a:gd name="connsiteX6416" fmla="*/ 1378848 w 5047599"/>
              <a:gd name="connsiteY6416" fmla="*/ 379599 h 4588585"/>
              <a:gd name="connsiteX6417" fmla="*/ 1369473 w 5047599"/>
              <a:gd name="connsiteY6417" fmla="*/ 379153 h 4588585"/>
              <a:gd name="connsiteX6418" fmla="*/ 2016150 w 5047599"/>
              <a:gd name="connsiteY6418" fmla="*/ 365861 h 4588585"/>
              <a:gd name="connsiteX6419" fmla="*/ 2016214 w 5047599"/>
              <a:gd name="connsiteY6419" fmla="*/ 365912 h 4588585"/>
              <a:gd name="connsiteX6420" fmla="*/ 2025758 w 5047599"/>
              <a:gd name="connsiteY6420" fmla="*/ 372810 h 4588585"/>
              <a:gd name="connsiteX6421" fmla="*/ 2036045 w 5047599"/>
              <a:gd name="connsiteY6421" fmla="*/ 380222 h 4588585"/>
              <a:gd name="connsiteX6422" fmla="*/ 2036041 w 5047599"/>
              <a:gd name="connsiteY6422" fmla="*/ 380216 h 4588585"/>
              <a:gd name="connsiteX6423" fmla="*/ 2025673 w 5047599"/>
              <a:gd name="connsiteY6423" fmla="*/ 372745 h 4588585"/>
              <a:gd name="connsiteX6424" fmla="*/ 1429146 w 5047599"/>
              <a:gd name="connsiteY6424" fmla="*/ 363104 h 4588585"/>
              <a:gd name="connsiteX6425" fmla="*/ 1428193 w 5047599"/>
              <a:gd name="connsiteY6425" fmla="*/ 364000 h 4588585"/>
              <a:gd name="connsiteX6426" fmla="*/ 1427943 w 5047599"/>
              <a:gd name="connsiteY6426" fmla="*/ 364896 h 4588585"/>
              <a:gd name="connsiteX6427" fmla="*/ 1428193 w 5047599"/>
              <a:gd name="connsiteY6427" fmla="*/ 364001 h 4588585"/>
              <a:gd name="connsiteX6428" fmla="*/ 2181274 w 5047599"/>
              <a:gd name="connsiteY6428" fmla="*/ 359866 h 4588585"/>
              <a:gd name="connsiteX6429" fmla="*/ 2174721 w 5047599"/>
              <a:gd name="connsiteY6429" fmla="*/ 363470 h 4588585"/>
              <a:gd name="connsiteX6430" fmla="*/ 2163467 w 5047599"/>
              <a:gd name="connsiteY6430" fmla="*/ 369666 h 4588585"/>
              <a:gd name="connsiteX6431" fmla="*/ 2153796 w 5047599"/>
              <a:gd name="connsiteY6431" fmla="*/ 375547 h 4588585"/>
              <a:gd name="connsiteX6432" fmla="*/ 2143197 w 5047599"/>
              <a:gd name="connsiteY6432" fmla="*/ 382000 h 4588585"/>
              <a:gd name="connsiteX6433" fmla="*/ 2139946 w 5047599"/>
              <a:gd name="connsiteY6433" fmla="*/ 386159 h 4588585"/>
              <a:gd name="connsiteX6434" fmla="*/ 2134688 w 5047599"/>
              <a:gd name="connsiteY6434" fmla="*/ 389364 h 4588585"/>
              <a:gd name="connsiteX6435" fmla="*/ 2130296 w 5047599"/>
              <a:gd name="connsiteY6435" fmla="*/ 392568 h 4588585"/>
              <a:gd name="connsiteX6436" fmla="*/ 2129494 w 5047599"/>
              <a:gd name="connsiteY6436" fmla="*/ 395646 h 4588585"/>
              <a:gd name="connsiteX6437" fmla="*/ 2126411 w 5047599"/>
              <a:gd name="connsiteY6437" fmla="*/ 401440 h 4588585"/>
              <a:gd name="connsiteX6438" fmla="*/ 2122399 w 5047599"/>
              <a:gd name="connsiteY6438" fmla="*/ 406069 h 4588585"/>
              <a:gd name="connsiteX6439" fmla="*/ 2117578 w 5047599"/>
              <a:gd name="connsiteY6439" fmla="*/ 407114 h 4588585"/>
              <a:gd name="connsiteX6440" fmla="*/ 2122463 w 5047599"/>
              <a:gd name="connsiteY6440" fmla="*/ 406064 h 4588585"/>
              <a:gd name="connsiteX6441" fmla="*/ 2126475 w 5047599"/>
              <a:gd name="connsiteY6441" fmla="*/ 401437 h 4588585"/>
              <a:gd name="connsiteX6442" fmla="*/ 2129558 w 5047599"/>
              <a:gd name="connsiteY6442" fmla="*/ 395623 h 4588585"/>
              <a:gd name="connsiteX6443" fmla="*/ 2130339 w 5047599"/>
              <a:gd name="connsiteY6443" fmla="*/ 392565 h 4588585"/>
              <a:gd name="connsiteX6444" fmla="*/ 2134731 w 5047599"/>
              <a:gd name="connsiteY6444" fmla="*/ 389361 h 4588585"/>
              <a:gd name="connsiteX6445" fmla="*/ 2139988 w 5047599"/>
              <a:gd name="connsiteY6445" fmla="*/ 386156 h 4588585"/>
              <a:gd name="connsiteX6446" fmla="*/ 2143219 w 5047599"/>
              <a:gd name="connsiteY6446" fmla="*/ 381995 h 4588585"/>
              <a:gd name="connsiteX6447" fmla="*/ 2153818 w 5047599"/>
              <a:gd name="connsiteY6447" fmla="*/ 375542 h 4588585"/>
              <a:gd name="connsiteX6448" fmla="*/ 2163489 w 5047599"/>
              <a:gd name="connsiteY6448" fmla="*/ 369664 h 4588585"/>
              <a:gd name="connsiteX6449" fmla="*/ 2174743 w 5047599"/>
              <a:gd name="connsiteY6449" fmla="*/ 363467 h 4588585"/>
              <a:gd name="connsiteX6450" fmla="*/ 3811655 w 5047599"/>
              <a:gd name="connsiteY6450" fmla="*/ 354536 h 4588585"/>
              <a:gd name="connsiteX6451" fmla="*/ 3815202 w 5047599"/>
              <a:gd name="connsiteY6451" fmla="*/ 366230 h 4588585"/>
              <a:gd name="connsiteX6452" fmla="*/ 3821051 w 5047599"/>
              <a:gd name="connsiteY6452" fmla="*/ 364448 h 4588585"/>
              <a:gd name="connsiteX6453" fmla="*/ 3827407 w 5047599"/>
              <a:gd name="connsiteY6453" fmla="*/ 363068 h 4588585"/>
              <a:gd name="connsiteX6454" fmla="*/ 3830086 w 5047599"/>
              <a:gd name="connsiteY6454" fmla="*/ 370578 h 4588585"/>
              <a:gd name="connsiteX6455" fmla="*/ 3830088 w 5047599"/>
              <a:gd name="connsiteY6455" fmla="*/ 370577 h 4588585"/>
              <a:gd name="connsiteX6456" fmla="*/ 3827407 w 5047599"/>
              <a:gd name="connsiteY6456" fmla="*/ 363065 h 4588585"/>
              <a:gd name="connsiteX6457" fmla="*/ 3821051 w 5047599"/>
              <a:gd name="connsiteY6457" fmla="*/ 364442 h 4588585"/>
              <a:gd name="connsiteX6458" fmla="*/ 3815202 w 5047599"/>
              <a:gd name="connsiteY6458" fmla="*/ 366222 h 4588585"/>
              <a:gd name="connsiteX6459" fmla="*/ 3811657 w 5047599"/>
              <a:gd name="connsiteY6459" fmla="*/ 354536 h 4588585"/>
              <a:gd name="connsiteX6460" fmla="*/ 3587164 w 5047599"/>
              <a:gd name="connsiteY6460" fmla="*/ 350184 h 4588585"/>
              <a:gd name="connsiteX6461" fmla="*/ 3579562 w 5047599"/>
              <a:gd name="connsiteY6461" fmla="*/ 355386 h 4588585"/>
              <a:gd name="connsiteX6462" fmla="*/ 3576332 w 5047599"/>
              <a:gd name="connsiteY6462" fmla="*/ 363958 h 4588585"/>
              <a:gd name="connsiteX6463" fmla="*/ 3576330 w 5047599"/>
              <a:gd name="connsiteY6463" fmla="*/ 363967 h 4588585"/>
              <a:gd name="connsiteX6464" fmla="*/ 3579541 w 5047599"/>
              <a:gd name="connsiteY6464" fmla="*/ 355444 h 4588585"/>
              <a:gd name="connsiteX6465" fmla="*/ 3587121 w 5047599"/>
              <a:gd name="connsiteY6465" fmla="*/ 350246 h 4588585"/>
              <a:gd name="connsiteX6466" fmla="*/ 3593688 w 5047599"/>
              <a:gd name="connsiteY6466" fmla="*/ 351754 h 4588585"/>
              <a:gd name="connsiteX6467" fmla="*/ 3597150 w 5047599"/>
              <a:gd name="connsiteY6467" fmla="*/ 352136 h 4588585"/>
              <a:gd name="connsiteX6468" fmla="*/ 3598608 w 5047599"/>
              <a:gd name="connsiteY6468" fmla="*/ 353153 h 4588585"/>
              <a:gd name="connsiteX6469" fmla="*/ 3599558 w 5047599"/>
              <a:gd name="connsiteY6469" fmla="*/ 356125 h 4588585"/>
              <a:gd name="connsiteX6470" fmla="*/ 3604393 w 5047599"/>
              <a:gd name="connsiteY6470" fmla="*/ 359561 h 4588585"/>
              <a:gd name="connsiteX6471" fmla="*/ 3608362 w 5047599"/>
              <a:gd name="connsiteY6471" fmla="*/ 360008 h 4588585"/>
              <a:gd name="connsiteX6472" fmla="*/ 3609587 w 5047599"/>
              <a:gd name="connsiteY6472" fmla="*/ 371067 h 4588585"/>
              <a:gd name="connsiteX6473" fmla="*/ 3607370 w 5047599"/>
              <a:gd name="connsiteY6473" fmla="*/ 380512 h 4588585"/>
              <a:gd name="connsiteX6474" fmla="*/ 3607201 w 5047599"/>
              <a:gd name="connsiteY6474" fmla="*/ 388704 h 4588585"/>
              <a:gd name="connsiteX6475" fmla="*/ 3607201 w 5047599"/>
              <a:gd name="connsiteY6475" fmla="*/ 388707 h 4588585"/>
              <a:gd name="connsiteX6476" fmla="*/ 3608827 w 5047599"/>
              <a:gd name="connsiteY6476" fmla="*/ 404029 h 4588585"/>
              <a:gd name="connsiteX6477" fmla="*/ 3607185 w 5047599"/>
              <a:gd name="connsiteY6477" fmla="*/ 407054 h 4588585"/>
              <a:gd name="connsiteX6478" fmla="*/ 3608849 w 5047599"/>
              <a:gd name="connsiteY6478" fmla="*/ 404007 h 4588585"/>
              <a:gd name="connsiteX6479" fmla="*/ 3607202 w 5047599"/>
              <a:gd name="connsiteY6479" fmla="*/ 388704 h 4588585"/>
              <a:gd name="connsiteX6480" fmla="*/ 3607392 w 5047599"/>
              <a:gd name="connsiteY6480" fmla="*/ 380427 h 4588585"/>
              <a:gd name="connsiteX6481" fmla="*/ 3609609 w 5047599"/>
              <a:gd name="connsiteY6481" fmla="*/ 371004 h 4588585"/>
              <a:gd name="connsiteX6482" fmla="*/ 3608384 w 5047599"/>
              <a:gd name="connsiteY6482" fmla="*/ 359947 h 4588585"/>
              <a:gd name="connsiteX6483" fmla="*/ 3608384 w 5047599"/>
              <a:gd name="connsiteY6483" fmla="*/ 359948 h 4588585"/>
              <a:gd name="connsiteX6484" fmla="*/ 3604414 w 5047599"/>
              <a:gd name="connsiteY6484" fmla="*/ 359502 h 4588585"/>
              <a:gd name="connsiteX6485" fmla="*/ 3599580 w 5047599"/>
              <a:gd name="connsiteY6485" fmla="*/ 356063 h 4588585"/>
              <a:gd name="connsiteX6486" fmla="*/ 3598629 w 5047599"/>
              <a:gd name="connsiteY6486" fmla="*/ 353093 h 4588585"/>
              <a:gd name="connsiteX6487" fmla="*/ 3597172 w 5047599"/>
              <a:gd name="connsiteY6487" fmla="*/ 352075 h 4588585"/>
              <a:gd name="connsiteX6488" fmla="*/ 3593709 w 5047599"/>
              <a:gd name="connsiteY6488" fmla="*/ 351693 h 4588585"/>
              <a:gd name="connsiteX6489" fmla="*/ 3609551 w 5047599"/>
              <a:gd name="connsiteY6489" fmla="*/ 343323 h 4588585"/>
              <a:gd name="connsiteX6490" fmla="*/ 3609418 w 5047599"/>
              <a:gd name="connsiteY6490" fmla="*/ 344157 h 4588585"/>
              <a:gd name="connsiteX6491" fmla="*/ 3608525 w 5047599"/>
              <a:gd name="connsiteY6491" fmla="*/ 357805 h 4588585"/>
              <a:gd name="connsiteX6492" fmla="*/ 3609419 w 5047599"/>
              <a:gd name="connsiteY6492" fmla="*/ 344156 h 4588585"/>
              <a:gd name="connsiteX6493" fmla="*/ 2180423 w 5047599"/>
              <a:gd name="connsiteY6493" fmla="*/ 342561 h 4588585"/>
              <a:gd name="connsiteX6494" fmla="*/ 2180423 w 5047599"/>
              <a:gd name="connsiteY6494" fmla="*/ 342565 h 4588585"/>
              <a:gd name="connsiteX6495" fmla="*/ 2185152 w 5047599"/>
              <a:gd name="connsiteY6495" fmla="*/ 350841 h 4588585"/>
              <a:gd name="connsiteX6496" fmla="*/ 2185278 w 5047599"/>
              <a:gd name="connsiteY6496" fmla="*/ 354470 h 4588585"/>
              <a:gd name="connsiteX6497" fmla="*/ 2184896 w 5047599"/>
              <a:gd name="connsiteY6497" fmla="*/ 355346 h 4588585"/>
              <a:gd name="connsiteX6498" fmla="*/ 2185278 w 5047599"/>
              <a:gd name="connsiteY6498" fmla="*/ 354470 h 4588585"/>
              <a:gd name="connsiteX6499" fmla="*/ 2185278 w 5047599"/>
              <a:gd name="connsiteY6499" fmla="*/ 354470 h 4588585"/>
              <a:gd name="connsiteX6500" fmla="*/ 2185279 w 5047599"/>
              <a:gd name="connsiteY6500" fmla="*/ 354469 h 4588585"/>
              <a:gd name="connsiteX6501" fmla="*/ 2185152 w 5047599"/>
              <a:gd name="connsiteY6501" fmla="*/ 350839 h 4588585"/>
              <a:gd name="connsiteX6502" fmla="*/ 3632391 w 5047599"/>
              <a:gd name="connsiteY6502" fmla="*/ 340864 h 4588585"/>
              <a:gd name="connsiteX6503" fmla="*/ 3638494 w 5047599"/>
              <a:gd name="connsiteY6503" fmla="*/ 350225 h 4588585"/>
              <a:gd name="connsiteX6504" fmla="*/ 3647995 w 5047599"/>
              <a:gd name="connsiteY6504" fmla="*/ 352943 h 4588585"/>
              <a:gd name="connsiteX6505" fmla="*/ 3651368 w 5047599"/>
              <a:gd name="connsiteY6505" fmla="*/ 355282 h 4588585"/>
              <a:gd name="connsiteX6506" fmla="*/ 3647995 w 5047599"/>
              <a:gd name="connsiteY6506" fmla="*/ 352940 h 4588585"/>
              <a:gd name="connsiteX6507" fmla="*/ 3638493 w 5047599"/>
              <a:gd name="connsiteY6507" fmla="*/ 350223 h 4588585"/>
              <a:gd name="connsiteX6508" fmla="*/ 3627155 w 5047599"/>
              <a:gd name="connsiteY6508" fmla="*/ 311089 h 4588585"/>
              <a:gd name="connsiteX6509" fmla="*/ 3627155 w 5047599"/>
              <a:gd name="connsiteY6509" fmla="*/ 311090 h 4588585"/>
              <a:gd name="connsiteX6510" fmla="*/ 3627366 w 5047599"/>
              <a:gd name="connsiteY6510" fmla="*/ 314570 h 4588585"/>
              <a:gd name="connsiteX6511" fmla="*/ 3627978 w 5047599"/>
              <a:gd name="connsiteY6511" fmla="*/ 317500 h 4588585"/>
              <a:gd name="connsiteX6512" fmla="*/ 3629835 w 5047599"/>
              <a:gd name="connsiteY6512" fmla="*/ 320915 h 4588585"/>
              <a:gd name="connsiteX6513" fmla="*/ 3629836 w 5047599"/>
              <a:gd name="connsiteY6513" fmla="*/ 320913 h 4588585"/>
              <a:gd name="connsiteX6514" fmla="*/ 3627978 w 5047599"/>
              <a:gd name="connsiteY6514" fmla="*/ 317495 h 4588585"/>
              <a:gd name="connsiteX6515" fmla="*/ 3627366 w 5047599"/>
              <a:gd name="connsiteY6515" fmla="*/ 314566 h 4588585"/>
              <a:gd name="connsiteX6516" fmla="*/ 3625318 w 5047599"/>
              <a:gd name="connsiteY6516" fmla="*/ 297652 h 4588585"/>
              <a:gd name="connsiteX6517" fmla="*/ 3625318 w 5047599"/>
              <a:gd name="connsiteY6517" fmla="*/ 297654 h 4588585"/>
              <a:gd name="connsiteX6518" fmla="*/ 3626605 w 5047599"/>
              <a:gd name="connsiteY6518" fmla="*/ 299692 h 4588585"/>
              <a:gd name="connsiteX6519" fmla="*/ 3628359 w 5047599"/>
              <a:gd name="connsiteY6519" fmla="*/ 303725 h 4588585"/>
              <a:gd name="connsiteX6520" fmla="*/ 3629434 w 5047599"/>
              <a:gd name="connsiteY6520" fmla="*/ 307754 h 4588585"/>
              <a:gd name="connsiteX6521" fmla="*/ 3629435 w 5047599"/>
              <a:gd name="connsiteY6521" fmla="*/ 307752 h 4588585"/>
              <a:gd name="connsiteX6522" fmla="*/ 3628359 w 5047599"/>
              <a:gd name="connsiteY6522" fmla="*/ 303720 h 4588585"/>
              <a:gd name="connsiteX6523" fmla="*/ 3626605 w 5047599"/>
              <a:gd name="connsiteY6523" fmla="*/ 299687 h 4588585"/>
              <a:gd name="connsiteX6524" fmla="*/ 3799324 w 5047599"/>
              <a:gd name="connsiteY6524" fmla="*/ 290988 h 4588585"/>
              <a:gd name="connsiteX6525" fmla="*/ 3784037 w 5047599"/>
              <a:gd name="connsiteY6525" fmla="*/ 300603 h 4588585"/>
              <a:gd name="connsiteX6526" fmla="*/ 3768559 w 5047599"/>
              <a:gd name="connsiteY6526" fmla="*/ 310343 h 4588585"/>
              <a:gd name="connsiteX6527" fmla="*/ 3756778 w 5047599"/>
              <a:gd name="connsiteY6527" fmla="*/ 317710 h 4588585"/>
              <a:gd name="connsiteX6528" fmla="*/ 3738915 w 5047599"/>
              <a:gd name="connsiteY6528" fmla="*/ 329361 h 4588585"/>
              <a:gd name="connsiteX6529" fmla="*/ 3728442 w 5047599"/>
              <a:gd name="connsiteY6529" fmla="*/ 336196 h 4588585"/>
              <a:gd name="connsiteX6530" fmla="*/ 3713049 w 5047599"/>
              <a:gd name="connsiteY6530" fmla="*/ 346213 h 4588585"/>
              <a:gd name="connsiteX6531" fmla="*/ 3699494 w 5047599"/>
              <a:gd name="connsiteY6531" fmla="*/ 355021 h 4588585"/>
              <a:gd name="connsiteX6532" fmla="*/ 3683467 w 5047599"/>
              <a:gd name="connsiteY6532" fmla="*/ 365421 h 4588585"/>
              <a:gd name="connsiteX6533" fmla="*/ 3663366 w 5047599"/>
              <a:gd name="connsiteY6533" fmla="*/ 362345 h 4588585"/>
              <a:gd name="connsiteX6534" fmla="*/ 3657011 w 5047599"/>
              <a:gd name="connsiteY6534" fmla="*/ 360539 h 4588585"/>
              <a:gd name="connsiteX6535" fmla="*/ 3653959 w 5047599"/>
              <a:gd name="connsiteY6535" fmla="*/ 357634 h 4588585"/>
              <a:gd name="connsiteX6536" fmla="*/ 3657011 w 5047599"/>
              <a:gd name="connsiteY6536" fmla="*/ 360540 h 4588585"/>
              <a:gd name="connsiteX6537" fmla="*/ 3663366 w 5047599"/>
              <a:gd name="connsiteY6537" fmla="*/ 362345 h 4588585"/>
              <a:gd name="connsiteX6538" fmla="*/ 3683468 w 5047599"/>
              <a:gd name="connsiteY6538" fmla="*/ 365423 h 4588585"/>
              <a:gd name="connsiteX6539" fmla="*/ 3699494 w 5047599"/>
              <a:gd name="connsiteY6539" fmla="*/ 355024 h 4588585"/>
              <a:gd name="connsiteX6540" fmla="*/ 3713050 w 5047599"/>
              <a:gd name="connsiteY6540" fmla="*/ 346216 h 4588585"/>
              <a:gd name="connsiteX6541" fmla="*/ 3728442 w 5047599"/>
              <a:gd name="connsiteY6541" fmla="*/ 336197 h 4588585"/>
              <a:gd name="connsiteX6542" fmla="*/ 3738915 w 5047599"/>
              <a:gd name="connsiteY6542" fmla="*/ 329364 h 4588585"/>
              <a:gd name="connsiteX6543" fmla="*/ 3756778 w 5047599"/>
              <a:gd name="connsiteY6543" fmla="*/ 317710 h 4588585"/>
              <a:gd name="connsiteX6544" fmla="*/ 3768560 w 5047599"/>
              <a:gd name="connsiteY6544" fmla="*/ 310345 h 4588585"/>
              <a:gd name="connsiteX6545" fmla="*/ 3784037 w 5047599"/>
              <a:gd name="connsiteY6545" fmla="*/ 300604 h 4588585"/>
              <a:gd name="connsiteX6546" fmla="*/ 3799324 w 5047599"/>
              <a:gd name="connsiteY6546" fmla="*/ 290990 h 4588585"/>
              <a:gd name="connsiteX6547" fmla="*/ 3803568 w 5047599"/>
              <a:gd name="connsiteY6547" fmla="*/ 306674 h 4588585"/>
              <a:gd name="connsiteX6548" fmla="*/ 3807706 w 5047599"/>
              <a:gd name="connsiteY6548" fmla="*/ 321978 h 4588585"/>
              <a:gd name="connsiteX6549" fmla="*/ 3811992 w 5047599"/>
              <a:gd name="connsiteY6549" fmla="*/ 337766 h 4588585"/>
              <a:gd name="connsiteX6550" fmla="*/ 3816171 w 5047599"/>
              <a:gd name="connsiteY6550" fmla="*/ 353064 h 4588585"/>
              <a:gd name="connsiteX6551" fmla="*/ 3816173 w 5047599"/>
              <a:gd name="connsiteY6551" fmla="*/ 353063 h 4588585"/>
              <a:gd name="connsiteX6552" fmla="*/ 3811992 w 5047599"/>
              <a:gd name="connsiteY6552" fmla="*/ 337761 h 4588585"/>
              <a:gd name="connsiteX6553" fmla="*/ 3807706 w 5047599"/>
              <a:gd name="connsiteY6553" fmla="*/ 321971 h 4588585"/>
              <a:gd name="connsiteX6554" fmla="*/ 3803568 w 5047599"/>
              <a:gd name="connsiteY6554" fmla="*/ 306667 h 4588585"/>
              <a:gd name="connsiteX6555" fmla="*/ 3799325 w 5047599"/>
              <a:gd name="connsiteY6555" fmla="*/ 290988 h 4588585"/>
              <a:gd name="connsiteX6556" fmla="*/ 3632668 w 5047599"/>
              <a:gd name="connsiteY6556" fmla="*/ 279820 h 4588585"/>
              <a:gd name="connsiteX6557" fmla="*/ 3630618 w 5047599"/>
              <a:gd name="connsiteY6557" fmla="*/ 281878 h 4588585"/>
              <a:gd name="connsiteX6558" fmla="*/ 3629921 w 5047599"/>
              <a:gd name="connsiteY6558" fmla="*/ 284363 h 4588585"/>
              <a:gd name="connsiteX6559" fmla="*/ 3629245 w 5047599"/>
              <a:gd name="connsiteY6559" fmla="*/ 284958 h 4588585"/>
              <a:gd name="connsiteX6560" fmla="*/ 3629921 w 5047599"/>
              <a:gd name="connsiteY6560" fmla="*/ 284364 h 4588585"/>
              <a:gd name="connsiteX6561" fmla="*/ 3630618 w 5047599"/>
              <a:gd name="connsiteY6561" fmla="*/ 281881 h 4588585"/>
              <a:gd name="connsiteX6562" fmla="*/ 3631546 w 5047599"/>
              <a:gd name="connsiteY6562" fmla="*/ 269972 h 4588585"/>
              <a:gd name="connsiteX6563" fmla="*/ 3633299 w 5047599"/>
              <a:gd name="connsiteY6563" fmla="*/ 273135 h 4588585"/>
              <a:gd name="connsiteX6564" fmla="*/ 3635614 w 5047599"/>
              <a:gd name="connsiteY6564" fmla="*/ 274421 h 4588585"/>
              <a:gd name="connsiteX6565" fmla="*/ 3633300 w 5047599"/>
              <a:gd name="connsiteY6565" fmla="*/ 273135 h 4588585"/>
              <a:gd name="connsiteX6566" fmla="*/ 3639227 w 5047599"/>
              <a:gd name="connsiteY6566" fmla="*/ 259222 h 4588585"/>
              <a:gd name="connsiteX6567" fmla="*/ 3636086 w 5047599"/>
              <a:gd name="connsiteY6567" fmla="*/ 261673 h 4588585"/>
              <a:gd name="connsiteX6568" fmla="*/ 3634144 w 5047599"/>
              <a:gd name="connsiteY6568" fmla="*/ 263923 h 4588585"/>
              <a:gd name="connsiteX6569" fmla="*/ 3633109 w 5047599"/>
              <a:gd name="connsiteY6569" fmla="*/ 265367 h 4588585"/>
              <a:gd name="connsiteX6570" fmla="*/ 3631620 w 5047599"/>
              <a:gd name="connsiteY6570" fmla="*/ 269755 h 4588585"/>
              <a:gd name="connsiteX6571" fmla="*/ 3633110 w 5047599"/>
              <a:gd name="connsiteY6571" fmla="*/ 265367 h 4588585"/>
              <a:gd name="connsiteX6572" fmla="*/ 3634144 w 5047599"/>
              <a:gd name="connsiteY6572" fmla="*/ 263925 h 4588585"/>
              <a:gd name="connsiteX6573" fmla="*/ 3636086 w 5047599"/>
              <a:gd name="connsiteY6573" fmla="*/ 261674 h 4588585"/>
              <a:gd name="connsiteX6574" fmla="*/ 3646770 w 5047599"/>
              <a:gd name="connsiteY6574" fmla="*/ 257704 h 4588585"/>
              <a:gd name="connsiteX6575" fmla="*/ 3643836 w 5047599"/>
              <a:gd name="connsiteY6575" fmla="*/ 257725 h 4588585"/>
              <a:gd name="connsiteX6576" fmla="*/ 3641650 w 5047599"/>
              <a:gd name="connsiteY6576" fmla="*/ 258081 h 4588585"/>
              <a:gd name="connsiteX6577" fmla="*/ 3643836 w 5047599"/>
              <a:gd name="connsiteY6577" fmla="*/ 257726 h 4588585"/>
              <a:gd name="connsiteX6578" fmla="*/ 3646771 w 5047599"/>
              <a:gd name="connsiteY6578" fmla="*/ 257705 h 4588585"/>
              <a:gd name="connsiteX6579" fmla="*/ 3651754 w 5047599"/>
              <a:gd name="connsiteY6579" fmla="*/ 258003 h 4588585"/>
              <a:gd name="connsiteX6580" fmla="*/ 3652526 w 5047599"/>
              <a:gd name="connsiteY6580" fmla="*/ 258126 h 4588585"/>
              <a:gd name="connsiteX6581" fmla="*/ 3651753 w 5047599"/>
              <a:gd name="connsiteY6581" fmla="*/ 258002 h 4588585"/>
              <a:gd name="connsiteX6582" fmla="*/ 2148877 w 5047599"/>
              <a:gd name="connsiteY6582" fmla="*/ 253889 h 4588585"/>
              <a:gd name="connsiteX6583" fmla="*/ 2154557 w 5047599"/>
              <a:gd name="connsiteY6583" fmla="*/ 258876 h 4588585"/>
              <a:gd name="connsiteX6584" fmla="*/ 2155486 w 5047599"/>
              <a:gd name="connsiteY6584" fmla="*/ 260192 h 4588585"/>
              <a:gd name="connsiteX6585" fmla="*/ 2155719 w 5047599"/>
              <a:gd name="connsiteY6585" fmla="*/ 261613 h 4588585"/>
              <a:gd name="connsiteX6586" fmla="*/ 2153079 w 5047599"/>
              <a:gd name="connsiteY6586" fmla="*/ 264394 h 4588585"/>
              <a:gd name="connsiteX6587" fmla="*/ 2151010 w 5047599"/>
              <a:gd name="connsiteY6587" fmla="*/ 266092 h 4588585"/>
              <a:gd name="connsiteX6588" fmla="*/ 2151010 w 5047599"/>
              <a:gd name="connsiteY6588" fmla="*/ 266094 h 4588585"/>
              <a:gd name="connsiteX6589" fmla="*/ 2149447 w 5047599"/>
              <a:gd name="connsiteY6589" fmla="*/ 266433 h 4588585"/>
              <a:gd name="connsiteX6590" fmla="*/ 2146576 w 5047599"/>
              <a:gd name="connsiteY6590" fmla="*/ 268365 h 4588585"/>
              <a:gd name="connsiteX6591" fmla="*/ 2145055 w 5047599"/>
              <a:gd name="connsiteY6591" fmla="*/ 268579 h 4588585"/>
              <a:gd name="connsiteX6592" fmla="*/ 2140748 w 5047599"/>
              <a:gd name="connsiteY6592" fmla="*/ 266391 h 4588585"/>
              <a:gd name="connsiteX6593" fmla="*/ 2139101 w 5047599"/>
              <a:gd name="connsiteY6593" fmla="*/ 266412 h 4588585"/>
              <a:gd name="connsiteX6594" fmla="*/ 2137032 w 5047599"/>
              <a:gd name="connsiteY6594" fmla="*/ 264883 h 4588585"/>
              <a:gd name="connsiteX6595" fmla="*/ 2137729 w 5047599"/>
              <a:gd name="connsiteY6595" fmla="*/ 256564 h 4588585"/>
              <a:gd name="connsiteX6596" fmla="*/ 2138404 w 5047599"/>
              <a:gd name="connsiteY6596" fmla="*/ 254208 h 4588585"/>
              <a:gd name="connsiteX6597" fmla="*/ 3651437 w 5047599"/>
              <a:gd name="connsiteY6597" fmla="*/ 251595 h 4588585"/>
              <a:gd name="connsiteX6598" fmla="*/ 3651436 w 5047599"/>
              <a:gd name="connsiteY6598" fmla="*/ 251596 h 4588585"/>
              <a:gd name="connsiteX6599" fmla="*/ 3651690 w 5047599"/>
              <a:gd name="connsiteY6599" fmla="*/ 253824 h 4588585"/>
              <a:gd name="connsiteX6600" fmla="*/ 3656462 w 5047599"/>
              <a:gd name="connsiteY6600" fmla="*/ 256604 h 4588585"/>
              <a:gd name="connsiteX6601" fmla="*/ 3656609 w 5047599"/>
              <a:gd name="connsiteY6601" fmla="*/ 257727 h 4588585"/>
              <a:gd name="connsiteX6602" fmla="*/ 3656610 w 5047599"/>
              <a:gd name="connsiteY6602" fmla="*/ 257726 h 4588585"/>
              <a:gd name="connsiteX6603" fmla="*/ 3656462 w 5047599"/>
              <a:gd name="connsiteY6603" fmla="*/ 256603 h 4588585"/>
              <a:gd name="connsiteX6604" fmla="*/ 3651690 w 5047599"/>
              <a:gd name="connsiteY6604" fmla="*/ 253822 h 4588585"/>
              <a:gd name="connsiteX6605" fmla="*/ 3654308 w 5047599"/>
              <a:gd name="connsiteY6605" fmla="*/ 209424 h 4588585"/>
              <a:gd name="connsiteX6606" fmla="*/ 3654519 w 5047599"/>
              <a:gd name="connsiteY6606" fmla="*/ 210420 h 4588585"/>
              <a:gd name="connsiteX6607" fmla="*/ 3657286 w 5047599"/>
              <a:gd name="connsiteY6607" fmla="*/ 210739 h 4588585"/>
              <a:gd name="connsiteX6608" fmla="*/ 3661973 w 5047599"/>
              <a:gd name="connsiteY6608" fmla="*/ 212820 h 4588585"/>
              <a:gd name="connsiteX6609" fmla="*/ 3664844 w 5047599"/>
              <a:gd name="connsiteY6609" fmla="*/ 215261 h 4588585"/>
              <a:gd name="connsiteX6610" fmla="*/ 3669637 w 5047599"/>
              <a:gd name="connsiteY6610" fmla="*/ 230415 h 4588585"/>
              <a:gd name="connsiteX6611" fmla="*/ 3669638 w 5047599"/>
              <a:gd name="connsiteY6611" fmla="*/ 230413 h 4588585"/>
              <a:gd name="connsiteX6612" fmla="*/ 3664845 w 5047599"/>
              <a:gd name="connsiteY6612" fmla="*/ 215258 h 4588585"/>
              <a:gd name="connsiteX6613" fmla="*/ 3661973 w 5047599"/>
              <a:gd name="connsiteY6613" fmla="*/ 212817 h 4588585"/>
              <a:gd name="connsiteX6614" fmla="*/ 3657286 w 5047599"/>
              <a:gd name="connsiteY6614" fmla="*/ 210738 h 4588585"/>
              <a:gd name="connsiteX6615" fmla="*/ 3654519 w 5047599"/>
              <a:gd name="connsiteY6615" fmla="*/ 210419 h 4588585"/>
              <a:gd name="connsiteX6616" fmla="*/ 2168641 w 5047599"/>
              <a:gd name="connsiteY6616" fmla="*/ 187308 h 4588585"/>
              <a:gd name="connsiteX6617" fmla="*/ 2170203 w 5047599"/>
              <a:gd name="connsiteY6617" fmla="*/ 188623 h 4588585"/>
              <a:gd name="connsiteX6618" fmla="*/ 2169991 w 5047599"/>
              <a:gd name="connsiteY6618" fmla="*/ 192104 h 4588585"/>
              <a:gd name="connsiteX6619" fmla="*/ 2160849 w 5047599"/>
              <a:gd name="connsiteY6619" fmla="*/ 197304 h 4588585"/>
              <a:gd name="connsiteX6620" fmla="*/ 2162601 w 5047599"/>
              <a:gd name="connsiteY6620" fmla="*/ 192784 h 4588585"/>
              <a:gd name="connsiteX6621" fmla="*/ 3945826 w 5047599"/>
              <a:gd name="connsiteY6621" fmla="*/ 144035 h 4588585"/>
              <a:gd name="connsiteX6622" fmla="*/ 3944085 w 5047599"/>
              <a:gd name="connsiteY6622" fmla="*/ 153412 h 4588585"/>
              <a:gd name="connsiteX6623" fmla="*/ 3943335 w 5047599"/>
              <a:gd name="connsiteY6623" fmla="*/ 167711 h 4588585"/>
              <a:gd name="connsiteX6624" fmla="*/ 3944086 w 5047599"/>
              <a:gd name="connsiteY6624" fmla="*/ 153407 h 4588585"/>
              <a:gd name="connsiteX6625" fmla="*/ 3945817 w 5047599"/>
              <a:gd name="connsiteY6625" fmla="*/ 96060 h 4588585"/>
              <a:gd name="connsiteX6626" fmla="*/ 3945817 w 5047599"/>
              <a:gd name="connsiteY6626" fmla="*/ 96064 h 4588585"/>
              <a:gd name="connsiteX6627" fmla="*/ 3949047 w 5047599"/>
              <a:gd name="connsiteY6627" fmla="*/ 105933 h 4588585"/>
              <a:gd name="connsiteX6628" fmla="*/ 3952152 w 5047599"/>
              <a:gd name="connsiteY6628" fmla="*/ 115378 h 4588585"/>
              <a:gd name="connsiteX6629" fmla="*/ 3952553 w 5047599"/>
              <a:gd name="connsiteY6629" fmla="*/ 121617 h 4588585"/>
              <a:gd name="connsiteX6630" fmla="*/ 3952553 w 5047599"/>
              <a:gd name="connsiteY6630" fmla="*/ 121614 h 4588585"/>
              <a:gd name="connsiteX6631" fmla="*/ 3952152 w 5047599"/>
              <a:gd name="connsiteY6631" fmla="*/ 115374 h 4588585"/>
              <a:gd name="connsiteX6632" fmla="*/ 3949047 w 5047599"/>
              <a:gd name="connsiteY6632" fmla="*/ 105929 h 4588585"/>
              <a:gd name="connsiteX6633" fmla="*/ 1185585 w 5047599"/>
              <a:gd name="connsiteY6633" fmla="*/ 89528 h 4588585"/>
              <a:gd name="connsiteX6634" fmla="*/ 1185395 w 5047599"/>
              <a:gd name="connsiteY6634" fmla="*/ 90525 h 4588585"/>
              <a:gd name="connsiteX6635" fmla="*/ 1185501 w 5047599"/>
              <a:gd name="connsiteY6635" fmla="*/ 91248 h 4588585"/>
              <a:gd name="connsiteX6636" fmla="*/ 1185353 w 5047599"/>
              <a:gd name="connsiteY6636" fmla="*/ 93243 h 4588585"/>
              <a:gd name="connsiteX6637" fmla="*/ 1184953 w 5047599"/>
              <a:gd name="connsiteY6637" fmla="*/ 93200 h 4588585"/>
              <a:gd name="connsiteX6638" fmla="*/ 1184277 w 5047599"/>
              <a:gd name="connsiteY6638" fmla="*/ 92182 h 4588585"/>
              <a:gd name="connsiteX6639" fmla="*/ 1184340 w 5047599"/>
              <a:gd name="connsiteY6639" fmla="*/ 90804 h 4588585"/>
              <a:gd name="connsiteX6640" fmla="*/ 1184995 w 5047599"/>
              <a:gd name="connsiteY6640" fmla="*/ 90443 h 4588585"/>
              <a:gd name="connsiteX6641" fmla="*/ 1184551 w 5047599"/>
              <a:gd name="connsiteY6641" fmla="*/ 89594 h 4588585"/>
              <a:gd name="connsiteX6642" fmla="*/ 4036421 w 5047599"/>
              <a:gd name="connsiteY6642" fmla="*/ 0 h 4588585"/>
              <a:gd name="connsiteX6643" fmla="*/ 4042015 w 5047599"/>
              <a:gd name="connsiteY6643" fmla="*/ 2739 h 4588585"/>
              <a:gd name="connsiteX6644" fmla="*/ 4046027 w 5047599"/>
              <a:gd name="connsiteY6644" fmla="*/ 3502 h 4588585"/>
              <a:gd name="connsiteX6645" fmla="*/ 4055254 w 5047599"/>
              <a:gd name="connsiteY6645" fmla="*/ 319 h 4588585"/>
              <a:gd name="connsiteX6646" fmla="*/ 4060744 w 5047599"/>
              <a:gd name="connsiteY6646" fmla="*/ 1997 h 4588585"/>
              <a:gd name="connsiteX6647" fmla="*/ 4065368 w 5047599"/>
              <a:gd name="connsiteY6647" fmla="*/ 4119 h 4588585"/>
              <a:gd name="connsiteX6648" fmla="*/ 4067944 w 5047599"/>
              <a:gd name="connsiteY6648" fmla="*/ 4266 h 4588585"/>
              <a:gd name="connsiteX6649" fmla="*/ 4080339 w 5047599"/>
              <a:gd name="connsiteY6649" fmla="*/ 9487 h 4588585"/>
              <a:gd name="connsiteX6650" fmla="*/ 4083442 w 5047599"/>
              <a:gd name="connsiteY6650" fmla="*/ 10125 h 4588585"/>
              <a:gd name="connsiteX6651" fmla="*/ 4089819 w 5047599"/>
              <a:gd name="connsiteY6651" fmla="*/ 10762 h 4588585"/>
              <a:gd name="connsiteX6652" fmla="*/ 4099341 w 5047599"/>
              <a:gd name="connsiteY6652" fmla="*/ 11060 h 4588585"/>
              <a:gd name="connsiteX6653" fmla="*/ 4105486 w 5047599"/>
              <a:gd name="connsiteY6653" fmla="*/ 7644 h 4588585"/>
              <a:gd name="connsiteX6654" fmla="*/ 4109815 w 5047599"/>
              <a:gd name="connsiteY6654" fmla="*/ 4353 h 4588585"/>
              <a:gd name="connsiteX6655" fmla="*/ 4112855 w 5047599"/>
              <a:gd name="connsiteY6655" fmla="*/ 4438 h 4588585"/>
              <a:gd name="connsiteX6656" fmla="*/ 4115811 w 5047599"/>
              <a:gd name="connsiteY6656" fmla="*/ 5224 h 4588585"/>
              <a:gd name="connsiteX6657" fmla="*/ 4118303 w 5047599"/>
              <a:gd name="connsiteY6657" fmla="*/ 6625 h 4588585"/>
              <a:gd name="connsiteX6658" fmla="*/ 4120393 w 5047599"/>
              <a:gd name="connsiteY6658" fmla="*/ 9086 h 4588585"/>
              <a:gd name="connsiteX6659" fmla="*/ 4121385 w 5047599"/>
              <a:gd name="connsiteY6659" fmla="*/ 12609 h 4588585"/>
              <a:gd name="connsiteX6660" fmla="*/ 4120984 w 5047599"/>
              <a:gd name="connsiteY6660" fmla="*/ 23836 h 4588585"/>
              <a:gd name="connsiteX6661" fmla="*/ 4121913 w 5047599"/>
              <a:gd name="connsiteY6661" fmla="*/ 26786 h 4588585"/>
              <a:gd name="connsiteX6662" fmla="*/ 4123603 w 5047599"/>
              <a:gd name="connsiteY6662" fmla="*/ 28909 h 4588585"/>
              <a:gd name="connsiteX6663" fmla="*/ 4125735 w 5047599"/>
              <a:gd name="connsiteY6663" fmla="*/ 29313 h 4588585"/>
              <a:gd name="connsiteX6664" fmla="*/ 4128332 w 5047599"/>
              <a:gd name="connsiteY6664" fmla="*/ 26872 h 4588585"/>
              <a:gd name="connsiteX6665" fmla="*/ 4132850 w 5047599"/>
              <a:gd name="connsiteY6665" fmla="*/ 23327 h 4588585"/>
              <a:gd name="connsiteX6666" fmla="*/ 4138425 w 5047599"/>
              <a:gd name="connsiteY6666" fmla="*/ 19464 h 4588585"/>
              <a:gd name="connsiteX6667" fmla="*/ 4142563 w 5047599"/>
              <a:gd name="connsiteY6667" fmla="*/ 15920 h 4588585"/>
              <a:gd name="connsiteX6668" fmla="*/ 4144949 w 5047599"/>
              <a:gd name="connsiteY6668" fmla="*/ 14584 h 4588585"/>
              <a:gd name="connsiteX6669" fmla="*/ 4148686 w 5047599"/>
              <a:gd name="connsiteY6669" fmla="*/ 14773 h 4588585"/>
              <a:gd name="connsiteX6670" fmla="*/ 4152339 w 5047599"/>
              <a:gd name="connsiteY6670" fmla="*/ 15389 h 4588585"/>
              <a:gd name="connsiteX6671" fmla="*/ 4154387 w 5047599"/>
              <a:gd name="connsiteY6671" fmla="*/ 17089 h 4588585"/>
              <a:gd name="connsiteX6672" fmla="*/ 4154387 w 5047599"/>
              <a:gd name="connsiteY6672" fmla="*/ 17644 h 4588585"/>
              <a:gd name="connsiteX6673" fmla="*/ 4156351 w 5047599"/>
              <a:gd name="connsiteY6673" fmla="*/ 22928 h 4588585"/>
              <a:gd name="connsiteX6674" fmla="*/ 4161229 w 5047599"/>
              <a:gd name="connsiteY6674" fmla="*/ 42560 h 4588585"/>
              <a:gd name="connsiteX6675" fmla="*/ 4164016 w 5047599"/>
              <a:gd name="connsiteY6675" fmla="*/ 45043 h 4588585"/>
              <a:gd name="connsiteX6676" fmla="*/ 4167183 w 5047599"/>
              <a:gd name="connsiteY6676" fmla="*/ 47123 h 4588585"/>
              <a:gd name="connsiteX6677" fmla="*/ 4169421 w 5047599"/>
              <a:gd name="connsiteY6677" fmla="*/ 50030 h 4588585"/>
              <a:gd name="connsiteX6678" fmla="*/ 4170308 w 5047599"/>
              <a:gd name="connsiteY6678" fmla="*/ 52960 h 4588585"/>
              <a:gd name="connsiteX6679" fmla="*/ 4170033 w 5047599"/>
              <a:gd name="connsiteY6679" fmla="*/ 57502 h 4588585"/>
              <a:gd name="connsiteX6680" fmla="*/ 4170139 w 5047599"/>
              <a:gd name="connsiteY6680" fmla="*/ 62765 h 4588585"/>
              <a:gd name="connsiteX6681" fmla="*/ 4171448 w 5047599"/>
              <a:gd name="connsiteY6681" fmla="*/ 66798 h 4588585"/>
              <a:gd name="connsiteX6682" fmla="*/ 4173263 w 5047599"/>
              <a:gd name="connsiteY6682" fmla="*/ 69855 h 4588585"/>
              <a:gd name="connsiteX6683" fmla="*/ 4174953 w 5047599"/>
              <a:gd name="connsiteY6683" fmla="*/ 71383 h 4588585"/>
              <a:gd name="connsiteX6684" fmla="*/ 4177487 w 5047599"/>
              <a:gd name="connsiteY6684" fmla="*/ 71530 h 4588585"/>
              <a:gd name="connsiteX6685" fmla="*/ 4180527 w 5047599"/>
              <a:gd name="connsiteY6685" fmla="*/ 72274 h 4588585"/>
              <a:gd name="connsiteX6686" fmla="*/ 4182575 w 5047599"/>
              <a:gd name="connsiteY6686" fmla="*/ 75309 h 4588585"/>
              <a:gd name="connsiteX6687" fmla="*/ 4189099 w 5047599"/>
              <a:gd name="connsiteY6687" fmla="*/ 97445 h 4588585"/>
              <a:gd name="connsiteX6688" fmla="*/ 4189712 w 5047599"/>
              <a:gd name="connsiteY6688" fmla="*/ 100332 h 4588585"/>
              <a:gd name="connsiteX6689" fmla="*/ 4192457 w 5047599"/>
              <a:gd name="connsiteY6689" fmla="*/ 101266 h 4588585"/>
              <a:gd name="connsiteX6690" fmla="*/ 4196955 w 5047599"/>
              <a:gd name="connsiteY6690" fmla="*/ 100842 h 4588585"/>
              <a:gd name="connsiteX6691" fmla="*/ 4201579 w 5047599"/>
              <a:gd name="connsiteY6691" fmla="*/ 103133 h 4588585"/>
              <a:gd name="connsiteX6692" fmla="*/ 4206520 w 5047599"/>
              <a:gd name="connsiteY6692" fmla="*/ 106698 h 4588585"/>
              <a:gd name="connsiteX6693" fmla="*/ 4211164 w 5047599"/>
              <a:gd name="connsiteY6693" fmla="*/ 113426 h 4588585"/>
              <a:gd name="connsiteX6694" fmla="*/ 4214289 w 5047599"/>
              <a:gd name="connsiteY6694" fmla="*/ 114508 h 4588585"/>
              <a:gd name="connsiteX6695" fmla="*/ 4224087 w 5047599"/>
              <a:gd name="connsiteY6695" fmla="*/ 113511 h 4588585"/>
              <a:gd name="connsiteX6696" fmla="*/ 4237474 w 5047599"/>
              <a:gd name="connsiteY6696" fmla="*/ 114592 h 4588585"/>
              <a:gd name="connsiteX6697" fmla="*/ 4243744 w 5047599"/>
              <a:gd name="connsiteY6697" fmla="*/ 118052 h 4588585"/>
              <a:gd name="connsiteX6698" fmla="*/ 4243111 w 5047599"/>
              <a:gd name="connsiteY6698" fmla="*/ 120196 h 4588585"/>
              <a:gd name="connsiteX6699" fmla="*/ 4238276 w 5047599"/>
              <a:gd name="connsiteY6699" fmla="*/ 122574 h 4588585"/>
              <a:gd name="connsiteX6700" fmla="*/ 4229766 w 5047599"/>
              <a:gd name="connsiteY6700" fmla="*/ 125374 h 4588585"/>
              <a:gd name="connsiteX6701" fmla="*/ 4227255 w 5047599"/>
              <a:gd name="connsiteY6701" fmla="*/ 130108 h 4588585"/>
              <a:gd name="connsiteX6702" fmla="*/ 4225839 w 5047599"/>
              <a:gd name="connsiteY6702" fmla="*/ 136242 h 4588585"/>
              <a:gd name="connsiteX6703" fmla="*/ 4226093 w 5047599"/>
              <a:gd name="connsiteY6703" fmla="*/ 139680 h 4588585"/>
              <a:gd name="connsiteX6704" fmla="*/ 4228183 w 5047599"/>
              <a:gd name="connsiteY6704" fmla="*/ 143458 h 4588585"/>
              <a:gd name="connsiteX6705" fmla="*/ 4234180 w 5047599"/>
              <a:gd name="connsiteY6705" fmla="*/ 150972 h 4588585"/>
              <a:gd name="connsiteX6706" fmla="*/ 4234517 w 5047599"/>
              <a:gd name="connsiteY6706" fmla="*/ 153688 h 4588585"/>
              <a:gd name="connsiteX6707" fmla="*/ 4235595 w 5047599"/>
              <a:gd name="connsiteY6707" fmla="*/ 157466 h 4588585"/>
              <a:gd name="connsiteX6708" fmla="*/ 4236713 w 5047599"/>
              <a:gd name="connsiteY6708" fmla="*/ 160055 h 4588585"/>
              <a:gd name="connsiteX6709" fmla="*/ 4235468 w 5047599"/>
              <a:gd name="connsiteY6709" fmla="*/ 165043 h 4588585"/>
              <a:gd name="connsiteX6710" fmla="*/ 4230020 w 5047599"/>
              <a:gd name="connsiteY6710" fmla="*/ 168503 h 4588585"/>
              <a:gd name="connsiteX6711" fmla="*/ 4222862 w 5047599"/>
              <a:gd name="connsiteY6711" fmla="*/ 172237 h 4588585"/>
              <a:gd name="connsiteX6712" fmla="*/ 4208483 w 5047599"/>
              <a:gd name="connsiteY6712" fmla="*/ 188878 h 4588585"/>
              <a:gd name="connsiteX6713" fmla="*/ 4207406 w 5047599"/>
              <a:gd name="connsiteY6713" fmla="*/ 192464 h 4588585"/>
              <a:gd name="connsiteX6714" fmla="*/ 4207491 w 5047599"/>
              <a:gd name="connsiteY6714" fmla="*/ 202269 h 4588585"/>
              <a:gd name="connsiteX6715" fmla="*/ 4206055 w 5047599"/>
              <a:gd name="connsiteY6715" fmla="*/ 205071 h 4588585"/>
              <a:gd name="connsiteX6716" fmla="*/ 4201515 w 5047599"/>
              <a:gd name="connsiteY6716" fmla="*/ 205029 h 4588585"/>
              <a:gd name="connsiteX6717" fmla="*/ 4197968 w 5047599"/>
              <a:gd name="connsiteY6717" fmla="*/ 204519 h 4588585"/>
              <a:gd name="connsiteX6718" fmla="*/ 4197778 w 5047599"/>
              <a:gd name="connsiteY6718" fmla="*/ 207935 h 4588585"/>
              <a:gd name="connsiteX6719" fmla="*/ 4195519 w 5047599"/>
              <a:gd name="connsiteY6719" fmla="*/ 212519 h 4588585"/>
              <a:gd name="connsiteX6720" fmla="*/ 4194231 w 5047599"/>
              <a:gd name="connsiteY6720" fmla="*/ 216489 h 4588585"/>
              <a:gd name="connsiteX6721" fmla="*/ 4199510 w 5047599"/>
              <a:gd name="connsiteY6721" fmla="*/ 225849 h 4588585"/>
              <a:gd name="connsiteX6722" fmla="*/ 4200460 w 5047599"/>
              <a:gd name="connsiteY6722" fmla="*/ 230816 h 4588585"/>
              <a:gd name="connsiteX6723" fmla="*/ 4199615 w 5047599"/>
              <a:gd name="connsiteY6723" fmla="*/ 235336 h 4588585"/>
              <a:gd name="connsiteX6724" fmla="*/ 4194716 w 5047599"/>
              <a:gd name="connsiteY6724" fmla="*/ 243104 h 4588585"/>
              <a:gd name="connsiteX6725" fmla="*/ 4191823 w 5047599"/>
              <a:gd name="connsiteY6725" fmla="*/ 248326 h 4588585"/>
              <a:gd name="connsiteX6726" fmla="*/ 4192520 w 5047599"/>
              <a:gd name="connsiteY6726" fmla="*/ 249493 h 4588585"/>
              <a:gd name="connsiteX6727" fmla="*/ 4196342 w 5047599"/>
              <a:gd name="connsiteY6727" fmla="*/ 251573 h 4588585"/>
              <a:gd name="connsiteX6728" fmla="*/ 4208209 w 5047599"/>
              <a:gd name="connsiteY6728" fmla="*/ 268616 h 4588585"/>
              <a:gd name="connsiteX6729" fmla="*/ 4212030 w 5047599"/>
              <a:gd name="connsiteY6729" fmla="*/ 274601 h 4588585"/>
              <a:gd name="connsiteX6730" fmla="*/ 4217056 w 5047599"/>
              <a:gd name="connsiteY6730" fmla="*/ 273030 h 4588585"/>
              <a:gd name="connsiteX6731" fmla="*/ 4218935 w 5047599"/>
              <a:gd name="connsiteY6731" fmla="*/ 273136 h 4588585"/>
              <a:gd name="connsiteX6732" fmla="*/ 4220392 w 5047599"/>
              <a:gd name="connsiteY6732" fmla="*/ 274090 h 4588585"/>
              <a:gd name="connsiteX6733" fmla="*/ 4221300 w 5047599"/>
              <a:gd name="connsiteY6733" fmla="*/ 276106 h 4588585"/>
              <a:gd name="connsiteX6734" fmla="*/ 4221300 w 5047599"/>
              <a:gd name="connsiteY6734" fmla="*/ 278654 h 4588585"/>
              <a:gd name="connsiteX6735" fmla="*/ 4220033 w 5047599"/>
              <a:gd name="connsiteY6735" fmla="*/ 282474 h 4588585"/>
              <a:gd name="connsiteX6736" fmla="*/ 4226431 w 5047599"/>
              <a:gd name="connsiteY6736" fmla="*/ 284024 h 4588585"/>
              <a:gd name="connsiteX6737" fmla="*/ 4228732 w 5047599"/>
              <a:gd name="connsiteY6737" fmla="*/ 287886 h 4588585"/>
              <a:gd name="connsiteX6738" fmla="*/ 4236186 w 5047599"/>
              <a:gd name="connsiteY6738" fmla="*/ 301089 h 4588585"/>
              <a:gd name="connsiteX6739" fmla="*/ 4235911 w 5047599"/>
              <a:gd name="connsiteY6739" fmla="*/ 305014 h 4588585"/>
              <a:gd name="connsiteX6740" fmla="*/ 4232343 w 5047599"/>
              <a:gd name="connsiteY6740" fmla="*/ 311235 h 4588585"/>
              <a:gd name="connsiteX6741" fmla="*/ 4232300 w 5047599"/>
              <a:gd name="connsiteY6741" fmla="*/ 315351 h 4588585"/>
              <a:gd name="connsiteX6742" fmla="*/ 4233061 w 5047599"/>
              <a:gd name="connsiteY6742" fmla="*/ 319045 h 4588585"/>
              <a:gd name="connsiteX6743" fmla="*/ 4234222 w 5047599"/>
              <a:gd name="connsiteY6743" fmla="*/ 320339 h 4588585"/>
              <a:gd name="connsiteX6744" fmla="*/ 4245222 w 5047599"/>
              <a:gd name="connsiteY6744" fmla="*/ 320871 h 4588585"/>
              <a:gd name="connsiteX6745" fmla="*/ 4249889 w 5047599"/>
              <a:gd name="connsiteY6745" fmla="*/ 322355 h 4588585"/>
              <a:gd name="connsiteX6746" fmla="*/ 4261312 w 5047599"/>
              <a:gd name="connsiteY6746" fmla="*/ 329061 h 4588585"/>
              <a:gd name="connsiteX6747" fmla="*/ 4274319 w 5047599"/>
              <a:gd name="connsiteY6747" fmla="*/ 339354 h 4588585"/>
              <a:gd name="connsiteX6748" fmla="*/ 4284939 w 5047599"/>
              <a:gd name="connsiteY6748" fmla="*/ 347782 h 4588585"/>
              <a:gd name="connsiteX6749" fmla="*/ 4293998 w 5047599"/>
              <a:gd name="connsiteY6749" fmla="*/ 354933 h 4588585"/>
              <a:gd name="connsiteX6750" fmla="*/ 4303711 w 5047599"/>
              <a:gd name="connsiteY6750" fmla="*/ 354424 h 4588585"/>
              <a:gd name="connsiteX6751" fmla="*/ 4306349 w 5047599"/>
              <a:gd name="connsiteY6751" fmla="*/ 355719 h 4588585"/>
              <a:gd name="connsiteX6752" fmla="*/ 4308799 w 5047599"/>
              <a:gd name="connsiteY6752" fmla="*/ 357948 h 4588585"/>
              <a:gd name="connsiteX6753" fmla="*/ 4311586 w 5047599"/>
              <a:gd name="connsiteY6753" fmla="*/ 363826 h 4588585"/>
              <a:gd name="connsiteX6754" fmla="*/ 4317140 w 5047599"/>
              <a:gd name="connsiteY6754" fmla="*/ 377093 h 4588585"/>
              <a:gd name="connsiteX6755" fmla="*/ 4321868 w 5047599"/>
              <a:gd name="connsiteY6755" fmla="*/ 381484 h 4588585"/>
              <a:gd name="connsiteX6756" fmla="*/ 4329153 w 5047599"/>
              <a:gd name="connsiteY6756" fmla="*/ 392076 h 4588585"/>
              <a:gd name="connsiteX6757" fmla="*/ 4335994 w 5047599"/>
              <a:gd name="connsiteY6757" fmla="*/ 401989 h 4588585"/>
              <a:gd name="connsiteX6758" fmla="*/ 4331497 w 5047599"/>
              <a:gd name="connsiteY6758" fmla="*/ 415443 h 4588585"/>
              <a:gd name="connsiteX6759" fmla="*/ 4327084 w 5047599"/>
              <a:gd name="connsiteY6759" fmla="*/ 429410 h 4588585"/>
              <a:gd name="connsiteX6760" fmla="*/ 4327084 w 5047599"/>
              <a:gd name="connsiteY6760" fmla="*/ 447367 h 4588585"/>
              <a:gd name="connsiteX6761" fmla="*/ 4327084 w 5047599"/>
              <a:gd name="connsiteY6761" fmla="*/ 457002 h 4588585"/>
              <a:gd name="connsiteX6762" fmla="*/ 4336375 w 5047599"/>
              <a:gd name="connsiteY6762" fmla="*/ 457405 h 4588585"/>
              <a:gd name="connsiteX6763" fmla="*/ 4346699 w 5047599"/>
              <a:gd name="connsiteY6763" fmla="*/ 457871 h 4588585"/>
              <a:gd name="connsiteX6764" fmla="*/ 4346784 w 5047599"/>
              <a:gd name="connsiteY6764" fmla="*/ 469353 h 4588585"/>
              <a:gd name="connsiteX6765" fmla="*/ 4346868 w 5047599"/>
              <a:gd name="connsiteY6765" fmla="*/ 480877 h 4588585"/>
              <a:gd name="connsiteX6766" fmla="*/ 4346953 w 5047599"/>
              <a:gd name="connsiteY6766" fmla="*/ 493993 h 4588585"/>
              <a:gd name="connsiteX6767" fmla="*/ 4349994 w 5047599"/>
              <a:gd name="connsiteY6767" fmla="*/ 494547 h 4588585"/>
              <a:gd name="connsiteX6768" fmla="*/ 4354808 w 5047599"/>
              <a:gd name="connsiteY6768" fmla="*/ 497369 h 4588585"/>
              <a:gd name="connsiteX6769" fmla="*/ 4356877 w 5047599"/>
              <a:gd name="connsiteY6769" fmla="*/ 501616 h 4588585"/>
              <a:gd name="connsiteX6770" fmla="*/ 4359453 w 5047599"/>
              <a:gd name="connsiteY6770" fmla="*/ 503928 h 4588585"/>
              <a:gd name="connsiteX6771" fmla="*/ 4362599 w 5047599"/>
              <a:gd name="connsiteY6771" fmla="*/ 504310 h 4588585"/>
              <a:gd name="connsiteX6772" fmla="*/ 4365682 w 5047599"/>
              <a:gd name="connsiteY6772" fmla="*/ 506390 h 4588585"/>
              <a:gd name="connsiteX6773" fmla="*/ 4368744 w 5047599"/>
              <a:gd name="connsiteY6773" fmla="*/ 510191 h 4588585"/>
              <a:gd name="connsiteX6774" fmla="*/ 4369862 w 5047599"/>
              <a:gd name="connsiteY6774" fmla="*/ 513034 h 4588585"/>
              <a:gd name="connsiteX6775" fmla="*/ 4369038 w 5047599"/>
              <a:gd name="connsiteY6775" fmla="*/ 515009 h 4588585"/>
              <a:gd name="connsiteX6776" fmla="*/ 4369693 w 5047599"/>
              <a:gd name="connsiteY6776" fmla="*/ 518446 h 4588585"/>
              <a:gd name="connsiteX6777" fmla="*/ 4371826 w 5047599"/>
              <a:gd name="connsiteY6777" fmla="*/ 523371 h 4588585"/>
              <a:gd name="connsiteX6778" fmla="*/ 4374423 w 5047599"/>
              <a:gd name="connsiteY6778" fmla="*/ 525685 h 4588585"/>
              <a:gd name="connsiteX6779" fmla="*/ 4378456 w 5047599"/>
              <a:gd name="connsiteY6779" fmla="*/ 528529 h 4588585"/>
              <a:gd name="connsiteX6780" fmla="*/ 4372988 w 5047599"/>
              <a:gd name="connsiteY6780" fmla="*/ 530163 h 4588585"/>
              <a:gd name="connsiteX6781" fmla="*/ 4367075 w 5047599"/>
              <a:gd name="connsiteY6781" fmla="*/ 528912 h 4588585"/>
              <a:gd name="connsiteX6782" fmla="*/ 4354470 w 5047599"/>
              <a:gd name="connsiteY6782" fmla="*/ 523160 h 4588585"/>
              <a:gd name="connsiteX6783" fmla="*/ 4350374 w 5047599"/>
              <a:gd name="connsiteY6783" fmla="*/ 522990 h 4588585"/>
              <a:gd name="connsiteX6784" fmla="*/ 4345031 w 5047599"/>
              <a:gd name="connsiteY6784" fmla="*/ 525177 h 4588585"/>
              <a:gd name="connsiteX6785" fmla="*/ 4344799 w 5047599"/>
              <a:gd name="connsiteY6785" fmla="*/ 527128 h 4588585"/>
              <a:gd name="connsiteX6786" fmla="*/ 4331476 w 5047599"/>
              <a:gd name="connsiteY6786" fmla="*/ 520698 h 4588585"/>
              <a:gd name="connsiteX6787" fmla="*/ 4326683 w 5047599"/>
              <a:gd name="connsiteY6787" fmla="*/ 519404 h 4588585"/>
              <a:gd name="connsiteX6788" fmla="*/ 4324951 w 5047599"/>
              <a:gd name="connsiteY6788" fmla="*/ 519277 h 4588585"/>
              <a:gd name="connsiteX6789" fmla="*/ 4317308 w 5047599"/>
              <a:gd name="connsiteY6789" fmla="*/ 519339 h 4588585"/>
              <a:gd name="connsiteX6790" fmla="*/ 4306434 w 5047599"/>
              <a:gd name="connsiteY6790" fmla="*/ 520508 h 4588585"/>
              <a:gd name="connsiteX6791" fmla="*/ 4300036 w 5047599"/>
              <a:gd name="connsiteY6791" fmla="*/ 523119 h 4588585"/>
              <a:gd name="connsiteX6792" fmla="*/ 4295602 w 5047599"/>
              <a:gd name="connsiteY6792" fmla="*/ 525877 h 4588585"/>
              <a:gd name="connsiteX6793" fmla="*/ 4293575 w 5047599"/>
              <a:gd name="connsiteY6793" fmla="*/ 528595 h 4588585"/>
              <a:gd name="connsiteX6794" fmla="*/ 4292857 w 5047599"/>
              <a:gd name="connsiteY6794" fmla="*/ 530058 h 4588585"/>
              <a:gd name="connsiteX6795" fmla="*/ 4289395 w 5047599"/>
              <a:gd name="connsiteY6795" fmla="*/ 538060 h 4588585"/>
              <a:gd name="connsiteX6796" fmla="*/ 4285382 w 5047599"/>
              <a:gd name="connsiteY6796" fmla="*/ 548311 h 4588585"/>
              <a:gd name="connsiteX6797" fmla="*/ 4281224 w 5047599"/>
              <a:gd name="connsiteY6797" fmla="*/ 557521 h 4588585"/>
              <a:gd name="connsiteX6798" fmla="*/ 4273136 w 5047599"/>
              <a:gd name="connsiteY6798" fmla="*/ 570470 h 4588585"/>
              <a:gd name="connsiteX6799" fmla="*/ 4268660 w 5047599"/>
              <a:gd name="connsiteY6799" fmla="*/ 576434 h 4588585"/>
              <a:gd name="connsiteX6800" fmla="*/ 4259052 w 5047599"/>
              <a:gd name="connsiteY6800" fmla="*/ 587512 h 4588585"/>
              <a:gd name="connsiteX6801" fmla="*/ 4250745 w 5047599"/>
              <a:gd name="connsiteY6801" fmla="*/ 589294 h 4588585"/>
              <a:gd name="connsiteX6802" fmla="*/ 4259052 w 5047599"/>
              <a:gd name="connsiteY6802" fmla="*/ 587533 h 4588585"/>
              <a:gd name="connsiteX6803" fmla="*/ 4259052 w 5047599"/>
              <a:gd name="connsiteY6803" fmla="*/ 587512 h 4588585"/>
              <a:gd name="connsiteX6804" fmla="*/ 4259088 w 5047599"/>
              <a:gd name="connsiteY6804" fmla="*/ 587517 h 4588585"/>
              <a:gd name="connsiteX6805" fmla="*/ 4268702 w 5047599"/>
              <a:gd name="connsiteY6805" fmla="*/ 576455 h 4588585"/>
              <a:gd name="connsiteX6806" fmla="*/ 4273178 w 5047599"/>
              <a:gd name="connsiteY6806" fmla="*/ 570493 h 4588585"/>
              <a:gd name="connsiteX6807" fmla="*/ 4281265 w 5047599"/>
              <a:gd name="connsiteY6807" fmla="*/ 557567 h 4588585"/>
              <a:gd name="connsiteX6808" fmla="*/ 4285424 w 5047599"/>
              <a:gd name="connsiteY6808" fmla="*/ 548334 h 4588585"/>
              <a:gd name="connsiteX6809" fmla="*/ 4289436 w 5047599"/>
              <a:gd name="connsiteY6809" fmla="*/ 538082 h 4588585"/>
              <a:gd name="connsiteX6810" fmla="*/ 4292899 w 5047599"/>
              <a:gd name="connsiteY6810" fmla="*/ 530103 h 4588585"/>
              <a:gd name="connsiteX6811" fmla="*/ 4293617 w 5047599"/>
              <a:gd name="connsiteY6811" fmla="*/ 528639 h 4588585"/>
              <a:gd name="connsiteX6812" fmla="*/ 4295622 w 5047599"/>
              <a:gd name="connsiteY6812" fmla="*/ 525922 h 4588585"/>
              <a:gd name="connsiteX6813" fmla="*/ 4300057 w 5047599"/>
              <a:gd name="connsiteY6813" fmla="*/ 523143 h 4588585"/>
              <a:gd name="connsiteX6814" fmla="*/ 4306455 w 5047599"/>
              <a:gd name="connsiteY6814" fmla="*/ 520531 h 4588585"/>
              <a:gd name="connsiteX6815" fmla="*/ 4317329 w 5047599"/>
              <a:gd name="connsiteY6815" fmla="*/ 519386 h 4588585"/>
              <a:gd name="connsiteX6816" fmla="*/ 4324972 w 5047599"/>
              <a:gd name="connsiteY6816" fmla="*/ 519324 h 4588585"/>
              <a:gd name="connsiteX6817" fmla="*/ 4326704 w 5047599"/>
              <a:gd name="connsiteY6817" fmla="*/ 519450 h 4588585"/>
              <a:gd name="connsiteX6818" fmla="*/ 4331518 w 5047599"/>
              <a:gd name="connsiteY6818" fmla="*/ 520744 h 4588585"/>
              <a:gd name="connsiteX6819" fmla="*/ 4344798 w 5047599"/>
              <a:gd name="connsiteY6819" fmla="*/ 527134 h 4588585"/>
              <a:gd name="connsiteX6820" fmla="*/ 4344503 w 5047599"/>
              <a:gd name="connsiteY6820" fmla="*/ 529654 h 4588585"/>
              <a:gd name="connsiteX6821" fmla="*/ 4346404 w 5047599"/>
              <a:gd name="connsiteY6821" fmla="*/ 537190 h 4588585"/>
              <a:gd name="connsiteX6822" fmla="*/ 4350647 w 5047599"/>
              <a:gd name="connsiteY6822" fmla="*/ 545404 h 4588585"/>
              <a:gd name="connsiteX6823" fmla="*/ 4354132 w 5047599"/>
              <a:gd name="connsiteY6823" fmla="*/ 552046 h 4588585"/>
              <a:gd name="connsiteX6824" fmla="*/ 4354575 w 5047599"/>
              <a:gd name="connsiteY6824" fmla="*/ 555167 h 4588585"/>
              <a:gd name="connsiteX6825" fmla="*/ 4351387 w 5047599"/>
              <a:gd name="connsiteY6825" fmla="*/ 554722 h 4588585"/>
              <a:gd name="connsiteX6826" fmla="*/ 4348959 w 5047599"/>
              <a:gd name="connsiteY6826" fmla="*/ 553470 h 4588585"/>
              <a:gd name="connsiteX6827" fmla="*/ 4344292 w 5047599"/>
              <a:gd name="connsiteY6827" fmla="*/ 552154 h 4588585"/>
              <a:gd name="connsiteX6828" fmla="*/ 4335276 w 5047599"/>
              <a:gd name="connsiteY6828" fmla="*/ 560961 h 4588585"/>
              <a:gd name="connsiteX6829" fmla="*/ 4329828 w 5047599"/>
              <a:gd name="connsiteY6829" fmla="*/ 565758 h 4588585"/>
              <a:gd name="connsiteX6830" fmla="*/ 4329680 w 5047599"/>
              <a:gd name="connsiteY6830" fmla="*/ 567392 h 4588585"/>
              <a:gd name="connsiteX6831" fmla="*/ 4336944 w 5047599"/>
              <a:gd name="connsiteY6831" fmla="*/ 569241 h 4588585"/>
              <a:gd name="connsiteX6832" fmla="*/ 4342286 w 5047599"/>
              <a:gd name="connsiteY6832" fmla="*/ 569198 h 4588585"/>
              <a:gd name="connsiteX6833" fmla="*/ 4346002 w 5047599"/>
              <a:gd name="connsiteY6833" fmla="*/ 567904 h 4588585"/>
              <a:gd name="connsiteX6834" fmla="*/ 4349149 w 5047599"/>
              <a:gd name="connsiteY6834" fmla="*/ 569962 h 4588585"/>
              <a:gd name="connsiteX6835" fmla="*/ 4351218 w 5047599"/>
              <a:gd name="connsiteY6835" fmla="*/ 575397 h 4588585"/>
              <a:gd name="connsiteX6836" fmla="*/ 4352042 w 5047599"/>
              <a:gd name="connsiteY6836" fmla="*/ 579810 h 4588585"/>
              <a:gd name="connsiteX6837" fmla="*/ 4356982 w 5047599"/>
              <a:gd name="connsiteY6837" fmla="*/ 595497 h 4588585"/>
              <a:gd name="connsiteX6838" fmla="*/ 4361078 w 5047599"/>
              <a:gd name="connsiteY6838" fmla="*/ 600781 h 4588585"/>
              <a:gd name="connsiteX6839" fmla="*/ 4366188 w 5047599"/>
              <a:gd name="connsiteY6839" fmla="*/ 610118 h 4588585"/>
              <a:gd name="connsiteX6840" fmla="*/ 4368088 w 5047599"/>
              <a:gd name="connsiteY6840" fmla="*/ 614958 h 4588585"/>
              <a:gd name="connsiteX6841" fmla="*/ 4369186 w 5047599"/>
              <a:gd name="connsiteY6841" fmla="*/ 619012 h 4588585"/>
              <a:gd name="connsiteX6842" fmla="*/ 4372311 w 5047599"/>
              <a:gd name="connsiteY6842" fmla="*/ 624998 h 4588585"/>
              <a:gd name="connsiteX6843" fmla="*/ 4372302 w 5047599"/>
              <a:gd name="connsiteY6843" fmla="*/ 624998 h 4588585"/>
              <a:gd name="connsiteX6844" fmla="*/ 4375605 w 5047599"/>
              <a:gd name="connsiteY6844" fmla="*/ 631320 h 4588585"/>
              <a:gd name="connsiteX6845" fmla="*/ 4377062 w 5047599"/>
              <a:gd name="connsiteY6845" fmla="*/ 637645 h 4588585"/>
              <a:gd name="connsiteX6846" fmla="*/ 4383185 w 5047599"/>
              <a:gd name="connsiteY6846" fmla="*/ 652607 h 4588585"/>
              <a:gd name="connsiteX6847" fmla="*/ 4391926 w 5047599"/>
              <a:gd name="connsiteY6847" fmla="*/ 664259 h 4588585"/>
              <a:gd name="connsiteX6848" fmla="*/ 4394016 w 5047599"/>
              <a:gd name="connsiteY6848" fmla="*/ 668504 h 4588585"/>
              <a:gd name="connsiteX6849" fmla="*/ 4395410 w 5047599"/>
              <a:gd name="connsiteY6849" fmla="*/ 674894 h 4588585"/>
              <a:gd name="connsiteX6850" fmla="*/ 4393890 w 5047599"/>
              <a:gd name="connsiteY6850" fmla="*/ 677271 h 4588585"/>
              <a:gd name="connsiteX6851" fmla="*/ 4393299 w 5047599"/>
              <a:gd name="connsiteY6851" fmla="*/ 680007 h 4588585"/>
              <a:gd name="connsiteX6852" fmla="*/ 4399781 w 5047599"/>
              <a:gd name="connsiteY6852" fmla="*/ 686376 h 4588585"/>
              <a:gd name="connsiteX6853" fmla="*/ 4410465 w 5047599"/>
              <a:gd name="connsiteY6853" fmla="*/ 691766 h 4588585"/>
              <a:gd name="connsiteX6854" fmla="*/ 4414645 w 5047599"/>
              <a:gd name="connsiteY6854" fmla="*/ 693124 h 4588585"/>
              <a:gd name="connsiteX6855" fmla="*/ 4419396 w 5047599"/>
              <a:gd name="connsiteY6855" fmla="*/ 695501 h 4588585"/>
              <a:gd name="connsiteX6856" fmla="*/ 4415702 w 5047599"/>
              <a:gd name="connsiteY6856" fmla="*/ 699173 h 4588585"/>
              <a:gd name="connsiteX6857" fmla="*/ 4422015 w 5047599"/>
              <a:gd name="connsiteY6857" fmla="*/ 707663 h 4588585"/>
              <a:gd name="connsiteX6858" fmla="*/ 4429342 w 5047599"/>
              <a:gd name="connsiteY6858" fmla="*/ 716301 h 4588585"/>
              <a:gd name="connsiteX6859" fmla="*/ 4437196 w 5047599"/>
              <a:gd name="connsiteY6859" fmla="*/ 718254 h 4588585"/>
              <a:gd name="connsiteX6860" fmla="*/ 4447795 w 5047599"/>
              <a:gd name="connsiteY6860" fmla="*/ 731286 h 4588585"/>
              <a:gd name="connsiteX6861" fmla="*/ 4463779 w 5047599"/>
              <a:gd name="connsiteY6861" fmla="*/ 739711 h 4588585"/>
              <a:gd name="connsiteX6862" fmla="*/ 4473471 w 5047599"/>
              <a:gd name="connsiteY6862" fmla="*/ 750747 h 4588585"/>
              <a:gd name="connsiteX6863" fmla="*/ 4472564 w 5047599"/>
              <a:gd name="connsiteY6863" fmla="*/ 750960 h 4588585"/>
              <a:gd name="connsiteX6864" fmla="*/ 4469713 w 5047599"/>
              <a:gd name="connsiteY6864" fmla="*/ 749837 h 4588585"/>
              <a:gd name="connsiteX6865" fmla="*/ 4466144 w 5047599"/>
              <a:gd name="connsiteY6865" fmla="*/ 748331 h 4588585"/>
              <a:gd name="connsiteX6866" fmla="*/ 4465068 w 5047599"/>
              <a:gd name="connsiteY6866" fmla="*/ 749687 h 4588585"/>
              <a:gd name="connsiteX6867" fmla="*/ 4465258 w 5047599"/>
              <a:gd name="connsiteY6867" fmla="*/ 754316 h 4588585"/>
              <a:gd name="connsiteX6868" fmla="*/ 4466208 w 5047599"/>
              <a:gd name="connsiteY6868" fmla="*/ 759749 h 4588585"/>
              <a:gd name="connsiteX6869" fmla="*/ 4471148 w 5047599"/>
              <a:gd name="connsiteY6869" fmla="*/ 764438 h 4588585"/>
              <a:gd name="connsiteX6870" fmla="*/ 4475540 w 5047599"/>
              <a:gd name="connsiteY6870" fmla="*/ 767814 h 4588585"/>
              <a:gd name="connsiteX6871" fmla="*/ 4477250 w 5047599"/>
              <a:gd name="connsiteY6871" fmla="*/ 774201 h 4588585"/>
              <a:gd name="connsiteX6872" fmla="*/ 4473788 w 5047599"/>
              <a:gd name="connsiteY6872" fmla="*/ 787934 h 4588585"/>
              <a:gd name="connsiteX6873" fmla="*/ 4472585 w 5047599"/>
              <a:gd name="connsiteY6873" fmla="*/ 787934 h 4588585"/>
              <a:gd name="connsiteX6874" fmla="*/ 4470262 w 5047599"/>
              <a:gd name="connsiteY6874" fmla="*/ 786746 h 4588585"/>
              <a:gd name="connsiteX6875" fmla="*/ 4467792 w 5047599"/>
              <a:gd name="connsiteY6875" fmla="*/ 786470 h 4588585"/>
              <a:gd name="connsiteX6876" fmla="*/ 4466461 w 5047599"/>
              <a:gd name="connsiteY6876" fmla="*/ 787253 h 4588585"/>
              <a:gd name="connsiteX6877" fmla="*/ 4469396 w 5047599"/>
              <a:gd name="connsiteY6877" fmla="*/ 797121 h 4588585"/>
              <a:gd name="connsiteX6878" fmla="*/ 4472331 w 5047599"/>
              <a:gd name="connsiteY6878" fmla="*/ 804679 h 4588585"/>
              <a:gd name="connsiteX6879" fmla="*/ 4475836 w 5047599"/>
              <a:gd name="connsiteY6879" fmla="*/ 810662 h 4588585"/>
              <a:gd name="connsiteX6880" fmla="*/ 4478771 w 5047599"/>
              <a:gd name="connsiteY6880" fmla="*/ 819406 h 4588585"/>
              <a:gd name="connsiteX6881" fmla="*/ 4481284 w 5047599"/>
              <a:gd name="connsiteY6881" fmla="*/ 823143 h 4588585"/>
              <a:gd name="connsiteX6882" fmla="*/ 4491566 w 5047599"/>
              <a:gd name="connsiteY6882" fmla="*/ 832416 h 4588585"/>
              <a:gd name="connsiteX6883" fmla="*/ 4494734 w 5047599"/>
              <a:gd name="connsiteY6883" fmla="*/ 840164 h 4588585"/>
              <a:gd name="connsiteX6884" fmla="*/ 4497668 w 5047599"/>
              <a:gd name="connsiteY6884" fmla="*/ 854575 h 4588585"/>
              <a:gd name="connsiteX6885" fmla="*/ 4504129 w 5047599"/>
              <a:gd name="connsiteY6885" fmla="*/ 862598 h 4588585"/>
              <a:gd name="connsiteX6886" fmla="*/ 4507613 w 5047599"/>
              <a:gd name="connsiteY6886" fmla="*/ 868774 h 4588585"/>
              <a:gd name="connsiteX6887" fmla="*/ 4512280 w 5047599"/>
              <a:gd name="connsiteY6887" fmla="*/ 874017 h 4588585"/>
              <a:gd name="connsiteX6888" fmla="*/ 4515321 w 5047599"/>
              <a:gd name="connsiteY6888" fmla="*/ 881171 h 4588585"/>
              <a:gd name="connsiteX6889" fmla="*/ 4519628 w 5047599"/>
              <a:gd name="connsiteY6889" fmla="*/ 886666 h 4588585"/>
              <a:gd name="connsiteX6890" fmla="*/ 4521866 w 5047599"/>
              <a:gd name="connsiteY6890" fmla="*/ 888045 h 4588585"/>
              <a:gd name="connsiteX6891" fmla="*/ 4525223 w 5047599"/>
              <a:gd name="connsiteY6891" fmla="*/ 888620 h 4588585"/>
              <a:gd name="connsiteX6892" fmla="*/ 4529403 w 5047599"/>
              <a:gd name="connsiteY6892" fmla="*/ 888641 h 4588585"/>
              <a:gd name="connsiteX6893" fmla="*/ 4534408 w 5047599"/>
              <a:gd name="connsiteY6893" fmla="*/ 887219 h 4588585"/>
              <a:gd name="connsiteX6894" fmla="*/ 4539750 w 5047599"/>
              <a:gd name="connsiteY6894" fmla="*/ 885883 h 4588585"/>
              <a:gd name="connsiteX6895" fmla="*/ 4543910 w 5047599"/>
              <a:gd name="connsiteY6895" fmla="*/ 888664 h 4588585"/>
              <a:gd name="connsiteX6896" fmla="*/ 4548217 w 5047599"/>
              <a:gd name="connsiteY6896" fmla="*/ 888240 h 4588585"/>
              <a:gd name="connsiteX6897" fmla="*/ 4548661 w 5047599"/>
              <a:gd name="connsiteY6897" fmla="*/ 890829 h 4588585"/>
              <a:gd name="connsiteX6898" fmla="*/ 4545768 w 5047599"/>
              <a:gd name="connsiteY6898" fmla="*/ 894352 h 4588585"/>
              <a:gd name="connsiteX6899" fmla="*/ 4542220 w 5047599"/>
              <a:gd name="connsiteY6899" fmla="*/ 903224 h 4588585"/>
              <a:gd name="connsiteX6900" fmla="*/ 4547266 w 5047599"/>
              <a:gd name="connsiteY6900" fmla="*/ 904625 h 4588585"/>
              <a:gd name="connsiteX6901" fmla="*/ 4552102 w 5047599"/>
              <a:gd name="connsiteY6901" fmla="*/ 905326 h 4588585"/>
              <a:gd name="connsiteX6902" fmla="*/ 4555523 w 5047599"/>
              <a:gd name="connsiteY6902" fmla="*/ 906746 h 4588585"/>
              <a:gd name="connsiteX6903" fmla="*/ 4557529 w 5047599"/>
              <a:gd name="connsiteY6903" fmla="*/ 906746 h 4588585"/>
              <a:gd name="connsiteX6904" fmla="*/ 4557529 w 5047599"/>
              <a:gd name="connsiteY6904" fmla="*/ 908594 h 4588585"/>
              <a:gd name="connsiteX6905" fmla="*/ 4557761 w 5047599"/>
              <a:gd name="connsiteY6905" fmla="*/ 916997 h 4588585"/>
              <a:gd name="connsiteX6906" fmla="*/ 4558964 w 5047599"/>
              <a:gd name="connsiteY6906" fmla="*/ 920203 h 4588585"/>
              <a:gd name="connsiteX6907" fmla="*/ 4561160 w 5047599"/>
              <a:gd name="connsiteY6907" fmla="*/ 923047 h 4588585"/>
              <a:gd name="connsiteX6908" fmla="*/ 4564412 w 5047599"/>
              <a:gd name="connsiteY6908" fmla="*/ 927291 h 4588585"/>
              <a:gd name="connsiteX6909" fmla="*/ 4567663 w 5047599"/>
              <a:gd name="connsiteY6909" fmla="*/ 931537 h 4588585"/>
              <a:gd name="connsiteX6910" fmla="*/ 4570915 w 5047599"/>
              <a:gd name="connsiteY6910" fmla="*/ 935782 h 4588585"/>
              <a:gd name="connsiteX6911" fmla="*/ 4574166 w 5047599"/>
              <a:gd name="connsiteY6911" fmla="*/ 940027 h 4588585"/>
              <a:gd name="connsiteX6912" fmla="*/ 4577418 w 5047599"/>
              <a:gd name="connsiteY6912" fmla="*/ 944271 h 4588585"/>
              <a:gd name="connsiteX6913" fmla="*/ 4580692 w 5047599"/>
              <a:gd name="connsiteY6913" fmla="*/ 948515 h 4588585"/>
              <a:gd name="connsiteX6914" fmla="*/ 4583943 w 5047599"/>
              <a:gd name="connsiteY6914" fmla="*/ 952741 h 4588585"/>
              <a:gd name="connsiteX6915" fmla="*/ 4587195 w 5047599"/>
              <a:gd name="connsiteY6915" fmla="*/ 956985 h 4588585"/>
              <a:gd name="connsiteX6916" fmla="*/ 4590446 w 5047599"/>
              <a:gd name="connsiteY6916" fmla="*/ 961207 h 4588585"/>
              <a:gd name="connsiteX6917" fmla="*/ 4593698 w 5047599"/>
              <a:gd name="connsiteY6917" fmla="*/ 965432 h 4588585"/>
              <a:gd name="connsiteX6918" fmla="*/ 4596949 w 5047599"/>
              <a:gd name="connsiteY6918" fmla="*/ 969655 h 4588585"/>
              <a:gd name="connsiteX6919" fmla="*/ 4600201 w 5047599"/>
              <a:gd name="connsiteY6919" fmla="*/ 973878 h 4588585"/>
              <a:gd name="connsiteX6920" fmla="*/ 4603452 w 5047599"/>
              <a:gd name="connsiteY6920" fmla="*/ 978103 h 4588585"/>
              <a:gd name="connsiteX6921" fmla="*/ 4606705 w 5047599"/>
              <a:gd name="connsiteY6921" fmla="*/ 982326 h 4588585"/>
              <a:gd name="connsiteX6922" fmla="*/ 4609977 w 5047599"/>
              <a:gd name="connsiteY6922" fmla="*/ 986549 h 4588585"/>
              <a:gd name="connsiteX6923" fmla="*/ 4613229 w 5047599"/>
              <a:gd name="connsiteY6923" fmla="*/ 990753 h 4588585"/>
              <a:gd name="connsiteX6924" fmla="*/ 4615911 w 5047599"/>
              <a:gd name="connsiteY6924" fmla="*/ 994232 h 4588585"/>
              <a:gd name="connsiteX6925" fmla="*/ 4620894 w 5047599"/>
              <a:gd name="connsiteY6925" fmla="*/ 994892 h 4588585"/>
              <a:gd name="connsiteX6926" fmla="*/ 4622477 w 5047599"/>
              <a:gd name="connsiteY6926" fmla="*/ 995105 h 4588585"/>
              <a:gd name="connsiteX6927" fmla="*/ 4626975 w 5047599"/>
              <a:gd name="connsiteY6927" fmla="*/ 995700 h 4588585"/>
              <a:gd name="connsiteX6928" fmla="*/ 4633942 w 5047599"/>
              <a:gd name="connsiteY6928" fmla="*/ 996615 h 4588585"/>
              <a:gd name="connsiteX6929" fmla="*/ 4642980 w 5047599"/>
              <a:gd name="connsiteY6929" fmla="*/ 997824 h 4588585"/>
              <a:gd name="connsiteX6930" fmla="*/ 4653684 w 5047599"/>
              <a:gd name="connsiteY6930" fmla="*/ 999245 h 4588585"/>
              <a:gd name="connsiteX6931" fmla="*/ 4665615 w 5047599"/>
              <a:gd name="connsiteY6931" fmla="*/ 1000816 h 4588585"/>
              <a:gd name="connsiteX6932" fmla="*/ 4678389 w 5047599"/>
              <a:gd name="connsiteY6932" fmla="*/ 1002514 h 4588585"/>
              <a:gd name="connsiteX6933" fmla="*/ 4691564 w 5047599"/>
              <a:gd name="connsiteY6933" fmla="*/ 1004254 h 4588585"/>
              <a:gd name="connsiteX6934" fmla="*/ 4704761 w 5047599"/>
              <a:gd name="connsiteY6934" fmla="*/ 1005993 h 4588585"/>
              <a:gd name="connsiteX6935" fmla="*/ 4717514 w 5047599"/>
              <a:gd name="connsiteY6935" fmla="*/ 1007692 h 4588585"/>
              <a:gd name="connsiteX6936" fmla="*/ 4729443 w 5047599"/>
              <a:gd name="connsiteY6936" fmla="*/ 1009283 h 4588585"/>
              <a:gd name="connsiteX6937" fmla="*/ 4740149 w 5047599"/>
              <a:gd name="connsiteY6937" fmla="*/ 1010683 h 4588585"/>
              <a:gd name="connsiteX6938" fmla="*/ 4749208 w 5047599"/>
              <a:gd name="connsiteY6938" fmla="*/ 1011893 h 4588585"/>
              <a:gd name="connsiteX6939" fmla="*/ 4756175 w 5047599"/>
              <a:gd name="connsiteY6939" fmla="*/ 1012805 h 4588585"/>
              <a:gd name="connsiteX6940" fmla="*/ 4760672 w 5047599"/>
              <a:gd name="connsiteY6940" fmla="*/ 1013400 h 4588585"/>
              <a:gd name="connsiteX6941" fmla="*/ 4762256 w 5047599"/>
              <a:gd name="connsiteY6941" fmla="*/ 1013613 h 4588585"/>
              <a:gd name="connsiteX6942" fmla="*/ 4766965 w 5047599"/>
              <a:gd name="connsiteY6942" fmla="*/ 1014231 h 4588585"/>
              <a:gd name="connsiteX6943" fmla="*/ 4767851 w 5047599"/>
              <a:gd name="connsiteY6943" fmla="*/ 1014083 h 4588585"/>
              <a:gd name="connsiteX6944" fmla="*/ 4767880 w 5047599"/>
              <a:gd name="connsiteY6944" fmla="*/ 1014045 h 4588585"/>
              <a:gd name="connsiteX6945" fmla="*/ 4767049 w 5047599"/>
              <a:gd name="connsiteY6945" fmla="*/ 1014184 h 4588585"/>
              <a:gd name="connsiteX6946" fmla="*/ 4762341 w 5047599"/>
              <a:gd name="connsiteY6946" fmla="*/ 1013568 h 4588585"/>
              <a:gd name="connsiteX6947" fmla="*/ 4760757 w 5047599"/>
              <a:gd name="connsiteY6947" fmla="*/ 1013354 h 4588585"/>
              <a:gd name="connsiteX6948" fmla="*/ 4756260 w 5047599"/>
              <a:gd name="connsiteY6948" fmla="*/ 1012758 h 4588585"/>
              <a:gd name="connsiteX6949" fmla="*/ 4749292 w 5047599"/>
              <a:gd name="connsiteY6949" fmla="*/ 1011845 h 4588585"/>
              <a:gd name="connsiteX6950" fmla="*/ 4740234 w 5047599"/>
              <a:gd name="connsiteY6950" fmla="*/ 1010634 h 4588585"/>
              <a:gd name="connsiteX6951" fmla="*/ 4729528 w 5047599"/>
              <a:gd name="connsiteY6951" fmla="*/ 1009234 h 4588585"/>
              <a:gd name="connsiteX6952" fmla="*/ 4717599 w 5047599"/>
              <a:gd name="connsiteY6952" fmla="*/ 1007643 h 4588585"/>
              <a:gd name="connsiteX6953" fmla="*/ 4704846 w 5047599"/>
              <a:gd name="connsiteY6953" fmla="*/ 1005945 h 4588585"/>
              <a:gd name="connsiteX6954" fmla="*/ 4691649 w 5047599"/>
              <a:gd name="connsiteY6954" fmla="*/ 1004205 h 4588585"/>
              <a:gd name="connsiteX6955" fmla="*/ 4678473 w 5047599"/>
              <a:gd name="connsiteY6955" fmla="*/ 1002465 h 4588585"/>
              <a:gd name="connsiteX6956" fmla="*/ 4665699 w 5047599"/>
              <a:gd name="connsiteY6956" fmla="*/ 1000768 h 4588585"/>
              <a:gd name="connsiteX6957" fmla="*/ 4653769 w 5047599"/>
              <a:gd name="connsiteY6957" fmla="*/ 999196 h 4588585"/>
              <a:gd name="connsiteX6958" fmla="*/ 4643064 w 5047599"/>
              <a:gd name="connsiteY6958" fmla="*/ 997776 h 4588585"/>
              <a:gd name="connsiteX6959" fmla="*/ 4634027 w 5047599"/>
              <a:gd name="connsiteY6959" fmla="*/ 996566 h 4588585"/>
              <a:gd name="connsiteX6960" fmla="*/ 4627059 w 5047599"/>
              <a:gd name="connsiteY6960" fmla="*/ 995651 h 4588585"/>
              <a:gd name="connsiteX6961" fmla="*/ 4622562 w 5047599"/>
              <a:gd name="connsiteY6961" fmla="*/ 995056 h 4588585"/>
              <a:gd name="connsiteX6962" fmla="*/ 4620978 w 5047599"/>
              <a:gd name="connsiteY6962" fmla="*/ 994843 h 4588585"/>
              <a:gd name="connsiteX6963" fmla="*/ 4615995 w 5047599"/>
              <a:gd name="connsiteY6963" fmla="*/ 994184 h 4588585"/>
              <a:gd name="connsiteX6964" fmla="*/ 4613313 w 5047599"/>
              <a:gd name="connsiteY6964" fmla="*/ 990704 h 4588585"/>
              <a:gd name="connsiteX6965" fmla="*/ 4610062 w 5047599"/>
              <a:gd name="connsiteY6965" fmla="*/ 986500 h 4588585"/>
              <a:gd name="connsiteX6966" fmla="*/ 4606789 w 5047599"/>
              <a:gd name="connsiteY6966" fmla="*/ 982278 h 4588585"/>
              <a:gd name="connsiteX6967" fmla="*/ 4603538 w 5047599"/>
              <a:gd name="connsiteY6967" fmla="*/ 978055 h 4588585"/>
              <a:gd name="connsiteX6968" fmla="*/ 4600286 w 5047599"/>
              <a:gd name="connsiteY6968" fmla="*/ 973832 h 4588585"/>
              <a:gd name="connsiteX6969" fmla="*/ 4597035 w 5047599"/>
              <a:gd name="connsiteY6969" fmla="*/ 969606 h 4588585"/>
              <a:gd name="connsiteX6970" fmla="*/ 4593783 w 5047599"/>
              <a:gd name="connsiteY6970" fmla="*/ 965384 h 4588585"/>
              <a:gd name="connsiteX6971" fmla="*/ 4590531 w 5047599"/>
              <a:gd name="connsiteY6971" fmla="*/ 961159 h 4588585"/>
              <a:gd name="connsiteX6972" fmla="*/ 4587279 w 5047599"/>
              <a:gd name="connsiteY6972" fmla="*/ 956936 h 4588585"/>
              <a:gd name="connsiteX6973" fmla="*/ 4584027 w 5047599"/>
              <a:gd name="connsiteY6973" fmla="*/ 952692 h 4588585"/>
              <a:gd name="connsiteX6974" fmla="*/ 4580776 w 5047599"/>
              <a:gd name="connsiteY6974" fmla="*/ 948466 h 4588585"/>
              <a:gd name="connsiteX6975" fmla="*/ 4577503 w 5047599"/>
              <a:gd name="connsiteY6975" fmla="*/ 944223 h 4588585"/>
              <a:gd name="connsiteX6976" fmla="*/ 4574252 w 5047599"/>
              <a:gd name="connsiteY6976" fmla="*/ 939979 h 4588585"/>
              <a:gd name="connsiteX6977" fmla="*/ 4571000 w 5047599"/>
              <a:gd name="connsiteY6977" fmla="*/ 935732 h 4588585"/>
              <a:gd name="connsiteX6978" fmla="*/ 4567748 w 5047599"/>
              <a:gd name="connsiteY6978" fmla="*/ 931488 h 4588585"/>
              <a:gd name="connsiteX6979" fmla="*/ 4564497 w 5047599"/>
              <a:gd name="connsiteY6979" fmla="*/ 927244 h 4588585"/>
              <a:gd name="connsiteX6980" fmla="*/ 4561245 w 5047599"/>
              <a:gd name="connsiteY6980" fmla="*/ 922998 h 4588585"/>
              <a:gd name="connsiteX6981" fmla="*/ 4559050 w 5047599"/>
              <a:gd name="connsiteY6981" fmla="*/ 920154 h 4588585"/>
              <a:gd name="connsiteX6982" fmla="*/ 4557845 w 5047599"/>
              <a:gd name="connsiteY6982" fmla="*/ 916949 h 4588585"/>
              <a:gd name="connsiteX6983" fmla="*/ 4557613 w 5047599"/>
              <a:gd name="connsiteY6983" fmla="*/ 908545 h 4588585"/>
              <a:gd name="connsiteX6984" fmla="*/ 4557613 w 5047599"/>
              <a:gd name="connsiteY6984" fmla="*/ 906698 h 4588585"/>
              <a:gd name="connsiteX6985" fmla="*/ 4559809 w 5047599"/>
              <a:gd name="connsiteY6985" fmla="*/ 903300 h 4588585"/>
              <a:gd name="connsiteX6986" fmla="*/ 4560865 w 5047599"/>
              <a:gd name="connsiteY6986" fmla="*/ 905720 h 4588585"/>
              <a:gd name="connsiteX6987" fmla="*/ 4563315 w 5047599"/>
              <a:gd name="connsiteY6987" fmla="*/ 909010 h 4588585"/>
              <a:gd name="connsiteX6988" fmla="*/ 4567474 w 5047599"/>
              <a:gd name="connsiteY6988" fmla="*/ 908206 h 4588585"/>
              <a:gd name="connsiteX6989" fmla="*/ 4569416 w 5047599"/>
              <a:gd name="connsiteY6989" fmla="*/ 908759 h 4588585"/>
              <a:gd name="connsiteX6990" fmla="*/ 4570852 w 5047599"/>
              <a:gd name="connsiteY6990" fmla="*/ 920412 h 4588585"/>
              <a:gd name="connsiteX6991" fmla="*/ 4573914 w 5047599"/>
              <a:gd name="connsiteY6991" fmla="*/ 924550 h 4588585"/>
              <a:gd name="connsiteX6992" fmla="*/ 4577630 w 5047599"/>
              <a:gd name="connsiteY6992" fmla="*/ 926205 h 4588585"/>
              <a:gd name="connsiteX6993" fmla="*/ 4590235 w 5047599"/>
              <a:gd name="connsiteY6993" fmla="*/ 927120 h 4588585"/>
              <a:gd name="connsiteX6994" fmla="*/ 4598069 w 5047599"/>
              <a:gd name="connsiteY6994" fmla="*/ 925549 h 4588585"/>
              <a:gd name="connsiteX6995" fmla="*/ 4613503 w 5047599"/>
              <a:gd name="connsiteY6995" fmla="*/ 917952 h 4588585"/>
              <a:gd name="connsiteX6996" fmla="*/ 4621612 w 5047599"/>
              <a:gd name="connsiteY6996" fmla="*/ 915213 h 4588585"/>
              <a:gd name="connsiteX6997" fmla="*/ 4644036 w 5047599"/>
              <a:gd name="connsiteY6997" fmla="*/ 915680 h 4588585"/>
              <a:gd name="connsiteX6998" fmla="*/ 4662004 w 5047599"/>
              <a:gd name="connsiteY6998" fmla="*/ 918841 h 4588585"/>
              <a:gd name="connsiteX6999" fmla="*/ 4689981 w 5047599"/>
              <a:gd name="connsiteY6999" fmla="*/ 920710 h 4588585"/>
              <a:gd name="connsiteX7000" fmla="*/ 4695407 w 5047599"/>
              <a:gd name="connsiteY7000" fmla="*/ 920222 h 4588585"/>
              <a:gd name="connsiteX7001" fmla="*/ 4710504 w 5047599"/>
              <a:gd name="connsiteY7001" fmla="*/ 914109 h 4588585"/>
              <a:gd name="connsiteX7002" fmla="*/ 4719753 w 5047599"/>
              <a:gd name="connsiteY7002" fmla="*/ 908718 h 4588585"/>
              <a:gd name="connsiteX7003" fmla="*/ 4725263 w 5047599"/>
              <a:gd name="connsiteY7003" fmla="*/ 907169 h 4588585"/>
              <a:gd name="connsiteX7004" fmla="*/ 4728895 w 5047599"/>
              <a:gd name="connsiteY7004" fmla="*/ 901947 h 4588585"/>
              <a:gd name="connsiteX7005" fmla="*/ 4731281 w 5047599"/>
              <a:gd name="connsiteY7005" fmla="*/ 895156 h 4588585"/>
              <a:gd name="connsiteX7006" fmla="*/ 4733414 w 5047599"/>
              <a:gd name="connsiteY7006" fmla="*/ 890720 h 4588585"/>
              <a:gd name="connsiteX7007" fmla="*/ 4736138 w 5047599"/>
              <a:gd name="connsiteY7007" fmla="*/ 888599 h 4588585"/>
              <a:gd name="connsiteX7008" fmla="*/ 4738713 w 5047599"/>
              <a:gd name="connsiteY7008" fmla="*/ 884818 h 4588585"/>
              <a:gd name="connsiteX7009" fmla="*/ 4740803 w 5047599"/>
              <a:gd name="connsiteY7009" fmla="*/ 878687 h 4588585"/>
              <a:gd name="connsiteX7010" fmla="*/ 4745998 w 5047599"/>
              <a:gd name="connsiteY7010" fmla="*/ 872488 h 4588585"/>
              <a:gd name="connsiteX7011" fmla="*/ 4766817 w 5047599"/>
              <a:gd name="connsiteY7011" fmla="*/ 857397 h 4588585"/>
              <a:gd name="connsiteX7012" fmla="*/ 4778979 w 5047599"/>
              <a:gd name="connsiteY7012" fmla="*/ 844621 h 4588585"/>
              <a:gd name="connsiteX7013" fmla="*/ 4780056 w 5047599"/>
              <a:gd name="connsiteY7013" fmla="*/ 840483 h 4588585"/>
              <a:gd name="connsiteX7014" fmla="*/ 4786665 w 5047599"/>
              <a:gd name="connsiteY7014" fmla="*/ 834285 h 4588585"/>
              <a:gd name="connsiteX7015" fmla="*/ 4791965 w 5047599"/>
              <a:gd name="connsiteY7015" fmla="*/ 827493 h 4588585"/>
              <a:gd name="connsiteX7016" fmla="*/ 4816774 w 5047599"/>
              <a:gd name="connsiteY7016" fmla="*/ 808052 h 4588585"/>
              <a:gd name="connsiteX7017" fmla="*/ 4821737 w 5047599"/>
              <a:gd name="connsiteY7017" fmla="*/ 800008 h 4588585"/>
              <a:gd name="connsiteX7018" fmla="*/ 4824671 w 5047599"/>
              <a:gd name="connsiteY7018" fmla="*/ 790987 h 4588585"/>
              <a:gd name="connsiteX7019" fmla="*/ 4825030 w 5047599"/>
              <a:gd name="connsiteY7019" fmla="*/ 790350 h 4588585"/>
              <a:gd name="connsiteX7020" fmla="*/ 4827049 w 5047599"/>
              <a:gd name="connsiteY7020" fmla="*/ 789988 h 4588585"/>
              <a:gd name="connsiteX7021" fmla="*/ 4827015 w 5047599"/>
              <a:gd name="connsiteY7021" fmla="*/ 789972 h 4588585"/>
              <a:gd name="connsiteX7022" fmla="*/ 4824882 w 5047599"/>
              <a:gd name="connsiteY7022" fmla="*/ 790354 h 4588585"/>
              <a:gd name="connsiteX7023" fmla="*/ 4829844 w 5047599"/>
              <a:gd name="connsiteY7023" fmla="*/ 780826 h 4588585"/>
              <a:gd name="connsiteX7024" fmla="*/ 4831808 w 5047599"/>
              <a:gd name="connsiteY7024" fmla="*/ 779360 h 4588585"/>
              <a:gd name="connsiteX7025" fmla="*/ 4833645 w 5047599"/>
              <a:gd name="connsiteY7025" fmla="*/ 779979 h 4588585"/>
              <a:gd name="connsiteX7026" fmla="*/ 4838226 w 5047599"/>
              <a:gd name="connsiteY7026" fmla="*/ 778959 h 4588585"/>
              <a:gd name="connsiteX7027" fmla="*/ 4840634 w 5047599"/>
              <a:gd name="connsiteY7027" fmla="*/ 773782 h 4588585"/>
              <a:gd name="connsiteX7028" fmla="*/ 4842555 w 5047599"/>
              <a:gd name="connsiteY7028" fmla="*/ 770959 h 4588585"/>
              <a:gd name="connsiteX7029" fmla="*/ 4844603 w 5047599"/>
              <a:gd name="connsiteY7029" fmla="*/ 771298 h 4588585"/>
              <a:gd name="connsiteX7030" fmla="*/ 4845596 w 5047599"/>
              <a:gd name="connsiteY7030" fmla="*/ 772891 h 4588585"/>
              <a:gd name="connsiteX7031" fmla="*/ 4844878 w 5047599"/>
              <a:gd name="connsiteY7031" fmla="*/ 780764 h 4588585"/>
              <a:gd name="connsiteX7032" fmla="*/ 4844793 w 5047599"/>
              <a:gd name="connsiteY7032" fmla="*/ 787323 h 4588585"/>
              <a:gd name="connsiteX7033" fmla="*/ 4842259 w 5047599"/>
              <a:gd name="connsiteY7033" fmla="*/ 807358 h 4588585"/>
              <a:gd name="connsiteX7034" fmla="*/ 4839641 w 5047599"/>
              <a:gd name="connsiteY7034" fmla="*/ 810819 h 4588585"/>
              <a:gd name="connsiteX7035" fmla="*/ 4838311 w 5047599"/>
              <a:gd name="connsiteY7035" fmla="*/ 813620 h 4588585"/>
              <a:gd name="connsiteX7036" fmla="*/ 4837784 w 5047599"/>
              <a:gd name="connsiteY7036" fmla="*/ 817478 h 4588585"/>
              <a:gd name="connsiteX7037" fmla="*/ 4841669 w 5047599"/>
              <a:gd name="connsiteY7037" fmla="*/ 822805 h 4588585"/>
              <a:gd name="connsiteX7038" fmla="*/ 4842217 w 5047599"/>
              <a:gd name="connsiteY7038" fmla="*/ 858907 h 4588585"/>
              <a:gd name="connsiteX7039" fmla="*/ 4843094 w 5047599"/>
              <a:gd name="connsiteY7039" fmla="*/ 861446 h 4588585"/>
              <a:gd name="connsiteX7040" fmla="*/ 4843167 w 5047599"/>
              <a:gd name="connsiteY7040" fmla="*/ 861432 h 4588585"/>
              <a:gd name="connsiteX7041" fmla="*/ 4849206 w 5047599"/>
              <a:gd name="connsiteY7041" fmla="*/ 878582 h 4588585"/>
              <a:gd name="connsiteX7042" fmla="*/ 4858159 w 5047599"/>
              <a:gd name="connsiteY7042" fmla="*/ 894606 h 4588585"/>
              <a:gd name="connsiteX7043" fmla="*/ 4866055 w 5047599"/>
              <a:gd name="connsiteY7043" fmla="*/ 903434 h 4588585"/>
              <a:gd name="connsiteX7044" fmla="*/ 4874269 w 5047599"/>
              <a:gd name="connsiteY7044" fmla="*/ 915406 h 4588585"/>
              <a:gd name="connsiteX7045" fmla="*/ 4886747 w 5047599"/>
              <a:gd name="connsiteY7045" fmla="*/ 926398 h 4588585"/>
              <a:gd name="connsiteX7046" fmla="*/ 4892470 w 5047599"/>
              <a:gd name="connsiteY7046" fmla="*/ 930156 h 4588585"/>
              <a:gd name="connsiteX7047" fmla="*/ 4915674 w 5047599"/>
              <a:gd name="connsiteY7047" fmla="*/ 937861 h 4588585"/>
              <a:gd name="connsiteX7048" fmla="*/ 4928365 w 5047599"/>
              <a:gd name="connsiteY7048" fmla="*/ 940747 h 4588585"/>
              <a:gd name="connsiteX7049" fmla="*/ 4945848 w 5047599"/>
              <a:gd name="connsiteY7049" fmla="*/ 943505 h 4588585"/>
              <a:gd name="connsiteX7050" fmla="*/ 4957947 w 5047599"/>
              <a:gd name="connsiteY7050" fmla="*/ 949491 h 4588585"/>
              <a:gd name="connsiteX7051" fmla="*/ 4962000 w 5047599"/>
              <a:gd name="connsiteY7051" fmla="*/ 949873 h 4588585"/>
              <a:gd name="connsiteX7052" fmla="*/ 4968335 w 5047599"/>
              <a:gd name="connsiteY7052" fmla="*/ 948091 h 4588585"/>
              <a:gd name="connsiteX7053" fmla="*/ 4972959 w 5047599"/>
              <a:gd name="connsiteY7053" fmla="*/ 948239 h 4588585"/>
              <a:gd name="connsiteX7054" fmla="*/ 4984530 w 5047599"/>
              <a:gd name="connsiteY7054" fmla="*/ 956390 h 4588585"/>
              <a:gd name="connsiteX7055" fmla="*/ 4987929 w 5047599"/>
              <a:gd name="connsiteY7055" fmla="*/ 964115 h 4588585"/>
              <a:gd name="connsiteX7056" fmla="*/ 4992743 w 5047599"/>
              <a:gd name="connsiteY7056" fmla="*/ 968190 h 4588585"/>
              <a:gd name="connsiteX7057" fmla="*/ 4996987 w 5047599"/>
              <a:gd name="connsiteY7057" fmla="*/ 974601 h 4588585"/>
              <a:gd name="connsiteX7058" fmla="*/ 4999753 w 5047599"/>
              <a:gd name="connsiteY7058" fmla="*/ 981307 h 4588585"/>
              <a:gd name="connsiteX7059" fmla="*/ 5009530 w 5047599"/>
              <a:gd name="connsiteY7059" fmla="*/ 991516 h 4588585"/>
              <a:gd name="connsiteX7060" fmla="*/ 5016413 w 5047599"/>
              <a:gd name="connsiteY7060" fmla="*/ 1002998 h 4588585"/>
              <a:gd name="connsiteX7061" fmla="*/ 5023422 w 5047599"/>
              <a:gd name="connsiteY7061" fmla="*/ 1011487 h 4588585"/>
              <a:gd name="connsiteX7062" fmla="*/ 5029694 w 5047599"/>
              <a:gd name="connsiteY7062" fmla="*/ 1016773 h 4588585"/>
              <a:gd name="connsiteX7063" fmla="*/ 5039195 w 5047599"/>
              <a:gd name="connsiteY7063" fmla="*/ 1018853 h 4588585"/>
              <a:gd name="connsiteX7064" fmla="*/ 5046754 w 5047599"/>
              <a:gd name="connsiteY7064" fmla="*/ 1021230 h 4588585"/>
              <a:gd name="connsiteX7065" fmla="*/ 5047599 w 5047599"/>
              <a:gd name="connsiteY7065" fmla="*/ 1026895 h 4588585"/>
              <a:gd name="connsiteX7066" fmla="*/ 5046818 w 5047599"/>
              <a:gd name="connsiteY7066" fmla="*/ 1034281 h 4588585"/>
              <a:gd name="connsiteX7067" fmla="*/ 5045382 w 5047599"/>
              <a:gd name="connsiteY7067" fmla="*/ 1039737 h 4588585"/>
              <a:gd name="connsiteX7068" fmla="*/ 5038330 w 5047599"/>
              <a:gd name="connsiteY7068" fmla="*/ 1050350 h 4588585"/>
              <a:gd name="connsiteX7069" fmla="*/ 5036640 w 5047599"/>
              <a:gd name="connsiteY7069" fmla="*/ 1056887 h 4588585"/>
              <a:gd name="connsiteX7070" fmla="*/ 5028659 w 5047599"/>
              <a:gd name="connsiteY7070" fmla="*/ 1067668 h 4588585"/>
              <a:gd name="connsiteX7071" fmla="*/ 5020002 w 5047599"/>
              <a:gd name="connsiteY7071" fmla="*/ 1085729 h 4588585"/>
              <a:gd name="connsiteX7072" fmla="*/ 5016033 w 5047599"/>
              <a:gd name="connsiteY7072" fmla="*/ 1089762 h 4588585"/>
              <a:gd name="connsiteX7073" fmla="*/ 5002076 w 5047599"/>
              <a:gd name="connsiteY7073" fmla="*/ 1099059 h 4588585"/>
              <a:gd name="connsiteX7074" fmla="*/ 4991814 w 5047599"/>
              <a:gd name="connsiteY7074" fmla="*/ 1110243 h 4588585"/>
              <a:gd name="connsiteX7075" fmla="*/ 4979652 w 5047599"/>
              <a:gd name="connsiteY7075" fmla="*/ 1129643 h 4588585"/>
              <a:gd name="connsiteX7076" fmla="*/ 4970404 w 5047599"/>
              <a:gd name="connsiteY7076" fmla="*/ 1148830 h 4588585"/>
              <a:gd name="connsiteX7077" fmla="*/ 4966857 w 5047599"/>
              <a:gd name="connsiteY7077" fmla="*/ 1154964 h 4588585"/>
              <a:gd name="connsiteX7078" fmla="*/ 4959403 w 5047599"/>
              <a:gd name="connsiteY7078" fmla="*/ 1156237 h 4588585"/>
              <a:gd name="connsiteX7079" fmla="*/ 4954526 w 5047599"/>
              <a:gd name="connsiteY7079" fmla="*/ 1155705 h 4588585"/>
              <a:gd name="connsiteX7080" fmla="*/ 4951148 w 5047599"/>
              <a:gd name="connsiteY7080" fmla="*/ 1153901 h 4588585"/>
              <a:gd name="connsiteX7081" fmla="*/ 4952478 w 5047599"/>
              <a:gd name="connsiteY7081" fmla="*/ 1148659 h 4588585"/>
              <a:gd name="connsiteX7082" fmla="*/ 4953280 w 5047599"/>
              <a:gd name="connsiteY7082" fmla="*/ 1142823 h 4588585"/>
              <a:gd name="connsiteX7083" fmla="*/ 4948783 w 5047599"/>
              <a:gd name="connsiteY7083" fmla="*/ 1143440 h 4588585"/>
              <a:gd name="connsiteX7084" fmla="*/ 4944834 w 5047599"/>
              <a:gd name="connsiteY7084" fmla="*/ 1144649 h 4588585"/>
              <a:gd name="connsiteX7085" fmla="*/ 4935607 w 5047599"/>
              <a:gd name="connsiteY7085" fmla="*/ 1158975 h 4588585"/>
              <a:gd name="connsiteX7086" fmla="*/ 4930540 w 5047599"/>
              <a:gd name="connsiteY7086" fmla="*/ 1165257 h 4588585"/>
              <a:gd name="connsiteX7087" fmla="*/ 4929462 w 5047599"/>
              <a:gd name="connsiteY7087" fmla="*/ 1173217 h 4588585"/>
              <a:gd name="connsiteX7088" fmla="*/ 4927013 w 5047599"/>
              <a:gd name="connsiteY7088" fmla="*/ 1183489 h 4588585"/>
              <a:gd name="connsiteX7089" fmla="*/ 4923403 w 5047599"/>
              <a:gd name="connsiteY7089" fmla="*/ 1192934 h 4588585"/>
              <a:gd name="connsiteX7090" fmla="*/ 4921798 w 5047599"/>
              <a:gd name="connsiteY7090" fmla="*/ 1200871 h 4588585"/>
              <a:gd name="connsiteX7091" fmla="*/ 4921862 w 5047599"/>
              <a:gd name="connsiteY7091" fmla="*/ 1205370 h 4588585"/>
              <a:gd name="connsiteX7092" fmla="*/ 4924564 w 5047599"/>
              <a:gd name="connsiteY7092" fmla="*/ 1216343 h 4588585"/>
              <a:gd name="connsiteX7093" fmla="*/ 4924754 w 5047599"/>
              <a:gd name="connsiteY7093" fmla="*/ 1227573 h 4588585"/>
              <a:gd name="connsiteX7094" fmla="*/ 4926317 w 5047599"/>
              <a:gd name="connsiteY7094" fmla="*/ 1234300 h 4588585"/>
              <a:gd name="connsiteX7095" fmla="*/ 4927583 w 5047599"/>
              <a:gd name="connsiteY7095" fmla="*/ 1242365 h 4588585"/>
              <a:gd name="connsiteX7096" fmla="*/ 4923255 w 5047599"/>
              <a:gd name="connsiteY7096" fmla="*/ 1244849 h 4588585"/>
              <a:gd name="connsiteX7097" fmla="*/ 4919539 w 5047599"/>
              <a:gd name="connsiteY7097" fmla="*/ 1246080 h 4588585"/>
              <a:gd name="connsiteX7098" fmla="*/ 4904843 w 5047599"/>
              <a:gd name="connsiteY7098" fmla="*/ 1246970 h 4588585"/>
              <a:gd name="connsiteX7099" fmla="*/ 4889957 w 5047599"/>
              <a:gd name="connsiteY7099" fmla="*/ 1249559 h 4588585"/>
              <a:gd name="connsiteX7100" fmla="*/ 4876951 w 5047599"/>
              <a:gd name="connsiteY7100" fmla="*/ 1254229 h 4588585"/>
              <a:gd name="connsiteX7101" fmla="*/ 4869180 w 5047599"/>
              <a:gd name="connsiteY7101" fmla="*/ 1258877 h 4588585"/>
              <a:gd name="connsiteX7102" fmla="*/ 4859067 w 5047599"/>
              <a:gd name="connsiteY7102" fmla="*/ 1269254 h 4588585"/>
              <a:gd name="connsiteX7103" fmla="*/ 4852880 w 5047599"/>
              <a:gd name="connsiteY7103" fmla="*/ 1295553 h 4588585"/>
              <a:gd name="connsiteX7104" fmla="*/ 4842977 w 5047599"/>
              <a:gd name="connsiteY7104" fmla="*/ 1306632 h 4588585"/>
              <a:gd name="connsiteX7105" fmla="*/ 4836263 w 5047599"/>
              <a:gd name="connsiteY7105" fmla="*/ 1308944 h 4588585"/>
              <a:gd name="connsiteX7106" fmla="*/ 4820110 w 5047599"/>
              <a:gd name="connsiteY7106" fmla="*/ 1309920 h 4588585"/>
              <a:gd name="connsiteX7107" fmla="*/ 4797369 w 5047599"/>
              <a:gd name="connsiteY7107" fmla="*/ 1312977 h 4588585"/>
              <a:gd name="connsiteX7108" fmla="*/ 4789389 w 5047599"/>
              <a:gd name="connsiteY7108" fmla="*/ 1315629 h 4588585"/>
              <a:gd name="connsiteX7109" fmla="*/ 4776128 w 5047599"/>
              <a:gd name="connsiteY7109" fmla="*/ 1331631 h 4588585"/>
              <a:gd name="connsiteX7110" fmla="*/ 4775094 w 5047599"/>
              <a:gd name="connsiteY7110" fmla="*/ 1336663 h 4588585"/>
              <a:gd name="connsiteX7111" fmla="*/ 4777649 w 5047599"/>
              <a:gd name="connsiteY7111" fmla="*/ 1340293 h 4588585"/>
              <a:gd name="connsiteX7112" fmla="*/ 4778493 w 5047599"/>
              <a:gd name="connsiteY7112" fmla="*/ 1344304 h 4588585"/>
              <a:gd name="connsiteX7113" fmla="*/ 4777290 w 5047599"/>
              <a:gd name="connsiteY7113" fmla="*/ 1348061 h 4588585"/>
              <a:gd name="connsiteX7114" fmla="*/ 4771272 w 5047599"/>
              <a:gd name="connsiteY7114" fmla="*/ 1358183 h 4588585"/>
              <a:gd name="connsiteX7115" fmla="*/ 4764769 w 5047599"/>
              <a:gd name="connsiteY7115" fmla="*/ 1365527 h 4588585"/>
              <a:gd name="connsiteX7116" fmla="*/ 4747454 w 5047599"/>
              <a:gd name="connsiteY7116" fmla="*/ 1370135 h 4588585"/>
              <a:gd name="connsiteX7117" fmla="*/ 4741099 w 5047599"/>
              <a:gd name="connsiteY7117" fmla="*/ 1367396 h 4588585"/>
              <a:gd name="connsiteX7118" fmla="*/ 4735293 w 5047599"/>
              <a:gd name="connsiteY7118" fmla="*/ 1366016 h 4588585"/>
              <a:gd name="connsiteX7119" fmla="*/ 4724059 w 5047599"/>
              <a:gd name="connsiteY7119" fmla="*/ 1365870 h 4588585"/>
              <a:gd name="connsiteX7120" fmla="*/ 4705774 w 5047599"/>
              <a:gd name="connsiteY7120" fmla="*/ 1367609 h 4588585"/>
              <a:gd name="connsiteX7121" fmla="*/ 4699039 w 5047599"/>
              <a:gd name="connsiteY7121" fmla="*/ 1373041 h 4588585"/>
              <a:gd name="connsiteX7122" fmla="*/ 4688418 w 5047599"/>
              <a:gd name="connsiteY7122" fmla="*/ 1376885 h 4588585"/>
              <a:gd name="connsiteX7123" fmla="*/ 4678621 w 5047599"/>
              <a:gd name="connsiteY7123" fmla="*/ 1382805 h 4588585"/>
              <a:gd name="connsiteX7124" fmla="*/ 4660124 w 5047599"/>
              <a:gd name="connsiteY7124" fmla="*/ 1385056 h 4588585"/>
              <a:gd name="connsiteX7125" fmla="*/ 4647435 w 5047599"/>
              <a:gd name="connsiteY7125" fmla="*/ 1389830 h 4588585"/>
              <a:gd name="connsiteX7126" fmla="*/ 4647435 w 5047599"/>
              <a:gd name="connsiteY7126" fmla="*/ 1389832 h 4588585"/>
              <a:gd name="connsiteX7127" fmla="*/ 4617557 w 5047599"/>
              <a:gd name="connsiteY7127" fmla="*/ 1400826 h 4588585"/>
              <a:gd name="connsiteX7128" fmla="*/ 4609682 w 5047599"/>
              <a:gd name="connsiteY7128" fmla="*/ 1405708 h 4588585"/>
              <a:gd name="connsiteX7129" fmla="*/ 4602524 w 5047599"/>
              <a:gd name="connsiteY7129" fmla="*/ 1411735 h 4588585"/>
              <a:gd name="connsiteX7130" fmla="*/ 4597160 w 5047599"/>
              <a:gd name="connsiteY7130" fmla="*/ 1419269 h 4588585"/>
              <a:gd name="connsiteX7131" fmla="*/ 4593402 w 5047599"/>
              <a:gd name="connsiteY7131" fmla="*/ 1432491 h 4588585"/>
              <a:gd name="connsiteX7132" fmla="*/ 4596253 w 5047599"/>
              <a:gd name="connsiteY7132" fmla="*/ 1444569 h 4588585"/>
              <a:gd name="connsiteX7133" fmla="*/ 4595978 w 5047599"/>
              <a:gd name="connsiteY7133" fmla="*/ 1451043 h 4588585"/>
              <a:gd name="connsiteX7134" fmla="*/ 4588271 w 5047599"/>
              <a:gd name="connsiteY7134" fmla="*/ 1455329 h 4588585"/>
              <a:gd name="connsiteX7135" fmla="*/ 4581072 w 5047599"/>
              <a:gd name="connsiteY7135" fmla="*/ 1458408 h 4588585"/>
              <a:gd name="connsiteX7136" fmla="*/ 4573069 w 5047599"/>
              <a:gd name="connsiteY7136" fmla="*/ 1463118 h 4588585"/>
              <a:gd name="connsiteX7137" fmla="*/ 4568212 w 5047599"/>
              <a:gd name="connsiteY7137" fmla="*/ 1464286 h 4588585"/>
              <a:gd name="connsiteX7138" fmla="*/ 4564243 w 5047599"/>
              <a:gd name="connsiteY7138" fmla="*/ 1468023 h 4588585"/>
              <a:gd name="connsiteX7139" fmla="*/ 4559619 w 5047599"/>
              <a:gd name="connsiteY7139" fmla="*/ 1470633 h 4588585"/>
              <a:gd name="connsiteX7140" fmla="*/ 4542960 w 5047599"/>
              <a:gd name="connsiteY7140" fmla="*/ 1477423 h 4588585"/>
              <a:gd name="connsiteX7141" fmla="*/ 4524759 w 5047599"/>
              <a:gd name="connsiteY7141" fmla="*/ 1482666 h 4588585"/>
              <a:gd name="connsiteX7142" fmla="*/ 4495832 w 5047599"/>
              <a:gd name="connsiteY7142" fmla="*/ 1488950 h 4588585"/>
              <a:gd name="connsiteX7143" fmla="*/ 4484662 w 5047599"/>
              <a:gd name="connsiteY7143" fmla="*/ 1495761 h 4588585"/>
              <a:gd name="connsiteX7144" fmla="*/ 4474506 w 5047599"/>
              <a:gd name="connsiteY7144" fmla="*/ 1500432 h 4588585"/>
              <a:gd name="connsiteX7145" fmla="*/ 4459071 w 5047599"/>
              <a:gd name="connsiteY7145" fmla="*/ 1501832 h 4588585"/>
              <a:gd name="connsiteX7146" fmla="*/ 4437872 w 5047599"/>
              <a:gd name="connsiteY7146" fmla="*/ 1508305 h 4588585"/>
              <a:gd name="connsiteX7147" fmla="*/ 4426090 w 5047599"/>
              <a:gd name="connsiteY7147" fmla="*/ 1513482 h 4588585"/>
              <a:gd name="connsiteX7148" fmla="*/ 4411458 w 5047599"/>
              <a:gd name="connsiteY7148" fmla="*/ 1521910 h 4588585"/>
              <a:gd name="connsiteX7149" fmla="*/ 4408228 w 5047599"/>
              <a:gd name="connsiteY7149" fmla="*/ 1524562 h 4588585"/>
              <a:gd name="connsiteX7150" fmla="*/ 4405652 w 5047599"/>
              <a:gd name="connsiteY7150" fmla="*/ 1530761 h 4588585"/>
              <a:gd name="connsiteX7151" fmla="*/ 4401154 w 5047599"/>
              <a:gd name="connsiteY7151" fmla="*/ 1536109 h 4588585"/>
              <a:gd name="connsiteX7152" fmla="*/ 4392349 w 5047599"/>
              <a:gd name="connsiteY7152" fmla="*/ 1544873 h 4588585"/>
              <a:gd name="connsiteX7153" fmla="*/ 4385740 w 5047599"/>
              <a:gd name="connsiteY7153" fmla="*/ 1549374 h 4588585"/>
              <a:gd name="connsiteX7154" fmla="*/ 4381327 w 5047599"/>
              <a:gd name="connsiteY7154" fmla="*/ 1549608 h 4588585"/>
              <a:gd name="connsiteX7155" fmla="*/ 4372754 w 5047599"/>
              <a:gd name="connsiteY7155" fmla="*/ 1552070 h 4588585"/>
              <a:gd name="connsiteX7156" fmla="*/ 4362599 w 5047599"/>
              <a:gd name="connsiteY7156" fmla="*/ 1552581 h 4588585"/>
              <a:gd name="connsiteX7157" fmla="*/ 4345538 w 5047599"/>
              <a:gd name="connsiteY7157" fmla="*/ 1549504 h 4588585"/>
              <a:gd name="connsiteX7158" fmla="*/ 4341146 w 5047599"/>
              <a:gd name="connsiteY7158" fmla="*/ 1551648 h 4588585"/>
              <a:gd name="connsiteX7159" fmla="*/ 4337535 w 5047599"/>
              <a:gd name="connsiteY7159" fmla="*/ 1555064 h 4588585"/>
              <a:gd name="connsiteX7160" fmla="*/ 4324381 w 5047599"/>
              <a:gd name="connsiteY7160" fmla="*/ 1561070 h 4588585"/>
              <a:gd name="connsiteX7161" fmla="*/ 4311016 w 5047599"/>
              <a:gd name="connsiteY7161" fmla="*/ 1573062 h 4588585"/>
              <a:gd name="connsiteX7162" fmla="*/ 4301239 w 5047599"/>
              <a:gd name="connsiteY7162" fmla="*/ 1576246 h 4588585"/>
              <a:gd name="connsiteX7163" fmla="*/ 4285424 w 5047599"/>
              <a:gd name="connsiteY7163" fmla="*/ 1580002 h 4588585"/>
              <a:gd name="connsiteX7164" fmla="*/ 4274360 w 5047599"/>
              <a:gd name="connsiteY7164" fmla="*/ 1584989 h 4588585"/>
              <a:gd name="connsiteX7165" fmla="*/ 4266928 w 5047599"/>
              <a:gd name="connsiteY7165" fmla="*/ 1586985 h 4588585"/>
              <a:gd name="connsiteX7166" fmla="*/ 4257363 w 5047599"/>
              <a:gd name="connsiteY7166" fmla="*/ 1588024 h 4588585"/>
              <a:gd name="connsiteX7167" fmla="*/ 4239648 w 5047599"/>
              <a:gd name="connsiteY7167" fmla="*/ 1587513 h 4588585"/>
              <a:gd name="connsiteX7168" fmla="*/ 4222862 w 5047599"/>
              <a:gd name="connsiteY7168" fmla="*/ 1589318 h 4588585"/>
              <a:gd name="connsiteX7169" fmla="*/ 4207300 w 5047599"/>
              <a:gd name="connsiteY7169" fmla="*/ 1592695 h 4588585"/>
              <a:gd name="connsiteX7170" fmla="*/ 4199995 w 5047599"/>
              <a:gd name="connsiteY7170" fmla="*/ 1599081 h 4588585"/>
              <a:gd name="connsiteX7171" fmla="*/ 4191654 w 5047599"/>
              <a:gd name="connsiteY7171" fmla="*/ 1609206 h 4588585"/>
              <a:gd name="connsiteX7172" fmla="*/ 4178035 w 5047599"/>
              <a:gd name="connsiteY7172" fmla="*/ 1613386 h 4588585"/>
              <a:gd name="connsiteX7173" fmla="*/ 4174826 w 5047599"/>
              <a:gd name="connsiteY7173" fmla="*/ 1617016 h 4588585"/>
              <a:gd name="connsiteX7174" fmla="*/ 4170624 w 5047599"/>
              <a:gd name="connsiteY7174" fmla="*/ 1624465 h 4588585"/>
              <a:gd name="connsiteX7175" fmla="*/ 4161819 w 5047599"/>
              <a:gd name="connsiteY7175" fmla="*/ 1626397 h 4588585"/>
              <a:gd name="connsiteX7176" fmla="*/ 4153838 w 5047599"/>
              <a:gd name="connsiteY7176" fmla="*/ 1627649 h 4588585"/>
              <a:gd name="connsiteX7177" fmla="*/ 4145687 w 5047599"/>
              <a:gd name="connsiteY7177" fmla="*/ 1624403 h 4588585"/>
              <a:gd name="connsiteX7178" fmla="*/ 4130316 w 5047599"/>
              <a:gd name="connsiteY7178" fmla="*/ 1633401 h 4588585"/>
              <a:gd name="connsiteX7179" fmla="*/ 4124510 w 5047599"/>
              <a:gd name="connsiteY7179" fmla="*/ 1634888 h 4588585"/>
              <a:gd name="connsiteX7180" fmla="*/ 4115684 w 5047599"/>
              <a:gd name="connsiteY7180" fmla="*/ 1635249 h 4588585"/>
              <a:gd name="connsiteX7181" fmla="*/ 4109412 w 5047599"/>
              <a:gd name="connsiteY7181" fmla="*/ 1637138 h 4588585"/>
              <a:gd name="connsiteX7182" fmla="*/ 4104915 w 5047599"/>
              <a:gd name="connsiteY7182" fmla="*/ 1636606 h 4588585"/>
              <a:gd name="connsiteX7183" fmla="*/ 4099320 w 5047599"/>
              <a:gd name="connsiteY7183" fmla="*/ 1633084 h 4588585"/>
              <a:gd name="connsiteX7184" fmla="*/ 4087411 w 5047599"/>
              <a:gd name="connsiteY7184" fmla="*/ 1628817 h 4588585"/>
              <a:gd name="connsiteX7185" fmla="*/ 4078712 w 5047599"/>
              <a:gd name="connsiteY7185" fmla="*/ 1631598 h 4588585"/>
              <a:gd name="connsiteX7186" fmla="*/ 4077973 w 5047599"/>
              <a:gd name="connsiteY7186" fmla="*/ 1623086 h 4588585"/>
              <a:gd name="connsiteX7187" fmla="*/ 4063552 w 5047599"/>
              <a:gd name="connsiteY7187" fmla="*/ 1597067 h 4588585"/>
              <a:gd name="connsiteX7188" fmla="*/ 4066550 w 5047599"/>
              <a:gd name="connsiteY7188" fmla="*/ 1574377 h 4588585"/>
              <a:gd name="connsiteX7189" fmla="*/ 4066550 w 5047599"/>
              <a:gd name="connsiteY7189" fmla="*/ 1571172 h 4588585"/>
              <a:gd name="connsiteX7190" fmla="*/ 4063679 w 5047599"/>
              <a:gd name="connsiteY7190" fmla="*/ 1561026 h 4588585"/>
              <a:gd name="connsiteX7191" fmla="*/ 4055085 w 5047599"/>
              <a:gd name="connsiteY7191" fmla="*/ 1551753 h 4588585"/>
              <a:gd name="connsiteX7192" fmla="*/ 4055339 w 5047599"/>
              <a:gd name="connsiteY7192" fmla="*/ 1539994 h 4588585"/>
              <a:gd name="connsiteX7193" fmla="*/ 4052467 w 5047599"/>
              <a:gd name="connsiteY7193" fmla="*/ 1531589 h 4588585"/>
              <a:gd name="connsiteX7194" fmla="*/ 4050186 w 5047599"/>
              <a:gd name="connsiteY7194" fmla="*/ 1522929 h 4588585"/>
              <a:gd name="connsiteX7195" fmla="*/ 4050926 w 5047599"/>
              <a:gd name="connsiteY7195" fmla="*/ 1520639 h 4588585"/>
              <a:gd name="connsiteX7196" fmla="*/ 4051052 w 5047599"/>
              <a:gd name="connsiteY7196" fmla="*/ 1518559 h 4588585"/>
              <a:gd name="connsiteX7197" fmla="*/ 4046660 w 5047599"/>
              <a:gd name="connsiteY7197" fmla="*/ 1505208 h 4588585"/>
              <a:gd name="connsiteX7198" fmla="*/ 4045203 w 5047599"/>
              <a:gd name="connsiteY7198" fmla="*/ 1502511 h 4588585"/>
              <a:gd name="connsiteX7199" fmla="*/ 4044654 w 5047599"/>
              <a:gd name="connsiteY7199" fmla="*/ 1499710 h 4588585"/>
              <a:gd name="connsiteX7200" fmla="*/ 4046090 w 5047599"/>
              <a:gd name="connsiteY7200" fmla="*/ 1497567 h 4588585"/>
              <a:gd name="connsiteX7201" fmla="*/ 4046048 w 5047599"/>
              <a:gd name="connsiteY7201" fmla="*/ 1495083 h 4588585"/>
              <a:gd name="connsiteX7202" fmla="*/ 4043725 w 5047599"/>
              <a:gd name="connsiteY7202" fmla="*/ 1490987 h 4588585"/>
              <a:gd name="connsiteX7203" fmla="*/ 4041255 w 5047599"/>
              <a:gd name="connsiteY7203" fmla="*/ 1483177 h 4588585"/>
              <a:gd name="connsiteX7204" fmla="*/ 4029536 w 5047599"/>
              <a:gd name="connsiteY7204" fmla="*/ 1477043 h 4588585"/>
              <a:gd name="connsiteX7205" fmla="*/ 4031922 w 5047599"/>
              <a:gd name="connsiteY7205" fmla="*/ 1471292 h 4588585"/>
              <a:gd name="connsiteX7206" fmla="*/ 4034203 w 5047599"/>
              <a:gd name="connsiteY7206" fmla="*/ 1473308 h 4588585"/>
              <a:gd name="connsiteX7207" fmla="*/ 4037285 w 5047599"/>
              <a:gd name="connsiteY7207" fmla="*/ 1475027 h 4588585"/>
              <a:gd name="connsiteX7208" fmla="*/ 4037918 w 5047599"/>
              <a:gd name="connsiteY7208" fmla="*/ 1471313 h 4588585"/>
              <a:gd name="connsiteX7209" fmla="*/ 4037961 w 5047599"/>
              <a:gd name="connsiteY7209" fmla="*/ 1468532 h 4588585"/>
              <a:gd name="connsiteX7210" fmla="*/ 4033062 w 5047599"/>
              <a:gd name="connsiteY7210" fmla="*/ 1451149 h 4588585"/>
              <a:gd name="connsiteX7211" fmla="*/ 4040326 w 5047599"/>
              <a:gd name="connsiteY7211" fmla="*/ 1427931 h 4588585"/>
              <a:gd name="connsiteX7212" fmla="*/ 4037940 w 5047599"/>
              <a:gd name="connsiteY7212" fmla="*/ 1406981 h 4588585"/>
              <a:gd name="connsiteX7213" fmla="*/ 4049026 w 5047599"/>
              <a:gd name="connsiteY7213" fmla="*/ 1398514 h 4588585"/>
              <a:gd name="connsiteX7214" fmla="*/ 4051812 w 5047599"/>
              <a:gd name="connsiteY7214" fmla="*/ 1395966 h 4588585"/>
              <a:gd name="connsiteX7215" fmla="*/ 4053416 w 5047599"/>
              <a:gd name="connsiteY7215" fmla="*/ 1393738 h 4588585"/>
              <a:gd name="connsiteX7216" fmla="*/ 4056006 w 5047599"/>
              <a:gd name="connsiteY7216" fmla="*/ 1388993 h 4588585"/>
              <a:gd name="connsiteX7217" fmla="*/ 4055845 w 5047599"/>
              <a:gd name="connsiteY7217" fmla="*/ 1389063 h 4588585"/>
              <a:gd name="connsiteX7218" fmla="*/ 4053226 w 5047599"/>
              <a:gd name="connsiteY7218" fmla="*/ 1393861 h 4588585"/>
              <a:gd name="connsiteX7219" fmla="*/ 4051622 w 5047599"/>
              <a:gd name="connsiteY7219" fmla="*/ 1396088 h 4588585"/>
              <a:gd name="connsiteX7220" fmla="*/ 4048835 w 5047599"/>
              <a:gd name="connsiteY7220" fmla="*/ 1398634 h 4588585"/>
              <a:gd name="connsiteX7221" fmla="*/ 4037749 w 5047599"/>
              <a:gd name="connsiteY7221" fmla="*/ 1407104 h 4588585"/>
              <a:gd name="connsiteX7222" fmla="*/ 4037200 w 5047599"/>
              <a:gd name="connsiteY7222" fmla="*/ 1402179 h 4588585"/>
              <a:gd name="connsiteX7223" fmla="*/ 4033674 w 5047599"/>
              <a:gd name="connsiteY7223" fmla="*/ 1394878 h 4588585"/>
              <a:gd name="connsiteX7224" fmla="*/ 4033421 w 5047599"/>
              <a:gd name="connsiteY7224" fmla="*/ 1389722 h 4588585"/>
              <a:gd name="connsiteX7225" fmla="*/ 4031774 w 5047599"/>
              <a:gd name="connsiteY7225" fmla="*/ 1384542 h 4588585"/>
              <a:gd name="connsiteX7226" fmla="*/ 4028733 w 5047599"/>
              <a:gd name="connsiteY7226" fmla="*/ 1380552 h 4588585"/>
              <a:gd name="connsiteX7227" fmla="*/ 4023117 w 5047599"/>
              <a:gd name="connsiteY7227" fmla="*/ 1376393 h 4588585"/>
              <a:gd name="connsiteX7228" fmla="*/ 4022610 w 5047599"/>
              <a:gd name="connsiteY7228" fmla="*/ 1370746 h 4588585"/>
              <a:gd name="connsiteX7229" fmla="*/ 4018514 w 5047599"/>
              <a:gd name="connsiteY7229" fmla="*/ 1365166 h 4588585"/>
              <a:gd name="connsiteX7230" fmla="*/ 4013088 w 5047599"/>
              <a:gd name="connsiteY7230" fmla="*/ 1360664 h 4588585"/>
              <a:gd name="connsiteX7231" fmla="*/ 4010069 w 5047599"/>
              <a:gd name="connsiteY7231" fmla="*/ 1352345 h 4588585"/>
              <a:gd name="connsiteX7232" fmla="*/ 4007788 w 5047599"/>
              <a:gd name="connsiteY7232" fmla="*/ 1341288 h 4588585"/>
              <a:gd name="connsiteX7233" fmla="*/ 3993472 w 5047599"/>
              <a:gd name="connsiteY7233" fmla="*/ 1326726 h 4588585"/>
              <a:gd name="connsiteX7234" fmla="*/ 3975567 w 5047599"/>
              <a:gd name="connsiteY7234" fmla="*/ 1313273 h 4588585"/>
              <a:gd name="connsiteX7235" fmla="*/ 3970119 w 5047599"/>
              <a:gd name="connsiteY7235" fmla="*/ 1305694 h 4588585"/>
              <a:gd name="connsiteX7236" fmla="*/ 3961209 w 5047599"/>
              <a:gd name="connsiteY7236" fmla="*/ 1290222 h 4588585"/>
              <a:gd name="connsiteX7237" fmla="*/ 3956711 w 5047599"/>
              <a:gd name="connsiteY7237" fmla="*/ 1277975 h 4588585"/>
              <a:gd name="connsiteX7238" fmla="*/ 3944739 w 5047599"/>
              <a:gd name="connsiteY7238" fmla="*/ 1263862 h 4588585"/>
              <a:gd name="connsiteX7239" fmla="*/ 3944233 w 5047599"/>
              <a:gd name="connsiteY7239" fmla="*/ 1258427 h 4588585"/>
              <a:gd name="connsiteX7240" fmla="*/ 3942459 w 5047599"/>
              <a:gd name="connsiteY7240" fmla="*/ 1251806 h 4588585"/>
              <a:gd name="connsiteX7241" fmla="*/ 3939693 w 5047599"/>
              <a:gd name="connsiteY7241" fmla="*/ 1244420 h 4588585"/>
              <a:gd name="connsiteX7242" fmla="*/ 3938026 w 5047599"/>
              <a:gd name="connsiteY7242" fmla="*/ 1238605 h 4588585"/>
              <a:gd name="connsiteX7243" fmla="*/ 3926011 w 5047599"/>
              <a:gd name="connsiteY7243" fmla="*/ 1213008 h 4588585"/>
              <a:gd name="connsiteX7244" fmla="*/ 3922126 w 5047599"/>
              <a:gd name="connsiteY7244" fmla="*/ 1208932 h 4588585"/>
              <a:gd name="connsiteX7245" fmla="*/ 3918790 w 5047599"/>
              <a:gd name="connsiteY7245" fmla="*/ 1203202 h 4588585"/>
              <a:gd name="connsiteX7246" fmla="*/ 3917924 w 5047599"/>
              <a:gd name="connsiteY7246" fmla="*/ 1198766 h 4588585"/>
              <a:gd name="connsiteX7247" fmla="*/ 3916868 w 5047599"/>
              <a:gd name="connsiteY7247" fmla="*/ 1196346 h 4588585"/>
              <a:gd name="connsiteX7248" fmla="*/ 3908381 w 5047599"/>
              <a:gd name="connsiteY7248" fmla="*/ 1192144 h 4588585"/>
              <a:gd name="connsiteX7249" fmla="*/ 3900462 w 5047599"/>
              <a:gd name="connsiteY7249" fmla="*/ 1181363 h 4588585"/>
              <a:gd name="connsiteX7250" fmla="*/ 3876666 w 5047599"/>
              <a:gd name="connsiteY7250" fmla="*/ 1164172 h 4588585"/>
              <a:gd name="connsiteX7251" fmla="*/ 3865011 w 5047599"/>
              <a:gd name="connsiteY7251" fmla="*/ 1162453 h 4588585"/>
              <a:gd name="connsiteX7252" fmla="*/ 3855784 w 5047599"/>
              <a:gd name="connsiteY7252" fmla="*/ 1156298 h 4588585"/>
              <a:gd name="connsiteX7253" fmla="*/ 3848985 w 5047599"/>
              <a:gd name="connsiteY7253" fmla="*/ 1148253 h 4588585"/>
              <a:gd name="connsiteX7254" fmla="*/ 3841742 w 5047599"/>
              <a:gd name="connsiteY7254" fmla="*/ 1134372 h 4588585"/>
              <a:gd name="connsiteX7255" fmla="*/ 3828989 w 5047599"/>
              <a:gd name="connsiteY7255" fmla="*/ 1119345 h 4588585"/>
              <a:gd name="connsiteX7256" fmla="*/ 3818179 w 5047599"/>
              <a:gd name="connsiteY7256" fmla="*/ 1097994 h 4588585"/>
              <a:gd name="connsiteX7257" fmla="*/ 3821578 w 5047599"/>
              <a:gd name="connsiteY7257" fmla="*/ 1090205 h 4588585"/>
              <a:gd name="connsiteX7258" fmla="*/ 3821366 w 5047599"/>
              <a:gd name="connsiteY7258" fmla="*/ 1084730 h 4588585"/>
              <a:gd name="connsiteX7259" fmla="*/ 3818031 w 5047599"/>
              <a:gd name="connsiteY7259" fmla="*/ 1075496 h 4588585"/>
              <a:gd name="connsiteX7260" fmla="*/ 3814421 w 5047599"/>
              <a:gd name="connsiteY7260" fmla="*/ 1068366 h 4588585"/>
              <a:gd name="connsiteX7261" fmla="*/ 3811929 w 5047599"/>
              <a:gd name="connsiteY7261" fmla="*/ 1061616 h 4588585"/>
              <a:gd name="connsiteX7262" fmla="*/ 3813892 w 5047599"/>
              <a:gd name="connsiteY7262" fmla="*/ 1051915 h 4588585"/>
              <a:gd name="connsiteX7263" fmla="*/ 3814652 w 5047599"/>
              <a:gd name="connsiteY7263" fmla="*/ 1041050 h 4588585"/>
              <a:gd name="connsiteX7264" fmla="*/ 3816785 w 5047599"/>
              <a:gd name="connsiteY7264" fmla="*/ 1035275 h 4588585"/>
              <a:gd name="connsiteX7265" fmla="*/ 3818327 w 5047599"/>
              <a:gd name="connsiteY7265" fmla="*/ 1028931 h 4588585"/>
              <a:gd name="connsiteX7266" fmla="*/ 3816321 w 5047599"/>
              <a:gd name="connsiteY7266" fmla="*/ 1016154 h 4588585"/>
              <a:gd name="connsiteX7267" fmla="*/ 3812731 w 5047599"/>
              <a:gd name="connsiteY7267" fmla="*/ 1009298 h 4588585"/>
              <a:gd name="connsiteX7268" fmla="*/ 3813090 w 5047599"/>
              <a:gd name="connsiteY7268" fmla="*/ 1004735 h 4588585"/>
              <a:gd name="connsiteX7269" fmla="*/ 3809015 w 5047599"/>
              <a:gd name="connsiteY7269" fmla="*/ 1002505 h 4588585"/>
              <a:gd name="connsiteX7270" fmla="*/ 3805721 w 5047599"/>
              <a:gd name="connsiteY7270" fmla="*/ 997540 h 4588585"/>
              <a:gd name="connsiteX7271" fmla="*/ 3809163 w 5047599"/>
              <a:gd name="connsiteY7271" fmla="*/ 997540 h 4588585"/>
              <a:gd name="connsiteX7272" fmla="*/ 3802913 w 5047599"/>
              <a:gd name="connsiteY7272" fmla="*/ 990641 h 4588585"/>
              <a:gd name="connsiteX7273" fmla="*/ 3800611 w 5047599"/>
              <a:gd name="connsiteY7273" fmla="*/ 986801 h 4588585"/>
              <a:gd name="connsiteX7274" fmla="*/ 3798247 w 5047599"/>
              <a:gd name="connsiteY7274" fmla="*/ 977419 h 4588585"/>
              <a:gd name="connsiteX7275" fmla="*/ 3795227 w 5047599"/>
              <a:gd name="connsiteY7275" fmla="*/ 970245 h 4588585"/>
              <a:gd name="connsiteX7276" fmla="*/ 3785535 w 5047599"/>
              <a:gd name="connsiteY7276" fmla="*/ 953946 h 4588585"/>
              <a:gd name="connsiteX7277" fmla="*/ 3780890 w 5047599"/>
              <a:gd name="connsiteY7277" fmla="*/ 943990 h 4588585"/>
              <a:gd name="connsiteX7278" fmla="*/ 3770502 w 5047599"/>
              <a:gd name="connsiteY7278" fmla="*/ 931109 h 4588585"/>
              <a:gd name="connsiteX7279" fmla="*/ 3759226 w 5047599"/>
              <a:gd name="connsiteY7279" fmla="*/ 921578 h 4588585"/>
              <a:gd name="connsiteX7280" fmla="*/ 3752068 w 5047599"/>
              <a:gd name="connsiteY7280" fmla="*/ 917249 h 4588585"/>
              <a:gd name="connsiteX7281" fmla="*/ 3748606 w 5047599"/>
              <a:gd name="connsiteY7281" fmla="*/ 913300 h 4588585"/>
              <a:gd name="connsiteX7282" fmla="*/ 3742757 w 5047599"/>
              <a:gd name="connsiteY7282" fmla="*/ 913174 h 4588585"/>
              <a:gd name="connsiteX7283" fmla="*/ 3736380 w 5047599"/>
              <a:gd name="connsiteY7283" fmla="*/ 907528 h 4588585"/>
              <a:gd name="connsiteX7284" fmla="*/ 3731925 w 5047599"/>
              <a:gd name="connsiteY7284" fmla="*/ 907315 h 4588585"/>
              <a:gd name="connsiteX7285" fmla="*/ 3726288 w 5047599"/>
              <a:gd name="connsiteY7285" fmla="*/ 906400 h 4588585"/>
              <a:gd name="connsiteX7286" fmla="*/ 3719658 w 5047599"/>
              <a:gd name="connsiteY7286" fmla="*/ 895513 h 4588585"/>
              <a:gd name="connsiteX7287" fmla="*/ 3714189 w 5047599"/>
              <a:gd name="connsiteY7287" fmla="*/ 885304 h 4588585"/>
              <a:gd name="connsiteX7288" fmla="*/ 3704856 w 5047599"/>
              <a:gd name="connsiteY7288" fmla="*/ 871996 h 4588585"/>
              <a:gd name="connsiteX7289" fmla="*/ 3707200 w 5047599"/>
              <a:gd name="connsiteY7289" fmla="*/ 868516 h 4588585"/>
              <a:gd name="connsiteX7290" fmla="*/ 3709924 w 5047599"/>
              <a:gd name="connsiteY7290" fmla="*/ 862849 h 4588585"/>
              <a:gd name="connsiteX7291" fmla="*/ 3708573 w 5047599"/>
              <a:gd name="connsiteY7291" fmla="*/ 855419 h 4588585"/>
              <a:gd name="connsiteX7292" fmla="*/ 3707094 w 5047599"/>
              <a:gd name="connsiteY7292" fmla="*/ 850368 h 4588585"/>
              <a:gd name="connsiteX7293" fmla="*/ 3702977 w 5047599"/>
              <a:gd name="connsiteY7293" fmla="*/ 841159 h 4588585"/>
              <a:gd name="connsiteX7294" fmla="*/ 3689443 w 5047599"/>
              <a:gd name="connsiteY7294" fmla="*/ 818192 h 4588585"/>
              <a:gd name="connsiteX7295" fmla="*/ 3685853 w 5047599"/>
              <a:gd name="connsiteY7295" fmla="*/ 814818 h 4588585"/>
              <a:gd name="connsiteX7296" fmla="*/ 3680089 w 5047599"/>
              <a:gd name="connsiteY7296" fmla="*/ 810935 h 4588585"/>
              <a:gd name="connsiteX7297" fmla="*/ 3676542 w 5047599"/>
              <a:gd name="connsiteY7297" fmla="*/ 800958 h 4588585"/>
              <a:gd name="connsiteX7298" fmla="*/ 3674916 w 5047599"/>
              <a:gd name="connsiteY7298" fmla="*/ 792001 h 4588585"/>
              <a:gd name="connsiteX7299" fmla="*/ 3665647 w 5047599"/>
              <a:gd name="connsiteY7299" fmla="*/ 787652 h 4588585"/>
              <a:gd name="connsiteX7300" fmla="*/ 3649705 w 5047599"/>
              <a:gd name="connsiteY7300" fmla="*/ 755262 h 4588585"/>
              <a:gd name="connsiteX7301" fmla="*/ 3640457 w 5047599"/>
              <a:gd name="connsiteY7301" fmla="*/ 743909 h 4588585"/>
              <a:gd name="connsiteX7302" fmla="*/ 3636803 w 5047599"/>
              <a:gd name="connsiteY7302" fmla="*/ 736267 h 4588585"/>
              <a:gd name="connsiteX7303" fmla="*/ 3626120 w 5047599"/>
              <a:gd name="connsiteY7303" fmla="*/ 723681 h 4588585"/>
              <a:gd name="connsiteX7304" fmla="*/ 3620862 w 5047599"/>
              <a:gd name="connsiteY7304" fmla="*/ 711138 h 4588585"/>
              <a:gd name="connsiteX7305" fmla="*/ 3610093 w 5047599"/>
              <a:gd name="connsiteY7305" fmla="*/ 699549 h 4588585"/>
              <a:gd name="connsiteX7306" fmla="*/ 3600762 w 5047599"/>
              <a:gd name="connsiteY7306" fmla="*/ 679408 h 4588585"/>
              <a:gd name="connsiteX7307" fmla="*/ 3586340 w 5047599"/>
              <a:gd name="connsiteY7307" fmla="*/ 659222 h 4588585"/>
              <a:gd name="connsiteX7308" fmla="*/ 3580280 w 5047599"/>
              <a:gd name="connsiteY7308" fmla="*/ 655721 h 4588585"/>
              <a:gd name="connsiteX7309" fmla="*/ 3565415 w 5047599"/>
              <a:gd name="connsiteY7309" fmla="*/ 654279 h 4588585"/>
              <a:gd name="connsiteX7310" fmla="*/ 3559165 w 5047599"/>
              <a:gd name="connsiteY7310" fmla="*/ 652795 h 4588585"/>
              <a:gd name="connsiteX7311" fmla="*/ 3553423 w 5047599"/>
              <a:gd name="connsiteY7311" fmla="*/ 657231 h 4588585"/>
              <a:gd name="connsiteX7312" fmla="*/ 3552916 w 5047599"/>
              <a:gd name="connsiteY7312" fmla="*/ 651606 h 4588585"/>
              <a:gd name="connsiteX7313" fmla="*/ 3556885 w 5047599"/>
              <a:gd name="connsiteY7313" fmla="*/ 643817 h 4588585"/>
              <a:gd name="connsiteX7314" fmla="*/ 3562607 w 5047599"/>
              <a:gd name="connsiteY7314" fmla="*/ 627432 h 4588585"/>
              <a:gd name="connsiteX7315" fmla="*/ 3563747 w 5047599"/>
              <a:gd name="connsiteY7315" fmla="*/ 613042 h 4588585"/>
              <a:gd name="connsiteX7316" fmla="*/ 3572742 w 5047599"/>
              <a:gd name="connsiteY7316" fmla="*/ 570125 h 4588585"/>
              <a:gd name="connsiteX7317" fmla="*/ 3585368 w 5047599"/>
              <a:gd name="connsiteY7317" fmla="*/ 572333 h 4588585"/>
              <a:gd name="connsiteX7318" fmla="*/ 3595757 w 5047599"/>
              <a:gd name="connsiteY7318" fmla="*/ 574160 h 4588585"/>
              <a:gd name="connsiteX7319" fmla="*/ 3610938 w 5047599"/>
              <a:gd name="connsiteY7319" fmla="*/ 576833 h 4588585"/>
              <a:gd name="connsiteX7320" fmla="*/ 3626648 w 5047599"/>
              <a:gd name="connsiteY7320" fmla="*/ 579593 h 4588585"/>
              <a:gd name="connsiteX7321" fmla="*/ 3635833 w 5047599"/>
              <a:gd name="connsiteY7321" fmla="*/ 581206 h 4588585"/>
              <a:gd name="connsiteX7322" fmla="*/ 3638978 w 5047599"/>
              <a:gd name="connsiteY7322" fmla="*/ 580507 h 4588585"/>
              <a:gd name="connsiteX7323" fmla="*/ 3651690 w 5047599"/>
              <a:gd name="connsiteY7323" fmla="*/ 569979 h 4588585"/>
              <a:gd name="connsiteX7324" fmla="*/ 3663134 w 5047599"/>
              <a:gd name="connsiteY7324" fmla="*/ 560471 h 4588585"/>
              <a:gd name="connsiteX7325" fmla="*/ 3663165 w 5047599"/>
              <a:gd name="connsiteY7325" fmla="*/ 560418 h 4588585"/>
              <a:gd name="connsiteX7326" fmla="*/ 3651733 w 5047599"/>
              <a:gd name="connsiteY7326" fmla="*/ 569917 h 4588585"/>
              <a:gd name="connsiteX7327" fmla="*/ 3639021 w 5047599"/>
              <a:gd name="connsiteY7327" fmla="*/ 580443 h 4588585"/>
              <a:gd name="connsiteX7328" fmla="*/ 3635876 w 5047599"/>
              <a:gd name="connsiteY7328" fmla="*/ 581123 h 4588585"/>
              <a:gd name="connsiteX7329" fmla="*/ 3626691 w 5047599"/>
              <a:gd name="connsiteY7329" fmla="*/ 579511 h 4588585"/>
              <a:gd name="connsiteX7330" fmla="*/ 3610982 w 5047599"/>
              <a:gd name="connsiteY7330" fmla="*/ 576750 h 4588585"/>
              <a:gd name="connsiteX7331" fmla="*/ 3595800 w 5047599"/>
              <a:gd name="connsiteY7331" fmla="*/ 574077 h 4588585"/>
              <a:gd name="connsiteX7332" fmla="*/ 3585411 w 5047599"/>
              <a:gd name="connsiteY7332" fmla="*/ 572272 h 4588585"/>
              <a:gd name="connsiteX7333" fmla="*/ 3572806 w 5047599"/>
              <a:gd name="connsiteY7333" fmla="*/ 570043 h 4588585"/>
              <a:gd name="connsiteX7334" fmla="*/ 3574643 w 5047599"/>
              <a:gd name="connsiteY7334" fmla="*/ 561150 h 4588585"/>
              <a:gd name="connsiteX7335" fmla="*/ 3574136 w 5047599"/>
              <a:gd name="connsiteY7335" fmla="*/ 556334 h 4588585"/>
              <a:gd name="connsiteX7336" fmla="*/ 3574136 w 5047599"/>
              <a:gd name="connsiteY7336" fmla="*/ 556335 h 4588585"/>
              <a:gd name="connsiteX7337" fmla="*/ 3570040 w 5047599"/>
              <a:gd name="connsiteY7337" fmla="*/ 561641 h 4588585"/>
              <a:gd name="connsiteX7338" fmla="*/ 3566725 w 5047599"/>
              <a:gd name="connsiteY7338" fmla="*/ 564719 h 4588585"/>
              <a:gd name="connsiteX7339" fmla="*/ 3560096 w 5047599"/>
              <a:gd name="connsiteY7339" fmla="*/ 575691 h 4588585"/>
              <a:gd name="connsiteX7340" fmla="*/ 3553022 w 5047599"/>
              <a:gd name="connsiteY7340" fmla="*/ 610436 h 4588585"/>
              <a:gd name="connsiteX7341" fmla="*/ 3542908 w 5047599"/>
              <a:gd name="connsiteY7341" fmla="*/ 637453 h 4588585"/>
              <a:gd name="connsiteX7342" fmla="*/ 3541768 w 5047599"/>
              <a:gd name="connsiteY7342" fmla="*/ 654327 h 4588585"/>
              <a:gd name="connsiteX7343" fmla="*/ 3540142 w 5047599"/>
              <a:gd name="connsiteY7343" fmla="*/ 660396 h 4588585"/>
              <a:gd name="connsiteX7344" fmla="*/ 3535327 w 5047599"/>
              <a:gd name="connsiteY7344" fmla="*/ 668929 h 4588585"/>
              <a:gd name="connsiteX7345" fmla="*/ 3529500 w 5047599"/>
              <a:gd name="connsiteY7345" fmla="*/ 677272 h 4588585"/>
              <a:gd name="connsiteX7346" fmla="*/ 3519133 w 5047599"/>
              <a:gd name="connsiteY7346" fmla="*/ 672961 h 4588585"/>
              <a:gd name="connsiteX7347" fmla="*/ 3502241 w 5047599"/>
              <a:gd name="connsiteY7347" fmla="*/ 658275 h 4588585"/>
              <a:gd name="connsiteX7348" fmla="*/ 3492401 w 5047599"/>
              <a:gd name="connsiteY7348" fmla="*/ 644310 h 4588585"/>
              <a:gd name="connsiteX7349" fmla="*/ 3481844 w 5047599"/>
              <a:gd name="connsiteY7349" fmla="*/ 635268 h 4588585"/>
              <a:gd name="connsiteX7350" fmla="*/ 3471878 w 5047599"/>
              <a:gd name="connsiteY7350" fmla="*/ 623276 h 4588585"/>
              <a:gd name="connsiteX7351" fmla="*/ 3469154 w 5047599"/>
              <a:gd name="connsiteY7351" fmla="*/ 614637 h 4588585"/>
              <a:gd name="connsiteX7352" fmla="*/ 3469260 w 5047599"/>
              <a:gd name="connsiteY7352" fmla="*/ 609077 h 4588585"/>
              <a:gd name="connsiteX7353" fmla="*/ 3464911 w 5047599"/>
              <a:gd name="connsiteY7353" fmla="*/ 595514 h 4588585"/>
              <a:gd name="connsiteX7354" fmla="*/ 3461680 w 5047599"/>
              <a:gd name="connsiteY7354" fmla="*/ 589085 h 4588585"/>
              <a:gd name="connsiteX7355" fmla="*/ 3449518 w 5047599"/>
              <a:gd name="connsiteY7355" fmla="*/ 574631 h 4588585"/>
              <a:gd name="connsiteX7356" fmla="*/ 3446034 w 5047599"/>
              <a:gd name="connsiteY7356" fmla="*/ 566906 h 4588585"/>
              <a:gd name="connsiteX7357" fmla="*/ 3443373 w 5047599"/>
              <a:gd name="connsiteY7357" fmla="*/ 563487 h 4588585"/>
              <a:gd name="connsiteX7358" fmla="*/ 3440692 w 5047599"/>
              <a:gd name="connsiteY7358" fmla="*/ 558606 h 4588585"/>
              <a:gd name="connsiteX7359" fmla="*/ 3436279 w 5047599"/>
              <a:gd name="connsiteY7359" fmla="*/ 539738 h 4588585"/>
              <a:gd name="connsiteX7360" fmla="*/ 3431465 w 5047599"/>
              <a:gd name="connsiteY7360" fmla="*/ 527725 h 4588585"/>
              <a:gd name="connsiteX7361" fmla="*/ 3425975 w 5047599"/>
              <a:gd name="connsiteY7361" fmla="*/ 531058 h 4588585"/>
              <a:gd name="connsiteX7362" fmla="*/ 3426947 w 5047599"/>
              <a:gd name="connsiteY7362" fmla="*/ 536108 h 4588585"/>
              <a:gd name="connsiteX7363" fmla="*/ 3422153 w 5047599"/>
              <a:gd name="connsiteY7363" fmla="*/ 543090 h 4588585"/>
              <a:gd name="connsiteX7364" fmla="*/ 3419260 w 5047599"/>
              <a:gd name="connsiteY7364" fmla="*/ 551178 h 4588585"/>
              <a:gd name="connsiteX7365" fmla="*/ 3421477 w 5047599"/>
              <a:gd name="connsiteY7365" fmla="*/ 557778 h 4588585"/>
              <a:gd name="connsiteX7366" fmla="*/ 3431423 w 5047599"/>
              <a:gd name="connsiteY7366" fmla="*/ 567817 h 4588585"/>
              <a:gd name="connsiteX7367" fmla="*/ 3433429 w 5047599"/>
              <a:gd name="connsiteY7367" fmla="*/ 572212 h 4588585"/>
              <a:gd name="connsiteX7368" fmla="*/ 3435751 w 5047599"/>
              <a:gd name="connsiteY7368" fmla="*/ 581698 h 4588585"/>
              <a:gd name="connsiteX7369" fmla="*/ 3435371 w 5047599"/>
              <a:gd name="connsiteY7369" fmla="*/ 594580 h 4588585"/>
              <a:gd name="connsiteX7370" fmla="*/ 3436976 w 5047599"/>
              <a:gd name="connsiteY7370" fmla="*/ 598933 h 4588585"/>
              <a:gd name="connsiteX7371" fmla="*/ 3444429 w 5047599"/>
              <a:gd name="connsiteY7371" fmla="*/ 608483 h 4588585"/>
              <a:gd name="connsiteX7372" fmla="*/ 3447090 w 5047599"/>
              <a:gd name="connsiteY7372" fmla="*/ 614150 h 4588585"/>
              <a:gd name="connsiteX7373" fmla="*/ 3448694 w 5047599"/>
              <a:gd name="connsiteY7373" fmla="*/ 619033 h 4588585"/>
              <a:gd name="connsiteX7374" fmla="*/ 3451165 w 5047599"/>
              <a:gd name="connsiteY7374" fmla="*/ 623447 h 4588585"/>
              <a:gd name="connsiteX7375" fmla="*/ 3458555 w 5047599"/>
              <a:gd name="connsiteY7375" fmla="*/ 631723 h 4588585"/>
              <a:gd name="connsiteX7376" fmla="*/ 3469176 w 5047599"/>
              <a:gd name="connsiteY7376" fmla="*/ 647472 h 4588585"/>
              <a:gd name="connsiteX7377" fmla="*/ 3479248 w 5047599"/>
              <a:gd name="connsiteY7377" fmla="*/ 658084 h 4588585"/>
              <a:gd name="connsiteX7378" fmla="*/ 3486532 w 5047599"/>
              <a:gd name="connsiteY7378" fmla="*/ 663199 h 4588585"/>
              <a:gd name="connsiteX7379" fmla="*/ 3489615 w 5047599"/>
              <a:gd name="connsiteY7379" fmla="*/ 668314 h 4588585"/>
              <a:gd name="connsiteX7380" fmla="*/ 3490311 w 5047599"/>
              <a:gd name="connsiteY7380" fmla="*/ 681494 h 4588585"/>
              <a:gd name="connsiteX7381" fmla="*/ 3489763 w 5047599"/>
              <a:gd name="connsiteY7381" fmla="*/ 687776 h 4588585"/>
              <a:gd name="connsiteX7382" fmla="*/ 3496160 w 5047599"/>
              <a:gd name="connsiteY7382" fmla="*/ 699598 h 4588585"/>
              <a:gd name="connsiteX7383" fmla="*/ 3498525 w 5047599"/>
              <a:gd name="connsiteY7383" fmla="*/ 705563 h 4588585"/>
              <a:gd name="connsiteX7384" fmla="*/ 3504690 w 5047599"/>
              <a:gd name="connsiteY7384" fmla="*/ 710424 h 4588585"/>
              <a:gd name="connsiteX7385" fmla="*/ 3507520 w 5047599"/>
              <a:gd name="connsiteY7385" fmla="*/ 715962 h 4588585"/>
              <a:gd name="connsiteX7386" fmla="*/ 3510117 w 5047599"/>
              <a:gd name="connsiteY7386" fmla="*/ 724982 h 4588585"/>
              <a:gd name="connsiteX7387" fmla="*/ 3514023 w 5047599"/>
              <a:gd name="connsiteY7387" fmla="*/ 751577 h 4588585"/>
              <a:gd name="connsiteX7388" fmla="*/ 3519386 w 5047599"/>
              <a:gd name="connsiteY7388" fmla="*/ 758092 h 4588585"/>
              <a:gd name="connsiteX7389" fmla="*/ 3535961 w 5047599"/>
              <a:gd name="connsiteY7389" fmla="*/ 792878 h 4588585"/>
              <a:gd name="connsiteX7390" fmla="*/ 3549939 w 5047599"/>
              <a:gd name="connsiteY7390" fmla="*/ 814803 h 4588585"/>
              <a:gd name="connsiteX7391" fmla="*/ 3556696 w 5047599"/>
              <a:gd name="connsiteY7391" fmla="*/ 831146 h 4588585"/>
              <a:gd name="connsiteX7392" fmla="*/ 3567021 w 5047599"/>
              <a:gd name="connsiteY7392" fmla="*/ 850968 h 4588585"/>
              <a:gd name="connsiteX7393" fmla="*/ 3587228 w 5047599"/>
              <a:gd name="connsiteY7393" fmla="*/ 894352 h 4588585"/>
              <a:gd name="connsiteX7394" fmla="*/ 3599242 w 5047599"/>
              <a:gd name="connsiteY7394" fmla="*/ 907680 h 4588585"/>
              <a:gd name="connsiteX7395" fmla="*/ 3604035 w 5047599"/>
              <a:gd name="connsiteY7395" fmla="*/ 915174 h 4588585"/>
              <a:gd name="connsiteX7396" fmla="*/ 3612734 w 5047599"/>
              <a:gd name="connsiteY7396" fmla="*/ 920926 h 4588585"/>
              <a:gd name="connsiteX7397" fmla="*/ 3622151 w 5047599"/>
              <a:gd name="connsiteY7397" fmla="*/ 929244 h 4588585"/>
              <a:gd name="connsiteX7398" fmla="*/ 3613177 w 5047599"/>
              <a:gd name="connsiteY7398" fmla="*/ 928435 h 4588585"/>
              <a:gd name="connsiteX7399" fmla="*/ 3610897 w 5047599"/>
              <a:gd name="connsiteY7399" fmla="*/ 928926 h 4588585"/>
              <a:gd name="connsiteX7400" fmla="*/ 3607751 w 5047599"/>
              <a:gd name="connsiteY7400" fmla="*/ 930346 h 4588585"/>
              <a:gd name="connsiteX7401" fmla="*/ 3606252 w 5047599"/>
              <a:gd name="connsiteY7401" fmla="*/ 935397 h 4588585"/>
              <a:gd name="connsiteX7402" fmla="*/ 3605597 w 5047599"/>
              <a:gd name="connsiteY7402" fmla="*/ 939515 h 4588585"/>
              <a:gd name="connsiteX7403" fmla="*/ 3606695 w 5047599"/>
              <a:gd name="connsiteY7403" fmla="*/ 961271 h 4588585"/>
              <a:gd name="connsiteX7404" fmla="*/ 3609166 w 5047599"/>
              <a:gd name="connsiteY7404" fmla="*/ 972350 h 4588585"/>
              <a:gd name="connsiteX7405" fmla="*/ 3617062 w 5047599"/>
              <a:gd name="connsiteY7405" fmla="*/ 993255 h 4588585"/>
              <a:gd name="connsiteX7406" fmla="*/ 3622954 w 5047599"/>
              <a:gd name="connsiteY7406" fmla="*/ 999516 h 4588585"/>
              <a:gd name="connsiteX7407" fmla="*/ 3625825 w 5047599"/>
              <a:gd name="connsiteY7407" fmla="*/ 1003570 h 4588585"/>
              <a:gd name="connsiteX7408" fmla="*/ 3629836 w 5047599"/>
              <a:gd name="connsiteY7408" fmla="*/ 1006520 h 4588585"/>
              <a:gd name="connsiteX7409" fmla="*/ 3648565 w 5047599"/>
              <a:gd name="connsiteY7409" fmla="*/ 1013652 h 4588585"/>
              <a:gd name="connsiteX7410" fmla="*/ 3659524 w 5047599"/>
              <a:gd name="connsiteY7410" fmla="*/ 1028680 h 4588585"/>
              <a:gd name="connsiteX7411" fmla="*/ 3684143 w 5047599"/>
              <a:gd name="connsiteY7411" fmla="*/ 1047653 h 4588585"/>
              <a:gd name="connsiteX7412" fmla="*/ 3686550 w 5047599"/>
              <a:gd name="connsiteY7412" fmla="*/ 1052895 h 4588585"/>
              <a:gd name="connsiteX7413" fmla="*/ 3686614 w 5047599"/>
              <a:gd name="connsiteY7413" fmla="*/ 1054106 h 4588585"/>
              <a:gd name="connsiteX7414" fmla="*/ 3667168 w 5047599"/>
              <a:gd name="connsiteY7414" fmla="*/ 1054127 h 4588585"/>
              <a:gd name="connsiteX7415" fmla="*/ 3647720 w 5047599"/>
              <a:gd name="connsiteY7415" fmla="*/ 1054127 h 4588585"/>
              <a:gd name="connsiteX7416" fmla="*/ 3628274 w 5047599"/>
              <a:gd name="connsiteY7416" fmla="*/ 1054127 h 4588585"/>
              <a:gd name="connsiteX7417" fmla="*/ 3608828 w 5047599"/>
              <a:gd name="connsiteY7417" fmla="*/ 1054127 h 4588585"/>
              <a:gd name="connsiteX7418" fmla="*/ 3589402 w 5047599"/>
              <a:gd name="connsiteY7418" fmla="*/ 1054127 h 4588585"/>
              <a:gd name="connsiteX7419" fmla="*/ 3569934 w 5047599"/>
              <a:gd name="connsiteY7419" fmla="*/ 1054148 h 4588585"/>
              <a:gd name="connsiteX7420" fmla="*/ 3550509 w 5047599"/>
              <a:gd name="connsiteY7420" fmla="*/ 1054148 h 4588585"/>
              <a:gd name="connsiteX7421" fmla="*/ 3531062 w 5047599"/>
              <a:gd name="connsiteY7421" fmla="*/ 1054148 h 4588585"/>
              <a:gd name="connsiteX7422" fmla="*/ 3511616 w 5047599"/>
              <a:gd name="connsiteY7422" fmla="*/ 1054148 h 4588585"/>
              <a:gd name="connsiteX7423" fmla="*/ 3492170 w 5047599"/>
              <a:gd name="connsiteY7423" fmla="*/ 1054148 h 4588585"/>
              <a:gd name="connsiteX7424" fmla="*/ 3472722 w 5047599"/>
              <a:gd name="connsiteY7424" fmla="*/ 1054148 h 4588585"/>
              <a:gd name="connsiteX7425" fmla="*/ 3453297 w 5047599"/>
              <a:gd name="connsiteY7425" fmla="*/ 1054148 h 4588585"/>
              <a:gd name="connsiteX7426" fmla="*/ 3433851 w 5047599"/>
              <a:gd name="connsiteY7426" fmla="*/ 1054169 h 4588585"/>
              <a:gd name="connsiteX7427" fmla="*/ 3414404 w 5047599"/>
              <a:gd name="connsiteY7427" fmla="*/ 1054169 h 4588585"/>
              <a:gd name="connsiteX7428" fmla="*/ 3394958 w 5047599"/>
              <a:gd name="connsiteY7428" fmla="*/ 1054169 h 4588585"/>
              <a:gd name="connsiteX7429" fmla="*/ 3375511 w 5047599"/>
              <a:gd name="connsiteY7429" fmla="*/ 1054169 h 4588585"/>
              <a:gd name="connsiteX7430" fmla="*/ 3364426 w 5047599"/>
              <a:gd name="connsiteY7430" fmla="*/ 1054169 h 4588585"/>
              <a:gd name="connsiteX7431" fmla="*/ 3364426 w 5047599"/>
              <a:gd name="connsiteY7431" fmla="*/ 1054171 h 4588585"/>
              <a:gd name="connsiteX7432" fmla="*/ 3375511 w 5047599"/>
              <a:gd name="connsiteY7432" fmla="*/ 1054171 h 4588585"/>
              <a:gd name="connsiteX7433" fmla="*/ 3394958 w 5047599"/>
              <a:gd name="connsiteY7433" fmla="*/ 1054171 h 4588585"/>
              <a:gd name="connsiteX7434" fmla="*/ 3414404 w 5047599"/>
              <a:gd name="connsiteY7434" fmla="*/ 1054171 h 4588585"/>
              <a:gd name="connsiteX7435" fmla="*/ 3433851 w 5047599"/>
              <a:gd name="connsiteY7435" fmla="*/ 1054171 h 4588585"/>
              <a:gd name="connsiteX7436" fmla="*/ 3453297 w 5047599"/>
              <a:gd name="connsiteY7436" fmla="*/ 1054149 h 4588585"/>
              <a:gd name="connsiteX7437" fmla="*/ 3472722 w 5047599"/>
              <a:gd name="connsiteY7437" fmla="*/ 1054149 h 4588585"/>
              <a:gd name="connsiteX7438" fmla="*/ 3492170 w 5047599"/>
              <a:gd name="connsiteY7438" fmla="*/ 1054149 h 4588585"/>
              <a:gd name="connsiteX7439" fmla="*/ 3511616 w 5047599"/>
              <a:gd name="connsiteY7439" fmla="*/ 1054149 h 4588585"/>
              <a:gd name="connsiteX7440" fmla="*/ 3531062 w 5047599"/>
              <a:gd name="connsiteY7440" fmla="*/ 1054149 h 4588585"/>
              <a:gd name="connsiteX7441" fmla="*/ 3550509 w 5047599"/>
              <a:gd name="connsiteY7441" fmla="*/ 1054149 h 4588585"/>
              <a:gd name="connsiteX7442" fmla="*/ 3569934 w 5047599"/>
              <a:gd name="connsiteY7442" fmla="*/ 1054149 h 4588585"/>
              <a:gd name="connsiteX7443" fmla="*/ 3589402 w 5047599"/>
              <a:gd name="connsiteY7443" fmla="*/ 1054128 h 4588585"/>
              <a:gd name="connsiteX7444" fmla="*/ 3608828 w 5047599"/>
              <a:gd name="connsiteY7444" fmla="*/ 1054128 h 4588585"/>
              <a:gd name="connsiteX7445" fmla="*/ 3628274 w 5047599"/>
              <a:gd name="connsiteY7445" fmla="*/ 1054128 h 4588585"/>
              <a:gd name="connsiteX7446" fmla="*/ 3647720 w 5047599"/>
              <a:gd name="connsiteY7446" fmla="*/ 1054128 h 4588585"/>
              <a:gd name="connsiteX7447" fmla="*/ 3667168 w 5047599"/>
              <a:gd name="connsiteY7447" fmla="*/ 1054128 h 4588585"/>
              <a:gd name="connsiteX7448" fmla="*/ 3686614 w 5047599"/>
              <a:gd name="connsiteY7448" fmla="*/ 1054108 h 4588585"/>
              <a:gd name="connsiteX7449" fmla="*/ 3687269 w 5047599"/>
              <a:gd name="connsiteY7449" fmla="*/ 1068668 h 4588585"/>
              <a:gd name="connsiteX7450" fmla="*/ 3689887 w 5047599"/>
              <a:gd name="connsiteY7450" fmla="*/ 1080277 h 4588585"/>
              <a:gd name="connsiteX7451" fmla="*/ 3699051 w 5047599"/>
              <a:gd name="connsiteY7451" fmla="*/ 1096852 h 4588585"/>
              <a:gd name="connsiteX7452" fmla="*/ 3706778 w 5047599"/>
              <a:gd name="connsiteY7452" fmla="*/ 1105766 h 4588585"/>
              <a:gd name="connsiteX7453" fmla="*/ 3709566 w 5047599"/>
              <a:gd name="connsiteY7453" fmla="*/ 1110669 h 4588585"/>
              <a:gd name="connsiteX7454" fmla="*/ 3709819 w 5047599"/>
              <a:gd name="connsiteY7454" fmla="*/ 1112941 h 4588585"/>
              <a:gd name="connsiteX7455" fmla="*/ 3709460 w 5047599"/>
              <a:gd name="connsiteY7455" fmla="*/ 1115063 h 4588585"/>
              <a:gd name="connsiteX7456" fmla="*/ 3707116 w 5047599"/>
              <a:gd name="connsiteY7456" fmla="*/ 1112622 h 4588585"/>
              <a:gd name="connsiteX7457" fmla="*/ 3703147 w 5047599"/>
              <a:gd name="connsiteY7457" fmla="*/ 1110967 h 4588585"/>
              <a:gd name="connsiteX7458" fmla="*/ 3702598 w 5047599"/>
              <a:gd name="connsiteY7458" fmla="*/ 1118714 h 4588585"/>
              <a:gd name="connsiteX7459" fmla="*/ 3703506 w 5047599"/>
              <a:gd name="connsiteY7459" fmla="*/ 1124210 h 4588585"/>
              <a:gd name="connsiteX7460" fmla="*/ 3704456 w 5047599"/>
              <a:gd name="connsiteY7460" fmla="*/ 1134548 h 4588585"/>
              <a:gd name="connsiteX7461" fmla="*/ 3707708 w 5047599"/>
              <a:gd name="connsiteY7461" fmla="*/ 1145626 h 4588585"/>
              <a:gd name="connsiteX7462" fmla="*/ 3705364 w 5047599"/>
              <a:gd name="connsiteY7462" fmla="*/ 1155857 h 4588585"/>
              <a:gd name="connsiteX7463" fmla="*/ 3705681 w 5047599"/>
              <a:gd name="connsiteY7463" fmla="*/ 1173175 h 4588585"/>
              <a:gd name="connsiteX7464" fmla="*/ 3709777 w 5047599"/>
              <a:gd name="connsiteY7464" fmla="*/ 1193890 h 4588585"/>
              <a:gd name="connsiteX7465" fmla="*/ 3708953 w 5047599"/>
              <a:gd name="connsiteY7465" fmla="*/ 1207091 h 4588585"/>
              <a:gd name="connsiteX7466" fmla="*/ 3715646 w 5047599"/>
              <a:gd name="connsiteY7466" fmla="*/ 1237823 h 4588585"/>
              <a:gd name="connsiteX7467" fmla="*/ 3722150 w 5047599"/>
              <a:gd name="connsiteY7467" fmla="*/ 1254846 h 4588585"/>
              <a:gd name="connsiteX7468" fmla="*/ 3725719 w 5047599"/>
              <a:gd name="connsiteY7468" fmla="*/ 1259026 h 4588585"/>
              <a:gd name="connsiteX7469" fmla="*/ 3729751 w 5047599"/>
              <a:gd name="connsiteY7469" fmla="*/ 1261277 h 4588585"/>
              <a:gd name="connsiteX7470" fmla="*/ 3737480 w 5047599"/>
              <a:gd name="connsiteY7470" fmla="*/ 1262719 h 4588585"/>
              <a:gd name="connsiteX7471" fmla="*/ 3748860 w 5047599"/>
              <a:gd name="connsiteY7471" fmla="*/ 1271358 h 4588585"/>
              <a:gd name="connsiteX7472" fmla="*/ 3757876 w 5047599"/>
              <a:gd name="connsiteY7472" fmla="*/ 1280483 h 4588585"/>
              <a:gd name="connsiteX7473" fmla="*/ 3761085 w 5047599"/>
              <a:gd name="connsiteY7473" fmla="*/ 1285259 h 4588585"/>
              <a:gd name="connsiteX7474" fmla="*/ 3765435 w 5047599"/>
              <a:gd name="connsiteY7474" fmla="*/ 1290482 h 4588585"/>
              <a:gd name="connsiteX7475" fmla="*/ 3768433 w 5047599"/>
              <a:gd name="connsiteY7475" fmla="*/ 1289547 h 4588585"/>
              <a:gd name="connsiteX7476" fmla="*/ 3770270 w 5047599"/>
              <a:gd name="connsiteY7476" fmla="*/ 1288148 h 4588585"/>
              <a:gd name="connsiteX7477" fmla="*/ 3773205 w 5047599"/>
              <a:gd name="connsiteY7477" fmla="*/ 1292371 h 4588585"/>
              <a:gd name="connsiteX7478" fmla="*/ 3787499 w 5047599"/>
              <a:gd name="connsiteY7478" fmla="*/ 1301476 h 4588585"/>
              <a:gd name="connsiteX7479" fmla="*/ 3789611 w 5047599"/>
              <a:gd name="connsiteY7479" fmla="*/ 1305700 h 4588585"/>
              <a:gd name="connsiteX7480" fmla="*/ 3789565 w 5047599"/>
              <a:gd name="connsiteY7480" fmla="*/ 1305737 h 4588585"/>
              <a:gd name="connsiteX7481" fmla="*/ 3807432 w 5047599"/>
              <a:gd name="connsiteY7481" fmla="*/ 1341569 h 4588585"/>
              <a:gd name="connsiteX7482" fmla="*/ 3814695 w 5047599"/>
              <a:gd name="connsiteY7482" fmla="*/ 1362752 h 4588585"/>
              <a:gd name="connsiteX7483" fmla="*/ 3821114 w 5047599"/>
              <a:gd name="connsiteY7483" fmla="*/ 1384804 h 4588585"/>
              <a:gd name="connsiteX7484" fmla="*/ 3825865 w 5047599"/>
              <a:gd name="connsiteY7484" fmla="*/ 1417848 h 4588585"/>
              <a:gd name="connsiteX7485" fmla="*/ 3830383 w 5047599"/>
              <a:gd name="connsiteY7485" fmla="*/ 1434660 h 4588585"/>
              <a:gd name="connsiteX7486" fmla="*/ 3837689 w 5047599"/>
              <a:gd name="connsiteY7486" fmla="*/ 1442937 h 4588585"/>
              <a:gd name="connsiteX7487" fmla="*/ 3842694 w 5047599"/>
              <a:gd name="connsiteY7487" fmla="*/ 1458579 h 4588585"/>
              <a:gd name="connsiteX7488" fmla="*/ 3846980 w 5047599"/>
              <a:gd name="connsiteY7488" fmla="*/ 1459174 h 4588585"/>
              <a:gd name="connsiteX7489" fmla="*/ 3850083 w 5047599"/>
              <a:gd name="connsiteY7489" fmla="*/ 1463463 h 4588585"/>
              <a:gd name="connsiteX7490" fmla="*/ 3855404 w 5047599"/>
              <a:gd name="connsiteY7490" fmla="*/ 1478129 h 4588585"/>
              <a:gd name="connsiteX7491" fmla="*/ 3859226 w 5047599"/>
              <a:gd name="connsiteY7491" fmla="*/ 1483582 h 4588585"/>
              <a:gd name="connsiteX7492" fmla="*/ 3861232 w 5047599"/>
              <a:gd name="connsiteY7492" fmla="*/ 1478893 h 4588585"/>
              <a:gd name="connsiteX7493" fmla="*/ 3860999 w 5047599"/>
              <a:gd name="connsiteY7493" fmla="*/ 1476196 h 4588585"/>
              <a:gd name="connsiteX7494" fmla="*/ 3859500 w 5047599"/>
              <a:gd name="connsiteY7494" fmla="*/ 1471676 h 4588585"/>
              <a:gd name="connsiteX7495" fmla="*/ 3860872 w 5047599"/>
              <a:gd name="connsiteY7495" fmla="*/ 1465861 h 4588585"/>
              <a:gd name="connsiteX7496" fmla="*/ 3863850 w 5047599"/>
              <a:gd name="connsiteY7496" fmla="*/ 1462379 h 4588585"/>
              <a:gd name="connsiteX7497" fmla="*/ 3870649 w 5047599"/>
              <a:gd name="connsiteY7497" fmla="*/ 1467134 h 4588585"/>
              <a:gd name="connsiteX7498" fmla="*/ 3874366 w 5047599"/>
              <a:gd name="connsiteY7498" fmla="*/ 1470720 h 4588585"/>
              <a:gd name="connsiteX7499" fmla="*/ 3875358 w 5047599"/>
              <a:gd name="connsiteY7499" fmla="*/ 1477916 h 4588585"/>
              <a:gd name="connsiteX7500" fmla="*/ 3876921 w 5047599"/>
              <a:gd name="connsiteY7500" fmla="*/ 1481906 h 4588585"/>
              <a:gd name="connsiteX7501" fmla="*/ 3884014 w 5047599"/>
              <a:gd name="connsiteY7501" fmla="*/ 1490352 h 4588585"/>
              <a:gd name="connsiteX7502" fmla="*/ 3890012 w 5047599"/>
              <a:gd name="connsiteY7502" fmla="*/ 1492814 h 4588585"/>
              <a:gd name="connsiteX7503" fmla="*/ 3897781 w 5047599"/>
              <a:gd name="connsiteY7503" fmla="*/ 1493432 h 4588585"/>
              <a:gd name="connsiteX7504" fmla="*/ 3904284 w 5047599"/>
              <a:gd name="connsiteY7504" fmla="*/ 1495280 h 4588585"/>
              <a:gd name="connsiteX7505" fmla="*/ 3909500 w 5047599"/>
              <a:gd name="connsiteY7505" fmla="*/ 1498378 h 4588585"/>
              <a:gd name="connsiteX7506" fmla="*/ 3919276 w 5047599"/>
              <a:gd name="connsiteY7506" fmla="*/ 1506952 h 4588585"/>
              <a:gd name="connsiteX7507" fmla="*/ 3941636 w 5047599"/>
              <a:gd name="connsiteY7507" fmla="*/ 1514467 h 4588585"/>
              <a:gd name="connsiteX7508" fmla="*/ 3959605 w 5047599"/>
              <a:gd name="connsiteY7508" fmla="*/ 1537473 h 4588585"/>
              <a:gd name="connsiteX7509" fmla="*/ 3970183 w 5047599"/>
              <a:gd name="connsiteY7509" fmla="*/ 1553392 h 4588585"/>
              <a:gd name="connsiteX7510" fmla="*/ 4004959 w 5047599"/>
              <a:gd name="connsiteY7510" fmla="*/ 1577481 h 4588585"/>
              <a:gd name="connsiteX7511" fmla="*/ 4010977 w 5047599"/>
              <a:gd name="connsiteY7511" fmla="*/ 1589005 h 4588585"/>
              <a:gd name="connsiteX7512" fmla="*/ 4014101 w 5047599"/>
              <a:gd name="connsiteY7512" fmla="*/ 1600295 h 4588585"/>
              <a:gd name="connsiteX7513" fmla="*/ 4021407 w 5047599"/>
              <a:gd name="connsiteY7513" fmla="*/ 1599764 h 4588585"/>
              <a:gd name="connsiteX7514" fmla="*/ 4033950 w 5047599"/>
              <a:gd name="connsiteY7514" fmla="*/ 1612097 h 4588585"/>
              <a:gd name="connsiteX7515" fmla="*/ 4037602 w 5047599"/>
              <a:gd name="connsiteY7515" fmla="*/ 1621456 h 4588585"/>
              <a:gd name="connsiteX7516" fmla="*/ 4047864 w 5047599"/>
              <a:gd name="connsiteY7516" fmla="*/ 1624852 h 4588585"/>
              <a:gd name="connsiteX7517" fmla="*/ 4049617 w 5047599"/>
              <a:gd name="connsiteY7517" fmla="*/ 1619311 h 4588585"/>
              <a:gd name="connsiteX7518" fmla="*/ 4054578 w 5047599"/>
              <a:gd name="connsiteY7518" fmla="*/ 1623853 h 4588585"/>
              <a:gd name="connsiteX7519" fmla="*/ 4056687 w 5047599"/>
              <a:gd name="connsiteY7519" fmla="*/ 1630957 h 4588585"/>
              <a:gd name="connsiteX7520" fmla="*/ 4056689 w 5047599"/>
              <a:gd name="connsiteY7520" fmla="*/ 1630956 h 4588585"/>
              <a:gd name="connsiteX7521" fmla="*/ 4057534 w 5047599"/>
              <a:gd name="connsiteY7521" fmla="*/ 1633885 h 4588585"/>
              <a:gd name="connsiteX7522" fmla="*/ 4067458 w 5047599"/>
              <a:gd name="connsiteY7522" fmla="*/ 1645815 h 4588585"/>
              <a:gd name="connsiteX7523" fmla="*/ 4070730 w 5047599"/>
              <a:gd name="connsiteY7523" fmla="*/ 1651672 h 4588585"/>
              <a:gd name="connsiteX7524" fmla="*/ 4074046 w 5047599"/>
              <a:gd name="connsiteY7524" fmla="*/ 1662411 h 4588585"/>
              <a:gd name="connsiteX7525" fmla="*/ 4072314 w 5047599"/>
              <a:gd name="connsiteY7525" fmla="*/ 1668376 h 4588585"/>
              <a:gd name="connsiteX7526" fmla="*/ 4069717 w 5047599"/>
              <a:gd name="connsiteY7526" fmla="*/ 1672280 h 4588585"/>
              <a:gd name="connsiteX7527" fmla="*/ 4065896 w 5047599"/>
              <a:gd name="connsiteY7527" fmla="*/ 1675740 h 4588585"/>
              <a:gd name="connsiteX7528" fmla="*/ 4052614 w 5047599"/>
              <a:gd name="connsiteY7528" fmla="*/ 1684252 h 4588585"/>
              <a:gd name="connsiteX7529" fmla="*/ 4037855 w 5047599"/>
              <a:gd name="connsiteY7529" fmla="*/ 1689663 h 4588585"/>
              <a:gd name="connsiteX7530" fmla="*/ 4028438 w 5047599"/>
              <a:gd name="connsiteY7530" fmla="*/ 1700508 h 4588585"/>
              <a:gd name="connsiteX7531" fmla="*/ 4021428 w 5047599"/>
              <a:gd name="connsiteY7531" fmla="*/ 1699765 h 4588585"/>
              <a:gd name="connsiteX7532" fmla="*/ 4022505 w 5047599"/>
              <a:gd name="connsiteY7532" fmla="*/ 1703861 h 4588585"/>
              <a:gd name="connsiteX7533" fmla="*/ 4025102 w 5047599"/>
              <a:gd name="connsiteY7533" fmla="*/ 1704327 h 4588585"/>
              <a:gd name="connsiteX7534" fmla="*/ 4029198 w 5047599"/>
              <a:gd name="connsiteY7534" fmla="*/ 1703542 h 4588585"/>
              <a:gd name="connsiteX7535" fmla="*/ 4037327 w 5047599"/>
              <a:gd name="connsiteY7535" fmla="*/ 1700402 h 4588585"/>
              <a:gd name="connsiteX7536" fmla="*/ 4044527 w 5047599"/>
              <a:gd name="connsiteY7536" fmla="*/ 1698895 h 4588585"/>
              <a:gd name="connsiteX7537" fmla="*/ 4052318 w 5047599"/>
              <a:gd name="connsiteY7537" fmla="*/ 1698789 h 4588585"/>
              <a:gd name="connsiteX7538" fmla="*/ 4059370 w 5047599"/>
              <a:gd name="connsiteY7538" fmla="*/ 1700147 h 4588585"/>
              <a:gd name="connsiteX7539" fmla="*/ 4064354 w 5047599"/>
              <a:gd name="connsiteY7539" fmla="*/ 1704142 h 4588585"/>
              <a:gd name="connsiteX7540" fmla="*/ 4059223 w 5047599"/>
              <a:gd name="connsiteY7540" fmla="*/ 1712228 h 4588585"/>
              <a:gd name="connsiteX7541" fmla="*/ 4052656 w 5047599"/>
              <a:gd name="connsiteY7541" fmla="*/ 1722585 h 4588585"/>
              <a:gd name="connsiteX7542" fmla="*/ 4045202 w 5047599"/>
              <a:gd name="connsiteY7542" fmla="*/ 1734345 h 4588585"/>
              <a:gd name="connsiteX7543" fmla="*/ 4040537 w 5047599"/>
              <a:gd name="connsiteY7543" fmla="*/ 1734428 h 4588585"/>
              <a:gd name="connsiteX7544" fmla="*/ 4036926 w 5047599"/>
              <a:gd name="connsiteY7544" fmla="*/ 1733748 h 4588585"/>
              <a:gd name="connsiteX7545" fmla="*/ 4034434 w 5047599"/>
              <a:gd name="connsiteY7545" fmla="*/ 1731754 h 4588585"/>
              <a:gd name="connsiteX7546" fmla="*/ 4029325 w 5047599"/>
              <a:gd name="connsiteY7546" fmla="*/ 1729568 h 4588585"/>
              <a:gd name="connsiteX7547" fmla="*/ 4023560 w 5047599"/>
              <a:gd name="connsiteY7547" fmla="*/ 1729420 h 4588585"/>
              <a:gd name="connsiteX7548" fmla="*/ 4018071 w 5047599"/>
              <a:gd name="connsiteY7548" fmla="*/ 1731458 h 4588585"/>
              <a:gd name="connsiteX7549" fmla="*/ 4008780 w 5047599"/>
              <a:gd name="connsiteY7549" fmla="*/ 1733983 h 4588585"/>
              <a:gd name="connsiteX7550" fmla="*/ 4000377 w 5047599"/>
              <a:gd name="connsiteY7550" fmla="*/ 1734811 h 4588585"/>
              <a:gd name="connsiteX7551" fmla="*/ 3993599 w 5047599"/>
              <a:gd name="connsiteY7551" fmla="*/ 1736211 h 4588585"/>
              <a:gd name="connsiteX7552" fmla="*/ 3988003 w 5047599"/>
              <a:gd name="connsiteY7552" fmla="*/ 1737845 h 4588585"/>
              <a:gd name="connsiteX7553" fmla="*/ 3982935 w 5047599"/>
              <a:gd name="connsiteY7553" fmla="*/ 1736954 h 4588585"/>
              <a:gd name="connsiteX7554" fmla="*/ 3978565 w 5047599"/>
              <a:gd name="connsiteY7554" fmla="*/ 1735489 h 4588585"/>
              <a:gd name="connsiteX7555" fmla="*/ 3978566 w 5047599"/>
              <a:gd name="connsiteY7555" fmla="*/ 1735493 h 4588585"/>
              <a:gd name="connsiteX7556" fmla="*/ 3982936 w 5047599"/>
              <a:gd name="connsiteY7556" fmla="*/ 1736957 h 4588585"/>
              <a:gd name="connsiteX7557" fmla="*/ 3988004 w 5047599"/>
              <a:gd name="connsiteY7557" fmla="*/ 1737851 h 4588585"/>
              <a:gd name="connsiteX7558" fmla="*/ 3993600 w 5047599"/>
              <a:gd name="connsiteY7558" fmla="*/ 1736216 h 4588585"/>
              <a:gd name="connsiteX7559" fmla="*/ 4000378 w 5047599"/>
              <a:gd name="connsiteY7559" fmla="*/ 1734817 h 4588585"/>
              <a:gd name="connsiteX7560" fmla="*/ 4008781 w 5047599"/>
              <a:gd name="connsiteY7560" fmla="*/ 1733989 h 4588585"/>
              <a:gd name="connsiteX7561" fmla="*/ 4018072 w 5047599"/>
              <a:gd name="connsiteY7561" fmla="*/ 1731463 h 4588585"/>
              <a:gd name="connsiteX7562" fmla="*/ 4023561 w 5047599"/>
              <a:gd name="connsiteY7562" fmla="*/ 1729424 h 4588585"/>
              <a:gd name="connsiteX7563" fmla="*/ 4029325 w 5047599"/>
              <a:gd name="connsiteY7563" fmla="*/ 1729573 h 4588585"/>
              <a:gd name="connsiteX7564" fmla="*/ 4034435 w 5047599"/>
              <a:gd name="connsiteY7564" fmla="*/ 1731759 h 4588585"/>
              <a:gd name="connsiteX7565" fmla="*/ 4036927 w 5047599"/>
              <a:gd name="connsiteY7565" fmla="*/ 1733754 h 4588585"/>
              <a:gd name="connsiteX7566" fmla="*/ 4040537 w 5047599"/>
              <a:gd name="connsiteY7566" fmla="*/ 1734435 h 4588585"/>
              <a:gd name="connsiteX7567" fmla="*/ 4045201 w 5047599"/>
              <a:gd name="connsiteY7567" fmla="*/ 1734350 h 4588585"/>
              <a:gd name="connsiteX7568" fmla="*/ 4045203 w 5047599"/>
              <a:gd name="connsiteY7568" fmla="*/ 1734346 h 4588585"/>
              <a:gd name="connsiteX7569" fmla="*/ 4052657 w 5047599"/>
              <a:gd name="connsiteY7569" fmla="*/ 1722587 h 4588585"/>
              <a:gd name="connsiteX7570" fmla="*/ 4059224 w 5047599"/>
              <a:gd name="connsiteY7570" fmla="*/ 1712228 h 4588585"/>
              <a:gd name="connsiteX7571" fmla="*/ 4064355 w 5047599"/>
              <a:gd name="connsiteY7571" fmla="*/ 1704144 h 4588585"/>
              <a:gd name="connsiteX7572" fmla="*/ 4075925 w 5047599"/>
              <a:gd name="connsiteY7572" fmla="*/ 1713396 h 4588585"/>
              <a:gd name="connsiteX7573" fmla="*/ 4087180 w 5047599"/>
              <a:gd name="connsiteY7573" fmla="*/ 1732159 h 4588585"/>
              <a:gd name="connsiteX7574" fmla="*/ 4100292 w 5047599"/>
              <a:gd name="connsiteY7574" fmla="*/ 1747312 h 4588585"/>
              <a:gd name="connsiteX7575" fmla="*/ 4118408 w 5047599"/>
              <a:gd name="connsiteY7575" fmla="*/ 1761364 h 4588585"/>
              <a:gd name="connsiteX7576" fmla="*/ 4125586 w 5047599"/>
              <a:gd name="connsiteY7576" fmla="*/ 1766118 h 4588585"/>
              <a:gd name="connsiteX7577" fmla="*/ 4131942 w 5047599"/>
              <a:gd name="connsiteY7577" fmla="*/ 1768621 h 4588585"/>
              <a:gd name="connsiteX7578" fmla="*/ 4164902 w 5047599"/>
              <a:gd name="connsiteY7578" fmla="*/ 1768239 h 4588585"/>
              <a:gd name="connsiteX7579" fmla="*/ 4188298 w 5047599"/>
              <a:gd name="connsiteY7579" fmla="*/ 1755421 h 4588585"/>
              <a:gd name="connsiteX7580" fmla="*/ 4209539 w 5047599"/>
              <a:gd name="connsiteY7580" fmla="*/ 1746124 h 4588585"/>
              <a:gd name="connsiteX7581" fmla="*/ 4216675 w 5047599"/>
              <a:gd name="connsiteY7581" fmla="*/ 1744192 h 4588585"/>
              <a:gd name="connsiteX7582" fmla="*/ 4229006 w 5047599"/>
              <a:gd name="connsiteY7582" fmla="*/ 1746738 h 4588585"/>
              <a:gd name="connsiteX7583" fmla="*/ 4242605 w 5047599"/>
              <a:gd name="connsiteY7583" fmla="*/ 1747502 h 4588585"/>
              <a:gd name="connsiteX7584" fmla="*/ 4254830 w 5047599"/>
              <a:gd name="connsiteY7584" fmla="*/ 1750326 h 4588585"/>
              <a:gd name="connsiteX7585" fmla="*/ 4261037 w 5047599"/>
              <a:gd name="connsiteY7585" fmla="*/ 1749604 h 4588585"/>
              <a:gd name="connsiteX7586" fmla="*/ 4285234 w 5047599"/>
              <a:gd name="connsiteY7586" fmla="*/ 1738802 h 4588585"/>
              <a:gd name="connsiteX7587" fmla="*/ 4300437 w 5047599"/>
              <a:gd name="connsiteY7587" fmla="*/ 1728273 h 4588585"/>
              <a:gd name="connsiteX7588" fmla="*/ 4310804 w 5047599"/>
              <a:gd name="connsiteY7588" fmla="*/ 1723795 h 4588585"/>
              <a:gd name="connsiteX7589" fmla="*/ 4314879 w 5047599"/>
              <a:gd name="connsiteY7589" fmla="*/ 1723753 h 4588585"/>
              <a:gd name="connsiteX7590" fmla="*/ 4329026 w 5047599"/>
              <a:gd name="connsiteY7590" fmla="*/ 1727551 h 4588585"/>
              <a:gd name="connsiteX7591" fmla="*/ 4347206 w 5047599"/>
              <a:gd name="connsiteY7591" fmla="*/ 1725896 h 4588585"/>
              <a:gd name="connsiteX7592" fmla="*/ 4372079 w 5047599"/>
              <a:gd name="connsiteY7592" fmla="*/ 1716812 h 4588585"/>
              <a:gd name="connsiteX7593" fmla="*/ 4379997 w 5047599"/>
              <a:gd name="connsiteY7593" fmla="*/ 1714965 h 4588585"/>
              <a:gd name="connsiteX7594" fmla="*/ 4386036 w 5047599"/>
              <a:gd name="connsiteY7594" fmla="*/ 1714839 h 4588585"/>
              <a:gd name="connsiteX7595" fmla="*/ 4399570 w 5047599"/>
              <a:gd name="connsiteY7595" fmla="*/ 1718935 h 4588585"/>
              <a:gd name="connsiteX7596" fmla="*/ 4401682 w 5047599"/>
              <a:gd name="connsiteY7596" fmla="*/ 1718722 h 4588585"/>
              <a:gd name="connsiteX7597" fmla="*/ 4409008 w 5047599"/>
              <a:gd name="connsiteY7597" fmla="*/ 1717957 h 4588585"/>
              <a:gd name="connsiteX7598" fmla="*/ 4428329 w 5047599"/>
              <a:gd name="connsiteY7598" fmla="*/ 1713626 h 4588585"/>
              <a:gd name="connsiteX7599" fmla="*/ 4443383 w 5047599"/>
              <a:gd name="connsiteY7599" fmla="*/ 1707089 h 4588585"/>
              <a:gd name="connsiteX7600" fmla="*/ 4471107 w 5047599"/>
              <a:gd name="connsiteY7600" fmla="*/ 1702357 h 4588585"/>
              <a:gd name="connsiteX7601" fmla="*/ 4492200 w 5047599"/>
              <a:gd name="connsiteY7601" fmla="*/ 1690388 h 4588585"/>
              <a:gd name="connsiteX7602" fmla="*/ 4495896 w 5047599"/>
              <a:gd name="connsiteY7602" fmla="*/ 1684592 h 4588585"/>
              <a:gd name="connsiteX7603" fmla="*/ 4502272 w 5047599"/>
              <a:gd name="connsiteY7603" fmla="*/ 1677290 h 4588585"/>
              <a:gd name="connsiteX7604" fmla="*/ 4511520 w 5047599"/>
              <a:gd name="connsiteY7604" fmla="*/ 1674894 h 4588585"/>
              <a:gd name="connsiteX7605" fmla="*/ 4535168 w 5047599"/>
              <a:gd name="connsiteY7605" fmla="*/ 1683469 h 4588585"/>
              <a:gd name="connsiteX7606" fmla="*/ 4538948 w 5047599"/>
              <a:gd name="connsiteY7606" fmla="*/ 1684148 h 4588585"/>
              <a:gd name="connsiteX7607" fmla="*/ 4537575 w 5047599"/>
              <a:gd name="connsiteY7607" fmla="*/ 1689325 h 4588585"/>
              <a:gd name="connsiteX7608" fmla="*/ 4536753 w 5047599"/>
              <a:gd name="connsiteY7608" fmla="*/ 1694611 h 4588585"/>
              <a:gd name="connsiteX7609" fmla="*/ 4531917 w 5047599"/>
              <a:gd name="connsiteY7609" fmla="*/ 1703822 h 4588585"/>
              <a:gd name="connsiteX7610" fmla="*/ 4528813 w 5047599"/>
              <a:gd name="connsiteY7610" fmla="*/ 1714052 h 4588585"/>
              <a:gd name="connsiteX7611" fmla="*/ 4531093 w 5047599"/>
              <a:gd name="connsiteY7611" fmla="*/ 1729674 h 4588585"/>
              <a:gd name="connsiteX7612" fmla="*/ 4532192 w 5047599"/>
              <a:gd name="connsiteY7612" fmla="*/ 1754973 h 4588585"/>
              <a:gd name="connsiteX7613" fmla="*/ 4531621 w 5047599"/>
              <a:gd name="connsiteY7613" fmla="*/ 1758645 h 4588585"/>
              <a:gd name="connsiteX7614" fmla="*/ 4530059 w 5047599"/>
              <a:gd name="connsiteY7614" fmla="*/ 1762253 h 4588585"/>
              <a:gd name="connsiteX7615" fmla="*/ 4529404 w 5047599"/>
              <a:gd name="connsiteY7615" fmla="*/ 1765118 h 4588585"/>
              <a:gd name="connsiteX7616" fmla="*/ 4526849 w 5047599"/>
              <a:gd name="connsiteY7616" fmla="*/ 1766115 h 4588585"/>
              <a:gd name="connsiteX7617" fmla="*/ 4525730 w 5047599"/>
              <a:gd name="connsiteY7617" fmla="*/ 1767750 h 4588585"/>
              <a:gd name="connsiteX7618" fmla="*/ 4527589 w 5047599"/>
              <a:gd name="connsiteY7618" fmla="*/ 1768387 h 4588585"/>
              <a:gd name="connsiteX7619" fmla="*/ 4534978 w 5047599"/>
              <a:gd name="connsiteY7619" fmla="*/ 1765648 h 4588585"/>
              <a:gd name="connsiteX7620" fmla="*/ 4534851 w 5047599"/>
              <a:gd name="connsiteY7620" fmla="*/ 1762614 h 4588585"/>
              <a:gd name="connsiteX7621" fmla="*/ 4535274 w 5047599"/>
              <a:gd name="connsiteY7621" fmla="*/ 1761128 h 4588585"/>
              <a:gd name="connsiteX7622" fmla="*/ 4541355 w 5047599"/>
              <a:gd name="connsiteY7622" fmla="*/ 1764502 h 4588585"/>
              <a:gd name="connsiteX7623" fmla="*/ 4545705 w 5047599"/>
              <a:gd name="connsiteY7623" fmla="*/ 1765902 h 4588585"/>
              <a:gd name="connsiteX7624" fmla="*/ 4546972 w 5047599"/>
              <a:gd name="connsiteY7624" fmla="*/ 1769086 h 4588585"/>
              <a:gd name="connsiteX7625" fmla="*/ 4546634 w 5047599"/>
              <a:gd name="connsiteY7625" fmla="*/ 1771251 h 4588585"/>
              <a:gd name="connsiteX7626" fmla="*/ 4539729 w 5047599"/>
              <a:gd name="connsiteY7626" fmla="*/ 1770253 h 4588585"/>
              <a:gd name="connsiteX7627" fmla="*/ 4536203 w 5047599"/>
              <a:gd name="connsiteY7627" fmla="*/ 1768577 h 4588585"/>
              <a:gd name="connsiteX7628" fmla="*/ 4525962 w 5047599"/>
              <a:gd name="connsiteY7628" fmla="*/ 1771337 h 4588585"/>
              <a:gd name="connsiteX7629" fmla="*/ 4519691 w 5047599"/>
              <a:gd name="connsiteY7629" fmla="*/ 1774308 h 4588585"/>
              <a:gd name="connsiteX7630" fmla="*/ 4517812 w 5047599"/>
              <a:gd name="connsiteY7630" fmla="*/ 1779274 h 4588585"/>
              <a:gd name="connsiteX7631" fmla="*/ 4516356 w 5047599"/>
              <a:gd name="connsiteY7631" fmla="*/ 1799054 h 4588585"/>
              <a:gd name="connsiteX7632" fmla="*/ 4513927 w 5047599"/>
              <a:gd name="connsiteY7632" fmla="*/ 1811874 h 4588585"/>
              <a:gd name="connsiteX7633" fmla="*/ 4513463 w 5047599"/>
              <a:gd name="connsiteY7633" fmla="*/ 1828832 h 4588585"/>
              <a:gd name="connsiteX7634" fmla="*/ 4505165 w 5047599"/>
              <a:gd name="connsiteY7634" fmla="*/ 1840040 h 4588585"/>
              <a:gd name="connsiteX7635" fmla="*/ 4502378 w 5047599"/>
              <a:gd name="connsiteY7635" fmla="*/ 1847934 h 4588585"/>
              <a:gd name="connsiteX7636" fmla="*/ 4490046 w 5047599"/>
              <a:gd name="connsiteY7636" fmla="*/ 1863768 h 4588585"/>
              <a:gd name="connsiteX7637" fmla="*/ 4483628 w 5047599"/>
              <a:gd name="connsiteY7637" fmla="*/ 1877266 h 4588585"/>
              <a:gd name="connsiteX7638" fmla="*/ 4481516 w 5047599"/>
              <a:gd name="connsiteY7638" fmla="*/ 1883867 h 4588585"/>
              <a:gd name="connsiteX7639" fmla="*/ 4470685 w 5047599"/>
              <a:gd name="connsiteY7639" fmla="*/ 1902374 h 4588585"/>
              <a:gd name="connsiteX7640" fmla="*/ 4455799 w 5047599"/>
              <a:gd name="connsiteY7640" fmla="*/ 1916552 h 4588585"/>
              <a:gd name="connsiteX7641" fmla="*/ 4450436 w 5047599"/>
              <a:gd name="connsiteY7641" fmla="*/ 1934656 h 4588585"/>
              <a:gd name="connsiteX7642" fmla="*/ 4445114 w 5047599"/>
              <a:gd name="connsiteY7642" fmla="*/ 1946012 h 4588585"/>
              <a:gd name="connsiteX7643" fmla="*/ 4439097 w 5047599"/>
              <a:gd name="connsiteY7643" fmla="*/ 1956284 h 4588585"/>
              <a:gd name="connsiteX7644" fmla="*/ 4425964 w 5047599"/>
              <a:gd name="connsiteY7644" fmla="*/ 1974579 h 4588585"/>
              <a:gd name="connsiteX7645" fmla="*/ 4419249 w 5047599"/>
              <a:gd name="connsiteY7645" fmla="*/ 1987272 h 4588585"/>
              <a:gd name="connsiteX7646" fmla="*/ 4410825 w 5047599"/>
              <a:gd name="connsiteY7646" fmla="*/ 2009302 h 4588585"/>
              <a:gd name="connsiteX7647" fmla="*/ 4408228 w 5047599"/>
              <a:gd name="connsiteY7647" fmla="*/ 2023225 h 4588585"/>
              <a:gd name="connsiteX7648" fmla="*/ 4384515 w 5047599"/>
              <a:gd name="connsiteY7648" fmla="*/ 2063637 h 4588585"/>
              <a:gd name="connsiteX7649" fmla="*/ 4359917 w 5047599"/>
              <a:gd name="connsiteY7649" fmla="*/ 2095813 h 4588585"/>
              <a:gd name="connsiteX7650" fmla="*/ 4344609 w 5047599"/>
              <a:gd name="connsiteY7650" fmla="*/ 2122864 h 4588585"/>
              <a:gd name="connsiteX7651" fmla="*/ 4317118 w 5047599"/>
              <a:gd name="connsiteY7651" fmla="*/ 2154240 h 4588585"/>
              <a:gd name="connsiteX7652" fmla="*/ 4279639 w 5047599"/>
              <a:gd name="connsiteY7652" fmla="*/ 2194716 h 4588585"/>
              <a:gd name="connsiteX7653" fmla="*/ 4230569 w 5047599"/>
              <a:gd name="connsiteY7653" fmla="*/ 2242731 h 4588585"/>
              <a:gd name="connsiteX7654" fmla="*/ 4217267 w 5047599"/>
              <a:gd name="connsiteY7654" fmla="*/ 2252507 h 4588585"/>
              <a:gd name="connsiteX7655" fmla="*/ 4163571 w 5047599"/>
              <a:gd name="connsiteY7655" fmla="*/ 2282110 h 4588585"/>
              <a:gd name="connsiteX7656" fmla="*/ 4128754 w 5047599"/>
              <a:gd name="connsiteY7656" fmla="*/ 2306920 h 4588585"/>
              <a:gd name="connsiteX7657" fmla="*/ 4110976 w 5047599"/>
              <a:gd name="connsiteY7657" fmla="*/ 2323790 h 4588585"/>
              <a:gd name="connsiteX7658" fmla="*/ 4092310 w 5047599"/>
              <a:gd name="connsiteY7658" fmla="*/ 2338464 h 4588585"/>
              <a:gd name="connsiteX7659" fmla="*/ 4077488 w 5047599"/>
              <a:gd name="connsiteY7659" fmla="*/ 2352463 h 4588585"/>
              <a:gd name="connsiteX7660" fmla="*/ 4032704 w 5047599"/>
              <a:gd name="connsiteY7660" fmla="*/ 2399612 h 4588585"/>
              <a:gd name="connsiteX7661" fmla="*/ 4028101 w 5047599"/>
              <a:gd name="connsiteY7661" fmla="*/ 2404046 h 4588585"/>
              <a:gd name="connsiteX7662" fmla="*/ 4023751 w 5047599"/>
              <a:gd name="connsiteY7662" fmla="*/ 2408227 h 4588585"/>
              <a:gd name="connsiteX7663" fmla="*/ 4018113 w 5047599"/>
              <a:gd name="connsiteY7663" fmla="*/ 2416230 h 4588585"/>
              <a:gd name="connsiteX7664" fmla="*/ 4014186 w 5047599"/>
              <a:gd name="connsiteY7664" fmla="*/ 2419396 h 4588585"/>
              <a:gd name="connsiteX7665" fmla="*/ 4003502 w 5047599"/>
              <a:gd name="connsiteY7665" fmla="*/ 2432889 h 4588585"/>
              <a:gd name="connsiteX7666" fmla="*/ 3996809 w 5047599"/>
              <a:gd name="connsiteY7666" fmla="*/ 2439878 h 4588585"/>
              <a:gd name="connsiteX7667" fmla="*/ 3989334 w 5047599"/>
              <a:gd name="connsiteY7667" fmla="*/ 2446803 h 4588585"/>
              <a:gd name="connsiteX7668" fmla="*/ 3986145 w 5047599"/>
              <a:gd name="connsiteY7668" fmla="*/ 2451681 h 4588585"/>
              <a:gd name="connsiteX7669" fmla="*/ 3983907 w 5047599"/>
              <a:gd name="connsiteY7669" fmla="*/ 2457297 h 4588585"/>
              <a:gd name="connsiteX7670" fmla="*/ 3981395 w 5047599"/>
              <a:gd name="connsiteY7670" fmla="*/ 2460422 h 4588585"/>
              <a:gd name="connsiteX7671" fmla="*/ 3974660 w 5047599"/>
              <a:gd name="connsiteY7671" fmla="*/ 2473830 h 4588585"/>
              <a:gd name="connsiteX7672" fmla="*/ 3968705 w 5047599"/>
              <a:gd name="connsiteY7672" fmla="*/ 2482635 h 4588585"/>
              <a:gd name="connsiteX7673" fmla="*/ 3962838 w 5047599"/>
              <a:gd name="connsiteY7673" fmla="*/ 2489537 h 4588585"/>
              <a:gd name="connsiteX7674" fmla="*/ 3962835 w 5047599"/>
              <a:gd name="connsiteY7674" fmla="*/ 2489582 h 4588585"/>
              <a:gd name="connsiteX7675" fmla="*/ 3954199 w 5047599"/>
              <a:gd name="connsiteY7675" fmla="*/ 2499759 h 4588585"/>
              <a:gd name="connsiteX7676" fmla="*/ 3947126 w 5047599"/>
              <a:gd name="connsiteY7676" fmla="*/ 2504383 h 4588585"/>
              <a:gd name="connsiteX7677" fmla="*/ 3937603 w 5047599"/>
              <a:gd name="connsiteY7677" fmla="*/ 2506579 h 4588585"/>
              <a:gd name="connsiteX7678" fmla="*/ 3934752 w 5047599"/>
              <a:gd name="connsiteY7678" fmla="*/ 2506157 h 4588585"/>
              <a:gd name="connsiteX7679" fmla="*/ 3931015 w 5047599"/>
              <a:gd name="connsiteY7679" fmla="*/ 2504721 h 4588585"/>
              <a:gd name="connsiteX7680" fmla="*/ 3929558 w 5047599"/>
              <a:gd name="connsiteY7680" fmla="*/ 2507170 h 4588585"/>
              <a:gd name="connsiteX7681" fmla="*/ 3928460 w 5047599"/>
              <a:gd name="connsiteY7681" fmla="*/ 2510970 h 4588585"/>
              <a:gd name="connsiteX7682" fmla="*/ 3926349 w 5047599"/>
              <a:gd name="connsiteY7682" fmla="*/ 2510148 h 4588585"/>
              <a:gd name="connsiteX7683" fmla="*/ 3924765 w 5047599"/>
              <a:gd name="connsiteY7683" fmla="*/ 2509028 h 4588585"/>
              <a:gd name="connsiteX7684" fmla="*/ 3925715 w 5047599"/>
              <a:gd name="connsiteY7684" fmla="*/ 2515785 h 4588585"/>
              <a:gd name="connsiteX7685" fmla="*/ 3926687 w 5047599"/>
              <a:gd name="connsiteY7685" fmla="*/ 2519121 h 4588585"/>
              <a:gd name="connsiteX7686" fmla="*/ 3925230 w 5047599"/>
              <a:gd name="connsiteY7686" fmla="*/ 2523576 h 4588585"/>
              <a:gd name="connsiteX7687" fmla="*/ 3920605 w 5047599"/>
              <a:gd name="connsiteY7687" fmla="*/ 2527503 h 4588585"/>
              <a:gd name="connsiteX7688" fmla="*/ 3920184 w 5047599"/>
              <a:gd name="connsiteY7688" fmla="*/ 2530818 h 4588585"/>
              <a:gd name="connsiteX7689" fmla="*/ 3910175 w 5047599"/>
              <a:gd name="connsiteY7689" fmla="*/ 2539539 h 4588585"/>
              <a:gd name="connsiteX7690" fmla="*/ 3895965 w 5047599"/>
              <a:gd name="connsiteY7690" fmla="*/ 2540489 h 4588585"/>
              <a:gd name="connsiteX7691" fmla="*/ 3888491 w 5047599"/>
              <a:gd name="connsiteY7691" fmla="*/ 2544817 h 4588585"/>
              <a:gd name="connsiteX7692" fmla="*/ 3885175 w 5047599"/>
              <a:gd name="connsiteY7692" fmla="*/ 2548365 h 4588585"/>
              <a:gd name="connsiteX7693" fmla="*/ 3882641 w 5047599"/>
              <a:gd name="connsiteY7693" fmla="*/ 2556114 h 4588585"/>
              <a:gd name="connsiteX7694" fmla="*/ 3883529 w 5047599"/>
              <a:gd name="connsiteY7694" fmla="*/ 2567959 h 4588585"/>
              <a:gd name="connsiteX7695" fmla="*/ 3879559 w 5047599"/>
              <a:gd name="connsiteY7695" fmla="*/ 2577102 h 4588585"/>
              <a:gd name="connsiteX7696" fmla="*/ 3878820 w 5047599"/>
              <a:gd name="connsiteY7696" fmla="*/ 2581684 h 4588585"/>
              <a:gd name="connsiteX7697" fmla="*/ 3871472 w 5047599"/>
              <a:gd name="connsiteY7697" fmla="*/ 2587595 h 4588585"/>
              <a:gd name="connsiteX7698" fmla="*/ 3868221 w 5047599"/>
              <a:gd name="connsiteY7698" fmla="*/ 2593043 h 4588585"/>
              <a:gd name="connsiteX7699" fmla="*/ 3865813 w 5047599"/>
              <a:gd name="connsiteY7699" fmla="*/ 2598575 h 4588585"/>
              <a:gd name="connsiteX7700" fmla="*/ 3863723 w 5047599"/>
              <a:gd name="connsiteY7700" fmla="*/ 2601003 h 4588585"/>
              <a:gd name="connsiteX7701" fmla="*/ 3861232 w 5047599"/>
              <a:gd name="connsiteY7701" fmla="*/ 2613398 h 4588585"/>
              <a:gd name="connsiteX7702" fmla="*/ 3857811 w 5047599"/>
              <a:gd name="connsiteY7702" fmla="*/ 2620914 h 4588585"/>
              <a:gd name="connsiteX7703" fmla="*/ 3856882 w 5047599"/>
              <a:gd name="connsiteY7703" fmla="*/ 2623427 h 4588585"/>
              <a:gd name="connsiteX7704" fmla="*/ 3856037 w 5047599"/>
              <a:gd name="connsiteY7704" fmla="*/ 2625686 h 4588585"/>
              <a:gd name="connsiteX7705" fmla="*/ 3853398 w 5047599"/>
              <a:gd name="connsiteY7705" fmla="*/ 2630099 h 4588585"/>
              <a:gd name="connsiteX7706" fmla="*/ 3851666 w 5047599"/>
              <a:gd name="connsiteY7706" fmla="*/ 2633140 h 4588585"/>
              <a:gd name="connsiteX7707" fmla="*/ 3850421 w 5047599"/>
              <a:gd name="connsiteY7707" fmla="*/ 2635146 h 4588585"/>
              <a:gd name="connsiteX7708" fmla="*/ 3841763 w 5047599"/>
              <a:gd name="connsiteY7708" fmla="*/ 2654465 h 4588585"/>
              <a:gd name="connsiteX7709" fmla="*/ 3835007 w 5047599"/>
              <a:gd name="connsiteY7709" fmla="*/ 2663186 h 4588585"/>
              <a:gd name="connsiteX7710" fmla="*/ 3829707 w 5047599"/>
              <a:gd name="connsiteY7710" fmla="*/ 2662194 h 4588585"/>
              <a:gd name="connsiteX7711" fmla="*/ 3826182 w 5047599"/>
              <a:gd name="connsiteY7711" fmla="*/ 2665550 h 4588585"/>
              <a:gd name="connsiteX7712" fmla="*/ 3825801 w 5047599"/>
              <a:gd name="connsiteY7712" fmla="*/ 2667156 h 4588585"/>
              <a:gd name="connsiteX7713" fmla="*/ 3824693 w 5047599"/>
              <a:gd name="connsiteY7713" fmla="*/ 2666633 h 4588585"/>
              <a:gd name="connsiteX7714" fmla="*/ 3825949 w 5047599"/>
              <a:gd name="connsiteY7714" fmla="*/ 2667239 h 4588585"/>
              <a:gd name="connsiteX7715" fmla="*/ 3824767 w 5047599"/>
              <a:gd name="connsiteY7715" fmla="*/ 2672223 h 4588585"/>
              <a:gd name="connsiteX7716" fmla="*/ 3820100 w 5047599"/>
              <a:gd name="connsiteY7716" fmla="*/ 2684343 h 4588585"/>
              <a:gd name="connsiteX7717" fmla="*/ 3819826 w 5047599"/>
              <a:gd name="connsiteY7717" fmla="*/ 2689389 h 4588585"/>
              <a:gd name="connsiteX7718" fmla="*/ 3818010 w 5047599"/>
              <a:gd name="connsiteY7718" fmla="*/ 2695343 h 4588585"/>
              <a:gd name="connsiteX7719" fmla="*/ 3816257 w 5047599"/>
              <a:gd name="connsiteY7719" fmla="*/ 2699270 h 4588585"/>
              <a:gd name="connsiteX7720" fmla="*/ 3811506 w 5047599"/>
              <a:gd name="connsiteY7720" fmla="*/ 2716332 h 4588585"/>
              <a:gd name="connsiteX7721" fmla="*/ 3807537 w 5047599"/>
              <a:gd name="connsiteY7721" fmla="*/ 2722708 h 4588585"/>
              <a:gd name="connsiteX7722" fmla="*/ 3802111 w 5047599"/>
              <a:gd name="connsiteY7722" fmla="*/ 2737678 h 4588585"/>
              <a:gd name="connsiteX7723" fmla="*/ 3801245 w 5047599"/>
              <a:gd name="connsiteY7723" fmla="*/ 2749143 h 4588585"/>
              <a:gd name="connsiteX7724" fmla="*/ 3804244 w 5047599"/>
              <a:gd name="connsiteY7724" fmla="*/ 2757167 h 4588585"/>
              <a:gd name="connsiteX7725" fmla="*/ 3805341 w 5047599"/>
              <a:gd name="connsiteY7725" fmla="*/ 2764684 h 4588585"/>
              <a:gd name="connsiteX7726" fmla="*/ 3811718 w 5047599"/>
              <a:gd name="connsiteY7726" fmla="*/ 2772053 h 4588585"/>
              <a:gd name="connsiteX7727" fmla="*/ 3816807 w 5047599"/>
              <a:gd name="connsiteY7727" fmla="*/ 2774692 h 4588585"/>
              <a:gd name="connsiteX7728" fmla="*/ 3820248 w 5047599"/>
              <a:gd name="connsiteY7728" fmla="*/ 2778070 h 4588585"/>
              <a:gd name="connsiteX7729" fmla="*/ 3826351 w 5047599"/>
              <a:gd name="connsiteY7729" fmla="*/ 2785778 h 4588585"/>
              <a:gd name="connsiteX7730" fmla="*/ 3829855 w 5047599"/>
              <a:gd name="connsiteY7730" fmla="*/ 2793505 h 4588585"/>
              <a:gd name="connsiteX7731" fmla="*/ 3840814 w 5047599"/>
              <a:gd name="connsiteY7731" fmla="*/ 2797305 h 4588585"/>
              <a:gd name="connsiteX7732" fmla="*/ 3845184 w 5047599"/>
              <a:gd name="connsiteY7732" fmla="*/ 2805984 h 4588585"/>
              <a:gd name="connsiteX7733" fmla="*/ 3843601 w 5047599"/>
              <a:gd name="connsiteY7733" fmla="*/ 2811938 h 4588585"/>
              <a:gd name="connsiteX7734" fmla="*/ 3838512 w 5047599"/>
              <a:gd name="connsiteY7734" fmla="*/ 2816879 h 4588585"/>
              <a:gd name="connsiteX7735" fmla="*/ 3833761 w 5047599"/>
              <a:gd name="connsiteY7735" fmla="*/ 2824881 h 4588585"/>
              <a:gd name="connsiteX7736" fmla="*/ 3829940 w 5047599"/>
              <a:gd name="connsiteY7736" fmla="*/ 2835417 h 4588585"/>
              <a:gd name="connsiteX7737" fmla="*/ 3829855 w 5047599"/>
              <a:gd name="connsiteY7737" fmla="*/ 2851528 h 4588585"/>
              <a:gd name="connsiteX7738" fmla="*/ 3832431 w 5047599"/>
              <a:gd name="connsiteY7738" fmla="*/ 2849078 h 4588585"/>
              <a:gd name="connsiteX7739" fmla="*/ 3838238 w 5047599"/>
              <a:gd name="connsiteY7739" fmla="*/ 2853028 h 4588585"/>
              <a:gd name="connsiteX7740" fmla="*/ 3838977 w 5047599"/>
              <a:gd name="connsiteY7740" fmla="*/ 2864893 h 4588585"/>
              <a:gd name="connsiteX7741" fmla="*/ 3833002 w 5047599"/>
              <a:gd name="connsiteY7741" fmla="*/ 2878702 h 4588585"/>
              <a:gd name="connsiteX7742" fmla="*/ 3831165 w 5047599"/>
              <a:gd name="connsiteY7742" fmla="*/ 2885185 h 4588585"/>
              <a:gd name="connsiteX7743" fmla="*/ 3830869 w 5047599"/>
              <a:gd name="connsiteY7743" fmla="*/ 2890738 h 4588585"/>
              <a:gd name="connsiteX7744" fmla="*/ 3835219 w 5047599"/>
              <a:gd name="connsiteY7744" fmla="*/ 2907313 h 4588585"/>
              <a:gd name="connsiteX7745" fmla="*/ 3841806 w 5047599"/>
              <a:gd name="connsiteY7745" fmla="*/ 2915758 h 4588585"/>
              <a:gd name="connsiteX7746" fmla="*/ 3841194 w 5047599"/>
              <a:gd name="connsiteY7746" fmla="*/ 2918334 h 4588585"/>
              <a:gd name="connsiteX7747" fmla="*/ 3839484 w 5047599"/>
              <a:gd name="connsiteY7747" fmla="*/ 2920551 h 4588585"/>
              <a:gd name="connsiteX7748" fmla="*/ 3850759 w 5047599"/>
              <a:gd name="connsiteY7748" fmla="*/ 2935480 h 4588585"/>
              <a:gd name="connsiteX7749" fmla="*/ 3849830 w 5047599"/>
              <a:gd name="connsiteY7749" fmla="*/ 2948507 h 4588585"/>
              <a:gd name="connsiteX7750" fmla="*/ 3854052 w 5047599"/>
              <a:gd name="connsiteY7750" fmla="*/ 2958642 h 4588585"/>
              <a:gd name="connsiteX7751" fmla="*/ 3855890 w 5047599"/>
              <a:gd name="connsiteY7751" fmla="*/ 2967427 h 4588585"/>
              <a:gd name="connsiteX7752" fmla="*/ 3858677 w 5047599"/>
              <a:gd name="connsiteY7752" fmla="*/ 2974182 h 4588585"/>
              <a:gd name="connsiteX7753" fmla="*/ 3859205 w 5047599"/>
              <a:gd name="connsiteY7753" fmla="*/ 2978828 h 4588585"/>
              <a:gd name="connsiteX7754" fmla="*/ 3855720 w 5047599"/>
              <a:gd name="connsiteY7754" fmla="*/ 2983980 h 4588585"/>
              <a:gd name="connsiteX7755" fmla="*/ 3863934 w 5047599"/>
              <a:gd name="connsiteY7755" fmla="*/ 2985289 h 4588585"/>
              <a:gd name="connsiteX7756" fmla="*/ 3868770 w 5047599"/>
              <a:gd name="connsiteY7756" fmla="*/ 2989512 h 4588585"/>
              <a:gd name="connsiteX7757" fmla="*/ 3871050 w 5047599"/>
              <a:gd name="connsiteY7757" fmla="*/ 2993545 h 4588585"/>
              <a:gd name="connsiteX7758" fmla="*/ 3876983 w 5047599"/>
              <a:gd name="connsiteY7758" fmla="*/ 2993376 h 4588585"/>
              <a:gd name="connsiteX7759" fmla="*/ 3880193 w 5047599"/>
              <a:gd name="connsiteY7759" fmla="*/ 2996121 h 4588585"/>
              <a:gd name="connsiteX7760" fmla="*/ 3884838 w 5047599"/>
              <a:gd name="connsiteY7760" fmla="*/ 2998423 h 4588585"/>
              <a:gd name="connsiteX7761" fmla="*/ 3895078 w 5047599"/>
              <a:gd name="connsiteY7761" fmla="*/ 3005200 h 4588585"/>
              <a:gd name="connsiteX7762" fmla="*/ 3897845 w 5047599"/>
              <a:gd name="connsiteY7762" fmla="*/ 3008621 h 4588585"/>
              <a:gd name="connsiteX7763" fmla="*/ 3898836 w 5047599"/>
              <a:gd name="connsiteY7763" fmla="*/ 3010605 h 4588585"/>
              <a:gd name="connsiteX7764" fmla="*/ 3899491 w 5047599"/>
              <a:gd name="connsiteY7764" fmla="*/ 3011894 h 4588585"/>
              <a:gd name="connsiteX7765" fmla="*/ 3892608 w 5047599"/>
              <a:gd name="connsiteY7765" fmla="*/ 3017151 h 4588585"/>
              <a:gd name="connsiteX7766" fmla="*/ 3881882 w 5047599"/>
              <a:gd name="connsiteY7766" fmla="*/ 3025344 h 4588585"/>
              <a:gd name="connsiteX7767" fmla="*/ 3871346 w 5047599"/>
              <a:gd name="connsiteY7767" fmla="*/ 3033367 h 4588585"/>
              <a:gd name="connsiteX7768" fmla="*/ 3869380 w 5047599"/>
              <a:gd name="connsiteY7768" fmla="*/ 3034438 h 4588585"/>
              <a:gd name="connsiteX7769" fmla="*/ 3871429 w 5047599"/>
              <a:gd name="connsiteY7769" fmla="*/ 3033326 h 4588585"/>
              <a:gd name="connsiteX7770" fmla="*/ 3881966 w 5047599"/>
              <a:gd name="connsiteY7770" fmla="*/ 3025302 h 4588585"/>
              <a:gd name="connsiteX7771" fmla="*/ 3892692 w 5047599"/>
              <a:gd name="connsiteY7771" fmla="*/ 3017109 h 4588585"/>
              <a:gd name="connsiteX7772" fmla="*/ 3899576 w 5047599"/>
              <a:gd name="connsiteY7772" fmla="*/ 3011830 h 4588585"/>
              <a:gd name="connsiteX7773" fmla="*/ 3902722 w 5047599"/>
              <a:gd name="connsiteY7773" fmla="*/ 3018038 h 4588585"/>
              <a:gd name="connsiteX7774" fmla="*/ 3908359 w 5047599"/>
              <a:gd name="connsiteY7774" fmla="*/ 3023697 h 4588585"/>
              <a:gd name="connsiteX7775" fmla="*/ 3905002 w 5047599"/>
              <a:gd name="connsiteY7775" fmla="*/ 3026990 h 4588585"/>
              <a:gd name="connsiteX7776" fmla="*/ 3900949 w 5047599"/>
              <a:gd name="connsiteY7776" fmla="*/ 3029947 h 4588585"/>
              <a:gd name="connsiteX7777" fmla="*/ 3907494 w 5047599"/>
              <a:gd name="connsiteY7777" fmla="*/ 3033895 h 4588585"/>
              <a:gd name="connsiteX7778" fmla="*/ 3902701 w 5047599"/>
              <a:gd name="connsiteY7778" fmla="*/ 3039849 h 4588585"/>
              <a:gd name="connsiteX7779" fmla="*/ 3902110 w 5047599"/>
              <a:gd name="connsiteY7779" fmla="*/ 3043988 h 4588585"/>
              <a:gd name="connsiteX7780" fmla="*/ 3903334 w 5047599"/>
              <a:gd name="connsiteY7780" fmla="*/ 3045635 h 4588585"/>
              <a:gd name="connsiteX7781" fmla="*/ 3904390 w 5047599"/>
              <a:gd name="connsiteY7781" fmla="*/ 3048042 h 4588585"/>
              <a:gd name="connsiteX7782" fmla="*/ 3901244 w 5047599"/>
              <a:gd name="connsiteY7782" fmla="*/ 3054883 h 4588585"/>
              <a:gd name="connsiteX7783" fmla="*/ 3897063 w 5047599"/>
              <a:gd name="connsiteY7783" fmla="*/ 3060120 h 4588585"/>
              <a:gd name="connsiteX7784" fmla="*/ 3895987 w 5047599"/>
              <a:gd name="connsiteY7784" fmla="*/ 3064132 h 4588585"/>
              <a:gd name="connsiteX7785" fmla="*/ 3899681 w 5047599"/>
              <a:gd name="connsiteY7785" fmla="*/ 3071204 h 4588585"/>
              <a:gd name="connsiteX7786" fmla="*/ 3897781 w 5047599"/>
              <a:gd name="connsiteY7786" fmla="*/ 3083768 h 4588585"/>
              <a:gd name="connsiteX7787" fmla="*/ 3901349 w 5047599"/>
              <a:gd name="connsiteY7787" fmla="*/ 3095085 h 4588585"/>
              <a:gd name="connsiteX7788" fmla="*/ 3902342 w 5047599"/>
              <a:gd name="connsiteY7788" fmla="*/ 3100870 h 4588585"/>
              <a:gd name="connsiteX7789" fmla="*/ 3903587 w 5047599"/>
              <a:gd name="connsiteY7789" fmla="*/ 3104756 h 4588585"/>
              <a:gd name="connsiteX7790" fmla="*/ 3901814 w 5047599"/>
              <a:gd name="connsiteY7790" fmla="*/ 3111702 h 4588585"/>
              <a:gd name="connsiteX7791" fmla="*/ 3902279 w 5047599"/>
              <a:gd name="connsiteY7791" fmla="*/ 3123421 h 4588585"/>
              <a:gd name="connsiteX7792" fmla="*/ 3903102 w 5047599"/>
              <a:gd name="connsiteY7792" fmla="*/ 3128256 h 4588585"/>
              <a:gd name="connsiteX7793" fmla="*/ 3900969 w 5047599"/>
              <a:gd name="connsiteY7793" fmla="*/ 3134274 h 4588585"/>
              <a:gd name="connsiteX7794" fmla="*/ 3904601 w 5047599"/>
              <a:gd name="connsiteY7794" fmla="*/ 3136364 h 4588585"/>
              <a:gd name="connsiteX7795" fmla="*/ 3906523 w 5047599"/>
              <a:gd name="connsiteY7795" fmla="*/ 3142995 h 4588585"/>
              <a:gd name="connsiteX7796" fmla="*/ 3906016 w 5047599"/>
              <a:gd name="connsiteY7796" fmla="*/ 3150427 h 4588585"/>
              <a:gd name="connsiteX7797" fmla="*/ 3904897 w 5047599"/>
              <a:gd name="connsiteY7797" fmla="*/ 3154438 h 4588585"/>
              <a:gd name="connsiteX7798" fmla="*/ 3898646 w 5047599"/>
              <a:gd name="connsiteY7798" fmla="*/ 3159316 h 4588585"/>
              <a:gd name="connsiteX7799" fmla="*/ 3897908 w 5047599"/>
              <a:gd name="connsiteY7799" fmla="*/ 3161195 h 4588585"/>
              <a:gd name="connsiteX7800" fmla="*/ 3897992 w 5047599"/>
              <a:gd name="connsiteY7800" fmla="*/ 3164067 h 4588585"/>
              <a:gd name="connsiteX7801" fmla="*/ 3905804 w 5047599"/>
              <a:gd name="connsiteY7801" fmla="*/ 3164151 h 4588585"/>
              <a:gd name="connsiteX7802" fmla="*/ 3906079 w 5047599"/>
              <a:gd name="connsiteY7802" fmla="*/ 3168585 h 4588585"/>
              <a:gd name="connsiteX7803" fmla="*/ 3905572 w 5047599"/>
              <a:gd name="connsiteY7803" fmla="*/ 3172090 h 4588585"/>
              <a:gd name="connsiteX7804" fmla="*/ 3905868 w 5047599"/>
              <a:gd name="connsiteY7804" fmla="*/ 3178657 h 4588585"/>
              <a:gd name="connsiteX7805" fmla="*/ 3904834 w 5047599"/>
              <a:gd name="connsiteY7805" fmla="*/ 3182922 h 4588585"/>
              <a:gd name="connsiteX7806" fmla="*/ 3906649 w 5047599"/>
              <a:gd name="connsiteY7806" fmla="*/ 3187821 h 4588585"/>
              <a:gd name="connsiteX7807" fmla="*/ 3904432 w 5047599"/>
              <a:gd name="connsiteY7807" fmla="*/ 3193226 h 4588585"/>
              <a:gd name="connsiteX7808" fmla="*/ 3905192 w 5047599"/>
              <a:gd name="connsiteY7808" fmla="*/ 3197406 h 4588585"/>
              <a:gd name="connsiteX7809" fmla="*/ 3905298 w 5047599"/>
              <a:gd name="connsiteY7809" fmla="*/ 3202812 h 4588585"/>
              <a:gd name="connsiteX7810" fmla="*/ 3907114 w 5047599"/>
              <a:gd name="connsiteY7810" fmla="*/ 3216516 h 4588585"/>
              <a:gd name="connsiteX7811" fmla="*/ 3907431 w 5047599"/>
              <a:gd name="connsiteY7811" fmla="*/ 3233449 h 4588585"/>
              <a:gd name="connsiteX7812" fmla="*/ 3907831 w 5047599"/>
              <a:gd name="connsiteY7812" fmla="*/ 3236152 h 4588585"/>
              <a:gd name="connsiteX7813" fmla="*/ 3910619 w 5047599"/>
              <a:gd name="connsiteY7813" fmla="*/ 3238073 h 4588585"/>
              <a:gd name="connsiteX7814" fmla="*/ 3914525 w 5047599"/>
              <a:gd name="connsiteY7814" fmla="*/ 3239024 h 4588585"/>
              <a:gd name="connsiteX7815" fmla="*/ 3914377 w 5047599"/>
              <a:gd name="connsiteY7815" fmla="*/ 3243668 h 4588585"/>
              <a:gd name="connsiteX7816" fmla="*/ 3910027 w 5047599"/>
              <a:gd name="connsiteY7816" fmla="*/ 3249750 h 4588585"/>
              <a:gd name="connsiteX7817" fmla="*/ 3909775 w 5047599"/>
              <a:gd name="connsiteY7817" fmla="*/ 3253529 h 4588585"/>
              <a:gd name="connsiteX7818" fmla="*/ 3910407 w 5047599"/>
              <a:gd name="connsiteY7818" fmla="*/ 3258829 h 4588585"/>
              <a:gd name="connsiteX7819" fmla="*/ 3915179 w 5047599"/>
              <a:gd name="connsiteY7819" fmla="*/ 3251608 h 4588585"/>
              <a:gd name="connsiteX7820" fmla="*/ 3918051 w 5047599"/>
              <a:gd name="connsiteY7820" fmla="*/ 3251629 h 4588585"/>
              <a:gd name="connsiteX7821" fmla="*/ 3920606 w 5047599"/>
              <a:gd name="connsiteY7821" fmla="*/ 3254459 h 4588585"/>
              <a:gd name="connsiteX7822" fmla="*/ 3920247 w 5047599"/>
              <a:gd name="connsiteY7822" fmla="*/ 3258618 h 4588585"/>
              <a:gd name="connsiteX7823" fmla="*/ 3921133 w 5047599"/>
              <a:gd name="connsiteY7823" fmla="*/ 3260666 h 4588585"/>
              <a:gd name="connsiteX7824" fmla="*/ 3920753 w 5047599"/>
              <a:gd name="connsiteY7824" fmla="*/ 3264699 h 4588585"/>
              <a:gd name="connsiteX7825" fmla="*/ 3922168 w 5047599"/>
              <a:gd name="connsiteY7825" fmla="*/ 3269830 h 4588585"/>
              <a:gd name="connsiteX7826" fmla="*/ 3921619 w 5047599"/>
              <a:gd name="connsiteY7826" fmla="*/ 3274285 h 4588585"/>
              <a:gd name="connsiteX7827" fmla="*/ 3918115 w 5047599"/>
              <a:gd name="connsiteY7827" fmla="*/ 3277388 h 4588585"/>
              <a:gd name="connsiteX7828" fmla="*/ 3913659 w 5047599"/>
              <a:gd name="connsiteY7828" fmla="*/ 3282752 h 4588585"/>
              <a:gd name="connsiteX7829" fmla="*/ 3912857 w 5047599"/>
              <a:gd name="connsiteY7829" fmla="*/ 3287756 h 4588585"/>
              <a:gd name="connsiteX7830" fmla="*/ 3913279 w 5047599"/>
              <a:gd name="connsiteY7830" fmla="*/ 3291050 h 4588585"/>
              <a:gd name="connsiteX7831" fmla="*/ 3910196 w 5047599"/>
              <a:gd name="connsiteY7831" fmla="*/ 3292085 h 4588585"/>
              <a:gd name="connsiteX7832" fmla="*/ 3908761 w 5047599"/>
              <a:gd name="connsiteY7832" fmla="*/ 3294112 h 4588585"/>
              <a:gd name="connsiteX7833" fmla="*/ 3910851 w 5047599"/>
              <a:gd name="connsiteY7833" fmla="*/ 3298862 h 4588585"/>
              <a:gd name="connsiteX7834" fmla="*/ 3910724 w 5047599"/>
              <a:gd name="connsiteY7834" fmla="*/ 3303043 h 4588585"/>
              <a:gd name="connsiteX7835" fmla="*/ 3905276 w 5047599"/>
              <a:gd name="connsiteY7835" fmla="*/ 3316071 h 4588585"/>
              <a:gd name="connsiteX7836" fmla="*/ 3890750 w 5047599"/>
              <a:gd name="connsiteY7836" fmla="*/ 3333912 h 4588585"/>
              <a:gd name="connsiteX7837" fmla="*/ 3884479 w 5047599"/>
              <a:gd name="connsiteY7837" fmla="*/ 3340269 h 4588585"/>
              <a:gd name="connsiteX7838" fmla="*/ 3878609 w 5047599"/>
              <a:gd name="connsiteY7838" fmla="*/ 3347151 h 4588585"/>
              <a:gd name="connsiteX7839" fmla="*/ 3878609 w 5047599"/>
              <a:gd name="connsiteY7839" fmla="*/ 3350002 h 4588585"/>
              <a:gd name="connsiteX7840" fmla="*/ 3878039 w 5047599"/>
              <a:gd name="connsiteY7840" fmla="*/ 3352472 h 4588585"/>
              <a:gd name="connsiteX7841" fmla="*/ 3871198 w 5047599"/>
              <a:gd name="connsiteY7841" fmla="*/ 3362333 h 4588585"/>
              <a:gd name="connsiteX7842" fmla="*/ 3863850 w 5047599"/>
              <a:gd name="connsiteY7842" fmla="*/ 3363959 h 4588585"/>
              <a:gd name="connsiteX7843" fmla="*/ 3859775 w 5047599"/>
              <a:gd name="connsiteY7843" fmla="*/ 3366598 h 4588585"/>
              <a:gd name="connsiteX7844" fmla="*/ 3862963 w 5047599"/>
              <a:gd name="connsiteY7844" fmla="*/ 3375297 h 4588585"/>
              <a:gd name="connsiteX7845" fmla="*/ 3858213 w 5047599"/>
              <a:gd name="connsiteY7845" fmla="*/ 3377324 h 4588585"/>
              <a:gd name="connsiteX7846" fmla="*/ 3849956 w 5047599"/>
              <a:gd name="connsiteY7846" fmla="*/ 3384187 h 4588585"/>
              <a:gd name="connsiteX7847" fmla="*/ 3827258 w 5047599"/>
              <a:gd name="connsiteY7847" fmla="*/ 3397362 h 4588585"/>
              <a:gd name="connsiteX7848" fmla="*/ 3823669 w 5047599"/>
              <a:gd name="connsiteY7848" fmla="*/ 3400403 h 4588585"/>
              <a:gd name="connsiteX7849" fmla="*/ 3817904 w 5047599"/>
              <a:gd name="connsiteY7849" fmla="*/ 3408489 h 4588585"/>
              <a:gd name="connsiteX7850" fmla="*/ 3810303 w 5047599"/>
              <a:gd name="connsiteY7850" fmla="*/ 3410453 h 4588585"/>
              <a:gd name="connsiteX7851" fmla="*/ 3806081 w 5047599"/>
              <a:gd name="connsiteY7851" fmla="*/ 3412754 h 4588585"/>
              <a:gd name="connsiteX7852" fmla="*/ 3798542 w 5047599"/>
              <a:gd name="connsiteY7852" fmla="*/ 3413578 h 4588585"/>
              <a:gd name="connsiteX7853" fmla="*/ 3795903 w 5047599"/>
              <a:gd name="connsiteY7853" fmla="*/ 3412987 h 4588585"/>
              <a:gd name="connsiteX7854" fmla="*/ 3793327 w 5047599"/>
              <a:gd name="connsiteY7854" fmla="*/ 3413304 h 4588585"/>
              <a:gd name="connsiteX7855" fmla="*/ 3791152 w 5047599"/>
              <a:gd name="connsiteY7855" fmla="*/ 3415035 h 4588585"/>
              <a:gd name="connsiteX7856" fmla="*/ 3776182 w 5047599"/>
              <a:gd name="connsiteY7856" fmla="*/ 3420715 h 4588585"/>
              <a:gd name="connsiteX7857" fmla="*/ 3762204 w 5047599"/>
              <a:gd name="connsiteY7857" fmla="*/ 3425213 h 4588585"/>
              <a:gd name="connsiteX7858" fmla="*/ 3758763 w 5047599"/>
              <a:gd name="connsiteY7858" fmla="*/ 3427282 h 4588585"/>
              <a:gd name="connsiteX7859" fmla="*/ 3756482 w 5047599"/>
              <a:gd name="connsiteY7859" fmla="*/ 3430090 h 4588585"/>
              <a:gd name="connsiteX7860" fmla="*/ 3744109 w 5047599"/>
              <a:gd name="connsiteY7860" fmla="*/ 3434545 h 4588585"/>
              <a:gd name="connsiteX7861" fmla="*/ 3724726 w 5047599"/>
              <a:gd name="connsiteY7861" fmla="*/ 3445546 h 4588585"/>
              <a:gd name="connsiteX7862" fmla="*/ 3708869 w 5047599"/>
              <a:gd name="connsiteY7862" fmla="*/ 3456082 h 4588585"/>
              <a:gd name="connsiteX7863" fmla="*/ 3697382 w 5047599"/>
              <a:gd name="connsiteY7863" fmla="*/ 3466618 h 4588585"/>
              <a:gd name="connsiteX7864" fmla="*/ 3694341 w 5047599"/>
              <a:gd name="connsiteY7864" fmla="*/ 3468201 h 4588585"/>
              <a:gd name="connsiteX7865" fmla="*/ 3690794 w 5047599"/>
              <a:gd name="connsiteY7865" fmla="*/ 3471855 h 4588585"/>
              <a:gd name="connsiteX7866" fmla="*/ 3689590 w 5047599"/>
              <a:gd name="connsiteY7866" fmla="*/ 3477239 h 4588585"/>
              <a:gd name="connsiteX7867" fmla="*/ 3688430 w 5047599"/>
              <a:gd name="connsiteY7867" fmla="*/ 3480300 h 4588585"/>
              <a:gd name="connsiteX7868" fmla="*/ 3679921 w 5047599"/>
              <a:gd name="connsiteY7868" fmla="*/ 3491428 h 4588585"/>
              <a:gd name="connsiteX7869" fmla="*/ 3667125 w 5047599"/>
              <a:gd name="connsiteY7869" fmla="*/ 3504582 h 4588585"/>
              <a:gd name="connsiteX7870" fmla="*/ 3664634 w 5047599"/>
              <a:gd name="connsiteY7870" fmla="*/ 3508172 h 4588585"/>
              <a:gd name="connsiteX7871" fmla="*/ 3659545 w 5047599"/>
              <a:gd name="connsiteY7871" fmla="*/ 3515477 h 4588585"/>
              <a:gd name="connsiteX7872" fmla="*/ 3659059 w 5047599"/>
              <a:gd name="connsiteY7872" fmla="*/ 3520291 h 4588585"/>
              <a:gd name="connsiteX7873" fmla="*/ 3654519 w 5047599"/>
              <a:gd name="connsiteY7873" fmla="*/ 3521749 h 4588585"/>
              <a:gd name="connsiteX7874" fmla="*/ 3650719 w 5047599"/>
              <a:gd name="connsiteY7874" fmla="*/ 3517167 h 4588585"/>
              <a:gd name="connsiteX7875" fmla="*/ 3649093 w 5047599"/>
              <a:gd name="connsiteY7875" fmla="*/ 3526014 h 4588585"/>
              <a:gd name="connsiteX7876" fmla="*/ 3645989 w 5047599"/>
              <a:gd name="connsiteY7876" fmla="*/ 3526646 h 4588585"/>
              <a:gd name="connsiteX7877" fmla="*/ 3642547 w 5047599"/>
              <a:gd name="connsiteY7877" fmla="*/ 3524831 h 4588585"/>
              <a:gd name="connsiteX7878" fmla="*/ 3633954 w 5047599"/>
              <a:gd name="connsiteY7878" fmla="*/ 3529223 h 4588585"/>
              <a:gd name="connsiteX7879" fmla="*/ 3626480 w 5047599"/>
              <a:gd name="connsiteY7879" fmla="*/ 3534290 h 4588585"/>
              <a:gd name="connsiteX7880" fmla="*/ 3614486 w 5047599"/>
              <a:gd name="connsiteY7880" fmla="*/ 3544974 h 4588585"/>
              <a:gd name="connsiteX7881" fmla="*/ 3597531 w 5047599"/>
              <a:gd name="connsiteY7881" fmla="*/ 3565688 h 4588585"/>
              <a:gd name="connsiteX7882" fmla="*/ 3572806 w 5047599"/>
              <a:gd name="connsiteY7882" fmla="*/ 3585725 h 4588585"/>
              <a:gd name="connsiteX7883" fmla="*/ 3569428 w 5047599"/>
              <a:gd name="connsiteY7883" fmla="*/ 3586296 h 4588585"/>
              <a:gd name="connsiteX7884" fmla="*/ 3567147 w 5047599"/>
              <a:gd name="connsiteY7884" fmla="*/ 3586211 h 4588585"/>
              <a:gd name="connsiteX7885" fmla="*/ 3559355 w 5047599"/>
              <a:gd name="connsiteY7885" fmla="*/ 3579222 h 4588585"/>
              <a:gd name="connsiteX7886" fmla="*/ 3555111 w 5047599"/>
              <a:gd name="connsiteY7886" fmla="*/ 3578715 h 4588585"/>
              <a:gd name="connsiteX7887" fmla="*/ 3558913 w 5047599"/>
              <a:gd name="connsiteY7887" fmla="*/ 3582854 h 4588585"/>
              <a:gd name="connsiteX7888" fmla="*/ 3561425 w 5047599"/>
              <a:gd name="connsiteY7888" fmla="*/ 3586317 h 4588585"/>
              <a:gd name="connsiteX7889" fmla="*/ 3560792 w 5047599"/>
              <a:gd name="connsiteY7889" fmla="*/ 3593074 h 4588585"/>
              <a:gd name="connsiteX7890" fmla="*/ 3561088 w 5047599"/>
              <a:gd name="connsiteY7890" fmla="*/ 3603250 h 4588585"/>
              <a:gd name="connsiteX7891" fmla="*/ 3558026 w 5047599"/>
              <a:gd name="connsiteY7891" fmla="*/ 3623056 h 4588585"/>
              <a:gd name="connsiteX7892" fmla="*/ 3558448 w 5047599"/>
              <a:gd name="connsiteY7892" fmla="*/ 3627384 h 4588585"/>
              <a:gd name="connsiteX7893" fmla="*/ 3561974 w 5047599"/>
              <a:gd name="connsiteY7893" fmla="*/ 3633001 h 4588585"/>
              <a:gd name="connsiteX7894" fmla="*/ 3568625 w 5047599"/>
              <a:gd name="connsiteY7894" fmla="*/ 3639885 h 4588585"/>
              <a:gd name="connsiteX7895" fmla="*/ 3574854 w 5047599"/>
              <a:gd name="connsiteY7895" fmla="*/ 3648457 h 4588585"/>
              <a:gd name="connsiteX7896" fmla="*/ 3582878 w 5047599"/>
              <a:gd name="connsiteY7896" fmla="*/ 3673119 h 4588585"/>
              <a:gd name="connsiteX7897" fmla="*/ 3583490 w 5047599"/>
              <a:gd name="connsiteY7897" fmla="*/ 3685851 h 4588585"/>
              <a:gd name="connsiteX7898" fmla="*/ 3591767 w 5047599"/>
              <a:gd name="connsiteY7898" fmla="*/ 3702130 h 4588585"/>
              <a:gd name="connsiteX7899" fmla="*/ 3592084 w 5047599"/>
              <a:gd name="connsiteY7899" fmla="*/ 3709204 h 4588585"/>
              <a:gd name="connsiteX7900" fmla="*/ 3595440 w 5047599"/>
              <a:gd name="connsiteY7900" fmla="*/ 3726792 h 4588585"/>
              <a:gd name="connsiteX7901" fmla="*/ 3595208 w 5047599"/>
              <a:gd name="connsiteY7901" fmla="*/ 3741066 h 4588585"/>
              <a:gd name="connsiteX7902" fmla="*/ 3594617 w 5047599"/>
              <a:gd name="connsiteY7902" fmla="*/ 3749807 h 4588585"/>
              <a:gd name="connsiteX7903" fmla="*/ 3598608 w 5047599"/>
              <a:gd name="connsiteY7903" fmla="*/ 3753502 h 4588585"/>
              <a:gd name="connsiteX7904" fmla="*/ 3600086 w 5047599"/>
              <a:gd name="connsiteY7904" fmla="*/ 3750166 h 4588585"/>
              <a:gd name="connsiteX7905" fmla="*/ 3599663 w 5047599"/>
              <a:gd name="connsiteY7905" fmla="*/ 3744634 h 4588585"/>
              <a:gd name="connsiteX7906" fmla="*/ 3600719 w 5047599"/>
              <a:gd name="connsiteY7906" fmla="*/ 3735745 h 4588585"/>
              <a:gd name="connsiteX7907" fmla="*/ 3602936 w 5047599"/>
              <a:gd name="connsiteY7907" fmla="*/ 3731796 h 4588585"/>
              <a:gd name="connsiteX7908" fmla="*/ 3605153 w 5047599"/>
              <a:gd name="connsiteY7908" fmla="*/ 3732367 h 4588585"/>
              <a:gd name="connsiteX7909" fmla="*/ 3605808 w 5047599"/>
              <a:gd name="connsiteY7909" fmla="*/ 3736547 h 4588585"/>
              <a:gd name="connsiteX7910" fmla="*/ 3607307 w 5047599"/>
              <a:gd name="connsiteY7910" fmla="*/ 3740242 h 4588585"/>
              <a:gd name="connsiteX7911" fmla="*/ 3607920 w 5047599"/>
              <a:gd name="connsiteY7911" fmla="*/ 3743726 h 4588585"/>
              <a:gd name="connsiteX7912" fmla="*/ 3608025 w 5047599"/>
              <a:gd name="connsiteY7912" fmla="*/ 3748456 h 4588585"/>
              <a:gd name="connsiteX7913" fmla="*/ 3604963 w 5047599"/>
              <a:gd name="connsiteY7913" fmla="*/ 3766487 h 4588585"/>
              <a:gd name="connsiteX7914" fmla="*/ 3605872 w 5047599"/>
              <a:gd name="connsiteY7914" fmla="*/ 3773835 h 4588585"/>
              <a:gd name="connsiteX7915" fmla="*/ 3609989 w 5047599"/>
              <a:gd name="connsiteY7915" fmla="*/ 3786125 h 4588585"/>
              <a:gd name="connsiteX7916" fmla="*/ 3605175 w 5047599"/>
              <a:gd name="connsiteY7916" fmla="*/ 3800397 h 4588585"/>
              <a:gd name="connsiteX7917" fmla="*/ 3598207 w 5047599"/>
              <a:gd name="connsiteY7917" fmla="*/ 3834139 h 4588585"/>
              <a:gd name="connsiteX7918" fmla="*/ 3597805 w 5047599"/>
              <a:gd name="connsiteY7918" fmla="*/ 3840009 h 4588585"/>
              <a:gd name="connsiteX7919" fmla="*/ 3599495 w 5047599"/>
              <a:gd name="connsiteY7919" fmla="*/ 3842563 h 4588585"/>
              <a:gd name="connsiteX7920" fmla="*/ 3603232 w 5047599"/>
              <a:gd name="connsiteY7920" fmla="*/ 3843429 h 4588585"/>
              <a:gd name="connsiteX7921" fmla="*/ 3604604 w 5047599"/>
              <a:gd name="connsiteY7921" fmla="*/ 3839101 h 4588585"/>
              <a:gd name="connsiteX7922" fmla="*/ 3606800 w 5047599"/>
              <a:gd name="connsiteY7922" fmla="*/ 3839143 h 4588585"/>
              <a:gd name="connsiteX7923" fmla="*/ 3607962 w 5047599"/>
              <a:gd name="connsiteY7923" fmla="*/ 3841677 h 4588585"/>
              <a:gd name="connsiteX7924" fmla="*/ 3604858 w 5047599"/>
              <a:gd name="connsiteY7924" fmla="*/ 3857302 h 4588585"/>
              <a:gd name="connsiteX7925" fmla="*/ 3601796 w 5047599"/>
              <a:gd name="connsiteY7925" fmla="*/ 3864164 h 4588585"/>
              <a:gd name="connsiteX7926" fmla="*/ 3590922 w 5047599"/>
              <a:gd name="connsiteY7926" fmla="*/ 3880992 h 4588585"/>
              <a:gd name="connsiteX7927" fmla="*/ 3585073 w 5047599"/>
              <a:gd name="connsiteY7927" fmla="*/ 3888213 h 4588585"/>
              <a:gd name="connsiteX7928" fmla="*/ 3575360 w 5047599"/>
              <a:gd name="connsiteY7928" fmla="*/ 3895308 h 4588585"/>
              <a:gd name="connsiteX7929" fmla="*/ 3552557 w 5047599"/>
              <a:gd name="connsiteY7929" fmla="*/ 3906435 h 4588585"/>
              <a:gd name="connsiteX7930" fmla="*/ 3506844 w 5047599"/>
              <a:gd name="connsiteY7930" fmla="*/ 3922546 h 4588585"/>
              <a:gd name="connsiteX7931" fmla="*/ 3488727 w 5047599"/>
              <a:gd name="connsiteY7931" fmla="*/ 3930463 h 4588585"/>
              <a:gd name="connsiteX7932" fmla="*/ 3477896 w 5047599"/>
              <a:gd name="connsiteY7932" fmla="*/ 3935193 h 4588585"/>
              <a:gd name="connsiteX7933" fmla="*/ 3455007 w 5047599"/>
              <a:gd name="connsiteY7933" fmla="*/ 3950248 h 4588585"/>
              <a:gd name="connsiteX7934" fmla="*/ 3444999 w 5047599"/>
              <a:gd name="connsiteY7934" fmla="*/ 3960341 h 4588585"/>
              <a:gd name="connsiteX7935" fmla="*/ 3440881 w 5047599"/>
              <a:gd name="connsiteY7935" fmla="*/ 3971954 h 4588585"/>
              <a:gd name="connsiteX7936" fmla="*/ 3436933 w 5047599"/>
              <a:gd name="connsiteY7936" fmla="*/ 3977254 h 4588585"/>
              <a:gd name="connsiteX7937" fmla="*/ 3433048 w 5047599"/>
              <a:gd name="connsiteY7937" fmla="*/ 3984010 h 4588585"/>
              <a:gd name="connsiteX7938" fmla="*/ 3436426 w 5047599"/>
              <a:gd name="connsiteY7938" fmla="*/ 3989817 h 4588585"/>
              <a:gd name="connsiteX7939" fmla="*/ 3439742 w 5047599"/>
              <a:gd name="connsiteY7939" fmla="*/ 3994209 h 4588585"/>
              <a:gd name="connsiteX7940" fmla="*/ 3443669 w 5047599"/>
              <a:gd name="connsiteY7940" fmla="*/ 3997144 h 4588585"/>
              <a:gd name="connsiteX7941" fmla="*/ 3445696 w 5047599"/>
              <a:gd name="connsiteY7941" fmla="*/ 3999698 h 4588585"/>
              <a:gd name="connsiteX7942" fmla="*/ 3448356 w 5047599"/>
              <a:gd name="connsiteY7942" fmla="*/ 4001451 h 4588585"/>
              <a:gd name="connsiteX7943" fmla="*/ 3451017 w 5047599"/>
              <a:gd name="connsiteY7943" fmla="*/ 3992330 h 4588585"/>
              <a:gd name="connsiteX7944" fmla="*/ 3452347 w 5047599"/>
              <a:gd name="connsiteY7944" fmla="*/ 3989479 h 4588585"/>
              <a:gd name="connsiteX7945" fmla="*/ 3454627 w 5047599"/>
              <a:gd name="connsiteY7945" fmla="*/ 3989268 h 4588585"/>
              <a:gd name="connsiteX7946" fmla="*/ 3453360 w 5047599"/>
              <a:gd name="connsiteY7946" fmla="*/ 4000395 h 4588585"/>
              <a:gd name="connsiteX7947" fmla="*/ 3450721 w 5047599"/>
              <a:gd name="connsiteY7947" fmla="*/ 4038676 h 4588585"/>
              <a:gd name="connsiteX7948" fmla="*/ 3450450 w 5047599"/>
              <a:gd name="connsiteY7948" fmla="*/ 4040156 h 4588585"/>
              <a:gd name="connsiteX7949" fmla="*/ 3450531 w 5047599"/>
              <a:gd name="connsiteY7949" fmla="*/ 4040154 h 4588585"/>
              <a:gd name="connsiteX7950" fmla="*/ 3448335 w 5047599"/>
              <a:gd name="connsiteY7950" fmla="*/ 4055505 h 4588585"/>
              <a:gd name="connsiteX7951" fmla="*/ 3439846 w 5047599"/>
              <a:gd name="connsiteY7951" fmla="*/ 4079575 h 4588585"/>
              <a:gd name="connsiteX7952" fmla="*/ 3436954 w 5047599"/>
              <a:gd name="connsiteY7952" fmla="*/ 4090660 h 4588585"/>
              <a:gd name="connsiteX7953" fmla="*/ 3429712 w 5047599"/>
              <a:gd name="connsiteY7953" fmla="*/ 4130377 h 4588585"/>
              <a:gd name="connsiteX7954" fmla="*/ 3420252 w 5047599"/>
              <a:gd name="connsiteY7954" fmla="*/ 4150478 h 4588585"/>
              <a:gd name="connsiteX7955" fmla="*/ 3414952 w 5047599"/>
              <a:gd name="connsiteY7955" fmla="*/ 4158797 h 4588585"/>
              <a:gd name="connsiteX7956" fmla="*/ 3399623 w 5047599"/>
              <a:gd name="connsiteY7956" fmla="*/ 4173514 h 4588585"/>
              <a:gd name="connsiteX7957" fmla="*/ 3395358 w 5047599"/>
              <a:gd name="connsiteY7957" fmla="*/ 4176513 h 4588585"/>
              <a:gd name="connsiteX7958" fmla="*/ 3391579 w 5047599"/>
              <a:gd name="connsiteY7958" fmla="*/ 4178434 h 4588585"/>
              <a:gd name="connsiteX7959" fmla="*/ 3384864 w 5047599"/>
              <a:gd name="connsiteY7959" fmla="*/ 4180123 h 4588585"/>
              <a:gd name="connsiteX7960" fmla="*/ 3358598 w 5047599"/>
              <a:gd name="connsiteY7960" fmla="*/ 4210043 h 4588585"/>
              <a:gd name="connsiteX7961" fmla="*/ 3348822 w 5047599"/>
              <a:gd name="connsiteY7961" fmla="*/ 4224527 h 4588585"/>
              <a:gd name="connsiteX7962" fmla="*/ 3340123 w 5047599"/>
              <a:gd name="connsiteY7962" fmla="*/ 4245684 h 4588585"/>
              <a:gd name="connsiteX7963" fmla="*/ 3331487 w 5047599"/>
              <a:gd name="connsiteY7963" fmla="*/ 4257340 h 4588585"/>
              <a:gd name="connsiteX7964" fmla="*/ 3318796 w 5047599"/>
              <a:gd name="connsiteY7964" fmla="*/ 4282254 h 4588585"/>
              <a:gd name="connsiteX7965" fmla="*/ 3307458 w 5047599"/>
              <a:gd name="connsiteY7965" fmla="*/ 4301553 h 4588585"/>
              <a:gd name="connsiteX7966" fmla="*/ 3296584 w 5047599"/>
              <a:gd name="connsiteY7966" fmla="*/ 4319205 h 4588585"/>
              <a:gd name="connsiteX7967" fmla="*/ 3277770 w 5047599"/>
              <a:gd name="connsiteY7967" fmla="*/ 4343571 h 4588585"/>
              <a:gd name="connsiteX7968" fmla="*/ 3269409 w 5047599"/>
              <a:gd name="connsiteY7968" fmla="*/ 4350645 h 4588585"/>
              <a:gd name="connsiteX7969" fmla="*/ 3263772 w 5047599"/>
              <a:gd name="connsiteY7969" fmla="*/ 4353875 h 4588585"/>
              <a:gd name="connsiteX7970" fmla="*/ 3248822 w 5047599"/>
              <a:gd name="connsiteY7970" fmla="*/ 4368064 h 4588585"/>
              <a:gd name="connsiteX7971" fmla="*/ 3227772 w 5047599"/>
              <a:gd name="connsiteY7971" fmla="*/ 4390995 h 4588585"/>
              <a:gd name="connsiteX7972" fmla="*/ 3211661 w 5047599"/>
              <a:gd name="connsiteY7972" fmla="*/ 4411370 h 4588585"/>
              <a:gd name="connsiteX7973" fmla="*/ 3187569 w 5047599"/>
              <a:gd name="connsiteY7973" fmla="*/ 4434576 h 4588585"/>
              <a:gd name="connsiteX7974" fmla="*/ 3173613 w 5047599"/>
              <a:gd name="connsiteY7974" fmla="*/ 4444774 h 4588585"/>
              <a:gd name="connsiteX7975" fmla="*/ 3152667 w 5047599"/>
              <a:gd name="connsiteY7975" fmla="*/ 4464875 h 4588585"/>
              <a:gd name="connsiteX7976" fmla="*/ 3146818 w 5047599"/>
              <a:gd name="connsiteY7976" fmla="*/ 4467831 h 4588585"/>
              <a:gd name="connsiteX7977" fmla="*/ 3123212 w 5047599"/>
              <a:gd name="connsiteY7977" fmla="*/ 4486580 h 4588585"/>
              <a:gd name="connsiteX7978" fmla="*/ 3106236 w 5047599"/>
              <a:gd name="connsiteY7978" fmla="*/ 4498003 h 4588585"/>
              <a:gd name="connsiteX7979" fmla="*/ 3078765 w 5047599"/>
              <a:gd name="connsiteY7979" fmla="*/ 4511263 h 4588585"/>
              <a:gd name="connsiteX7980" fmla="*/ 3067849 w 5047599"/>
              <a:gd name="connsiteY7980" fmla="*/ 4514980 h 4588585"/>
              <a:gd name="connsiteX7981" fmla="*/ 3041772 w 5047599"/>
              <a:gd name="connsiteY7981" fmla="*/ 4511538 h 4588585"/>
              <a:gd name="connsiteX7982" fmla="*/ 3030898 w 5047599"/>
              <a:gd name="connsiteY7982" fmla="*/ 4513375 h 4588585"/>
              <a:gd name="connsiteX7983" fmla="*/ 3021798 w 5047599"/>
              <a:gd name="connsiteY7983" fmla="*/ 4521399 h 4588585"/>
              <a:gd name="connsiteX7984" fmla="*/ 3020954 w 5047599"/>
              <a:gd name="connsiteY7984" fmla="*/ 4532927 h 4588585"/>
              <a:gd name="connsiteX7985" fmla="*/ 3017153 w 5047599"/>
              <a:gd name="connsiteY7985" fmla="*/ 4534680 h 4588585"/>
              <a:gd name="connsiteX7986" fmla="*/ 3011410 w 5047599"/>
              <a:gd name="connsiteY7986" fmla="*/ 4534173 h 4588585"/>
              <a:gd name="connsiteX7987" fmla="*/ 2993188 w 5047599"/>
              <a:gd name="connsiteY7987" fmla="*/ 4529337 h 4588585"/>
              <a:gd name="connsiteX7988" fmla="*/ 2983306 w 5047599"/>
              <a:gd name="connsiteY7988" fmla="*/ 4530267 h 4588585"/>
              <a:gd name="connsiteX7989" fmla="*/ 2977542 w 5047599"/>
              <a:gd name="connsiteY7989" fmla="*/ 4536432 h 4588585"/>
              <a:gd name="connsiteX7990" fmla="*/ 2972897 w 5047599"/>
              <a:gd name="connsiteY7990" fmla="*/ 4544245 h 4588585"/>
              <a:gd name="connsiteX7991" fmla="*/ 2959172 w 5047599"/>
              <a:gd name="connsiteY7991" fmla="*/ 4544645 h 4588585"/>
              <a:gd name="connsiteX7992" fmla="*/ 2934721 w 5047599"/>
              <a:gd name="connsiteY7992" fmla="*/ 4536559 h 4588585"/>
              <a:gd name="connsiteX7993" fmla="*/ 2905963 w 5047599"/>
              <a:gd name="connsiteY7993" fmla="*/ 4531639 h 4588585"/>
              <a:gd name="connsiteX7994" fmla="*/ 2899312 w 5047599"/>
              <a:gd name="connsiteY7994" fmla="*/ 4531090 h 4588585"/>
              <a:gd name="connsiteX7995" fmla="*/ 2885377 w 5047599"/>
              <a:gd name="connsiteY7995" fmla="*/ 4537087 h 4588585"/>
              <a:gd name="connsiteX7996" fmla="*/ 2880520 w 5047599"/>
              <a:gd name="connsiteY7996" fmla="*/ 4537973 h 4588585"/>
              <a:gd name="connsiteX7997" fmla="*/ 2860229 w 5047599"/>
              <a:gd name="connsiteY7997" fmla="*/ 4536664 h 4588585"/>
              <a:gd name="connsiteX7998" fmla="*/ 2848975 w 5047599"/>
              <a:gd name="connsiteY7998" fmla="*/ 4532884 h 4588585"/>
              <a:gd name="connsiteX7999" fmla="*/ 2838206 w 5047599"/>
              <a:gd name="connsiteY7999" fmla="*/ 4532864 h 4588585"/>
              <a:gd name="connsiteX8000" fmla="*/ 2829951 w 5047599"/>
              <a:gd name="connsiteY8000" fmla="*/ 4535988 h 4588585"/>
              <a:gd name="connsiteX8001" fmla="*/ 2819942 w 5047599"/>
              <a:gd name="connsiteY8001" fmla="*/ 4537087 h 4588585"/>
              <a:gd name="connsiteX8002" fmla="*/ 2792894 w 5047599"/>
              <a:gd name="connsiteY8002" fmla="*/ 4558856 h 4588585"/>
              <a:gd name="connsiteX8003" fmla="*/ 2778916 w 5047599"/>
              <a:gd name="connsiteY8003" fmla="*/ 4558877 h 4588585"/>
              <a:gd name="connsiteX8004" fmla="*/ 2766860 w 5047599"/>
              <a:gd name="connsiteY8004" fmla="*/ 4561390 h 4588585"/>
              <a:gd name="connsiteX8005" fmla="*/ 2760885 w 5047599"/>
              <a:gd name="connsiteY8005" fmla="*/ 4561305 h 4588585"/>
              <a:gd name="connsiteX8006" fmla="*/ 2749694 w 5047599"/>
              <a:gd name="connsiteY8006" fmla="*/ 4558243 h 4588585"/>
              <a:gd name="connsiteX8007" fmla="*/ 2745534 w 5047599"/>
              <a:gd name="connsiteY8007" fmla="*/ 4558475 h 4588585"/>
              <a:gd name="connsiteX8008" fmla="*/ 2739158 w 5047599"/>
              <a:gd name="connsiteY8008" fmla="*/ 4559826 h 4588585"/>
              <a:gd name="connsiteX8009" fmla="*/ 2732781 w 5047599"/>
              <a:gd name="connsiteY8009" fmla="*/ 4563670 h 4588585"/>
              <a:gd name="connsiteX8010" fmla="*/ 2718255 w 5047599"/>
              <a:gd name="connsiteY8010" fmla="*/ 4565317 h 4588585"/>
              <a:gd name="connsiteX8011" fmla="*/ 2712617 w 5047599"/>
              <a:gd name="connsiteY8011" fmla="*/ 4568611 h 4588585"/>
              <a:gd name="connsiteX8012" fmla="*/ 2688082 w 5047599"/>
              <a:gd name="connsiteY8012" fmla="*/ 4588585 h 4588585"/>
              <a:gd name="connsiteX8013" fmla="*/ 2682486 w 5047599"/>
              <a:gd name="connsiteY8013" fmla="*/ 4587783 h 4588585"/>
              <a:gd name="connsiteX8014" fmla="*/ 2677967 w 5047599"/>
              <a:gd name="connsiteY8014" fmla="*/ 4586474 h 4588585"/>
              <a:gd name="connsiteX8015" fmla="*/ 2665214 w 5047599"/>
              <a:gd name="connsiteY8015" fmla="*/ 4586220 h 4588585"/>
              <a:gd name="connsiteX8016" fmla="*/ 2650793 w 5047599"/>
              <a:gd name="connsiteY8016" fmla="*/ 4575600 h 4588585"/>
              <a:gd name="connsiteX8017" fmla="*/ 2645261 w 5047599"/>
              <a:gd name="connsiteY8017" fmla="*/ 4576275 h 4588585"/>
              <a:gd name="connsiteX8018" fmla="*/ 2646739 w 5047599"/>
              <a:gd name="connsiteY8018" fmla="*/ 4573087 h 4588585"/>
              <a:gd name="connsiteX8019" fmla="*/ 2647182 w 5047599"/>
              <a:gd name="connsiteY8019" fmla="*/ 4567449 h 4588585"/>
              <a:gd name="connsiteX8020" fmla="*/ 2644120 w 5047599"/>
              <a:gd name="connsiteY8020" fmla="*/ 4563459 h 4588585"/>
              <a:gd name="connsiteX8021" fmla="*/ 2642072 w 5047599"/>
              <a:gd name="connsiteY8021" fmla="*/ 4561664 h 4588585"/>
              <a:gd name="connsiteX8022" fmla="*/ 2636414 w 5047599"/>
              <a:gd name="connsiteY8022" fmla="*/ 4562002 h 4588585"/>
              <a:gd name="connsiteX8023" fmla="*/ 2633394 w 5047599"/>
              <a:gd name="connsiteY8023" fmla="*/ 4557209 h 4588585"/>
              <a:gd name="connsiteX8024" fmla="*/ 2624738 w 5047599"/>
              <a:gd name="connsiteY8024" fmla="*/ 4556765 h 4588585"/>
              <a:gd name="connsiteX8025" fmla="*/ 2621739 w 5047599"/>
              <a:gd name="connsiteY8025" fmla="*/ 4557968 h 4588585"/>
              <a:gd name="connsiteX8026" fmla="*/ 2617580 w 5047599"/>
              <a:gd name="connsiteY8026" fmla="*/ 4558243 h 4588585"/>
              <a:gd name="connsiteX8027" fmla="*/ 2617220 w 5047599"/>
              <a:gd name="connsiteY8027" fmla="*/ 4553365 h 4588585"/>
              <a:gd name="connsiteX8028" fmla="*/ 2617537 w 5047599"/>
              <a:gd name="connsiteY8028" fmla="*/ 4550326 h 4588585"/>
              <a:gd name="connsiteX8029" fmla="*/ 2617284 w 5047599"/>
              <a:gd name="connsiteY8029" fmla="*/ 4545617 h 4588585"/>
              <a:gd name="connsiteX8030" fmla="*/ 2616250 w 5047599"/>
              <a:gd name="connsiteY8030" fmla="*/ 4539874 h 4588585"/>
              <a:gd name="connsiteX8031" fmla="*/ 2612892 w 5047599"/>
              <a:gd name="connsiteY8031" fmla="*/ 4538057 h 4588585"/>
              <a:gd name="connsiteX8032" fmla="*/ 2610316 w 5047599"/>
              <a:gd name="connsiteY8032" fmla="*/ 4537277 h 4588585"/>
              <a:gd name="connsiteX8033" fmla="*/ 2604193 w 5047599"/>
              <a:gd name="connsiteY8033" fmla="*/ 4537677 h 4588585"/>
              <a:gd name="connsiteX8034" fmla="*/ 2599970 w 5047599"/>
              <a:gd name="connsiteY8034" fmla="*/ 4538311 h 4588585"/>
              <a:gd name="connsiteX8035" fmla="*/ 2597985 w 5047599"/>
              <a:gd name="connsiteY8035" fmla="*/ 4539980 h 4588585"/>
              <a:gd name="connsiteX8036" fmla="*/ 2595726 w 5047599"/>
              <a:gd name="connsiteY8036" fmla="*/ 4544203 h 4588585"/>
              <a:gd name="connsiteX8037" fmla="*/ 2595705 w 5047599"/>
              <a:gd name="connsiteY8037" fmla="*/ 4557019 h 4588585"/>
              <a:gd name="connsiteX8038" fmla="*/ 2592664 w 5047599"/>
              <a:gd name="connsiteY8038" fmla="*/ 4553345 h 4588585"/>
              <a:gd name="connsiteX8039" fmla="*/ 2589202 w 5047599"/>
              <a:gd name="connsiteY8039" fmla="*/ 4545659 h 4588585"/>
              <a:gd name="connsiteX8040" fmla="*/ 2588082 w 5047599"/>
              <a:gd name="connsiteY8040" fmla="*/ 4537467 h 4588585"/>
              <a:gd name="connsiteX8041" fmla="*/ 2589329 w 5047599"/>
              <a:gd name="connsiteY8041" fmla="*/ 4527817 h 4588585"/>
              <a:gd name="connsiteX8042" fmla="*/ 2595895 w 5047599"/>
              <a:gd name="connsiteY8042" fmla="*/ 4524144 h 4588585"/>
              <a:gd name="connsiteX8043" fmla="*/ 2595388 w 5047599"/>
              <a:gd name="connsiteY8043" fmla="*/ 4517640 h 4588585"/>
              <a:gd name="connsiteX8044" fmla="*/ 2593995 w 5047599"/>
              <a:gd name="connsiteY8044" fmla="*/ 4511981 h 4588585"/>
              <a:gd name="connsiteX8045" fmla="*/ 2586668 w 5047599"/>
              <a:gd name="connsiteY8045" fmla="*/ 4497560 h 4588585"/>
              <a:gd name="connsiteX8046" fmla="*/ 2583817 w 5047599"/>
              <a:gd name="connsiteY8046" fmla="*/ 4490951 h 4588585"/>
              <a:gd name="connsiteX8047" fmla="*/ 2577610 w 5047599"/>
              <a:gd name="connsiteY8047" fmla="*/ 4486496 h 4588585"/>
              <a:gd name="connsiteX8048" fmla="*/ 2572774 w 5047599"/>
              <a:gd name="connsiteY8048" fmla="*/ 4475748 h 4588585"/>
              <a:gd name="connsiteX8049" fmla="*/ 2567918 w 5047599"/>
              <a:gd name="connsiteY8049" fmla="*/ 4471864 h 4588585"/>
              <a:gd name="connsiteX8050" fmla="*/ 2565891 w 5047599"/>
              <a:gd name="connsiteY8050" fmla="*/ 4464368 h 4588585"/>
              <a:gd name="connsiteX8051" fmla="*/ 2561140 w 5047599"/>
              <a:gd name="connsiteY8051" fmla="*/ 4458371 h 4588585"/>
              <a:gd name="connsiteX8052" fmla="*/ 2559536 w 5047599"/>
              <a:gd name="connsiteY8052" fmla="*/ 4448912 h 4588585"/>
              <a:gd name="connsiteX8053" fmla="*/ 2562154 w 5047599"/>
              <a:gd name="connsiteY8053" fmla="*/ 4443486 h 4588585"/>
              <a:gd name="connsiteX8054" fmla="*/ 2566292 w 5047599"/>
              <a:gd name="connsiteY8054" fmla="*/ 4440530 h 4588585"/>
              <a:gd name="connsiteX8055" fmla="*/ 2570515 w 5047599"/>
              <a:gd name="connsiteY8055" fmla="*/ 4445217 h 4588585"/>
              <a:gd name="connsiteX8056" fmla="*/ 2575773 w 5047599"/>
              <a:gd name="connsiteY8056" fmla="*/ 4443379 h 4588585"/>
              <a:gd name="connsiteX8057" fmla="*/ 2583227 w 5047599"/>
              <a:gd name="connsiteY8057" fmla="*/ 4436560 h 4588585"/>
              <a:gd name="connsiteX8058" fmla="*/ 2587640 w 5047599"/>
              <a:gd name="connsiteY8058" fmla="*/ 4426192 h 4588585"/>
              <a:gd name="connsiteX8059" fmla="*/ 2587913 w 5047599"/>
              <a:gd name="connsiteY8059" fmla="*/ 4409659 h 4588585"/>
              <a:gd name="connsiteX8060" fmla="*/ 2586774 w 5047599"/>
              <a:gd name="connsiteY8060" fmla="*/ 4399377 h 4588585"/>
              <a:gd name="connsiteX8061" fmla="*/ 2580862 w 5047599"/>
              <a:gd name="connsiteY8061" fmla="*/ 4372836 h 4588585"/>
              <a:gd name="connsiteX8062" fmla="*/ 2578074 w 5047599"/>
              <a:gd name="connsiteY8062" fmla="*/ 4366755 h 4588585"/>
              <a:gd name="connsiteX8063" fmla="*/ 2564730 w 5047599"/>
              <a:gd name="connsiteY8063" fmla="*/ 4347836 h 4588585"/>
              <a:gd name="connsiteX8064" fmla="*/ 2549253 w 5047599"/>
              <a:gd name="connsiteY8064" fmla="*/ 4322604 h 4588585"/>
              <a:gd name="connsiteX8065" fmla="*/ 2529679 w 5047599"/>
              <a:gd name="connsiteY8065" fmla="*/ 4283014 h 4588585"/>
              <a:gd name="connsiteX8066" fmla="*/ 2520325 w 5047599"/>
              <a:gd name="connsiteY8066" fmla="*/ 4259324 h 4588585"/>
              <a:gd name="connsiteX8067" fmla="*/ 2506158 w 5047599"/>
              <a:gd name="connsiteY8067" fmla="*/ 4211795 h 4588585"/>
              <a:gd name="connsiteX8068" fmla="*/ 2493679 w 5047599"/>
              <a:gd name="connsiteY8068" fmla="*/ 4185022 h 4588585"/>
              <a:gd name="connsiteX8069" fmla="*/ 2478350 w 5047599"/>
              <a:gd name="connsiteY8069" fmla="*/ 4160149 h 4588585"/>
              <a:gd name="connsiteX8070" fmla="*/ 2476386 w 5047599"/>
              <a:gd name="connsiteY8070" fmla="*/ 4158544 h 4588585"/>
              <a:gd name="connsiteX8071" fmla="*/ 2478730 w 5047599"/>
              <a:gd name="connsiteY8071" fmla="*/ 4155524 h 4588585"/>
              <a:gd name="connsiteX8072" fmla="*/ 2486985 w 5047599"/>
              <a:gd name="connsiteY8072" fmla="*/ 4149803 h 4588585"/>
              <a:gd name="connsiteX8073" fmla="*/ 2490694 w 5047599"/>
              <a:gd name="connsiteY8073" fmla="*/ 4148252 h 4588585"/>
              <a:gd name="connsiteX8074" fmla="*/ 2490660 w 5047599"/>
              <a:gd name="connsiteY8074" fmla="*/ 4148240 h 4588585"/>
              <a:gd name="connsiteX8075" fmla="*/ 2486923 w 5047599"/>
              <a:gd name="connsiteY8075" fmla="*/ 4149823 h 4588585"/>
              <a:gd name="connsiteX8076" fmla="*/ 2478667 w 5047599"/>
              <a:gd name="connsiteY8076" fmla="*/ 4155524 h 4588585"/>
              <a:gd name="connsiteX8077" fmla="*/ 2476323 w 5047599"/>
              <a:gd name="connsiteY8077" fmla="*/ 4158544 h 4588585"/>
              <a:gd name="connsiteX8078" fmla="*/ 2469672 w 5047599"/>
              <a:gd name="connsiteY8078" fmla="*/ 4153075 h 4588585"/>
              <a:gd name="connsiteX8079" fmla="*/ 2450247 w 5047599"/>
              <a:gd name="connsiteY8079" fmla="*/ 4132551 h 4588585"/>
              <a:gd name="connsiteX8080" fmla="*/ 2443342 w 5047599"/>
              <a:gd name="connsiteY8080" fmla="*/ 4127230 h 4588585"/>
              <a:gd name="connsiteX8081" fmla="*/ 2433165 w 5047599"/>
              <a:gd name="connsiteY8081" fmla="*/ 4114689 h 4588585"/>
              <a:gd name="connsiteX8082" fmla="*/ 2410784 w 5047599"/>
              <a:gd name="connsiteY8082" fmla="*/ 4075943 h 4588585"/>
              <a:gd name="connsiteX8083" fmla="*/ 2407595 w 5047599"/>
              <a:gd name="connsiteY8083" fmla="*/ 4068490 h 4588585"/>
              <a:gd name="connsiteX8084" fmla="*/ 2403330 w 5047599"/>
              <a:gd name="connsiteY8084" fmla="*/ 4049846 h 4588585"/>
              <a:gd name="connsiteX8085" fmla="*/ 2398431 w 5047599"/>
              <a:gd name="connsiteY8085" fmla="*/ 4036079 h 4588585"/>
              <a:gd name="connsiteX8086" fmla="*/ 2397882 w 5047599"/>
              <a:gd name="connsiteY8086" fmla="*/ 4028139 h 4588585"/>
              <a:gd name="connsiteX8087" fmla="*/ 2400226 w 5047599"/>
              <a:gd name="connsiteY8087" fmla="*/ 4023643 h 4588585"/>
              <a:gd name="connsiteX8088" fmla="*/ 2398790 w 5047599"/>
              <a:gd name="connsiteY8088" fmla="*/ 4017540 h 4588585"/>
              <a:gd name="connsiteX8089" fmla="*/ 2396278 w 5047599"/>
              <a:gd name="connsiteY8089" fmla="*/ 4012093 h 4588585"/>
              <a:gd name="connsiteX8090" fmla="*/ 2388655 w 5047599"/>
              <a:gd name="connsiteY8090" fmla="*/ 4004956 h 4588585"/>
              <a:gd name="connsiteX8091" fmla="*/ 2386480 w 5047599"/>
              <a:gd name="connsiteY8091" fmla="*/ 3981223 h 4588585"/>
              <a:gd name="connsiteX8092" fmla="*/ 2381371 w 5047599"/>
              <a:gd name="connsiteY8092" fmla="*/ 3965936 h 4588585"/>
              <a:gd name="connsiteX8093" fmla="*/ 2382490 w 5047599"/>
              <a:gd name="connsiteY8093" fmla="*/ 3953310 h 4588585"/>
              <a:gd name="connsiteX8094" fmla="*/ 2380040 w 5047599"/>
              <a:gd name="connsiteY8094" fmla="*/ 3941823 h 4588585"/>
              <a:gd name="connsiteX8095" fmla="*/ 2379808 w 5047599"/>
              <a:gd name="connsiteY8095" fmla="*/ 3934476 h 4588585"/>
              <a:gd name="connsiteX8096" fmla="*/ 2380906 w 5047599"/>
              <a:gd name="connsiteY8096" fmla="*/ 3920518 h 4588585"/>
              <a:gd name="connsiteX8097" fmla="*/ 2376810 w 5047599"/>
              <a:gd name="connsiteY8097" fmla="*/ 3904493 h 4588585"/>
              <a:gd name="connsiteX8098" fmla="*/ 2368512 w 5047599"/>
              <a:gd name="connsiteY8098" fmla="*/ 3888868 h 4588585"/>
              <a:gd name="connsiteX8099" fmla="*/ 2361016 w 5047599"/>
              <a:gd name="connsiteY8099" fmla="*/ 3866360 h 4588585"/>
              <a:gd name="connsiteX8100" fmla="*/ 2359939 w 5047599"/>
              <a:gd name="connsiteY8100" fmla="*/ 3856520 h 4588585"/>
              <a:gd name="connsiteX8101" fmla="*/ 2360742 w 5047599"/>
              <a:gd name="connsiteY8101" fmla="*/ 3830127 h 4588585"/>
              <a:gd name="connsiteX8102" fmla="*/ 2359284 w 5047599"/>
              <a:gd name="connsiteY8102" fmla="*/ 3819380 h 4588585"/>
              <a:gd name="connsiteX8103" fmla="*/ 2359369 w 5047599"/>
              <a:gd name="connsiteY8103" fmla="*/ 3806774 h 4588585"/>
              <a:gd name="connsiteX8104" fmla="*/ 2356413 w 5047599"/>
              <a:gd name="connsiteY8104" fmla="*/ 3793704 h 4588585"/>
              <a:gd name="connsiteX8105" fmla="*/ 2355188 w 5047599"/>
              <a:gd name="connsiteY8105" fmla="*/ 3786609 h 4588585"/>
              <a:gd name="connsiteX8106" fmla="*/ 2357279 w 5047599"/>
              <a:gd name="connsiteY8106" fmla="*/ 3780972 h 4588585"/>
              <a:gd name="connsiteX8107" fmla="*/ 2358504 w 5047599"/>
              <a:gd name="connsiteY8107" fmla="*/ 3782767 h 4588585"/>
              <a:gd name="connsiteX8108" fmla="*/ 2360657 w 5047599"/>
              <a:gd name="connsiteY8108" fmla="*/ 3783612 h 4588585"/>
              <a:gd name="connsiteX8109" fmla="*/ 2362114 w 5047599"/>
              <a:gd name="connsiteY8109" fmla="*/ 3776137 h 4588585"/>
              <a:gd name="connsiteX8110" fmla="*/ 2362452 w 5047599"/>
              <a:gd name="connsiteY8110" fmla="*/ 3769549 h 4588585"/>
              <a:gd name="connsiteX8111" fmla="*/ 2358715 w 5047599"/>
              <a:gd name="connsiteY8111" fmla="*/ 3753291 h 4588585"/>
              <a:gd name="connsiteX8112" fmla="*/ 2350375 w 5047599"/>
              <a:gd name="connsiteY8112" fmla="*/ 3736695 h 4588585"/>
              <a:gd name="connsiteX8113" fmla="*/ 2329704 w 5047599"/>
              <a:gd name="connsiteY8113" fmla="*/ 3709732 h 4588585"/>
              <a:gd name="connsiteX8114" fmla="*/ 2324657 w 5047599"/>
              <a:gd name="connsiteY8114" fmla="*/ 3699448 h 4588585"/>
              <a:gd name="connsiteX8115" fmla="*/ 2321785 w 5047599"/>
              <a:gd name="connsiteY8115" fmla="*/ 3690961 h 4588585"/>
              <a:gd name="connsiteX8116" fmla="*/ 2298729 w 5047599"/>
              <a:gd name="connsiteY8116" fmla="*/ 3655615 h 4588585"/>
              <a:gd name="connsiteX8117" fmla="*/ 2288889 w 5047599"/>
              <a:gd name="connsiteY8117" fmla="*/ 3630763 h 4588585"/>
              <a:gd name="connsiteX8118" fmla="*/ 2282005 w 5047599"/>
              <a:gd name="connsiteY8118" fmla="*/ 3609310 h 4588585"/>
              <a:gd name="connsiteX8119" fmla="*/ 2274530 w 5047599"/>
              <a:gd name="connsiteY8119" fmla="*/ 3599450 h 4588585"/>
              <a:gd name="connsiteX8120" fmla="*/ 2239924 w 5047599"/>
              <a:gd name="connsiteY8120" fmla="*/ 3530279 h 4588585"/>
              <a:gd name="connsiteX8121" fmla="*/ 2232259 w 5047599"/>
              <a:gd name="connsiteY8121" fmla="*/ 3519278 h 4588585"/>
              <a:gd name="connsiteX8122" fmla="*/ 2218450 w 5047599"/>
              <a:gd name="connsiteY8122" fmla="*/ 3506144 h 4588585"/>
              <a:gd name="connsiteX8123" fmla="*/ 2215220 w 5047599"/>
              <a:gd name="connsiteY8123" fmla="*/ 3501773 h 4588585"/>
              <a:gd name="connsiteX8124" fmla="*/ 2209899 w 5047599"/>
              <a:gd name="connsiteY8124" fmla="*/ 3489274 h 4588585"/>
              <a:gd name="connsiteX8125" fmla="*/ 2199511 w 5047599"/>
              <a:gd name="connsiteY8125" fmla="*/ 3472552 h 4588585"/>
              <a:gd name="connsiteX8126" fmla="*/ 2196977 w 5047599"/>
              <a:gd name="connsiteY8126" fmla="*/ 3456948 h 4588585"/>
              <a:gd name="connsiteX8127" fmla="*/ 2196280 w 5047599"/>
              <a:gd name="connsiteY8127" fmla="*/ 3439295 h 4588585"/>
              <a:gd name="connsiteX8128" fmla="*/ 2197544 w 5047599"/>
              <a:gd name="connsiteY8128" fmla="*/ 3425840 h 4588585"/>
              <a:gd name="connsiteX8129" fmla="*/ 2197357 w 5047599"/>
              <a:gd name="connsiteY8129" fmla="*/ 3425867 h 4588585"/>
              <a:gd name="connsiteX8130" fmla="*/ 2199553 w 5047599"/>
              <a:gd name="connsiteY8130" fmla="*/ 3402451 h 4588585"/>
              <a:gd name="connsiteX8131" fmla="*/ 2201855 w 5047599"/>
              <a:gd name="connsiteY8131" fmla="*/ 3392126 h 4588585"/>
              <a:gd name="connsiteX8132" fmla="*/ 2201918 w 5047599"/>
              <a:gd name="connsiteY8132" fmla="*/ 3379774 h 4588585"/>
              <a:gd name="connsiteX8133" fmla="*/ 2200567 w 5047599"/>
              <a:gd name="connsiteY8133" fmla="*/ 3347848 h 4588585"/>
              <a:gd name="connsiteX8134" fmla="*/ 2198940 w 5047599"/>
              <a:gd name="connsiteY8134" fmla="*/ 3343456 h 4588585"/>
              <a:gd name="connsiteX8135" fmla="*/ 2197843 w 5047599"/>
              <a:gd name="connsiteY8135" fmla="*/ 3338325 h 4588585"/>
              <a:gd name="connsiteX8136" fmla="*/ 2203691 w 5047599"/>
              <a:gd name="connsiteY8136" fmla="*/ 3334419 h 4588585"/>
              <a:gd name="connsiteX8137" fmla="*/ 2206669 w 5047599"/>
              <a:gd name="connsiteY8137" fmla="*/ 3331422 h 4588585"/>
              <a:gd name="connsiteX8138" fmla="*/ 2210702 w 5047599"/>
              <a:gd name="connsiteY8138" fmla="*/ 3326143 h 4588585"/>
              <a:gd name="connsiteX8139" fmla="*/ 2213573 w 5047599"/>
              <a:gd name="connsiteY8139" fmla="*/ 3318731 h 4588585"/>
              <a:gd name="connsiteX8140" fmla="*/ 2216951 w 5047599"/>
              <a:gd name="connsiteY8140" fmla="*/ 3302431 h 4588585"/>
              <a:gd name="connsiteX8141" fmla="*/ 2229240 w 5047599"/>
              <a:gd name="connsiteY8141" fmla="*/ 3265016 h 4588585"/>
              <a:gd name="connsiteX8142" fmla="*/ 2235068 w 5047599"/>
              <a:gd name="connsiteY8142" fmla="*/ 3228446 h 4588585"/>
              <a:gd name="connsiteX8143" fmla="*/ 2242458 w 5047599"/>
              <a:gd name="connsiteY8143" fmla="*/ 3211173 h 4588585"/>
              <a:gd name="connsiteX8144" fmla="*/ 2245224 w 5047599"/>
              <a:gd name="connsiteY8144" fmla="*/ 3191812 h 4588585"/>
              <a:gd name="connsiteX8145" fmla="*/ 2265789 w 5047599"/>
              <a:gd name="connsiteY8145" fmla="*/ 3166875 h 4588585"/>
              <a:gd name="connsiteX8146" fmla="*/ 2270857 w 5047599"/>
              <a:gd name="connsiteY8146" fmla="*/ 3151567 h 4588585"/>
              <a:gd name="connsiteX8147" fmla="*/ 2281499 w 5047599"/>
              <a:gd name="connsiteY8147" fmla="*/ 3144071 h 4588585"/>
              <a:gd name="connsiteX8148" fmla="*/ 2296554 w 5047599"/>
              <a:gd name="connsiteY8148" fmla="*/ 3136090 h 4588585"/>
              <a:gd name="connsiteX8149" fmla="*/ 2307280 w 5047599"/>
              <a:gd name="connsiteY8149" fmla="*/ 3121901 h 4588585"/>
              <a:gd name="connsiteX8150" fmla="*/ 2312474 w 5047599"/>
              <a:gd name="connsiteY8150" fmla="*/ 3112062 h 4588585"/>
              <a:gd name="connsiteX8151" fmla="*/ 2318386 w 5047599"/>
              <a:gd name="connsiteY8151" fmla="*/ 3093249 h 4588585"/>
              <a:gd name="connsiteX8152" fmla="*/ 2318323 w 5047599"/>
              <a:gd name="connsiteY8152" fmla="*/ 3073611 h 4588585"/>
              <a:gd name="connsiteX8153" fmla="*/ 2322081 w 5047599"/>
              <a:gd name="connsiteY8153" fmla="*/ 3047451 h 4588585"/>
              <a:gd name="connsiteX8154" fmla="*/ 2321258 w 5047599"/>
              <a:gd name="connsiteY8154" fmla="*/ 3039934 h 4588585"/>
              <a:gd name="connsiteX8155" fmla="*/ 2315641 w 5047599"/>
              <a:gd name="connsiteY8155" fmla="*/ 3029524 h 4588585"/>
              <a:gd name="connsiteX8156" fmla="*/ 2314607 w 5047599"/>
              <a:gd name="connsiteY8156" fmla="*/ 3022093 h 4588585"/>
              <a:gd name="connsiteX8157" fmla="*/ 2309391 w 5047599"/>
              <a:gd name="connsiteY8157" fmla="*/ 3014808 h 4588585"/>
              <a:gd name="connsiteX8158" fmla="*/ 2303817 w 5047599"/>
              <a:gd name="connsiteY8158" fmla="*/ 3009275 h 4588585"/>
              <a:gd name="connsiteX8159" fmla="*/ 2301199 w 5047599"/>
              <a:gd name="connsiteY8159" fmla="*/ 2999437 h 4588585"/>
              <a:gd name="connsiteX8160" fmla="*/ 2291528 w 5047599"/>
              <a:gd name="connsiteY8160" fmla="*/ 2983917 h 4588585"/>
              <a:gd name="connsiteX8161" fmla="*/ 2288889 w 5047599"/>
              <a:gd name="connsiteY8161" fmla="*/ 2973571 h 4588585"/>
              <a:gd name="connsiteX8162" fmla="*/ 2284265 w 5047599"/>
              <a:gd name="connsiteY8162" fmla="*/ 2966160 h 4588585"/>
              <a:gd name="connsiteX8163" fmla="*/ 2283526 w 5047599"/>
              <a:gd name="connsiteY8163" fmla="*/ 2956996 h 4588585"/>
              <a:gd name="connsiteX8164" fmla="*/ 2281098 w 5047599"/>
              <a:gd name="connsiteY8164" fmla="*/ 2947325 h 4588585"/>
              <a:gd name="connsiteX8165" fmla="*/ 2276368 w 5047599"/>
              <a:gd name="connsiteY8165" fmla="*/ 2937781 h 4588585"/>
              <a:gd name="connsiteX8166" fmla="*/ 2271955 w 5047599"/>
              <a:gd name="connsiteY8166" fmla="*/ 2926844 h 4588585"/>
              <a:gd name="connsiteX8167" fmla="*/ 2271955 w 5047599"/>
              <a:gd name="connsiteY8167" fmla="*/ 2923424 h 4588585"/>
              <a:gd name="connsiteX8168" fmla="*/ 2274826 w 5047599"/>
              <a:gd name="connsiteY8168" fmla="*/ 2919306 h 4588585"/>
              <a:gd name="connsiteX8169" fmla="*/ 2277550 w 5047599"/>
              <a:gd name="connsiteY8169" fmla="*/ 2917976 h 4588585"/>
              <a:gd name="connsiteX8170" fmla="*/ 2276643 w 5047599"/>
              <a:gd name="connsiteY8170" fmla="*/ 2920045 h 4588585"/>
              <a:gd name="connsiteX8171" fmla="*/ 2274826 w 5047599"/>
              <a:gd name="connsiteY8171" fmla="*/ 2922495 h 4588585"/>
              <a:gd name="connsiteX8172" fmla="*/ 2275270 w 5047599"/>
              <a:gd name="connsiteY8172" fmla="*/ 2924395 h 4588585"/>
              <a:gd name="connsiteX8173" fmla="*/ 2293344 w 5047599"/>
              <a:gd name="connsiteY8173" fmla="*/ 2905244 h 4588585"/>
              <a:gd name="connsiteX8174" fmla="*/ 2294485 w 5047599"/>
              <a:gd name="connsiteY8174" fmla="*/ 2901507 h 4588585"/>
              <a:gd name="connsiteX8175" fmla="*/ 2293872 w 5047599"/>
              <a:gd name="connsiteY8175" fmla="*/ 2897326 h 4588585"/>
              <a:gd name="connsiteX8176" fmla="*/ 2293788 w 5047599"/>
              <a:gd name="connsiteY8176" fmla="*/ 2892217 h 4588585"/>
              <a:gd name="connsiteX8177" fmla="*/ 2294506 w 5047599"/>
              <a:gd name="connsiteY8177" fmla="*/ 2886262 h 4588585"/>
              <a:gd name="connsiteX8178" fmla="*/ 2277445 w 5047599"/>
              <a:gd name="connsiteY8178" fmla="*/ 2851022 h 4588585"/>
              <a:gd name="connsiteX8179" fmla="*/ 2263910 w 5047599"/>
              <a:gd name="connsiteY8179" fmla="*/ 2818294 h 4588585"/>
              <a:gd name="connsiteX8180" fmla="*/ 2261609 w 5047599"/>
              <a:gd name="connsiteY8180" fmla="*/ 2801740 h 4588585"/>
              <a:gd name="connsiteX8181" fmla="*/ 2243703 w 5047599"/>
              <a:gd name="connsiteY8181" fmla="*/ 2780035 h 4588585"/>
              <a:gd name="connsiteX8182" fmla="*/ 2236652 w 5047599"/>
              <a:gd name="connsiteY8182" fmla="*/ 2765930 h 4588585"/>
              <a:gd name="connsiteX8183" fmla="*/ 2232639 w 5047599"/>
              <a:gd name="connsiteY8183" fmla="*/ 2756027 h 4588585"/>
              <a:gd name="connsiteX8184" fmla="*/ 2229621 w 5047599"/>
              <a:gd name="connsiteY8184" fmla="*/ 2752290 h 4588585"/>
              <a:gd name="connsiteX8185" fmla="*/ 2230760 w 5047599"/>
              <a:gd name="connsiteY8185" fmla="*/ 2750411 h 4588585"/>
              <a:gd name="connsiteX8186" fmla="*/ 2235363 w 5047599"/>
              <a:gd name="connsiteY8186" fmla="*/ 2749925 h 4588585"/>
              <a:gd name="connsiteX8187" fmla="*/ 2245625 w 5047599"/>
              <a:gd name="connsiteY8187" fmla="*/ 2747623 h 4588585"/>
              <a:gd name="connsiteX8188" fmla="*/ 2259687 w 5047599"/>
              <a:gd name="connsiteY8188" fmla="*/ 2745132 h 4588585"/>
              <a:gd name="connsiteX8189" fmla="*/ 2272673 w 5047599"/>
              <a:gd name="connsiteY8189" fmla="*/ 2739389 h 4588585"/>
              <a:gd name="connsiteX8190" fmla="*/ 2276136 w 5047599"/>
              <a:gd name="connsiteY8190" fmla="*/ 2736855 h 4588585"/>
              <a:gd name="connsiteX8191" fmla="*/ 2282972 w 5047599"/>
              <a:gd name="connsiteY8191" fmla="*/ 2736331 h 4588585"/>
              <a:gd name="connsiteX8192" fmla="*/ 2282955 w 5047599"/>
              <a:gd name="connsiteY8192" fmla="*/ 2736327 h 4588585"/>
              <a:gd name="connsiteX8193" fmla="*/ 2276072 w 5047599"/>
              <a:gd name="connsiteY8193" fmla="*/ 2736834 h 4588585"/>
              <a:gd name="connsiteX8194" fmla="*/ 2272229 w 5047599"/>
              <a:gd name="connsiteY8194" fmla="*/ 2735145 h 4588585"/>
              <a:gd name="connsiteX8195" fmla="*/ 2263783 w 5047599"/>
              <a:gd name="connsiteY8195" fmla="*/ 2736200 h 4588585"/>
              <a:gd name="connsiteX8196" fmla="*/ 2259687 w 5047599"/>
              <a:gd name="connsiteY8196" fmla="*/ 2737594 h 4588585"/>
              <a:gd name="connsiteX8197" fmla="*/ 2253121 w 5047599"/>
              <a:gd name="connsiteY8197" fmla="*/ 2742557 h 4588585"/>
              <a:gd name="connsiteX8198" fmla="*/ 2243260 w 5047599"/>
              <a:gd name="connsiteY8198" fmla="*/ 2745111 h 4588585"/>
              <a:gd name="connsiteX8199" fmla="*/ 2239607 w 5047599"/>
              <a:gd name="connsiteY8199" fmla="*/ 2744899 h 4588585"/>
              <a:gd name="connsiteX8200" fmla="*/ 2237179 w 5047599"/>
              <a:gd name="connsiteY8200" fmla="*/ 2744077 h 4588585"/>
              <a:gd name="connsiteX8201" fmla="*/ 2231456 w 5047599"/>
              <a:gd name="connsiteY8201" fmla="*/ 2738650 h 4588585"/>
              <a:gd name="connsiteX8202" fmla="*/ 2227022 w 5047599"/>
              <a:gd name="connsiteY8202" fmla="*/ 2733413 h 4588585"/>
              <a:gd name="connsiteX8203" fmla="*/ 2225439 w 5047599"/>
              <a:gd name="connsiteY8203" fmla="*/ 2730521 h 4588585"/>
              <a:gd name="connsiteX8204" fmla="*/ 2225440 w 5047599"/>
              <a:gd name="connsiteY8204" fmla="*/ 2730521 h 4588585"/>
              <a:gd name="connsiteX8205" fmla="*/ 2224574 w 5047599"/>
              <a:gd name="connsiteY8205" fmla="*/ 2728937 h 4588585"/>
              <a:gd name="connsiteX8206" fmla="*/ 2221977 w 5047599"/>
              <a:gd name="connsiteY8206" fmla="*/ 2723025 h 4588585"/>
              <a:gd name="connsiteX8207" fmla="*/ 2223433 w 5047599"/>
              <a:gd name="connsiteY8207" fmla="*/ 2717430 h 4588585"/>
              <a:gd name="connsiteX8208" fmla="*/ 2224996 w 5047599"/>
              <a:gd name="connsiteY8208" fmla="*/ 2713249 h 4588585"/>
              <a:gd name="connsiteX8209" fmla="*/ 2223243 w 5047599"/>
              <a:gd name="connsiteY8209" fmla="*/ 2704740 h 4588585"/>
              <a:gd name="connsiteX8210" fmla="*/ 2219295 w 5047599"/>
              <a:gd name="connsiteY8210" fmla="*/ 2697160 h 4588585"/>
              <a:gd name="connsiteX8211" fmla="*/ 2215114 w 5047599"/>
              <a:gd name="connsiteY8211" fmla="*/ 2687531 h 4588585"/>
              <a:gd name="connsiteX8212" fmla="*/ 2213827 w 5047599"/>
              <a:gd name="connsiteY8212" fmla="*/ 2685695 h 4588585"/>
              <a:gd name="connsiteX8213" fmla="*/ 2213853 w 5047599"/>
              <a:gd name="connsiteY8213" fmla="*/ 2685672 h 4588585"/>
              <a:gd name="connsiteX8214" fmla="*/ 2212940 w 5047599"/>
              <a:gd name="connsiteY8214" fmla="*/ 2684385 h 4588585"/>
              <a:gd name="connsiteX8215" fmla="*/ 2210807 w 5047599"/>
              <a:gd name="connsiteY8215" fmla="*/ 2682738 h 4588585"/>
              <a:gd name="connsiteX8216" fmla="*/ 2206458 w 5047599"/>
              <a:gd name="connsiteY8216" fmla="*/ 2677459 h 4588585"/>
              <a:gd name="connsiteX8217" fmla="*/ 2202151 w 5047599"/>
              <a:gd name="connsiteY8217" fmla="*/ 2670914 h 4588585"/>
              <a:gd name="connsiteX8218" fmla="*/ 2201010 w 5047599"/>
              <a:gd name="connsiteY8218" fmla="*/ 2667936 h 4588585"/>
              <a:gd name="connsiteX8219" fmla="*/ 2199785 w 5047599"/>
              <a:gd name="connsiteY8219" fmla="*/ 2666247 h 4588585"/>
              <a:gd name="connsiteX8220" fmla="*/ 2199595 w 5047599"/>
              <a:gd name="connsiteY8220" fmla="*/ 2659660 h 4588585"/>
              <a:gd name="connsiteX8221" fmla="*/ 2193113 w 5047599"/>
              <a:gd name="connsiteY8221" fmla="*/ 2651847 h 4588585"/>
              <a:gd name="connsiteX8222" fmla="*/ 2176855 w 5047599"/>
              <a:gd name="connsiteY8222" fmla="*/ 2637975 h 4588585"/>
              <a:gd name="connsiteX8223" fmla="*/ 2175124 w 5047599"/>
              <a:gd name="connsiteY8223" fmla="*/ 2633836 h 4588585"/>
              <a:gd name="connsiteX8224" fmla="*/ 2161236 w 5047599"/>
              <a:gd name="connsiteY8224" fmla="*/ 2621131 h 4588585"/>
              <a:gd name="connsiteX8225" fmla="*/ 2161230 w 5047599"/>
              <a:gd name="connsiteY8225" fmla="*/ 2621147 h 4588585"/>
              <a:gd name="connsiteX8226" fmla="*/ 2155424 w 5047599"/>
              <a:gd name="connsiteY8226" fmla="*/ 2615805 h 4588585"/>
              <a:gd name="connsiteX8227" fmla="*/ 2150398 w 5047599"/>
              <a:gd name="connsiteY8227" fmla="*/ 2606071 h 4588585"/>
              <a:gd name="connsiteX8228" fmla="*/ 2144550 w 5047599"/>
              <a:gd name="connsiteY8228" fmla="*/ 2600075 h 4588585"/>
              <a:gd name="connsiteX8229" fmla="*/ 2132240 w 5047599"/>
              <a:gd name="connsiteY8229" fmla="*/ 2590404 h 4588585"/>
              <a:gd name="connsiteX8230" fmla="*/ 2128945 w 5047599"/>
              <a:gd name="connsiteY8230" fmla="*/ 2583268 h 4588585"/>
              <a:gd name="connsiteX8231" fmla="*/ 2114863 w 5047599"/>
              <a:gd name="connsiteY8231" fmla="*/ 2567601 h 4588585"/>
              <a:gd name="connsiteX8232" fmla="*/ 2094635 w 5047599"/>
              <a:gd name="connsiteY8232" fmla="*/ 2551913 h 4588585"/>
              <a:gd name="connsiteX8233" fmla="*/ 2080002 w 5047599"/>
              <a:gd name="connsiteY8233" fmla="*/ 2538294 h 4588585"/>
              <a:gd name="connsiteX8234" fmla="*/ 2077785 w 5047599"/>
              <a:gd name="connsiteY8234" fmla="*/ 2535295 h 4588585"/>
              <a:gd name="connsiteX8235" fmla="*/ 2080255 w 5047599"/>
              <a:gd name="connsiteY8235" fmla="*/ 2535654 h 4588585"/>
              <a:gd name="connsiteX8236" fmla="*/ 2094381 w 5047599"/>
              <a:gd name="connsiteY8236" fmla="*/ 2542432 h 4588585"/>
              <a:gd name="connsiteX8237" fmla="*/ 2096303 w 5047599"/>
              <a:gd name="connsiteY8237" fmla="*/ 2541672 h 4588585"/>
              <a:gd name="connsiteX8238" fmla="*/ 2097928 w 5047599"/>
              <a:gd name="connsiteY8238" fmla="*/ 2540152 h 4588585"/>
              <a:gd name="connsiteX8239" fmla="*/ 2091847 w 5047599"/>
              <a:gd name="connsiteY8239" fmla="*/ 2536583 h 4588585"/>
              <a:gd name="connsiteX8240" fmla="*/ 2086019 w 5047599"/>
              <a:gd name="connsiteY8240" fmla="*/ 2533775 h 4588585"/>
              <a:gd name="connsiteX8241" fmla="*/ 2080551 w 5047599"/>
              <a:gd name="connsiteY8241" fmla="*/ 2532043 h 4588585"/>
              <a:gd name="connsiteX8242" fmla="*/ 2075082 w 5047599"/>
              <a:gd name="connsiteY8242" fmla="*/ 2532191 h 4588585"/>
              <a:gd name="connsiteX8243" fmla="*/ 2072021 w 5047599"/>
              <a:gd name="connsiteY8243" fmla="*/ 2529320 h 4588585"/>
              <a:gd name="connsiteX8244" fmla="*/ 2070036 w 5047599"/>
              <a:gd name="connsiteY8244" fmla="*/ 2524949 h 4588585"/>
              <a:gd name="connsiteX8245" fmla="*/ 2069022 w 5047599"/>
              <a:gd name="connsiteY8245" fmla="*/ 2521212 h 4588585"/>
              <a:gd name="connsiteX8246" fmla="*/ 2066594 w 5047599"/>
              <a:gd name="connsiteY8246" fmla="*/ 2517284 h 4588585"/>
              <a:gd name="connsiteX8247" fmla="*/ 2058846 w 5047599"/>
              <a:gd name="connsiteY8247" fmla="*/ 2509219 h 4588585"/>
              <a:gd name="connsiteX8248" fmla="*/ 2056966 w 5047599"/>
              <a:gd name="connsiteY8248" fmla="*/ 2506115 h 4588585"/>
              <a:gd name="connsiteX8249" fmla="*/ 2052722 w 5047599"/>
              <a:gd name="connsiteY8249" fmla="*/ 2501871 h 4588585"/>
              <a:gd name="connsiteX8250" fmla="*/ 2055298 w 5047599"/>
              <a:gd name="connsiteY8250" fmla="*/ 2501279 h 4588585"/>
              <a:gd name="connsiteX8251" fmla="*/ 2063618 w 5047599"/>
              <a:gd name="connsiteY8251" fmla="*/ 2505354 h 4588585"/>
              <a:gd name="connsiteX8252" fmla="*/ 2064356 w 5047599"/>
              <a:gd name="connsiteY8252" fmla="*/ 2503729 h 4588585"/>
              <a:gd name="connsiteX8253" fmla="*/ 2063638 w 5047599"/>
              <a:gd name="connsiteY8253" fmla="*/ 2501343 h 4588585"/>
              <a:gd name="connsiteX8254" fmla="*/ 2055277 w 5047599"/>
              <a:gd name="connsiteY8254" fmla="*/ 2497479 h 4588585"/>
              <a:gd name="connsiteX8255" fmla="*/ 2050758 w 5047599"/>
              <a:gd name="connsiteY8255" fmla="*/ 2497226 h 4588585"/>
              <a:gd name="connsiteX8256" fmla="*/ 2049703 w 5047599"/>
              <a:gd name="connsiteY8256" fmla="*/ 2494523 h 4588585"/>
              <a:gd name="connsiteX8257" fmla="*/ 2050315 w 5047599"/>
              <a:gd name="connsiteY8257" fmla="*/ 2491376 h 4588585"/>
              <a:gd name="connsiteX8258" fmla="*/ 2044339 w 5047599"/>
              <a:gd name="connsiteY8258" fmla="*/ 2479637 h 4588585"/>
              <a:gd name="connsiteX8259" fmla="*/ 2038132 w 5047599"/>
              <a:gd name="connsiteY8259" fmla="*/ 2470833 h 4588585"/>
              <a:gd name="connsiteX8260" fmla="*/ 2037160 w 5047599"/>
              <a:gd name="connsiteY8260" fmla="*/ 2466673 h 4588585"/>
              <a:gd name="connsiteX8261" fmla="*/ 2053905 w 5047599"/>
              <a:gd name="connsiteY8261" fmla="*/ 2485803 h 4588585"/>
              <a:gd name="connsiteX8262" fmla="*/ 2056143 w 5047599"/>
              <a:gd name="connsiteY8262" fmla="*/ 2486140 h 4588585"/>
              <a:gd name="connsiteX8263" fmla="*/ 2059098 w 5047599"/>
              <a:gd name="connsiteY8263" fmla="*/ 2485971 h 4588585"/>
              <a:gd name="connsiteX8264" fmla="*/ 2066024 w 5047599"/>
              <a:gd name="connsiteY8264" fmla="*/ 2483818 h 4588585"/>
              <a:gd name="connsiteX8265" fmla="*/ 2064694 w 5047599"/>
              <a:gd name="connsiteY8265" fmla="*/ 2481242 h 4588585"/>
              <a:gd name="connsiteX8266" fmla="*/ 2061569 w 5047599"/>
              <a:gd name="connsiteY8266" fmla="*/ 2478518 h 4588585"/>
              <a:gd name="connsiteX8267" fmla="*/ 2058550 w 5047599"/>
              <a:gd name="connsiteY8267" fmla="*/ 2479785 h 4588585"/>
              <a:gd name="connsiteX8268" fmla="*/ 2054601 w 5047599"/>
              <a:gd name="connsiteY8268" fmla="*/ 2480039 h 4588585"/>
              <a:gd name="connsiteX8269" fmla="*/ 2052532 w 5047599"/>
              <a:gd name="connsiteY8269" fmla="*/ 2478898 h 4588585"/>
              <a:gd name="connsiteX8270" fmla="*/ 2051603 w 5047599"/>
              <a:gd name="connsiteY8270" fmla="*/ 2476913 h 4588585"/>
              <a:gd name="connsiteX8271" fmla="*/ 2055551 w 5047599"/>
              <a:gd name="connsiteY8271" fmla="*/ 2467623 h 4588585"/>
              <a:gd name="connsiteX8272" fmla="*/ 2053841 w 5047599"/>
              <a:gd name="connsiteY8272" fmla="*/ 2468109 h 4588585"/>
              <a:gd name="connsiteX8273" fmla="*/ 2052595 w 5047599"/>
              <a:gd name="connsiteY8273" fmla="*/ 2469755 h 4588585"/>
              <a:gd name="connsiteX8274" fmla="*/ 2050420 w 5047599"/>
              <a:gd name="connsiteY8274" fmla="*/ 2470558 h 4588585"/>
              <a:gd name="connsiteX8275" fmla="*/ 2047084 w 5047599"/>
              <a:gd name="connsiteY8275" fmla="*/ 2471023 h 4588585"/>
              <a:gd name="connsiteX8276" fmla="*/ 2038828 w 5047599"/>
              <a:gd name="connsiteY8276" fmla="*/ 2466061 h 4588585"/>
              <a:gd name="connsiteX8277" fmla="*/ 2031565 w 5047599"/>
              <a:gd name="connsiteY8277" fmla="*/ 2452653 h 4588585"/>
              <a:gd name="connsiteX8278" fmla="*/ 2029644 w 5047599"/>
              <a:gd name="connsiteY8278" fmla="*/ 2449887 h 4588585"/>
              <a:gd name="connsiteX8279" fmla="*/ 2027701 w 5047599"/>
              <a:gd name="connsiteY8279" fmla="*/ 2445220 h 4588585"/>
              <a:gd name="connsiteX8280" fmla="*/ 2025779 w 5047599"/>
              <a:gd name="connsiteY8280" fmla="*/ 2443278 h 4588585"/>
              <a:gd name="connsiteX8281" fmla="*/ 2017418 w 5047599"/>
              <a:gd name="connsiteY8281" fmla="*/ 2424211 h 4588585"/>
              <a:gd name="connsiteX8282" fmla="*/ 2020607 w 5047599"/>
              <a:gd name="connsiteY8282" fmla="*/ 2425626 h 4588585"/>
              <a:gd name="connsiteX8283" fmla="*/ 2024428 w 5047599"/>
              <a:gd name="connsiteY8283" fmla="*/ 2431136 h 4588585"/>
              <a:gd name="connsiteX8284" fmla="*/ 2031840 w 5047599"/>
              <a:gd name="connsiteY8284" fmla="*/ 2429976 h 4588585"/>
              <a:gd name="connsiteX8285" fmla="*/ 2034732 w 5047599"/>
              <a:gd name="connsiteY8285" fmla="*/ 2426787 h 4588585"/>
              <a:gd name="connsiteX8286" fmla="*/ 2037245 w 5047599"/>
              <a:gd name="connsiteY8286" fmla="*/ 2426892 h 4588585"/>
              <a:gd name="connsiteX8287" fmla="*/ 2039842 w 5047599"/>
              <a:gd name="connsiteY8287" fmla="*/ 2426175 h 4588585"/>
              <a:gd name="connsiteX8288" fmla="*/ 2043094 w 5047599"/>
              <a:gd name="connsiteY8288" fmla="*/ 2423156 h 4588585"/>
              <a:gd name="connsiteX8289" fmla="*/ 2052595 w 5047599"/>
              <a:gd name="connsiteY8289" fmla="*/ 2410001 h 4588585"/>
              <a:gd name="connsiteX8290" fmla="*/ 2055108 w 5047599"/>
              <a:gd name="connsiteY8290" fmla="*/ 2392688 h 4588585"/>
              <a:gd name="connsiteX8291" fmla="*/ 2054285 w 5047599"/>
              <a:gd name="connsiteY8291" fmla="*/ 2382383 h 4588585"/>
              <a:gd name="connsiteX8292" fmla="*/ 2052891 w 5047599"/>
              <a:gd name="connsiteY8292" fmla="*/ 2372164 h 4588585"/>
              <a:gd name="connsiteX8293" fmla="*/ 2056037 w 5047599"/>
              <a:gd name="connsiteY8293" fmla="*/ 2368891 h 4588585"/>
              <a:gd name="connsiteX8294" fmla="*/ 2057282 w 5047599"/>
              <a:gd name="connsiteY8294" fmla="*/ 2371066 h 4588585"/>
              <a:gd name="connsiteX8295" fmla="*/ 2057895 w 5047599"/>
              <a:gd name="connsiteY8295" fmla="*/ 2374677 h 4588585"/>
              <a:gd name="connsiteX8296" fmla="*/ 2059373 w 5047599"/>
              <a:gd name="connsiteY8296" fmla="*/ 2377379 h 4588585"/>
              <a:gd name="connsiteX8297" fmla="*/ 2062752 w 5047599"/>
              <a:gd name="connsiteY8297" fmla="*/ 2379786 h 4588585"/>
              <a:gd name="connsiteX8298" fmla="*/ 2069043 w 5047599"/>
              <a:gd name="connsiteY8298" fmla="*/ 2380419 h 4588585"/>
              <a:gd name="connsiteX8299" fmla="*/ 2078757 w 5047599"/>
              <a:gd name="connsiteY8299" fmla="*/ 2384220 h 4588585"/>
              <a:gd name="connsiteX8300" fmla="*/ 2082219 w 5047599"/>
              <a:gd name="connsiteY8300" fmla="*/ 2386606 h 4588585"/>
              <a:gd name="connsiteX8301" fmla="*/ 2083169 w 5047599"/>
              <a:gd name="connsiteY8301" fmla="*/ 2381792 h 4588585"/>
              <a:gd name="connsiteX8302" fmla="*/ 2094360 w 5047599"/>
              <a:gd name="connsiteY8302" fmla="*/ 2377696 h 4588585"/>
              <a:gd name="connsiteX8303" fmla="*/ 2090960 w 5047599"/>
              <a:gd name="connsiteY8303" fmla="*/ 2376239 h 4588585"/>
              <a:gd name="connsiteX8304" fmla="*/ 2081037 w 5047599"/>
              <a:gd name="connsiteY8304" fmla="*/ 2377843 h 4588585"/>
              <a:gd name="connsiteX8305" fmla="*/ 2067397 w 5047599"/>
              <a:gd name="connsiteY8305" fmla="*/ 2371720 h 4588585"/>
              <a:gd name="connsiteX8306" fmla="*/ 2062857 w 5047599"/>
              <a:gd name="connsiteY8306" fmla="*/ 2367836 h 4588585"/>
              <a:gd name="connsiteX8307" fmla="*/ 2058634 w 5047599"/>
              <a:gd name="connsiteY8307" fmla="*/ 2360424 h 4588585"/>
              <a:gd name="connsiteX8308" fmla="*/ 2054264 w 5047599"/>
              <a:gd name="connsiteY8308" fmla="*/ 2356560 h 4588585"/>
              <a:gd name="connsiteX8309" fmla="*/ 2054559 w 5047599"/>
              <a:gd name="connsiteY8309" fmla="*/ 2353097 h 4588585"/>
              <a:gd name="connsiteX8310" fmla="*/ 2064356 w 5047599"/>
              <a:gd name="connsiteY8310" fmla="*/ 2349888 h 4588585"/>
              <a:gd name="connsiteX8311" fmla="*/ 2066953 w 5047599"/>
              <a:gd name="connsiteY8311" fmla="*/ 2350246 h 4588585"/>
              <a:gd name="connsiteX8312" fmla="*/ 2067988 w 5047599"/>
              <a:gd name="connsiteY8312" fmla="*/ 2354069 h 4588585"/>
              <a:gd name="connsiteX8313" fmla="*/ 2070627 w 5047599"/>
              <a:gd name="connsiteY8313" fmla="*/ 2355652 h 4588585"/>
              <a:gd name="connsiteX8314" fmla="*/ 2071620 w 5047599"/>
              <a:gd name="connsiteY8314" fmla="*/ 2355124 h 4588585"/>
              <a:gd name="connsiteX8315" fmla="*/ 2072063 w 5047599"/>
              <a:gd name="connsiteY8315" fmla="*/ 2351873 h 4588585"/>
              <a:gd name="connsiteX8316" fmla="*/ 2072084 w 5047599"/>
              <a:gd name="connsiteY8316" fmla="*/ 2343131 h 4588585"/>
              <a:gd name="connsiteX8317" fmla="*/ 2069107 w 5047599"/>
              <a:gd name="connsiteY8317" fmla="*/ 2330589 h 4588585"/>
              <a:gd name="connsiteX8318" fmla="*/ 2070015 w 5047599"/>
              <a:gd name="connsiteY8318" fmla="*/ 2328161 h 4588585"/>
              <a:gd name="connsiteX8319" fmla="*/ 2070019 w 5047599"/>
              <a:gd name="connsiteY8319" fmla="*/ 2328160 h 4588585"/>
              <a:gd name="connsiteX8320" fmla="*/ 2070500 w 5047599"/>
              <a:gd name="connsiteY8320" fmla="*/ 2326894 h 4588585"/>
              <a:gd name="connsiteX8321" fmla="*/ 2065201 w 5047599"/>
              <a:gd name="connsiteY8321" fmla="*/ 2323325 h 4588585"/>
              <a:gd name="connsiteX8322" fmla="*/ 2061379 w 5047599"/>
              <a:gd name="connsiteY8322" fmla="*/ 2322966 h 4588585"/>
              <a:gd name="connsiteX8323" fmla="*/ 2057853 w 5047599"/>
              <a:gd name="connsiteY8323" fmla="*/ 2321847 h 4588585"/>
              <a:gd name="connsiteX8324" fmla="*/ 2060703 w 5047599"/>
              <a:gd name="connsiteY8324" fmla="*/ 2312557 h 4588585"/>
              <a:gd name="connsiteX8325" fmla="*/ 2064271 w 5047599"/>
              <a:gd name="connsiteY8325" fmla="*/ 2304344 h 4588585"/>
              <a:gd name="connsiteX8326" fmla="*/ 2069593 w 5047599"/>
              <a:gd name="connsiteY8326" fmla="*/ 2298136 h 4588585"/>
              <a:gd name="connsiteX8327" fmla="*/ 2072421 w 5047599"/>
              <a:gd name="connsiteY8327" fmla="*/ 2296636 h 4588585"/>
              <a:gd name="connsiteX8328" fmla="*/ 2073330 w 5047599"/>
              <a:gd name="connsiteY8328" fmla="*/ 2293553 h 4588585"/>
              <a:gd name="connsiteX8329" fmla="*/ 2077552 w 5047599"/>
              <a:gd name="connsiteY8329" fmla="*/ 2283419 h 4588585"/>
              <a:gd name="connsiteX8330" fmla="*/ 2082789 w 5047599"/>
              <a:gd name="connsiteY8330" fmla="*/ 2275205 h 4588585"/>
              <a:gd name="connsiteX8331" fmla="*/ 2081164 w 5047599"/>
              <a:gd name="connsiteY8331" fmla="*/ 2266886 h 4588585"/>
              <a:gd name="connsiteX8332" fmla="*/ 2082409 w 5047599"/>
              <a:gd name="connsiteY8332" fmla="*/ 2252887 h 4588585"/>
              <a:gd name="connsiteX8333" fmla="*/ 2083929 w 5047599"/>
              <a:gd name="connsiteY8333" fmla="*/ 2253309 h 4588585"/>
              <a:gd name="connsiteX8334" fmla="*/ 2084161 w 5047599"/>
              <a:gd name="connsiteY8334" fmla="*/ 2254619 h 4588585"/>
              <a:gd name="connsiteX8335" fmla="*/ 2084563 w 5047599"/>
              <a:gd name="connsiteY8335" fmla="*/ 2256561 h 4588585"/>
              <a:gd name="connsiteX8336" fmla="*/ 2086526 w 5047599"/>
              <a:gd name="connsiteY8336" fmla="*/ 2258313 h 4588585"/>
              <a:gd name="connsiteX8337" fmla="*/ 2093029 w 5047599"/>
              <a:gd name="connsiteY8337" fmla="*/ 2260995 h 4588585"/>
              <a:gd name="connsiteX8338" fmla="*/ 2112413 w 5047599"/>
              <a:gd name="connsiteY8338" fmla="*/ 2260995 h 4588585"/>
              <a:gd name="connsiteX8339" fmla="*/ 2123984 w 5047599"/>
              <a:gd name="connsiteY8339" fmla="*/ 2260995 h 4588585"/>
              <a:gd name="connsiteX8340" fmla="*/ 2141108 w 5047599"/>
              <a:gd name="connsiteY8340" fmla="*/ 2260995 h 4588585"/>
              <a:gd name="connsiteX8341" fmla="*/ 2159224 w 5047599"/>
              <a:gd name="connsiteY8341" fmla="*/ 2260995 h 4588585"/>
              <a:gd name="connsiteX8342" fmla="*/ 2173012 w 5047599"/>
              <a:gd name="connsiteY8342" fmla="*/ 2260953 h 4588585"/>
              <a:gd name="connsiteX8343" fmla="*/ 2173075 w 5047599"/>
              <a:gd name="connsiteY8343" fmla="*/ 2274677 h 4588585"/>
              <a:gd name="connsiteX8344" fmla="*/ 2173139 w 5047599"/>
              <a:gd name="connsiteY8344" fmla="*/ 2286269 h 4588585"/>
              <a:gd name="connsiteX8345" fmla="*/ 2173202 w 5047599"/>
              <a:gd name="connsiteY8345" fmla="*/ 2298811 h 4588585"/>
              <a:gd name="connsiteX8346" fmla="*/ 2173266 w 5047599"/>
              <a:gd name="connsiteY8346" fmla="*/ 2311881 h 4588585"/>
              <a:gd name="connsiteX8347" fmla="*/ 2173328 w 5047599"/>
              <a:gd name="connsiteY8347" fmla="*/ 2322945 h 4588585"/>
              <a:gd name="connsiteX8348" fmla="*/ 2173370 w 5047599"/>
              <a:gd name="connsiteY8348" fmla="*/ 2330061 h 4588585"/>
              <a:gd name="connsiteX8349" fmla="*/ 2173392 w 5047599"/>
              <a:gd name="connsiteY8349" fmla="*/ 2330061 h 4588585"/>
              <a:gd name="connsiteX8350" fmla="*/ 2173350 w 5047599"/>
              <a:gd name="connsiteY8350" fmla="*/ 2322925 h 4588585"/>
              <a:gd name="connsiteX8351" fmla="*/ 2173287 w 5047599"/>
              <a:gd name="connsiteY8351" fmla="*/ 2311861 h 4588585"/>
              <a:gd name="connsiteX8352" fmla="*/ 2173223 w 5047599"/>
              <a:gd name="connsiteY8352" fmla="*/ 2298791 h 4588585"/>
              <a:gd name="connsiteX8353" fmla="*/ 2173139 w 5047599"/>
              <a:gd name="connsiteY8353" fmla="*/ 2286248 h 4588585"/>
              <a:gd name="connsiteX8354" fmla="*/ 2173075 w 5047599"/>
              <a:gd name="connsiteY8354" fmla="*/ 2274656 h 4588585"/>
              <a:gd name="connsiteX8355" fmla="*/ 2173012 w 5047599"/>
              <a:gd name="connsiteY8355" fmla="*/ 2260953 h 4588585"/>
              <a:gd name="connsiteX8356" fmla="*/ 2173667 w 5047599"/>
              <a:gd name="connsiteY8356" fmla="*/ 2257005 h 4588585"/>
              <a:gd name="connsiteX8357" fmla="*/ 2174469 w 5047599"/>
              <a:gd name="connsiteY8357" fmla="*/ 2255400 h 4588585"/>
              <a:gd name="connsiteX8358" fmla="*/ 2173666 w 5047599"/>
              <a:gd name="connsiteY8358" fmla="*/ 2257005 h 4588585"/>
              <a:gd name="connsiteX8359" fmla="*/ 2173011 w 5047599"/>
              <a:gd name="connsiteY8359" fmla="*/ 2260953 h 4588585"/>
              <a:gd name="connsiteX8360" fmla="*/ 2159244 w 5047599"/>
              <a:gd name="connsiteY8360" fmla="*/ 2260932 h 4588585"/>
              <a:gd name="connsiteX8361" fmla="*/ 2141128 w 5047599"/>
              <a:gd name="connsiteY8361" fmla="*/ 2260932 h 4588585"/>
              <a:gd name="connsiteX8362" fmla="*/ 2124025 w 5047599"/>
              <a:gd name="connsiteY8362" fmla="*/ 2260932 h 4588585"/>
              <a:gd name="connsiteX8363" fmla="*/ 2112454 w 5047599"/>
              <a:gd name="connsiteY8363" fmla="*/ 2260932 h 4588585"/>
              <a:gd name="connsiteX8364" fmla="*/ 2093072 w 5047599"/>
              <a:gd name="connsiteY8364" fmla="*/ 2260932 h 4588585"/>
              <a:gd name="connsiteX8365" fmla="*/ 2086568 w 5047599"/>
              <a:gd name="connsiteY8365" fmla="*/ 2258250 h 4588585"/>
              <a:gd name="connsiteX8366" fmla="*/ 2084605 w 5047599"/>
              <a:gd name="connsiteY8366" fmla="*/ 2256498 h 4588585"/>
              <a:gd name="connsiteX8367" fmla="*/ 2084204 w 5047599"/>
              <a:gd name="connsiteY8367" fmla="*/ 2254555 h 4588585"/>
              <a:gd name="connsiteX8368" fmla="*/ 2083971 w 5047599"/>
              <a:gd name="connsiteY8368" fmla="*/ 2253224 h 4588585"/>
              <a:gd name="connsiteX8369" fmla="*/ 2082451 w 5047599"/>
              <a:gd name="connsiteY8369" fmla="*/ 2252845 h 4588585"/>
              <a:gd name="connsiteX8370" fmla="*/ 2083697 w 5047599"/>
              <a:gd name="connsiteY8370" fmla="*/ 2238930 h 4588585"/>
              <a:gd name="connsiteX8371" fmla="*/ 2086421 w 5047599"/>
              <a:gd name="connsiteY8371" fmla="*/ 2227338 h 4588585"/>
              <a:gd name="connsiteX8372" fmla="*/ 2087476 w 5047599"/>
              <a:gd name="connsiteY8372" fmla="*/ 2216570 h 4588585"/>
              <a:gd name="connsiteX8373" fmla="*/ 2091214 w 5047599"/>
              <a:gd name="connsiteY8373" fmla="*/ 2206963 h 4588585"/>
              <a:gd name="connsiteX8374" fmla="*/ 2089229 w 5047599"/>
              <a:gd name="connsiteY8374" fmla="*/ 2197440 h 4588585"/>
              <a:gd name="connsiteX8375" fmla="*/ 2086927 w 5047599"/>
              <a:gd name="connsiteY8375" fmla="*/ 2193280 h 4588585"/>
              <a:gd name="connsiteX8376" fmla="*/ 2074829 w 5047599"/>
              <a:gd name="connsiteY8376" fmla="*/ 2179767 h 4588585"/>
              <a:gd name="connsiteX8377" fmla="*/ 2080381 w 5047599"/>
              <a:gd name="connsiteY8377" fmla="*/ 2174679 h 4588585"/>
              <a:gd name="connsiteX8378" fmla="*/ 2073076 w 5047599"/>
              <a:gd name="connsiteY8378" fmla="*/ 2175375 h 4588585"/>
              <a:gd name="connsiteX8379" fmla="*/ 2071513 w 5047599"/>
              <a:gd name="connsiteY8379" fmla="*/ 2170351 h 4588585"/>
              <a:gd name="connsiteX8380" fmla="*/ 2067966 w 5047599"/>
              <a:gd name="connsiteY8380" fmla="*/ 2164353 h 4588585"/>
              <a:gd name="connsiteX8381" fmla="*/ 2070141 w 5047599"/>
              <a:gd name="connsiteY8381" fmla="*/ 2163361 h 4588585"/>
              <a:gd name="connsiteX8382" fmla="*/ 2072231 w 5047599"/>
              <a:gd name="connsiteY8382" fmla="*/ 2160088 h 4588585"/>
              <a:gd name="connsiteX8383" fmla="*/ 2078840 w 5047599"/>
              <a:gd name="connsiteY8383" fmla="*/ 2161081 h 4588585"/>
              <a:gd name="connsiteX8384" fmla="*/ 2078629 w 5047599"/>
              <a:gd name="connsiteY8384" fmla="*/ 2159455 h 4588585"/>
              <a:gd name="connsiteX8385" fmla="*/ 2072928 w 5047599"/>
              <a:gd name="connsiteY8385" fmla="*/ 2154409 h 4588585"/>
              <a:gd name="connsiteX8386" fmla="*/ 2073477 w 5047599"/>
              <a:gd name="connsiteY8386" fmla="*/ 2151854 h 4588585"/>
              <a:gd name="connsiteX8387" fmla="*/ 2075820 w 5047599"/>
              <a:gd name="connsiteY8387" fmla="*/ 2149024 h 4588585"/>
              <a:gd name="connsiteX8388" fmla="*/ 2074681 w 5047599"/>
              <a:gd name="connsiteY8388" fmla="*/ 2147800 h 4588585"/>
              <a:gd name="connsiteX8389" fmla="*/ 2070585 w 5047599"/>
              <a:gd name="connsiteY8389" fmla="*/ 2150777 h 4588585"/>
              <a:gd name="connsiteX8390" fmla="*/ 2067628 w 5047599"/>
              <a:gd name="connsiteY8390" fmla="*/ 2150671 h 4588585"/>
              <a:gd name="connsiteX8391" fmla="*/ 2065348 w 5047599"/>
              <a:gd name="connsiteY8391" fmla="*/ 2148771 h 4588585"/>
              <a:gd name="connsiteX8392" fmla="*/ 2063659 w 5047599"/>
              <a:gd name="connsiteY8392" fmla="*/ 2148454 h 4588585"/>
              <a:gd name="connsiteX8393" fmla="*/ 2064672 w 5047599"/>
              <a:gd name="connsiteY8393" fmla="*/ 2152318 h 4588585"/>
              <a:gd name="connsiteX8394" fmla="*/ 2062371 w 5047599"/>
              <a:gd name="connsiteY8394" fmla="*/ 2155760 h 4588585"/>
              <a:gd name="connsiteX8395" fmla="*/ 2060196 w 5047599"/>
              <a:gd name="connsiteY8395" fmla="*/ 2156984 h 4588585"/>
              <a:gd name="connsiteX8396" fmla="*/ 2056480 w 5047599"/>
              <a:gd name="connsiteY8396" fmla="*/ 2156774 h 4588585"/>
              <a:gd name="connsiteX8397" fmla="*/ 2053439 w 5047599"/>
              <a:gd name="connsiteY8397" fmla="*/ 2155887 h 4588585"/>
              <a:gd name="connsiteX8398" fmla="*/ 2052616 w 5047599"/>
              <a:gd name="connsiteY8398" fmla="*/ 2153965 h 4588585"/>
              <a:gd name="connsiteX8399" fmla="*/ 2049765 w 5047599"/>
              <a:gd name="connsiteY8399" fmla="*/ 2152508 h 4588585"/>
              <a:gd name="connsiteX8400" fmla="*/ 2041742 w 5047599"/>
              <a:gd name="connsiteY8400" fmla="*/ 2149933 h 4588585"/>
              <a:gd name="connsiteX8401" fmla="*/ 2035007 w 5047599"/>
              <a:gd name="connsiteY8401" fmla="*/ 2146913 h 4588585"/>
              <a:gd name="connsiteX8402" fmla="*/ 2033655 w 5047599"/>
              <a:gd name="connsiteY8402" fmla="*/ 2138679 h 4588585"/>
              <a:gd name="connsiteX8403" fmla="*/ 2030974 w 5047599"/>
              <a:gd name="connsiteY8403" fmla="*/ 2135131 h 4588585"/>
              <a:gd name="connsiteX8404" fmla="*/ 2029876 w 5047599"/>
              <a:gd name="connsiteY8404" fmla="*/ 2131119 h 4588585"/>
              <a:gd name="connsiteX8405" fmla="*/ 2029242 w 5047599"/>
              <a:gd name="connsiteY8405" fmla="*/ 2126537 h 4588585"/>
              <a:gd name="connsiteX8406" fmla="*/ 2030171 w 5047599"/>
              <a:gd name="connsiteY8406" fmla="*/ 2119485 h 4588585"/>
              <a:gd name="connsiteX8407" fmla="*/ 2028440 w 5047599"/>
              <a:gd name="connsiteY8407" fmla="*/ 2118366 h 4588585"/>
              <a:gd name="connsiteX8408" fmla="*/ 2026497 w 5047599"/>
              <a:gd name="connsiteY8408" fmla="*/ 2117986 h 4588585"/>
              <a:gd name="connsiteX8409" fmla="*/ 2023583 w 5047599"/>
              <a:gd name="connsiteY8409" fmla="*/ 2118324 h 4588585"/>
              <a:gd name="connsiteX8410" fmla="*/ 2020902 w 5047599"/>
              <a:gd name="connsiteY8410" fmla="*/ 2117944 h 4588585"/>
              <a:gd name="connsiteX8411" fmla="*/ 2017692 w 5047599"/>
              <a:gd name="connsiteY8411" fmla="*/ 2114038 h 4588585"/>
              <a:gd name="connsiteX8412" fmla="*/ 2014884 w 5047599"/>
              <a:gd name="connsiteY8412" fmla="*/ 2112538 h 4588585"/>
              <a:gd name="connsiteX8413" fmla="*/ 2016616 w 5047599"/>
              <a:gd name="connsiteY8413" fmla="*/ 2119717 h 4588585"/>
              <a:gd name="connsiteX8414" fmla="*/ 2014631 w 5047599"/>
              <a:gd name="connsiteY8414" fmla="*/ 2121723 h 4588585"/>
              <a:gd name="connsiteX8415" fmla="*/ 2009796 w 5047599"/>
              <a:gd name="connsiteY8415" fmla="*/ 2121153 h 4588585"/>
              <a:gd name="connsiteX8416" fmla="*/ 2007726 w 5047599"/>
              <a:gd name="connsiteY8416" fmla="*/ 2118430 h 4588585"/>
              <a:gd name="connsiteX8417" fmla="*/ 2007325 w 5047599"/>
              <a:gd name="connsiteY8417" fmla="*/ 2116403 h 4588585"/>
              <a:gd name="connsiteX8418" fmla="*/ 2009542 w 5047599"/>
              <a:gd name="connsiteY8418" fmla="*/ 2107737 h 4588585"/>
              <a:gd name="connsiteX8419" fmla="*/ 2008742 w 5047599"/>
              <a:gd name="connsiteY8419" fmla="*/ 2107561 h 4588585"/>
              <a:gd name="connsiteX8420" fmla="*/ 2008739 w 5047599"/>
              <a:gd name="connsiteY8420" fmla="*/ 2107568 h 4588585"/>
              <a:gd name="connsiteX8421" fmla="*/ 2008021 w 5047599"/>
              <a:gd name="connsiteY8421" fmla="*/ 2107420 h 4588585"/>
              <a:gd name="connsiteX8422" fmla="*/ 2006290 w 5047599"/>
              <a:gd name="connsiteY8422" fmla="*/ 2109394 h 4588585"/>
              <a:gd name="connsiteX8423" fmla="*/ 2001350 w 5047599"/>
              <a:gd name="connsiteY8423" fmla="*/ 2108100 h 4588585"/>
              <a:gd name="connsiteX8424" fmla="*/ 1999132 w 5047599"/>
              <a:gd name="connsiteY8424" fmla="*/ 2104089 h 4588585"/>
              <a:gd name="connsiteX8425" fmla="*/ 1996071 w 5047599"/>
              <a:gd name="connsiteY8425" fmla="*/ 2103429 h 4588585"/>
              <a:gd name="connsiteX8426" fmla="*/ 1990792 w 5047599"/>
              <a:gd name="connsiteY8426" fmla="*/ 2097552 h 4588585"/>
              <a:gd name="connsiteX8427" fmla="*/ 1989673 w 5047599"/>
              <a:gd name="connsiteY8427" fmla="*/ 2098527 h 4588585"/>
              <a:gd name="connsiteX8428" fmla="*/ 1995247 w 5047599"/>
              <a:gd name="connsiteY8428" fmla="*/ 2113467 h 4588585"/>
              <a:gd name="connsiteX8429" fmla="*/ 1993178 w 5047599"/>
              <a:gd name="connsiteY8429" fmla="*/ 2119295 h 4588585"/>
              <a:gd name="connsiteX8430" fmla="*/ 1977490 w 5047599"/>
              <a:gd name="connsiteY8430" fmla="*/ 2119421 h 4588585"/>
              <a:gd name="connsiteX8431" fmla="*/ 1963998 w 5047599"/>
              <a:gd name="connsiteY8431" fmla="*/ 2121385 h 4588585"/>
              <a:gd name="connsiteX8432" fmla="*/ 1954728 w 5047599"/>
              <a:gd name="connsiteY8432" fmla="*/ 2121216 h 4588585"/>
              <a:gd name="connsiteX8433" fmla="*/ 1950083 w 5047599"/>
              <a:gd name="connsiteY8433" fmla="*/ 2119083 h 4588585"/>
              <a:gd name="connsiteX8434" fmla="*/ 1948014 w 5047599"/>
              <a:gd name="connsiteY8434" fmla="*/ 2113489 h 4588585"/>
              <a:gd name="connsiteX8435" fmla="*/ 1947212 w 5047599"/>
              <a:gd name="connsiteY8435" fmla="*/ 2114059 h 4588585"/>
              <a:gd name="connsiteX8436" fmla="*/ 1946747 w 5047599"/>
              <a:gd name="connsiteY8436" fmla="*/ 2117057 h 4588585"/>
              <a:gd name="connsiteX8437" fmla="*/ 1943812 w 5047599"/>
              <a:gd name="connsiteY8437" fmla="*/ 2119421 h 4588585"/>
              <a:gd name="connsiteX8438" fmla="*/ 1933403 w 5047599"/>
              <a:gd name="connsiteY8438" fmla="*/ 2119865 h 4588585"/>
              <a:gd name="connsiteX8439" fmla="*/ 1928800 w 5047599"/>
              <a:gd name="connsiteY8439" fmla="*/ 2116044 h 4588585"/>
              <a:gd name="connsiteX8440" fmla="*/ 1925083 w 5047599"/>
              <a:gd name="connsiteY8440" fmla="*/ 2111757 h 4588585"/>
              <a:gd name="connsiteX8441" fmla="*/ 1921093 w 5047599"/>
              <a:gd name="connsiteY8441" fmla="*/ 2109861 h 4588585"/>
              <a:gd name="connsiteX8442" fmla="*/ 1921705 w 5047599"/>
              <a:gd name="connsiteY8442" fmla="*/ 2111652 h 4588585"/>
              <a:gd name="connsiteX8443" fmla="*/ 1926287 w 5047599"/>
              <a:gd name="connsiteY8443" fmla="*/ 2115832 h 4588585"/>
              <a:gd name="connsiteX8444" fmla="*/ 1925738 w 5047599"/>
              <a:gd name="connsiteY8444" fmla="*/ 2121829 h 4588585"/>
              <a:gd name="connsiteX8445" fmla="*/ 1917356 w 5047599"/>
              <a:gd name="connsiteY8445" fmla="*/ 2128796 h 4588585"/>
              <a:gd name="connsiteX8446" fmla="*/ 1912013 w 5047599"/>
              <a:gd name="connsiteY8446" fmla="*/ 2129198 h 4588585"/>
              <a:gd name="connsiteX8447" fmla="*/ 1908741 w 5047599"/>
              <a:gd name="connsiteY8447" fmla="*/ 2126199 h 4588585"/>
              <a:gd name="connsiteX8448" fmla="*/ 1907030 w 5047599"/>
              <a:gd name="connsiteY8448" fmla="*/ 2121322 h 4588585"/>
              <a:gd name="connsiteX8449" fmla="*/ 1906165 w 5047599"/>
              <a:gd name="connsiteY8449" fmla="*/ 2114101 h 4588585"/>
              <a:gd name="connsiteX8450" fmla="*/ 1903969 w 5047599"/>
              <a:gd name="connsiteY8450" fmla="*/ 2109394 h 4588585"/>
              <a:gd name="connsiteX8451" fmla="*/ 1902786 w 5047599"/>
              <a:gd name="connsiteY8451" fmla="*/ 2109394 h 4588585"/>
              <a:gd name="connsiteX8452" fmla="*/ 1903884 w 5047599"/>
              <a:gd name="connsiteY8452" fmla="*/ 2113700 h 4588585"/>
              <a:gd name="connsiteX8453" fmla="*/ 1904244 w 5047599"/>
              <a:gd name="connsiteY8453" fmla="*/ 2117226 h 4588585"/>
              <a:gd name="connsiteX8454" fmla="*/ 1904286 w 5047599"/>
              <a:gd name="connsiteY8454" fmla="*/ 2124553 h 4588585"/>
              <a:gd name="connsiteX8455" fmla="*/ 1908276 w 5047599"/>
              <a:gd name="connsiteY8455" fmla="*/ 2130232 h 4588585"/>
              <a:gd name="connsiteX8456" fmla="*/ 1902153 w 5047599"/>
              <a:gd name="connsiteY8456" fmla="*/ 2132006 h 4588585"/>
              <a:gd name="connsiteX8457" fmla="*/ 1899662 w 5047599"/>
              <a:gd name="connsiteY8457" fmla="*/ 2132070 h 4588585"/>
              <a:gd name="connsiteX8458" fmla="*/ 1894805 w 5047599"/>
              <a:gd name="connsiteY8458" fmla="*/ 2132196 h 4588585"/>
              <a:gd name="connsiteX8459" fmla="*/ 1893876 w 5047599"/>
              <a:gd name="connsiteY8459" fmla="*/ 2130063 h 4588585"/>
              <a:gd name="connsiteX8460" fmla="*/ 1892947 w 5047599"/>
              <a:gd name="connsiteY8460" fmla="*/ 2125355 h 4588585"/>
              <a:gd name="connsiteX8461" fmla="*/ 1891659 w 5047599"/>
              <a:gd name="connsiteY8461" fmla="*/ 2124130 h 4588585"/>
              <a:gd name="connsiteX8462" fmla="*/ 1890160 w 5047599"/>
              <a:gd name="connsiteY8462" fmla="*/ 2132112 h 4588585"/>
              <a:gd name="connsiteX8463" fmla="*/ 1886929 w 5047599"/>
              <a:gd name="connsiteY8463" fmla="*/ 2132660 h 4588585"/>
              <a:gd name="connsiteX8464" fmla="*/ 1884691 w 5047599"/>
              <a:gd name="connsiteY8464" fmla="*/ 2132597 h 4588585"/>
              <a:gd name="connsiteX8465" fmla="*/ 1875063 w 5047599"/>
              <a:gd name="connsiteY8465" fmla="*/ 2134329 h 4588585"/>
              <a:gd name="connsiteX8466" fmla="*/ 1872909 w 5047599"/>
              <a:gd name="connsiteY8466" fmla="*/ 2133991 h 4588585"/>
              <a:gd name="connsiteX8467" fmla="*/ 1872466 w 5047599"/>
              <a:gd name="connsiteY8467" fmla="*/ 2132512 h 4588585"/>
              <a:gd name="connsiteX8468" fmla="*/ 1873606 w 5047599"/>
              <a:gd name="connsiteY8468" fmla="*/ 2130295 h 4588585"/>
              <a:gd name="connsiteX8469" fmla="*/ 1873352 w 5047599"/>
              <a:gd name="connsiteY8469" fmla="*/ 2126706 h 4588585"/>
              <a:gd name="connsiteX8470" fmla="*/ 1870016 w 5047599"/>
              <a:gd name="connsiteY8470" fmla="*/ 2129472 h 4588585"/>
              <a:gd name="connsiteX8471" fmla="*/ 1869488 w 5047599"/>
              <a:gd name="connsiteY8471" fmla="*/ 2135004 h 4588585"/>
              <a:gd name="connsiteX8472" fmla="*/ 1867588 w 5047599"/>
              <a:gd name="connsiteY8472" fmla="*/ 2135912 h 4588585"/>
              <a:gd name="connsiteX8473" fmla="*/ 1861867 w 5047599"/>
              <a:gd name="connsiteY8473" fmla="*/ 2135131 h 4588585"/>
              <a:gd name="connsiteX8474" fmla="*/ 1855595 w 5047599"/>
              <a:gd name="connsiteY8474" fmla="*/ 2132281 h 4588585"/>
              <a:gd name="connsiteX8475" fmla="*/ 1851773 w 5047599"/>
              <a:gd name="connsiteY8475" fmla="*/ 2129367 h 4588585"/>
              <a:gd name="connsiteX8476" fmla="*/ 1845397 w 5047599"/>
              <a:gd name="connsiteY8476" fmla="*/ 2125313 h 4588585"/>
              <a:gd name="connsiteX8477" fmla="*/ 1832896 w 5047599"/>
              <a:gd name="connsiteY8477" fmla="*/ 2113953 h 4588585"/>
              <a:gd name="connsiteX8478" fmla="*/ 1830870 w 5047599"/>
              <a:gd name="connsiteY8478" fmla="*/ 2108845 h 4588585"/>
              <a:gd name="connsiteX8479" fmla="*/ 1827302 w 5047599"/>
              <a:gd name="connsiteY8479" fmla="*/ 2102585 h 4588585"/>
              <a:gd name="connsiteX8480" fmla="*/ 1824641 w 5047599"/>
              <a:gd name="connsiteY8480" fmla="*/ 2096217 h 4588585"/>
              <a:gd name="connsiteX8481" fmla="*/ 1820798 w 5047599"/>
              <a:gd name="connsiteY8481" fmla="*/ 2085352 h 4588585"/>
              <a:gd name="connsiteX8482" fmla="*/ 1821980 w 5047599"/>
              <a:gd name="connsiteY8482" fmla="*/ 2084568 h 4588585"/>
              <a:gd name="connsiteX8483" fmla="*/ 1824873 w 5047599"/>
              <a:gd name="connsiteY8483" fmla="*/ 2085501 h 4588585"/>
              <a:gd name="connsiteX8484" fmla="*/ 1826288 w 5047599"/>
              <a:gd name="connsiteY8484" fmla="*/ 2083866 h 4588585"/>
              <a:gd name="connsiteX8485" fmla="*/ 1821094 w 5047599"/>
              <a:gd name="connsiteY8485" fmla="*/ 2082678 h 4588585"/>
              <a:gd name="connsiteX8486" fmla="*/ 1820017 w 5047599"/>
              <a:gd name="connsiteY8486" fmla="*/ 2081405 h 4588585"/>
              <a:gd name="connsiteX8487" fmla="*/ 1819658 w 5047599"/>
              <a:gd name="connsiteY8487" fmla="*/ 2077583 h 4588585"/>
              <a:gd name="connsiteX8488" fmla="*/ 1819890 w 5047599"/>
              <a:gd name="connsiteY8488" fmla="*/ 2072915 h 4588585"/>
              <a:gd name="connsiteX8489" fmla="*/ 1824113 w 5047599"/>
              <a:gd name="connsiteY8489" fmla="*/ 2071281 h 4588585"/>
              <a:gd name="connsiteX8490" fmla="*/ 1827766 w 5047599"/>
              <a:gd name="connsiteY8490" fmla="*/ 2070472 h 4588585"/>
              <a:gd name="connsiteX8491" fmla="*/ 1829603 w 5047599"/>
              <a:gd name="connsiteY8491" fmla="*/ 2067648 h 4588585"/>
              <a:gd name="connsiteX8492" fmla="*/ 1830658 w 5047599"/>
              <a:gd name="connsiteY8492" fmla="*/ 2064805 h 4588585"/>
              <a:gd name="connsiteX8493" fmla="*/ 1820967 w 5047599"/>
              <a:gd name="connsiteY8493" fmla="*/ 2069112 h 4588585"/>
              <a:gd name="connsiteX8494" fmla="*/ 1811867 w 5047599"/>
              <a:gd name="connsiteY8494" fmla="*/ 2064232 h 4588585"/>
              <a:gd name="connsiteX8495" fmla="*/ 1809903 w 5047599"/>
              <a:gd name="connsiteY8495" fmla="*/ 2061280 h 4588585"/>
              <a:gd name="connsiteX8496" fmla="*/ 1810895 w 5047599"/>
              <a:gd name="connsiteY8496" fmla="*/ 2059011 h 4588585"/>
              <a:gd name="connsiteX8497" fmla="*/ 1815245 w 5047599"/>
              <a:gd name="connsiteY8497" fmla="*/ 2058671 h 4588585"/>
              <a:gd name="connsiteX8498" fmla="*/ 1821453 w 5047599"/>
              <a:gd name="connsiteY8498" fmla="*/ 2058840 h 4588585"/>
              <a:gd name="connsiteX8499" fmla="*/ 1825169 w 5047599"/>
              <a:gd name="connsiteY8499" fmla="*/ 2056631 h 4588585"/>
              <a:gd name="connsiteX8500" fmla="*/ 1822889 w 5047599"/>
              <a:gd name="connsiteY8500" fmla="*/ 2055846 h 4588585"/>
              <a:gd name="connsiteX8501" fmla="*/ 1818877 w 5047599"/>
              <a:gd name="connsiteY8501" fmla="*/ 2055931 h 4588585"/>
              <a:gd name="connsiteX8502" fmla="*/ 1817398 w 5047599"/>
              <a:gd name="connsiteY8502" fmla="*/ 2054465 h 4588585"/>
              <a:gd name="connsiteX8503" fmla="*/ 1817525 w 5047599"/>
              <a:gd name="connsiteY8503" fmla="*/ 2050922 h 4588585"/>
              <a:gd name="connsiteX8504" fmla="*/ 1816216 w 5047599"/>
              <a:gd name="connsiteY8504" fmla="*/ 2051707 h 4588585"/>
              <a:gd name="connsiteX8505" fmla="*/ 1814485 w 5047599"/>
              <a:gd name="connsiteY8505" fmla="*/ 2054847 h 4588585"/>
              <a:gd name="connsiteX8506" fmla="*/ 1808361 w 5047599"/>
              <a:gd name="connsiteY8506" fmla="*/ 2057161 h 4588585"/>
              <a:gd name="connsiteX8507" fmla="*/ 1804772 w 5047599"/>
              <a:gd name="connsiteY8507" fmla="*/ 2054847 h 4588585"/>
              <a:gd name="connsiteX8508" fmla="*/ 1804413 w 5047599"/>
              <a:gd name="connsiteY8508" fmla="*/ 2049712 h 4588585"/>
              <a:gd name="connsiteX8509" fmla="*/ 1803632 w 5047599"/>
              <a:gd name="connsiteY8509" fmla="*/ 2047398 h 4588585"/>
              <a:gd name="connsiteX8510" fmla="*/ 1800613 w 5047599"/>
              <a:gd name="connsiteY8510" fmla="*/ 2045592 h 4588585"/>
              <a:gd name="connsiteX8511" fmla="*/ 1789887 w 5047599"/>
              <a:gd name="connsiteY8511" fmla="*/ 2031989 h 4588585"/>
              <a:gd name="connsiteX8512" fmla="*/ 1776416 w 5047599"/>
              <a:gd name="connsiteY8512" fmla="*/ 2020633 h 4588585"/>
              <a:gd name="connsiteX8513" fmla="*/ 1764443 w 5047599"/>
              <a:gd name="connsiteY8513" fmla="*/ 2012801 h 4588585"/>
              <a:gd name="connsiteX8514" fmla="*/ 1746348 w 5047599"/>
              <a:gd name="connsiteY8514" fmla="*/ 2009066 h 4588585"/>
              <a:gd name="connsiteX8515" fmla="*/ 1708469 w 5047599"/>
              <a:gd name="connsiteY8515" fmla="*/ 2009214 h 4588585"/>
              <a:gd name="connsiteX8516" fmla="*/ 1706336 w 5047599"/>
              <a:gd name="connsiteY8516" fmla="*/ 2008133 h 4588585"/>
              <a:gd name="connsiteX8517" fmla="*/ 1708659 w 5047599"/>
              <a:gd name="connsiteY8517" fmla="*/ 2006351 h 4588585"/>
              <a:gd name="connsiteX8518" fmla="*/ 1711973 w 5047599"/>
              <a:gd name="connsiteY8518" fmla="*/ 2005141 h 4588585"/>
              <a:gd name="connsiteX8519" fmla="*/ 1724157 w 5047599"/>
              <a:gd name="connsiteY8519" fmla="*/ 1998794 h 4588585"/>
              <a:gd name="connsiteX8520" fmla="*/ 1722109 w 5047599"/>
              <a:gd name="connsiteY8520" fmla="*/ 1997945 h 4588585"/>
              <a:gd name="connsiteX8521" fmla="*/ 1709439 w 5047599"/>
              <a:gd name="connsiteY8521" fmla="*/ 2001915 h 4588585"/>
              <a:gd name="connsiteX8522" fmla="*/ 1705111 w 5047599"/>
              <a:gd name="connsiteY8522" fmla="*/ 2002297 h 4588585"/>
              <a:gd name="connsiteX8523" fmla="*/ 1699495 w 5047599"/>
              <a:gd name="connsiteY8523" fmla="*/ 2009918 h 4588585"/>
              <a:gd name="connsiteX8524" fmla="*/ 1666134 w 5047599"/>
              <a:gd name="connsiteY8524" fmla="*/ 2011191 h 4588585"/>
              <a:gd name="connsiteX8525" fmla="*/ 1662227 w 5047599"/>
              <a:gd name="connsiteY8525" fmla="*/ 2011594 h 4588585"/>
              <a:gd name="connsiteX8526" fmla="*/ 1662311 w 5047599"/>
              <a:gd name="connsiteY8526" fmla="*/ 2008112 h 4588585"/>
              <a:gd name="connsiteX8527" fmla="*/ 1663938 w 5047599"/>
              <a:gd name="connsiteY8527" fmla="*/ 1998095 h 4588585"/>
              <a:gd name="connsiteX8528" fmla="*/ 1665014 w 5047599"/>
              <a:gd name="connsiteY8528" fmla="*/ 1994147 h 4588585"/>
              <a:gd name="connsiteX8529" fmla="*/ 1666261 w 5047599"/>
              <a:gd name="connsiteY8529" fmla="*/ 1991176 h 4588585"/>
              <a:gd name="connsiteX8530" fmla="*/ 1664972 w 5047599"/>
              <a:gd name="connsiteY8530" fmla="*/ 1987610 h 4588585"/>
              <a:gd name="connsiteX8531" fmla="*/ 1663706 w 5047599"/>
              <a:gd name="connsiteY8531" fmla="*/ 1982770 h 4588585"/>
              <a:gd name="connsiteX8532" fmla="*/ 1663093 w 5047599"/>
              <a:gd name="connsiteY8532" fmla="*/ 1975171 h 4588585"/>
              <a:gd name="connsiteX8533" fmla="*/ 1664655 w 5047599"/>
              <a:gd name="connsiteY8533" fmla="*/ 1972817 h 4588585"/>
              <a:gd name="connsiteX8534" fmla="*/ 1665183 w 5047599"/>
              <a:gd name="connsiteY8534" fmla="*/ 1969951 h 4588585"/>
              <a:gd name="connsiteX8535" fmla="*/ 1664803 w 5047599"/>
              <a:gd name="connsiteY8535" fmla="*/ 1965452 h 4588585"/>
              <a:gd name="connsiteX8536" fmla="*/ 1664803 w 5047599"/>
              <a:gd name="connsiteY8536" fmla="*/ 1950424 h 4588585"/>
              <a:gd name="connsiteX8537" fmla="*/ 1665711 w 5047599"/>
              <a:gd name="connsiteY8537" fmla="*/ 1948791 h 4588585"/>
              <a:gd name="connsiteX8538" fmla="*/ 1666788 w 5047599"/>
              <a:gd name="connsiteY8538" fmla="*/ 1947539 h 4588585"/>
              <a:gd name="connsiteX8539" fmla="*/ 1666851 w 5047599"/>
              <a:gd name="connsiteY8539" fmla="*/ 1945543 h 4588585"/>
              <a:gd name="connsiteX8540" fmla="*/ 1664824 w 5047599"/>
              <a:gd name="connsiteY8540" fmla="*/ 1941658 h 4588585"/>
              <a:gd name="connsiteX8541" fmla="*/ 1662945 w 5047599"/>
              <a:gd name="connsiteY8541" fmla="*/ 1937221 h 4588585"/>
              <a:gd name="connsiteX8542" fmla="*/ 1663009 w 5047599"/>
              <a:gd name="connsiteY8542" fmla="*/ 1930835 h 4588585"/>
              <a:gd name="connsiteX8543" fmla="*/ 1662248 w 5047599"/>
              <a:gd name="connsiteY8543" fmla="*/ 1924659 h 4588585"/>
              <a:gd name="connsiteX8544" fmla="*/ 1660961 w 5047599"/>
              <a:gd name="connsiteY8544" fmla="*/ 1921835 h 4588585"/>
              <a:gd name="connsiteX8545" fmla="*/ 1661932 w 5047599"/>
              <a:gd name="connsiteY8545" fmla="*/ 1911308 h 4588585"/>
              <a:gd name="connsiteX8546" fmla="*/ 1662480 w 5047599"/>
              <a:gd name="connsiteY8546" fmla="*/ 1897980 h 4588585"/>
              <a:gd name="connsiteX8547" fmla="*/ 1661974 w 5047599"/>
              <a:gd name="connsiteY8547" fmla="*/ 1892057 h 4588585"/>
              <a:gd name="connsiteX8548" fmla="*/ 1663199 w 5047599"/>
              <a:gd name="connsiteY8548" fmla="*/ 1887877 h 4588585"/>
              <a:gd name="connsiteX8549" fmla="*/ 1663853 w 5047599"/>
              <a:gd name="connsiteY8549" fmla="*/ 1877583 h 4588585"/>
              <a:gd name="connsiteX8550" fmla="*/ 1663748 w 5047599"/>
              <a:gd name="connsiteY8550" fmla="*/ 1867501 h 4588585"/>
              <a:gd name="connsiteX8551" fmla="*/ 1666239 w 5047599"/>
              <a:gd name="connsiteY8551" fmla="*/ 1851566 h 4588585"/>
              <a:gd name="connsiteX8552" fmla="*/ 1666113 w 5047599"/>
              <a:gd name="connsiteY8552" fmla="*/ 1851579 h 4588585"/>
              <a:gd name="connsiteX8553" fmla="*/ 1663621 w 5047599"/>
              <a:gd name="connsiteY8553" fmla="*/ 1867518 h 4588585"/>
              <a:gd name="connsiteX8554" fmla="*/ 1663748 w 5047599"/>
              <a:gd name="connsiteY8554" fmla="*/ 1877601 h 4588585"/>
              <a:gd name="connsiteX8555" fmla="*/ 1663072 w 5047599"/>
              <a:gd name="connsiteY8555" fmla="*/ 1887894 h 4588585"/>
              <a:gd name="connsiteX8556" fmla="*/ 1661869 w 5047599"/>
              <a:gd name="connsiteY8556" fmla="*/ 1892096 h 4588585"/>
              <a:gd name="connsiteX8557" fmla="*/ 1662376 w 5047599"/>
              <a:gd name="connsiteY8557" fmla="*/ 1897997 h 4588585"/>
              <a:gd name="connsiteX8558" fmla="*/ 1661827 w 5047599"/>
              <a:gd name="connsiteY8558" fmla="*/ 1911345 h 4588585"/>
              <a:gd name="connsiteX8559" fmla="*/ 1660855 w 5047599"/>
              <a:gd name="connsiteY8559" fmla="*/ 1921852 h 4588585"/>
              <a:gd name="connsiteX8560" fmla="*/ 1662143 w 5047599"/>
              <a:gd name="connsiteY8560" fmla="*/ 1924675 h 4588585"/>
              <a:gd name="connsiteX8561" fmla="*/ 1662882 w 5047599"/>
              <a:gd name="connsiteY8561" fmla="*/ 1930851 h 4588585"/>
              <a:gd name="connsiteX8562" fmla="*/ 1662840 w 5047599"/>
              <a:gd name="connsiteY8562" fmla="*/ 1937241 h 4588585"/>
              <a:gd name="connsiteX8563" fmla="*/ 1664698 w 5047599"/>
              <a:gd name="connsiteY8563" fmla="*/ 1941675 h 4588585"/>
              <a:gd name="connsiteX8564" fmla="*/ 1666725 w 5047599"/>
              <a:gd name="connsiteY8564" fmla="*/ 1945560 h 4588585"/>
              <a:gd name="connsiteX8565" fmla="*/ 1666662 w 5047599"/>
              <a:gd name="connsiteY8565" fmla="*/ 1947555 h 4588585"/>
              <a:gd name="connsiteX8566" fmla="*/ 1665585 w 5047599"/>
              <a:gd name="connsiteY8566" fmla="*/ 1948807 h 4588585"/>
              <a:gd name="connsiteX8567" fmla="*/ 1664676 w 5047599"/>
              <a:gd name="connsiteY8567" fmla="*/ 1950442 h 4588585"/>
              <a:gd name="connsiteX8568" fmla="*/ 1664676 w 5047599"/>
              <a:gd name="connsiteY8568" fmla="*/ 1965469 h 4588585"/>
              <a:gd name="connsiteX8569" fmla="*/ 1665057 w 5047599"/>
              <a:gd name="connsiteY8569" fmla="*/ 1969968 h 4588585"/>
              <a:gd name="connsiteX8570" fmla="*/ 1664508 w 5047599"/>
              <a:gd name="connsiteY8570" fmla="*/ 1972812 h 4588585"/>
              <a:gd name="connsiteX8571" fmla="*/ 1662945 w 5047599"/>
              <a:gd name="connsiteY8571" fmla="*/ 1975190 h 4588585"/>
              <a:gd name="connsiteX8572" fmla="*/ 1663558 w 5047599"/>
              <a:gd name="connsiteY8572" fmla="*/ 1982787 h 4588585"/>
              <a:gd name="connsiteX8573" fmla="*/ 1664825 w 5047599"/>
              <a:gd name="connsiteY8573" fmla="*/ 1987627 h 4588585"/>
              <a:gd name="connsiteX8574" fmla="*/ 1666092 w 5047599"/>
              <a:gd name="connsiteY8574" fmla="*/ 1991193 h 4588585"/>
              <a:gd name="connsiteX8575" fmla="*/ 1664866 w 5047599"/>
              <a:gd name="connsiteY8575" fmla="*/ 1994163 h 4588585"/>
              <a:gd name="connsiteX8576" fmla="*/ 1663790 w 5047599"/>
              <a:gd name="connsiteY8576" fmla="*/ 1998091 h 4588585"/>
              <a:gd name="connsiteX8577" fmla="*/ 1662165 w 5047599"/>
              <a:gd name="connsiteY8577" fmla="*/ 2008107 h 4588585"/>
              <a:gd name="connsiteX8578" fmla="*/ 1662059 w 5047599"/>
              <a:gd name="connsiteY8578" fmla="*/ 2011589 h 4588585"/>
              <a:gd name="connsiteX8579" fmla="*/ 1637207 w 5047599"/>
              <a:gd name="connsiteY8579" fmla="*/ 2014030 h 4588585"/>
              <a:gd name="connsiteX8580" fmla="*/ 1609420 w 5047599"/>
              <a:gd name="connsiteY8580" fmla="*/ 2018040 h 4588585"/>
              <a:gd name="connsiteX8581" fmla="*/ 1597828 w 5047599"/>
              <a:gd name="connsiteY8581" fmla="*/ 2020652 h 4588585"/>
              <a:gd name="connsiteX8582" fmla="*/ 1597156 w 5047599"/>
              <a:gd name="connsiteY8582" fmla="*/ 2018645 h 4588585"/>
              <a:gd name="connsiteX8583" fmla="*/ 1597152 w 5047599"/>
              <a:gd name="connsiteY8583" fmla="*/ 2018646 h 4588585"/>
              <a:gd name="connsiteX8584" fmla="*/ 1597828 w 5047599"/>
              <a:gd name="connsiteY8584" fmla="*/ 2020662 h 4588585"/>
              <a:gd name="connsiteX8585" fmla="*/ 1579352 w 5047599"/>
              <a:gd name="connsiteY8585" fmla="*/ 2024821 h 4588585"/>
              <a:gd name="connsiteX8586" fmla="*/ 1572046 w 5047599"/>
              <a:gd name="connsiteY8586" fmla="*/ 2028259 h 4588585"/>
              <a:gd name="connsiteX8587" fmla="*/ 1572046 w 5047599"/>
              <a:gd name="connsiteY8587" fmla="*/ 2028256 h 4588585"/>
              <a:gd name="connsiteX8588" fmla="*/ 1567191 w 5047599"/>
              <a:gd name="connsiteY8588" fmla="*/ 2030505 h 4588585"/>
              <a:gd name="connsiteX8589" fmla="*/ 1563918 w 5047599"/>
              <a:gd name="connsiteY8589" fmla="*/ 2033922 h 4588585"/>
              <a:gd name="connsiteX8590" fmla="*/ 1561427 w 5047599"/>
              <a:gd name="connsiteY8590" fmla="*/ 2039123 h 4588585"/>
              <a:gd name="connsiteX8591" fmla="*/ 1557964 w 5047599"/>
              <a:gd name="connsiteY8591" fmla="*/ 2044853 h 4588585"/>
              <a:gd name="connsiteX8592" fmla="*/ 1546056 w 5047599"/>
              <a:gd name="connsiteY8592" fmla="*/ 2047824 h 4588585"/>
              <a:gd name="connsiteX8593" fmla="*/ 1541495 w 5047599"/>
              <a:gd name="connsiteY8593" fmla="*/ 2047845 h 4588585"/>
              <a:gd name="connsiteX8594" fmla="*/ 1517065 w 5047599"/>
              <a:gd name="connsiteY8594" fmla="*/ 2047993 h 4588585"/>
              <a:gd name="connsiteX8595" fmla="*/ 1494198 w 5047599"/>
              <a:gd name="connsiteY8595" fmla="*/ 2059243 h 4588585"/>
              <a:gd name="connsiteX8596" fmla="*/ 1481023 w 5047599"/>
              <a:gd name="connsiteY8596" fmla="*/ 2063255 h 4588585"/>
              <a:gd name="connsiteX8597" fmla="*/ 1472914 w 5047599"/>
              <a:gd name="connsiteY8597" fmla="*/ 2069578 h 4588585"/>
              <a:gd name="connsiteX8598" fmla="*/ 1462019 w 5047599"/>
              <a:gd name="connsiteY8598" fmla="*/ 2074078 h 4588585"/>
              <a:gd name="connsiteX8599" fmla="*/ 1454418 w 5047599"/>
              <a:gd name="connsiteY8599" fmla="*/ 2079553 h 4588585"/>
              <a:gd name="connsiteX8600" fmla="*/ 1438603 w 5047599"/>
              <a:gd name="connsiteY8600" fmla="*/ 2082165 h 4588585"/>
              <a:gd name="connsiteX8601" fmla="*/ 1412695 w 5047599"/>
              <a:gd name="connsiteY8601" fmla="*/ 2090740 h 4588585"/>
              <a:gd name="connsiteX8602" fmla="*/ 1404588 w 5047599"/>
              <a:gd name="connsiteY8602" fmla="*/ 2094155 h 4588585"/>
              <a:gd name="connsiteX8603" fmla="*/ 1396394 w 5047599"/>
              <a:gd name="connsiteY8603" fmla="*/ 2100120 h 4588585"/>
              <a:gd name="connsiteX8604" fmla="*/ 1383071 w 5047599"/>
              <a:gd name="connsiteY8604" fmla="*/ 2107103 h 4588585"/>
              <a:gd name="connsiteX8605" fmla="*/ 1377814 w 5047599"/>
              <a:gd name="connsiteY8605" fmla="*/ 2107018 h 4588585"/>
              <a:gd name="connsiteX8606" fmla="*/ 1367383 w 5047599"/>
              <a:gd name="connsiteY8606" fmla="*/ 2100481 h 4588585"/>
              <a:gd name="connsiteX8607" fmla="*/ 1359529 w 5047599"/>
              <a:gd name="connsiteY8607" fmla="*/ 2097214 h 4588585"/>
              <a:gd name="connsiteX8608" fmla="*/ 1340314 w 5047599"/>
              <a:gd name="connsiteY8608" fmla="*/ 2092205 h 4588585"/>
              <a:gd name="connsiteX8609" fmla="*/ 1325978 w 5047599"/>
              <a:gd name="connsiteY8609" fmla="*/ 2090251 h 4588585"/>
              <a:gd name="connsiteX8610" fmla="*/ 1319052 w 5047599"/>
              <a:gd name="connsiteY8610" fmla="*/ 2088107 h 4588585"/>
              <a:gd name="connsiteX8611" fmla="*/ 1317154 w 5047599"/>
              <a:gd name="connsiteY8611" fmla="*/ 2087747 h 4588585"/>
              <a:gd name="connsiteX8612" fmla="*/ 1317151 w 5047599"/>
              <a:gd name="connsiteY8612" fmla="*/ 2087750 h 4588585"/>
              <a:gd name="connsiteX8613" fmla="*/ 1309297 w 5047599"/>
              <a:gd name="connsiteY8613" fmla="*/ 2086242 h 4588585"/>
              <a:gd name="connsiteX8614" fmla="*/ 1311155 w 5047599"/>
              <a:gd name="connsiteY8614" fmla="*/ 2084268 h 4588585"/>
              <a:gd name="connsiteX8615" fmla="*/ 1318776 w 5047599"/>
              <a:gd name="connsiteY8615" fmla="*/ 2085394 h 4588585"/>
              <a:gd name="connsiteX8616" fmla="*/ 1318777 w 5047599"/>
              <a:gd name="connsiteY8616" fmla="*/ 2085391 h 4588585"/>
              <a:gd name="connsiteX8617" fmla="*/ 1322789 w 5047599"/>
              <a:gd name="connsiteY8617" fmla="*/ 2085243 h 4588585"/>
              <a:gd name="connsiteX8618" fmla="*/ 1326970 w 5047599"/>
              <a:gd name="connsiteY8618" fmla="*/ 2085944 h 4588585"/>
              <a:gd name="connsiteX8619" fmla="*/ 1330158 w 5047599"/>
              <a:gd name="connsiteY8619" fmla="*/ 2084162 h 4588585"/>
              <a:gd name="connsiteX8620" fmla="*/ 1334825 w 5047599"/>
              <a:gd name="connsiteY8620" fmla="*/ 2083928 h 4588585"/>
              <a:gd name="connsiteX8621" fmla="*/ 1336049 w 5047599"/>
              <a:gd name="connsiteY8621" fmla="*/ 2082038 h 4588585"/>
              <a:gd name="connsiteX8622" fmla="*/ 1336429 w 5047599"/>
              <a:gd name="connsiteY8622" fmla="*/ 2077326 h 4588585"/>
              <a:gd name="connsiteX8623" fmla="*/ 1336387 w 5047599"/>
              <a:gd name="connsiteY8623" fmla="*/ 2073506 h 4588585"/>
              <a:gd name="connsiteX8624" fmla="*/ 1338013 w 5047599"/>
              <a:gd name="connsiteY8624" fmla="*/ 2071808 h 4588585"/>
              <a:gd name="connsiteX8625" fmla="*/ 1338435 w 5047599"/>
              <a:gd name="connsiteY8625" fmla="*/ 2067309 h 4588585"/>
              <a:gd name="connsiteX8626" fmla="*/ 1338413 w 5047599"/>
              <a:gd name="connsiteY8626" fmla="*/ 2067212 h 4588585"/>
              <a:gd name="connsiteX8627" fmla="*/ 1337991 w 5047599"/>
              <a:gd name="connsiteY8627" fmla="*/ 2071699 h 4588585"/>
              <a:gd name="connsiteX8628" fmla="*/ 1336345 w 5047599"/>
              <a:gd name="connsiteY8628" fmla="*/ 2073418 h 4588585"/>
              <a:gd name="connsiteX8629" fmla="*/ 1336387 w 5047599"/>
              <a:gd name="connsiteY8629" fmla="*/ 2077218 h 4588585"/>
              <a:gd name="connsiteX8630" fmla="*/ 1336007 w 5047599"/>
              <a:gd name="connsiteY8630" fmla="*/ 2081950 h 4588585"/>
              <a:gd name="connsiteX8631" fmla="*/ 1334781 w 5047599"/>
              <a:gd name="connsiteY8631" fmla="*/ 2083819 h 4588585"/>
              <a:gd name="connsiteX8632" fmla="*/ 1330094 w 5047599"/>
              <a:gd name="connsiteY8632" fmla="*/ 2084053 h 4588585"/>
              <a:gd name="connsiteX8633" fmla="*/ 1326906 w 5047599"/>
              <a:gd name="connsiteY8633" fmla="*/ 2085835 h 4588585"/>
              <a:gd name="connsiteX8634" fmla="*/ 1322726 w 5047599"/>
              <a:gd name="connsiteY8634" fmla="*/ 2085113 h 4588585"/>
              <a:gd name="connsiteX8635" fmla="*/ 1322324 w 5047599"/>
              <a:gd name="connsiteY8635" fmla="*/ 2083945 h 4588585"/>
              <a:gd name="connsiteX8636" fmla="*/ 1320065 w 5047599"/>
              <a:gd name="connsiteY8636" fmla="*/ 2083521 h 4588585"/>
              <a:gd name="connsiteX8637" fmla="*/ 1313858 w 5047599"/>
              <a:gd name="connsiteY8637" fmla="*/ 2080825 h 4588585"/>
              <a:gd name="connsiteX8638" fmla="*/ 1314871 w 5047599"/>
              <a:gd name="connsiteY8638" fmla="*/ 2072186 h 4588585"/>
              <a:gd name="connsiteX8639" fmla="*/ 1312000 w 5047599"/>
              <a:gd name="connsiteY8639" fmla="*/ 2071825 h 4588585"/>
              <a:gd name="connsiteX8640" fmla="*/ 1309783 w 5047599"/>
              <a:gd name="connsiteY8640" fmla="*/ 2072970 h 4588585"/>
              <a:gd name="connsiteX8641" fmla="*/ 1305369 w 5047599"/>
              <a:gd name="connsiteY8641" fmla="*/ 2083328 h 4588585"/>
              <a:gd name="connsiteX8642" fmla="*/ 1303257 w 5047599"/>
              <a:gd name="connsiteY8642" fmla="*/ 2085111 h 4588585"/>
              <a:gd name="connsiteX8643" fmla="*/ 1272261 w 5047599"/>
              <a:gd name="connsiteY8643" fmla="*/ 2079762 h 4588585"/>
              <a:gd name="connsiteX8644" fmla="*/ 1265526 w 5047599"/>
              <a:gd name="connsiteY8644" fmla="*/ 2075453 h 4588585"/>
              <a:gd name="connsiteX8645" fmla="*/ 1257460 w 5047599"/>
              <a:gd name="connsiteY8645" fmla="*/ 2074478 h 4588585"/>
              <a:gd name="connsiteX8646" fmla="*/ 1243398 w 5047599"/>
              <a:gd name="connsiteY8646" fmla="*/ 2074965 h 4588585"/>
              <a:gd name="connsiteX8647" fmla="*/ 1231806 w 5047599"/>
              <a:gd name="connsiteY8647" fmla="*/ 2076259 h 4588585"/>
              <a:gd name="connsiteX8648" fmla="*/ 1228491 w 5047599"/>
              <a:gd name="connsiteY8648" fmla="*/ 2078869 h 4588585"/>
              <a:gd name="connsiteX8649" fmla="*/ 1257756 w 5047599"/>
              <a:gd name="connsiteY8649" fmla="*/ 2077340 h 4588585"/>
              <a:gd name="connsiteX8650" fmla="*/ 1260902 w 5047599"/>
              <a:gd name="connsiteY8650" fmla="*/ 2077638 h 4588585"/>
              <a:gd name="connsiteX8651" fmla="*/ 1262380 w 5047599"/>
              <a:gd name="connsiteY8651" fmla="*/ 2079209 h 4588585"/>
              <a:gd name="connsiteX8652" fmla="*/ 1225387 w 5047599"/>
              <a:gd name="connsiteY8652" fmla="*/ 2082628 h 4588585"/>
              <a:gd name="connsiteX8653" fmla="*/ 1211282 w 5047599"/>
              <a:gd name="connsiteY8653" fmla="*/ 2084665 h 4588585"/>
              <a:gd name="connsiteX8654" fmla="*/ 1207102 w 5047599"/>
              <a:gd name="connsiteY8654" fmla="*/ 2084112 h 4588585"/>
              <a:gd name="connsiteX8655" fmla="*/ 1203935 w 5047599"/>
              <a:gd name="connsiteY8655" fmla="*/ 2080801 h 4588585"/>
              <a:gd name="connsiteX8656" fmla="*/ 1188605 w 5047599"/>
              <a:gd name="connsiteY8656" fmla="*/ 2080396 h 4588585"/>
              <a:gd name="connsiteX8657" fmla="*/ 1185459 w 5047599"/>
              <a:gd name="connsiteY8657" fmla="*/ 2081477 h 4588585"/>
              <a:gd name="connsiteX8658" fmla="*/ 1183559 w 5047599"/>
              <a:gd name="connsiteY8658" fmla="*/ 2083918 h 4588585"/>
              <a:gd name="connsiteX8659" fmla="*/ 1189598 w 5047599"/>
              <a:gd name="connsiteY8659" fmla="*/ 2083386 h 4588585"/>
              <a:gd name="connsiteX8660" fmla="*/ 1199121 w 5047599"/>
              <a:gd name="connsiteY8660" fmla="*/ 2083261 h 4588585"/>
              <a:gd name="connsiteX8661" fmla="*/ 1201676 w 5047599"/>
              <a:gd name="connsiteY8661" fmla="*/ 2085129 h 4588585"/>
              <a:gd name="connsiteX8662" fmla="*/ 1171862 w 5047599"/>
              <a:gd name="connsiteY8662" fmla="*/ 2087569 h 4588585"/>
              <a:gd name="connsiteX8663" fmla="*/ 1151190 w 5047599"/>
              <a:gd name="connsiteY8663" fmla="*/ 2092239 h 4588585"/>
              <a:gd name="connsiteX8664" fmla="*/ 1142428 w 5047599"/>
              <a:gd name="connsiteY8664" fmla="*/ 2095697 h 4588585"/>
              <a:gd name="connsiteX8665" fmla="*/ 1113585 w 5047599"/>
              <a:gd name="connsiteY8665" fmla="*/ 2107053 h 4588585"/>
              <a:gd name="connsiteX8666" fmla="*/ 1095997 w 5047599"/>
              <a:gd name="connsiteY8666" fmla="*/ 2112412 h 4588585"/>
              <a:gd name="connsiteX8667" fmla="*/ 1091394 w 5047599"/>
              <a:gd name="connsiteY8667" fmla="*/ 2114376 h 4588585"/>
              <a:gd name="connsiteX8668" fmla="*/ 1083391 w 5047599"/>
              <a:gd name="connsiteY8668" fmla="*/ 2119928 h 4588585"/>
              <a:gd name="connsiteX8669" fmla="*/ 1073108 w 5047599"/>
              <a:gd name="connsiteY8669" fmla="*/ 2123434 h 4588585"/>
              <a:gd name="connsiteX8670" fmla="*/ 1061580 w 5047599"/>
              <a:gd name="connsiteY8670" fmla="*/ 2129979 h 4588585"/>
              <a:gd name="connsiteX8671" fmla="*/ 1054548 w 5047599"/>
              <a:gd name="connsiteY8671" fmla="*/ 2131436 h 4588585"/>
              <a:gd name="connsiteX8672" fmla="*/ 1053007 w 5047599"/>
              <a:gd name="connsiteY8672" fmla="*/ 2129422 h 4588585"/>
              <a:gd name="connsiteX8673" fmla="*/ 1053007 w 5047599"/>
              <a:gd name="connsiteY8673" fmla="*/ 2129429 h 4588585"/>
              <a:gd name="connsiteX8674" fmla="*/ 1054591 w 5047599"/>
              <a:gd name="connsiteY8674" fmla="*/ 2131520 h 4588585"/>
              <a:gd name="connsiteX8675" fmla="*/ 1047772 w 5047599"/>
              <a:gd name="connsiteY8675" fmla="*/ 2130591 h 4588585"/>
              <a:gd name="connsiteX8676" fmla="*/ 1027712 w 5047599"/>
              <a:gd name="connsiteY8676" fmla="*/ 2122166 h 4588585"/>
              <a:gd name="connsiteX8677" fmla="*/ 1012277 w 5047599"/>
              <a:gd name="connsiteY8677" fmla="*/ 2117352 h 4588585"/>
              <a:gd name="connsiteX8678" fmla="*/ 960525 w 5047599"/>
              <a:gd name="connsiteY8678" fmla="*/ 2089765 h 4588585"/>
              <a:gd name="connsiteX8679" fmla="*/ 946168 w 5047599"/>
              <a:gd name="connsiteY8679" fmla="*/ 2078685 h 4588585"/>
              <a:gd name="connsiteX8680" fmla="*/ 929571 w 5047599"/>
              <a:gd name="connsiteY8680" fmla="*/ 2062194 h 4588585"/>
              <a:gd name="connsiteX8681" fmla="*/ 892726 w 5047599"/>
              <a:gd name="connsiteY8681" fmla="*/ 2028937 h 4588585"/>
              <a:gd name="connsiteX8682" fmla="*/ 884323 w 5047599"/>
              <a:gd name="connsiteY8682" fmla="*/ 2023609 h 4588585"/>
              <a:gd name="connsiteX8683" fmla="*/ 873723 w 5047599"/>
              <a:gd name="connsiteY8683" fmla="*/ 2021018 h 4588585"/>
              <a:gd name="connsiteX8684" fmla="*/ 867178 w 5047599"/>
              <a:gd name="connsiteY8684" fmla="*/ 2018175 h 4588585"/>
              <a:gd name="connsiteX8685" fmla="*/ 862554 w 5047599"/>
              <a:gd name="connsiteY8685" fmla="*/ 2015098 h 4588585"/>
              <a:gd name="connsiteX8686" fmla="*/ 858796 w 5047599"/>
              <a:gd name="connsiteY8686" fmla="*/ 2005886 h 4588585"/>
              <a:gd name="connsiteX8687" fmla="*/ 849568 w 5047599"/>
              <a:gd name="connsiteY8687" fmla="*/ 2000390 h 4588585"/>
              <a:gd name="connsiteX8688" fmla="*/ 832571 w 5047599"/>
              <a:gd name="connsiteY8688" fmla="*/ 1992579 h 4588585"/>
              <a:gd name="connsiteX8689" fmla="*/ 819775 w 5047599"/>
              <a:gd name="connsiteY8689" fmla="*/ 1979590 h 4588585"/>
              <a:gd name="connsiteX8690" fmla="*/ 822922 w 5047599"/>
              <a:gd name="connsiteY8690" fmla="*/ 1976915 h 4588585"/>
              <a:gd name="connsiteX8691" fmla="*/ 822926 w 5047599"/>
              <a:gd name="connsiteY8691" fmla="*/ 1976907 h 4588585"/>
              <a:gd name="connsiteX8692" fmla="*/ 819797 w 5047599"/>
              <a:gd name="connsiteY8692" fmla="*/ 1979548 h 4588585"/>
              <a:gd name="connsiteX8693" fmla="*/ 817432 w 5047599"/>
              <a:gd name="connsiteY8693" fmla="*/ 1977128 h 4588585"/>
              <a:gd name="connsiteX8694" fmla="*/ 806431 w 5047599"/>
              <a:gd name="connsiteY8694" fmla="*/ 1968701 h 4588585"/>
              <a:gd name="connsiteX8695" fmla="*/ 794818 w 5047599"/>
              <a:gd name="connsiteY8695" fmla="*/ 1963034 h 4588585"/>
              <a:gd name="connsiteX8696" fmla="*/ 770093 w 5047599"/>
              <a:gd name="connsiteY8696" fmla="*/ 1953610 h 4588585"/>
              <a:gd name="connsiteX8697" fmla="*/ 761858 w 5047599"/>
              <a:gd name="connsiteY8697" fmla="*/ 1950958 h 4588585"/>
              <a:gd name="connsiteX8698" fmla="*/ 762154 w 5047599"/>
              <a:gd name="connsiteY8698" fmla="*/ 1947606 h 4588585"/>
              <a:gd name="connsiteX8699" fmla="*/ 764983 w 5047599"/>
              <a:gd name="connsiteY8699" fmla="*/ 1941472 h 4588585"/>
              <a:gd name="connsiteX8700" fmla="*/ 760380 w 5047599"/>
              <a:gd name="connsiteY8700" fmla="*/ 1934276 h 4588585"/>
              <a:gd name="connsiteX8701" fmla="*/ 762154 w 5047599"/>
              <a:gd name="connsiteY8701" fmla="*/ 1929033 h 4588585"/>
              <a:gd name="connsiteX8702" fmla="*/ 760380 w 5047599"/>
              <a:gd name="connsiteY8702" fmla="*/ 1929033 h 4588585"/>
              <a:gd name="connsiteX8703" fmla="*/ 756833 w 5047599"/>
              <a:gd name="connsiteY8703" fmla="*/ 1932175 h 4588585"/>
              <a:gd name="connsiteX8704" fmla="*/ 749294 w 5047599"/>
              <a:gd name="connsiteY8704" fmla="*/ 1931261 h 4588585"/>
              <a:gd name="connsiteX8705" fmla="*/ 744291 w 5047599"/>
              <a:gd name="connsiteY8705" fmla="*/ 1926761 h 4588585"/>
              <a:gd name="connsiteX8706" fmla="*/ 740215 w 5047599"/>
              <a:gd name="connsiteY8706" fmla="*/ 1925106 h 4588585"/>
              <a:gd name="connsiteX8707" fmla="*/ 738442 w 5047599"/>
              <a:gd name="connsiteY8707" fmla="*/ 1922857 h 4588585"/>
              <a:gd name="connsiteX8708" fmla="*/ 735823 w 5047599"/>
              <a:gd name="connsiteY8708" fmla="*/ 1910993 h 4588585"/>
              <a:gd name="connsiteX8709" fmla="*/ 733944 w 5047599"/>
              <a:gd name="connsiteY8709" fmla="*/ 1905600 h 4588585"/>
              <a:gd name="connsiteX8710" fmla="*/ 730165 w 5047599"/>
              <a:gd name="connsiteY8710" fmla="*/ 1902268 h 4588585"/>
              <a:gd name="connsiteX8711" fmla="*/ 722585 w 5047599"/>
              <a:gd name="connsiteY8711" fmla="*/ 1901439 h 4588585"/>
              <a:gd name="connsiteX8712" fmla="*/ 719460 w 5047599"/>
              <a:gd name="connsiteY8712" fmla="*/ 1894201 h 4588585"/>
              <a:gd name="connsiteX8713" fmla="*/ 715258 w 5047599"/>
              <a:gd name="connsiteY8713" fmla="*/ 1888577 h 4588585"/>
              <a:gd name="connsiteX8714" fmla="*/ 715955 w 5047599"/>
              <a:gd name="connsiteY8714" fmla="*/ 1885117 h 4588585"/>
              <a:gd name="connsiteX8715" fmla="*/ 719376 w 5047599"/>
              <a:gd name="connsiteY8715" fmla="*/ 1885307 h 4588585"/>
              <a:gd name="connsiteX8716" fmla="*/ 722056 w 5047599"/>
              <a:gd name="connsiteY8716" fmla="*/ 1887832 h 4588585"/>
              <a:gd name="connsiteX8717" fmla="*/ 726386 w 5047599"/>
              <a:gd name="connsiteY8717" fmla="*/ 1888871 h 4588585"/>
              <a:gd name="connsiteX8718" fmla="*/ 731770 w 5047599"/>
              <a:gd name="connsiteY8718" fmla="*/ 1882779 h 4588585"/>
              <a:gd name="connsiteX8719" fmla="*/ 736584 w 5047599"/>
              <a:gd name="connsiteY8719" fmla="*/ 1879469 h 4588585"/>
              <a:gd name="connsiteX8720" fmla="*/ 737702 w 5047599"/>
              <a:gd name="connsiteY8720" fmla="*/ 1876582 h 4588585"/>
              <a:gd name="connsiteX8721" fmla="*/ 737112 w 5047599"/>
              <a:gd name="connsiteY8721" fmla="*/ 1874991 h 4588585"/>
              <a:gd name="connsiteX8722" fmla="*/ 734198 w 5047599"/>
              <a:gd name="connsiteY8722" fmla="*/ 1877452 h 4588585"/>
              <a:gd name="connsiteX8723" fmla="*/ 726217 w 5047599"/>
              <a:gd name="connsiteY8723" fmla="*/ 1876814 h 4588585"/>
              <a:gd name="connsiteX8724" fmla="*/ 724231 w 5047599"/>
              <a:gd name="connsiteY8724" fmla="*/ 1879023 h 4588585"/>
              <a:gd name="connsiteX8725" fmla="*/ 720663 w 5047599"/>
              <a:gd name="connsiteY8725" fmla="*/ 1879724 h 4588585"/>
              <a:gd name="connsiteX8726" fmla="*/ 717897 w 5047599"/>
              <a:gd name="connsiteY8726" fmla="*/ 1872613 h 4588585"/>
              <a:gd name="connsiteX8727" fmla="*/ 718024 w 5047599"/>
              <a:gd name="connsiteY8727" fmla="*/ 1868411 h 4588585"/>
              <a:gd name="connsiteX8728" fmla="*/ 719164 w 5047599"/>
              <a:gd name="connsiteY8728" fmla="*/ 1863805 h 4588585"/>
              <a:gd name="connsiteX8729" fmla="*/ 727209 w 5047599"/>
              <a:gd name="connsiteY8729" fmla="*/ 1862997 h 4588585"/>
              <a:gd name="connsiteX8730" fmla="*/ 727906 w 5047599"/>
              <a:gd name="connsiteY8730" fmla="*/ 1861513 h 4588585"/>
              <a:gd name="connsiteX8731" fmla="*/ 722310 w 5047599"/>
              <a:gd name="connsiteY8731" fmla="*/ 1860516 h 4588585"/>
              <a:gd name="connsiteX8732" fmla="*/ 715321 w 5047599"/>
              <a:gd name="connsiteY8732" fmla="*/ 1855147 h 4588585"/>
              <a:gd name="connsiteX8733" fmla="*/ 714079 w 5047599"/>
              <a:gd name="connsiteY8733" fmla="*/ 1851506 h 4588585"/>
              <a:gd name="connsiteX8734" fmla="*/ 713991 w 5047599"/>
              <a:gd name="connsiteY8734" fmla="*/ 1851538 h 4588585"/>
              <a:gd name="connsiteX8735" fmla="*/ 713400 w 5047599"/>
              <a:gd name="connsiteY8735" fmla="*/ 1849798 h 4588585"/>
              <a:gd name="connsiteX8736" fmla="*/ 715363 w 5047599"/>
              <a:gd name="connsiteY8736" fmla="*/ 1844258 h 4588585"/>
              <a:gd name="connsiteX8737" fmla="*/ 713801 w 5047599"/>
              <a:gd name="connsiteY8737" fmla="*/ 1841393 h 4588585"/>
              <a:gd name="connsiteX8738" fmla="*/ 707867 w 5047599"/>
              <a:gd name="connsiteY8738" fmla="*/ 1835641 h 4588585"/>
              <a:gd name="connsiteX8739" fmla="*/ 707298 w 5047599"/>
              <a:gd name="connsiteY8739" fmla="*/ 1832884 h 4588585"/>
              <a:gd name="connsiteX8740" fmla="*/ 705481 w 5047599"/>
              <a:gd name="connsiteY8740" fmla="*/ 1829295 h 4588585"/>
              <a:gd name="connsiteX8741" fmla="*/ 697648 w 5047599"/>
              <a:gd name="connsiteY8741" fmla="*/ 1821888 h 4588585"/>
              <a:gd name="connsiteX8742" fmla="*/ 690363 w 5047599"/>
              <a:gd name="connsiteY8742" fmla="*/ 1822356 h 4588585"/>
              <a:gd name="connsiteX8743" fmla="*/ 692390 w 5047599"/>
              <a:gd name="connsiteY8743" fmla="*/ 1816156 h 4588585"/>
              <a:gd name="connsiteX8744" fmla="*/ 692306 w 5047599"/>
              <a:gd name="connsiteY8744" fmla="*/ 1807921 h 4588585"/>
              <a:gd name="connsiteX8745" fmla="*/ 689814 w 5047599"/>
              <a:gd name="connsiteY8745" fmla="*/ 1803422 h 4588585"/>
              <a:gd name="connsiteX8746" fmla="*/ 690448 w 5047599"/>
              <a:gd name="connsiteY8746" fmla="*/ 1798838 h 4588585"/>
              <a:gd name="connsiteX8747" fmla="*/ 689097 w 5047599"/>
              <a:gd name="connsiteY8747" fmla="*/ 1799115 h 4588585"/>
              <a:gd name="connsiteX8748" fmla="*/ 686669 w 5047599"/>
              <a:gd name="connsiteY8748" fmla="*/ 1802278 h 4588585"/>
              <a:gd name="connsiteX8749" fmla="*/ 682742 w 5047599"/>
              <a:gd name="connsiteY8749" fmla="*/ 1801260 h 4588585"/>
              <a:gd name="connsiteX8750" fmla="*/ 674760 w 5047599"/>
              <a:gd name="connsiteY8750" fmla="*/ 1796357 h 4588585"/>
              <a:gd name="connsiteX8751" fmla="*/ 670769 w 5047599"/>
              <a:gd name="connsiteY8751" fmla="*/ 1791623 h 4588585"/>
              <a:gd name="connsiteX8752" fmla="*/ 670304 w 5047599"/>
              <a:gd name="connsiteY8752" fmla="*/ 1787570 h 4588585"/>
              <a:gd name="connsiteX8753" fmla="*/ 669396 w 5047599"/>
              <a:gd name="connsiteY8753" fmla="*/ 1785998 h 4588585"/>
              <a:gd name="connsiteX8754" fmla="*/ 666969 w 5047599"/>
              <a:gd name="connsiteY8754" fmla="*/ 1786849 h 4588585"/>
              <a:gd name="connsiteX8755" fmla="*/ 661986 w 5047599"/>
              <a:gd name="connsiteY8755" fmla="*/ 1786765 h 4588585"/>
              <a:gd name="connsiteX8756" fmla="*/ 646762 w 5047599"/>
              <a:gd name="connsiteY8756" fmla="*/ 1779547 h 4588585"/>
              <a:gd name="connsiteX8757" fmla="*/ 635951 w 5047599"/>
              <a:gd name="connsiteY8757" fmla="*/ 1761423 h 4588585"/>
              <a:gd name="connsiteX8758" fmla="*/ 635718 w 5047599"/>
              <a:gd name="connsiteY8758" fmla="*/ 1757327 h 4588585"/>
              <a:gd name="connsiteX8759" fmla="*/ 637260 w 5047599"/>
              <a:gd name="connsiteY8759" fmla="*/ 1750281 h 4588585"/>
              <a:gd name="connsiteX8760" fmla="*/ 636901 w 5047599"/>
              <a:gd name="connsiteY8760" fmla="*/ 1748370 h 4588585"/>
              <a:gd name="connsiteX8761" fmla="*/ 631939 w 5047599"/>
              <a:gd name="connsiteY8761" fmla="*/ 1753039 h 4588585"/>
              <a:gd name="connsiteX8762" fmla="*/ 630990 w 5047599"/>
              <a:gd name="connsiteY8762" fmla="*/ 1749899 h 4588585"/>
              <a:gd name="connsiteX8763" fmla="*/ 627188 w 5047599"/>
              <a:gd name="connsiteY8763" fmla="*/ 1742618 h 4588585"/>
              <a:gd name="connsiteX8764" fmla="*/ 626091 w 5047599"/>
              <a:gd name="connsiteY8764" fmla="*/ 1738417 h 4588585"/>
              <a:gd name="connsiteX8765" fmla="*/ 622458 w 5047599"/>
              <a:gd name="connsiteY8765" fmla="*/ 1736548 h 4588585"/>
              <a:gd name="connsiteX8766" fmla="*/ 619524 w 5047599"/>
              <a:gd name="connsiteY8766" fmla="*/ 1736229 h 4588585"/>
              <a:gd name="connsiteX8767" fmla="*/ 617265 w 5047599"/>
              <a:gd name="connsiteY8767" fmla="*/ 1737629 h 4588585"/>
              <a:gd name="connsiteX8768" fmla="*/ 614287 w 5047599"/>
              <a:gd name="connsiteY8768" fmla="*/ 1746138 h 4588585"/>
              <a:gd name="connsiteX8769" fmla="*/ 612070 w 5047599"/>
              <a:gd name="connsiteY8769" fmla="*/ 1746095 h 4588585"/>
              <a:gd name="connsiteX8770" fmla="*/ 609769 w 5047599"/>
              <a:gd name="connsiteY8770" fmla="*/ 1744270 h 4588585"/>
              <a:gd name="connsiteX8771" fmla="*/ 610255 w 5047599"/>
              <a:gd name="connsiteY8771" fmla="*/ 1737903 h 4588585"/>
              <a:gd name="connsiteX8772" fmla="*/ 610265 w 5047599"/>
              <a:gd name="connsiteY8772" fmla="*/ 1737891 h 4588585"/>
              <a:gd name="connsiteX8773" fmla="*/ 607277 w 5047599"/>
              <a:gd name="connsiteY8773" fmla="*/ 1733641 h 4588585"/>
              <a:gd name="connsiteX8774" fmla="*/ 609600 w 5047599"/>
              <a:gd name="connsiteY8774" fmla="*/ 1725746 h 4588585"/>
              <a:gd name="connsiteX8775" fmla="*/ 607087 w 5047599"/>
              <a:gd name="connsiteY8775" fmla="*/ 1725852 h 4588585"/>
              <a:gd name="connsiteX8776" fmla="*/ 602105 w 5047599"/>
              <a:gd name="connsiteY8776" fmla="*/ 1732241 h 4588585"/>
              <a:gd name="connsiteX8777" fmla="*/ 599677 w 5047599"/>
              <a:gd name="connsiteY8777" fmla="*/ 1732431 h 4588585"/>
              <a:gd name="connsiteX8778" fmla="*/ 599993 w 5047599"/>
              <a:gd name="connsiteY8778" fmla="*/ 1724875 h 4588585"/>
              <a:gd name="connsiteX8779" fmla="*/ 597227 w 5047599"/>
              <a:gd name="connsiteY8779" fmla="*/ 1724598 h 4588585"/>
              <a:gd name="connsiteX8780" fmla="*/ 594017 w 5047599"/>
              <a:gd name="connsiteY8780" fmla="*/ 1725130 h 4588585"/>
              <a:gd name="connsiteX8781" fmla="*/ 589541 w 5047599"/>
              <a:gd name="connsiteY8781" fmla="*/ 1721184 h 4588585"/>
              <a:gd name="connsiteX8782" fmla="*/ 589098 w 5047599"/>
              <a:gd name="connsiteY8782" fmla="*/ 1718232 h 4588585"/>
              <a:gd name="connsiteX8783" fmla="*/ 589457 w 5047599"/>
              <a:gd name="connsiteY8783" fmla="*/ 1714114 h 4588585"/>
              <a:gd name="connsiteX8784" fmla="*/ 592181 w 5047599"/>
              <a:gd name="connsiteY8784" fmla="*/ 1711484 h 4588585"/>
              <a:gd name="connsiteX8785" fmla="*/ 591800 w 5047599"/>
              <a:gd name="connsiteY8785" fmla="*/ 1710382 h 4588585"/>
              <a:gd name="connsiteX8786" fmla="*/ 589161 w 5047599"/>
              <a:gd name="connsiteY8786" fmla="*/ 1710063 h 4588585"/>
              <a:gd name="connsiteX8787" fmla="*/ 586205 w 5047599"/>
              <a:gd name="connsiteY8787" fmla="*/ 1710764 h 4588585"/>
              <a:gd name="connsiteX8788" fmla="*/ 584389 w 5047599"/>
              <a:gd name="connsiteY8788" fmla="*/ 1709512 h 4588585"/>
              <a:gd name="connsiteX8789" fmla="*/ 587387 w 5047599"/>
              <a:gd name="connsiteY8789" fmla="*/ 1704163 h 4588585"/>
              <a:gd name="connsiteX8790" fmla="*/ 597861 w 5047599"/>
              <a:gd name="connsiteY8790" fmla="*/ 1699685 h 4588585"/>
              <a:gd name="connsiteX8791" fmla="*/ 603118 w 5047599"/>
              <a:gd name="connsiteY8791" fmla="*/ 1699218 h 4588585"/>
              <a:gd name="connsiteX8792" fmla="*/ 608524 w 5047599"/>
              <a:gd name="connsiteY8792" fmla="*/ 1698200 h 4588585"/>
              <a:gd name="connsiteX8793" fmla="*/ 605567 w 5047599"/>
              <a:gd name="connsiteY8793" fmla="*/ 1694336 h 4588585"/>
              <a:gd name="connsiteX8794" fmla="*/ 599170 w 5047599"/>
              <a:gd name="connsiteY8794" fmla="*/ 1692808 h 4588585"/>
              <a:gd name="connsiteX8795" fmla="*/ 594060 w 5047599"/>
              <a:gd name="connsiteY8795" fmla="*/ 1693868 h 4588585"/>
              <a:gd name="connsiteX8796" fmla="*/ 591505 w 5047599"/>
              <a:gd name="connsiteY8796" fmla="*/ 1696649 h 4588585"/>
              <a:gd name="connsiteX8797" fmla="*/ 588359 w 5047599"/>
              <a:gd name="connsiteY8797" fmla="*/ 1697117 h 4588585"/>
              <a:gd name="connsiteX8798" fmla="*/ 583080 w 5047599"/>
              <a:gd name="connsiteY8798" fmla="*/ 1690559 h 4588585"/>
              <a:gd name="connsiteX8799" fmla="*/ 583165 w 5047599"/>
              <a:gd name="connsiteY8799" fmla="*/ 1687269 h 4588585"/>
              <a:gd name="connsiteX8800" fmla="*/ 585128 w 5047599"/>
              <a:gd name="connsiteY8800" fmla="*/ 1683365 h 4588585"/>
              <a:gd name="connsiteX8801" fmla="*/ 588190 w 5047599"/>
              <a:gd name="connsiteY8801" fmla="*/ 1681603 h 4588585"/>
              <a:gd name="connsiteX8802" fmla="*/ 600330 w 5047599"/>
              <a:gd name="connsiteY8802" fmla="*/ 1681645 h 4588585"/>
              <a:gd name="connsiteX8803" fmla="*/ 604934 w 5047599"/>
              <a:gd name="connsiteY8803" fmla="*/ 1679438 h 4588585"/>
              <a:gd name="connsiteX8804" fmla="*/ 606792 w 5047599"/>
              <a:gd name="connsiteY8804" fmla="*/ 1679035 h 4588585"/>
              <a:gd name="connsiteX8805" fmla="*/ 608545 w 5047599"/>
              <a:gd name="connsiteY8805" fmla="*/ 1677039 h 4588585"/>
              <a:gd name="connsiteX8806" fmla="*/ 608164 w 5047599"/>
              <a:gd name="connsiteY8806" fmla="*/ 1675703 h 4588585"/>
              <a:gd name="connsiteX8807" fmla="*/ 606180 w 5047599"/>
              <a:gd name="connsiteY8807" fmla="*/ 1675639 h 4588585"/>
              <a:gd name="connsiteX8808" fmla="*/ 601640 w 5047599"/>
              <a:gd name="connsiteY8808" fmla="*/ 1678249 h 4588585"/>
              <a:gd name="connsiteX8809" fmla="*/ 587028 w 5047599"/>
              <a:gd name="connsiteY8809" fmla="*/ 1677276 h 4588585"/>
              <a:gd name="connsiteX8810" fmla="*/ 582362 w 5047599"/>
              <a:gd name="connsiteY8810" fmla="*/ 1678845 h 4588585"/>
              <a:gd name="connsiteX8811" fmla="*/ 574233 w 5047599"/>
              <a:gd name="connsiteY8811" fmla="*/ 1684852 h 4588585"/>
              <a:gd name="connsiteX8812" fmla="*/ 564224 w 5047599"/>
              <a:gd name="connsiteY8812" fmla="*/ 1688163 h 4588585"/>
              <a:gd name="connsiteX8813" fmla="*/ 556962 w 5047599"/>
              <a:gd name="connsiteY8813" fmla="*/ 1686763 h 4588585"/>
              <a:gd name="connsiteX8814" fmla="*/ 559284 w 5047599"/>
              <a:gd name="connsiteY8814" fmla="*/ 1678720 h 4588585"/>
              <a:gd name="connsiteX8815" fmla="*/ 558249 w 5047599"/>
              <a:gd name="connsiteY8815" fmla="*/ 1677639 h 4588585"/>
              <a:gd name="connsiteX8816" fmla="*/ 555969 w 5047599"/>
              <a:gd name="connsiteY8816" fmla="*/ 1676302 h 4588585"/>
              <a:gd name="connsiteX8817" fmla="*/ 545327 w 5047599"/>
              <a:gd name="connsiteY8817" fmla="*/ 1678870 h 4588585"/>
              <a:gd name="connsiteX8818" fmla="*/ 537282 w 5047599"/>
              <a:gd name="connsiteY8818" fmla="*/ 1675198 h 4588585"/>
              <a:gd name="connsiteX8819" fmla="*/ 534094 w 5047599"/>
              <a:gd name="connsiteY8819" fmla="*/ 1670762 h 4588585"/>
              <a:gd name="connsiteX8820" fmla="*/ 534644 w 5047599"/>
              <a:gd name="connsiteY8820" fmla="*/ 1665180 h 4588585"/>
              <a:gd name="connsiteX8821" fmla="*/ 538444 w 5047599"/>
              <a:gd name="connsiteY8821" fmla="*/ 1661401 h 4588585"/>
              <a:gd name="connsiteX8822" fmla="*/ 539035 w 5047599"/>
              <a:gd name="connsiteY8822" fmla="*/ 1659512 h 4588585"/>
              <a:gd name="connsiteX8823" fmla="*/ 535023 w 5047599"/>
              <a:gd name="connsiteY8823" fmla="*/ 1659151 h 4588585"/>
              <a:gd name="connsiteX8824" fmla="*/ 527633 w 5047599"/>
              <a:gd name="connsiteY8824" fmla="*/ 1661508 h 4588585"/>
              <a:gd name="connsiteX8825" fmla="*/ 511413 w 5047599"/>
              <a:gd name="connsiteY8825" fmla="*/ 1652415 h 4588585"/>
              <a:gd name="connsiteX8826" fmla="*/ 511375 w 5047599"/>
              <a:gd name="connsiteY8826" fmla="*/ 1652421 h 4588585"/>
              <a:gd name="connsiteX8827" fmla="*/ 509369 w 5047599"/>
              <a:gd name="connsiteY8827" fmla="*/ 1649704 h 4588585"/>
              <a:gd name="connsiteX8828" fmla="*/ 507046 w 5047599"/>
              <a:gd name="connsiteY8828" fmla="*/ 1645291 h 4588585"/>
              <a:gd name="connsiteX8829" fmla="*/ 508504 w 5047599"/>
              <a:gd name="connsiteY8829" fmla="*/ 1642064 h 4588585"/>
              <a:gd name="connsiteX8830" fmla="*/ 513402 w 5047599"/>
              <a:gd name="connsiteY8830" fmla="*/ 1639984 h 4588585"/>
              <a:gd name="connsiteX8831" fmla="*/ 520771 w 5047599"/>
              <a:gd name="connsiteY8831" fmla="*/ 1637268 h 4588585"/>
              <a:gd name="connsiteX8832" fmla="*/ 524635 w 5047599"/>
              <a:gd name="connsiteY8832" fmla="*/ 1638667 h 4588585"/>
              <a:gd name="connsiteX8833" fmla="*/ 526894 w 5047599"/>
              <a:gd name="connsiteY8833" fmla="*/ 1638731 h 4588585"/>
              <a:gd name="connsiteX8834" fmla="*/ 527317 w 5047599"/>
              <a:gd name="connsiteY8834" fmla="*/ 1636990 h 4588585"/>
              <a:gd name="connsiteX8835" fmla="*/ 526599 w 5047599"/>
              <a:gd name="connsiteY8835" fmla="*/ 1636057 h 4588585"/>
              <a:gd name="connsiteX8836" fmla="*/ 521025 w 5047599"/>
              <a:gd name="connsiteY8836" fmla="*/ 1633700 h 4588585"/>
              <a:gd name="connsiteX8837" fmla="*/ 518153 w 5047599"/>
              <a:gd name="connsiteY8837" fmla="*/ 1630582 h 4588585"/>
              <a:gd name="connsiteX8838" fmla="*/ 515767 w 5047599"/>
              <a:gd name="connsiteY8838" fmla="*/ 1632406 h 4588585"/>
              <a:gd name="connsiteX8839" fmla="*/ 513698 w 5047599"/>
              <a:gd name="connsiteY8839" fmla="*/ 1636226 h 4588585"/>
              <a:gd name="connsiteX8840" fmla="*/ 511988 w 5047599"/>
              <a:gd name="connsiteY8840" fmla="*/ 1637370 h 4588585"/>
              <a:gd name="connsiteX8841" fmla="*/ 509475 w 5047599"/>
              <a:gd name="connsiteY8841" fmla="*/ 1638430 h 4588585"/>
              <a:gd name="connsiteX8842" fmla="*/ 508060 w 5047599"/>
              <a:gd name="connsiteY8842" fmla="*/ 1635842 h 4588585"/>
              <a:gd name="connsiteX8843" fmla="*/ 507427 w 5047599"/>
              <a:gd name="connsiteY8843" fmla="*/ 1633317 h 4588585"/>
              <a:gd name="connsiteX8844" fmla="*/ 508588 w 5047599"/>
              <a:gd name="connsiteY8844" fmla="*/ 1631342 h 4588585"/>
              <a:gd name="connsiteX8845" fmla="*/ 507997 w 5047599"/>
              <a:gd name="connsiteY8845" fmla="*/ 1620369 h 4588585"/>
              <a:gd name="connsiteX8846" fmla="*/ 508672 w 5047599"/>
              <a:gd name="connsiteY8846" fmla="*/ 1614510 h 4588585"/>
              <a:gd name="connsiteX8847" fmla="*/ 508314 w 5047599"/>
              <a:gd name="connsiteY8847" fmla="*/ 1609396 h 4588585"/>
              <a:gd name="connsiteX8848" fmla="*/ 511797 w 5047599"/>
              <a:gd name="connsiteY8848" fmla="*/ 1606022 h 4588585"/>
              <a:gd name="connsiteX8849" fmla="*/ 515113 w 5047599"/>
              <a:gd name="connsiteY8849" fmla="*/ 1603920 h 4588585"/>
              <a:gd name="connsiteX8850" fmla="*/ 528014 w 5047599"/>
              <a:gd name="connsiteY8850" fmla="*/ 1603730 h 4588585"/>
              <a:gd name="connsiteX8851" fmla="*/ 540028 w 5047599"/>
              <a:gd name="connsiteY8851" fmla="*/ 1603541 h 4588585"/>
              <a:gd name="connsiteX8852" fmla="*/ 551598 w 5047599"/>
              <a:gd name="connsiteY8852" fmla="*/ 1603668 h 4588585"/>
              <a:gd name="connsiteX8853" fmla="*/ 563380 w 5047599"/>
              <a:gd name="connsiteY8853" fmla="*/ 1603772 h 4588585"/>
              <a:gd name="connsiteX8854" fmla="*/ 564542 w 5047599"/>
              <a:gd name="connsiteY8854" fmla="*/ 1593519 h 4588585"/>
              <a:gd name="connsiteX8855" fmla="*/ 568279 w 5047599"/>
              <a:gd name="connsiteY8855" fmla="*/ 1592718 h 4588585"/>
              <a:gd name="connsiteX8856" fmla="*/ 573853 w 5047599"/>
              <a:gd name="connsiteY8856" fmla="*/ 1591657 h 4588585"/>
              <a:gd name="connsiteX8857" fmla="*/ 584263 w 5047599"/>
              <a:gd name="connsiteY8857" fmla="*/ 1590403 h 4588585"/>
              <a:gd name="connsiteX8858" fmla="*/ 595855 w 5047599"/>
              <a:gd name="connsiteY8858" fmla="*/ 1589217 h 4588585"/>
              <a:gd name="connsiteX8859" fmla="*/ 598326 w 5047599"/>
              <a:gd name="connsiteY8859" fmla="*/ 1587198 h 4588585"/>
              <a:gd name="connsiteX8860" fmla="*/ 600247 w 5047599"/>
              <a:gd name="connsiteY8860" fmla="*/ 1583803 h 4588585"/>
              <a:gd name="connsiteX8861" fmla="*/ 601450 w 5047599"/>
              <a:gd name="connsiteY8861" fmla="*/ 1580747 h 4588585"/>
              <a:gd name="connsiteX8862" fmla="*/ 603857 w 5047599"/>
              <a:gd name="connsiteY8862" fmla="*/ 1579453 h 4588585"/>
              <a:gd name="connsiteX8863" fmla="*/ 607109 w 5047599"/>
              <a:gd name="connsiteY8863" fmla="*/ 1580471 h 4588585"/>
              <a:gd name="connsiteX8864" fmla="*/ 611353 w 5047599"/>
              <a:gd name="connsiteY8864" fmla="*/ 1582084 h 4588585"/>
              <a:gd name="connsiteX8865" fmla="*/ 615766 w 5047599"/>
              <a:gd name="connsiteY8865" fmla="*/ 1584546 h 4588585"/>
              <a:gd name="connsiteX8866" fmla="*/ 620813 w 5047599"/>
              <a:gd name="connsiteY8866" fmla="*/ 1586837 h 4588585"/>
              <a:gd name="connsiteX8867" fmla="*/ 624169 w 5047599"/>
              <a:gd name="connsiteY8867" fmla="*/ 1588302 h 4588585"/>
              <a:gd name="connsiteX8868" fmla="*/ 632256 w 5047599"/>
              <a:gd name="connsiteY8868" fmla="*/ 1591910 h 4588585"/>
              <a:gd name="connsiteX8869" fmla="*/ 646086 w 5047599"/>
              <a:gd name="connsiteY8869" fmla="*/ 1596940 h 4588585"/>
              <a:gd name="connsiteX8870" fmla="*/ 657446 w 5047599"/>
              <a:gd name="connsiteY8870" fmla="*/ 1598956 h 4588585"/>
              <a:gd name="connsiteX8871" fmla="*/ 671192 w 5047599"/>
              <a:gd name="connsiteY8871" fmla="*/ 1595263 h 4588585"/>
              <a:gd name="connsiteX8872" fmla="*/ 681116 w 5047599"/>
              <a:gd name="connsiteY8872" fmla="*/ 1592910 h 4588585"/>
              <a:gd name="connsiteX8873" fmla="*/ 682340 w 5047599"/>
              <a:gd name="connsiteY8873" fmla="*/ 1588495 h 4588585"/>
              <a:gd name="connsiteX8874" fmla="*/ 682339 w 5047599"/>
              <a:gd name="connsiteY8874" fmla="*/ 1588493 h 4588585"/>
              <a:gd name="connsiteX8875" fmla="*/ 681115 w 5047599"/>
              <a:gd name="connsiteY8875" fmla="*/ 1592905 h 4588585"/>
              <a:gd name="connsiteX8876" fmla="*/ 671192 w 5047599"/>
              <a:gd name="connsiteY8876" fmla="*/ 1595262 h 4588585"/>
              <a:gd name="connsiteX8877" fmla="*/ 657446 w 5047599"/>
              <a:gd name="connsiteY8877" fmla="*/ 1598955 h 4588585"/>
              <a:gd name="connsiteX8878" fmla="*/ 646086 w 5047599"/>
              <a:gd name="connsiteY8878" fmla="*/ 1596938 h 4588585"/>
              <a:gd name="connsiteX8879" fmla="*/ 632256 w 5047599"/>
              <a:gd name="connsiteY8879" fmla="*/ 1591907 h 4588585"/>
              <a:gd name="connsiteX8880" fmla="*/ 624169 w 5047599"/>
              <a:gd name="connsiteY8880" fmla="*/ 1588298 h 4588585"/>
              <a:gd name="connsiteX8881" fmla="*/ 620812 w 5047599"/>
              <a:gd name="connsiteY8881" fmla="*/ 1586834 h 4588585"/>
              <a:gd name="connsiteX8882" fmla="*/ 615766 w 5047599"/>
              <a:gd name="connsiteY8882" fmla="*/ 1584542 h 4588585"/>
              <a:gd name="connsiteX8883" fmla="*/ 611353 w 5047599"/>
              <a:gd name="connsiteY8883" fmla="*/ 1582080 h 4588585"/>
              <a:gd name="connsiteX8884" fmla="*/ 607108 w 5047599"/>
              <a:gd name="connsiteY8884" fmla="*/ 1580466 h 4588585"/>
              <a:gd name="connsiteX8885" fmla="*/ 603857 w 5047599"/>
              <a:gd name="connsiteY8885" fmla="*/ 1579449 h 4588585"/>
              <a:gd name="connsiteX8886" fmla="*/ 601450 w 5047599"/>
              <a:gd name="connsiteY8886" fmla="*/ 1580744 h 4588585"/>
              <a:gd name="connsiteX8887" fmla="*/ 600246 w 5047599"/>
              <a:gd name="connsiteY8887" fmla="*/ 1583798 h 4588585"/>
              <a:gd name="connsiteX8888" fmla="*/ 598325 w 5047599"/>
              <a:gd name="connsiteY8888" fmla="*/ 1587196 h 4588585"/>
              <a:gd name="connsiteX8889" fmla="*/ 595854 w 5047599"/>
              <a:gd name="connsiteY8889" fmla="*/ 1589212 h 4588585"/>
              <a:gd name="connsiteX8890" fmla="*/ 584263 w 5047599"/>
              <a:gd name="connsiteY8890" fmla="*/ 1590401 h 4588585"/>
              <a:gd name="connsiteX8891" fmla="*/ 573853 w 5047599"/>
              <a:gd name="connsiteY8891" fmla="*/ 1591653 h 4588585"/>
              <a:gd name="connsiteX8892" fmla="*/ 568279 w 5047599"/>
              <a:gd name="connsiteY8892" fmla="*/ 1592713 h 4588585"/>
              <a:gd name="connsiteX8893" fmla="*/ 564541 w 5047599"/>
              <a:gd name="connsiteY8893" fmla="*/ 1593519 h 4588585"/>
              <a:gd name="connsiteX8894" fmla="*/ 563380 w 5047599"/>
              <a:gd name="connsiteY8894" fmla="*/ 1603771 h 4588585"/>
              <a:gd name="connsiteX8895" fmla="*/ 551598 w 5047599"/>
              <a:gd name="connsiteY8895" fmla="*/ 1603665 h 4588585"/>
              <a:gd name="connsiteX8896" fmla="*/ 540027 w 5047599"/>
              <a:gd name="connsiteY8896" fmla="*/ 1603538 h 4588585"/>
              <a:gd name="connsiteX8897" fmla="*/ 528014 w 5047599"/>
              <a:gd name="connsiteY8897" fmla="*/ 1603728 h 4588585"/>
              <a:gd name="connsiteX8898" fmla="*/ 515112 w 5047599"/>
              <a:gd name="connsiteY8898" fmla="*/ 1603919 h 4588585"/>
              <a:gd name="connsiteX8899" fmla="*/ 511797 w 5047599"/>
              <a:gd name="connsiteY8899" fmla="*/ 1606020 h 4588585"/>
              <a:gd name="connsiteX8900" fmla="*/ 508313 w 5047599"/>
              <a:gd name="connsiteY8900" fmla="*/ 1609396 h 4588585"/>
              <a:gd name="connsiteX8901" fmla="*/ 507976 w 5047599"/>
              <a:gd name="connsiteY8901" fmla="*/ 1604261 h 4588585"/>
              <a:gd name="connsiteX8902" fmla="*/ 504682 w 5047599"/>
              <a:gd name="connsiteY8902" fmla="*/ 1592544 h 4588585"/>
              <a:gd name="connsiteX8903" fmla="*/ 509095 w 5047599"/>
              <a:gd name="connsiteY8903" fmla="*/ 1587430 h 4588585"/>
              <a:gd name="connsiteX8904" fmla="*/ 513888 w 5047599"/>
              <a:gd name="connsiteY8904" fmla="*/ 1584394 h 4588585"/>
              <a:gd name="connsiteX8905" fmla="*/ 517118 w 5047599"/>
              <a:gd name="connsiteY8905" fmla="*/ 1586813 h 4588585"/>
              <a:gd name="connsiteX8906" fmla="*/ 518089 w 5047599"/>
              <a:gd name="connsiteY8906" fmla="*/ 1591590 h 4588585"/>
              <a:gd name="connsiteX8907" fmla="*/ 520581 w 5047599"/>
              <a:gd name="connsiteY8907" fmla="*/ 1594858 h 4588585"/>
              <a:gd name="connsiteX8908" fmla="*/ 529069 w 5047599"/>
              <a:gd name="connsiteY8908" fmla="*/ 1596895 h 4588585"/>
              <a:gd name="connsiteX8909" fmla="*/ 537451 w 5047599"/>
              <a:gd name="connsiteY8909" fmla="*/ 1595432 h 4588585"/>
              <a:gd name="connsiteX8910" fmla="*/ 542582 w 5047599"/>
              <a:gd name="connsiteY8910" fmla="*/ 1596112 h 4588585"/>
              <a:gd name="connsiteX8911" fmla="*/ 542434 w 5047599"/>
              <a:gd name="connsiteY8911" fmla="*/ 1593459 h 4588585"/>
              <a:gd name="connsiteX8912" fmla="*/ 544166 w 5047599"/>
              <a:gd name="connsiteY8912" fmla="*/ 1589935 h 4588585"/>
              <a:gd name="connsiteX8913" fmla="*/ 554364 w 5047599"/>
              <a:gd name="connsiteY8913" fmla="*/ 1588429 h 4588585"/>
              <a:gd name="connsiteX8914" fmla="*/ 565133 w 5047599"/>
              <a:gd name="connsiteY8914" fmla="*/ 1587430 h 4588585"/>
              <a:gd name="connsiteX8915" fmla="*/ 576218 w 5047599"/>
              <a:gd name="connsiteY8915" fmla="*/ 1585308 h 4588585"/>
              <a:gd name="connsiteX8916" fmla="*/ 584896 w 5047599"/>
              <a:gd name="connsiteY8916" fmla="*/ 1585392 h 4588585"/>
              <a:gd name="connsiteX8917" fmla="*/ 587472 w 5047599"/>
              <a:gd name="connsiteY8917" fmla="*/ 1584818 h 4588585"/>
              <a:gd name="connsiteX8918" fmla="*/ 586859 w 5047599"/>
              <a:gd name="connsiteY8918" fmla="*/ 1583904 h 4588585"/>
              <a:gd name="connsiteX8919" fmla="*/ 579068 w 5047599"/>
              <a:gd name="connsiteY8919" fmla="*/ 1582886 h 4588585"/>
              <a:gd name="connsiteX8920" fmla="*/ 562451 w 5047599"/>
              <a:gd name="connsiteY8920" fmla="*/ 1585306 h 4588585"/>
              <a:gd name="connsiteX8921" fmla="*/ 545539 w 5047599"/>
              <a:gd name="connsiteY8921" fmla="*/ 1586028 h 4588585"/>
              <a:gd name="connsiteX8922" fmla="*/ 532722 w 5047599"/>
              <a:gd name="connsiteY8922" fmla="*/ 1592417 h 4588585"/>
              <a:gd name="connsiteX8923" fmla="*/ 527464 w 5047599"/>
              <a:gd name="connsiteY8923" fmla="*/ 1591822 h 4588585"/>
              <a:gd name="connsiteX8924" fmla="*/ 522143 w 5047599"/>
              <a:gd name="connsiteY8924" fmla="*/ 1585433 h 4588585"/>
              <a:gd name="connsiteX8925" fmla="*/ 520244 w 5047599"/>
              <a:gd name="connsiteY8925" fmla="*/ 1577563 h 4588585"/>
              <a:gd name="connsiteX8926" fmla="*/ 520243 w 5047599"/>
              <a:gd name="connsiteY8926" fmla="*/ 1577563 h 4588585"/>
              <a:gd name="connsiteX8927" fmla="*/ 518723 w 5047599"/>
              <a:gd name="connsiteY8927" fmla="*/ 1571346 h 4588585"/>
              <a:gd name="connsiteX8928" fmla="*/ 515176 w 5047599"/>
              <a:gd name="connsiteY8928" fmla="*/ 1566377 h 4588585"/>
              <a:gd name="connsiteX8929" fmla="*/ 509390 w 5047599"/>
              <a:gd name="connsiteY8929" fmla="*/ 1562154 h 4588585"/>
              <a:gd name="connsiteX8930" fmla="*/ 508124 w 5047599"/>
              <a:gd name="connsiteY8930" fmla="*/ 1558206 h 4588585"/>
              <a:gd name="connsiteX8931" fmla="*/ 510066 w 5047599"/>
              <a:gd name="connsiteY8931" fmla="*/ 1554768 h 4588585"/>
              <a:gd name="connsiteX8932" fmla="*/ 515661 w 5047599"/>
              <a:gd name="connsiteY8932" fmla="*/ 1551966 h 4588585"/>
              <a:gd name="connsiteX8933" fmla="*/ 516928 w 5047599"/>
              <a:gd name="connsiteY8933" fmla="*/ 1549928 h 4588585"/>
              <a:gd name="connsiteX8934" fmla="*/ 513993 w 5047599"/>
              <a:gd name="connsiteY8934" fmla="*/ 1550247 h 4588585"/>
              <a:gd name="connsiteX8935" fmla="*/ 509580 w 5047599"/>
              <a:gd name="connsiteY8935" fmla="*/ 1552072 h 4588585"/>
              <a:gd name="connsiteX8936" fmla="*/ 506645 w 5047599"/>
              <a:gd name="connsiteY8936" fmla="*/ 1552156 h 4588585"/>
              <a:gd name="connsiteX8937" fmla="*/ 506287 w 5047599"/>
              <a:gd name="connsiteY8937" fmla="*/ 1546723 h 4588585"/>
              <a:gd name="connsiteX8938" fmla="*/ 501388 w 5047599"/>
              <a:gd name="connsiteY8938" fmla="*/ 1539698 h 4588585"/>
              <a:gd name="connsiteX8939" fmla="*/ 495856 w 5047599"/>
              <a:gd name="connsiteY8939" fmla="*/ 1527792 h 4588585"/>
              <a:gd name="connsiteX8940" fmla="*/ 489606 w 5047599"/>
              <a:gd name="connsiteY8940" fmla="*/ 1522931 h 4588585"/>
              <a:gd name="connsiteX8941" fmla="*/ 484348 w 5047599"/>
              <a:gd name="connsiteY8941" fmla="*/ 1513274 h 4588585"/>
              <a:gd name="connsiteX8942" fmla="*/ 478859 w 5047599"/>
              <a:gd name="connsiteY8942" fmla="*/ 1509581 h 4588585"/>
              <a:gd name="connsiteX8943" fmla="*/ 473812 w 5047599"/>
              <a:gd name="connsiteY8943" fmla="*/ 1507862 h 4588585"/>
              <a:gd name="connsiteX8944" fmla="*/ 469505 w 5047599"/>
              <a:gd name="connsiteY8944" fmla="*/ 1508202 h 4588585"/>
              <a:gd name="connsiteX8945" fmla="*/ 467922 w 5047599"/>
              <a:gd name="connsiteY8945" fmla="*/ 1512617 h 4588585"/>
              <a:gd name="connsiteX8946" fmla="*/ 462558 w 5047599"/>
              <a:gd name="connsiteY8946" fmla="*/ 1506272 h 4588585"/>
              <a:gd name="connsiteX8947" fmla="*/ 469885 w 5047599"/>
              <a:gd name="connsiteY8947" fmla="*/ 1504000 h 4588585"/>
              <a:gd name="connsiteX8948" fmla="*/ 485573 w 5047599"/>
              <a:gd name="connsiteY8948" fmla="*/ 1496040 h 4588585"/>
              <a:gd name="connsiteX8949" fmla="*/ 503584 w 5047599"/>
              <a:gd name="connsiteY8949" fmla="*/ 1473246 h 4588585"/>
              <a:gd name="connsiteX8950" fmla="*/ 519737 w 5047599"/>
              <a:gd name="connsiteY8950" fmla="*/ 1446184 h 4588585"/>
              <a:gd name="connsiteX8951" fmla="*/ 521827 w 5047599"/>
              <a:gd name="connsiteY8951" fmla="*/ 1439797 h 4588585"/>
              <a:gd name="connsiteX8952" fmla="*/ 521995 w 5047599"/>
              <a:gd name="connsiteY8952" fmla="*/ 1439387 h 4588585"/>
              <a:gd name="connsiteX8953" fmla="*/ 521974 w 5047599"/>
              <a:gd name="connsiteY8953" fmla="*/ 1412106 h 4588585"/>
              <a:gd name="connsiteX8954" fmla="*/ 525205 w 5047599"/>
              <a:gd name="connsiteY8954" fmla="*/ 1401770 h 4588585"/>
              <a:gd name="connsiteX8955" fmla="*/ 526260 w 5047599"/>
              <a:gd name="connsiteY8955" fmla="*/ 1392687 h 4588585"/>
              <a:gd name="connsiteX8956" fmla="*/ 533186 w 5047599"/>
              <a:gd name="connsiteY8956" fmla="*/ 1372588 h 4588585"/>
              <a:gd name="connsiteX8957" fmla="*/ 541442 w 5047599"/>
              <a:gd name="connsiteY8957" fmla="*/ 1356116 h 4588585"/>
              <a:gd name="connsiteX8958" fmla="*/ 549064 w 5047599"/>
              <a:gd name="connsiteY8958" fmla="*/ 1334214 h 4588585"/>
              <a:gd name="connsiteX8959" fmla="*/ 551936 w 5047599"/>
              <a:gd name="connsiteY8959" fmla="*/ 1312947 h 4588585"/>
              <a:gd name="connsiteX8960" fmla="*/ 550964 w 5047599"/>
              <a:gd name="connsiteY8960" fmla="*/ 1292084 h 4588585"/>
              <a:gd name="connsiteX8961" fmla="*/ 548705 w 5047599"/>
              <a:gd name="connsiteY8961" fmla="*/ 1273490 h 4588585"/>
              <a:gd name="connsiteX8962" fmla="*/ 544842 w 5047599"/>
              <a:gd name="connsiteY8962" fmla="*/ 1261181 h 4588585"/>
              <a:gd name="connsiteX8963" fmla="*/ 541104 w 5047599"/>
              <a:gd name="connsiteY8963" fmla="*/ 1243331 h 4588585"/>
              <a:gd name="connsiteX8964" fmla="*/ 535593 w 5047599"/>
              <a:gd name="connsiteY8964" fmla="*/ 1233907 h 4588585"/>
              <a:gd name="connsiteX8965" fmla="*/ 525501 w 5047599"/>
              <a:gd name="connsiteY8965" fmla="*/ 1225673 h 4588585"/>
              <a:gd name="connsiteX8966" fmla="*/ 523242 w 5047599"/>
              <a:gd name="connsiteY8966" fmla="*/ 1220854 h 4588585"/>
              <a:gd name="connsiteX8967" fmla="*/ 525584 w 5047599"/>
              <a:gd name="connsiteY8967" fmla="*/ 1219048 h 4588585"/>
              <a:gd name="connsiteX8968" fmla="*/ 531729 w 5047599"/>
              <a:gd name="connsiteY8968" fmla="*/ 1217818 h 4588585"/>
              <a:gd name="connsiteX8969" fmla="*/ 535635 w 5047599"/>
              <a:gd name="connsiteY8969" fmla="*/ 1211388 h 4588585"/>
              <a:gd name="connsiteX8970" fmla="*/ 527359 w 5047599"/>
              <a:gd name="connsiteY8970" fmla="*/ 1213871 h 4588585"/>
              <a:gd name="connsiteX8971" fmla="*/ 536923 w 5047599"/>
              <a:gd name="connsiteY8971" fmla="*/ 1194131 h 4588585"/>
              <a:gd name="connsiteX8972" fmla="*/ 539900 w 5047599"/>
              <a:gd name="connsiteY8972" fmla="*/ 1180677 h 4588585"/>
              <a:gd name="connsiteX8973" fmla="*/ 539436 w 5047599"/>
              <a:gd name="connsiteY8973" fmla="*/ 1171826 h 4588585"/>
              <a:gd name="connsiteX8974" fmla="*/ 541252 w 5047599"/>
              <a:gd name="connsiteY8974" fmla="*/ 1166348 h 4588585"/>
              <a:gd name="connsiteX8975" fmla="*/ 533946 w 5047599"/>
              <a:gd name="connsiteY8975" fmla="*/ 1154486 h 4588585"/>
              <a:gd name="connsiteX8976" fmla="*/ 528266 w 5047599"/>
              <a:gd name="connsiteY8976" fmla="*/ 1139523 h 4588585"/>
              <a:gd name="connsiteX8977" fmla="*/ 525332 w 5047599"/>
              <a:gd name="connsiteY8977" fmla="*/ 1137166 h 4588585"/>
              <a:gd name="connsiteX8978" fmla="*/ 522291 w 5047599"/>
              <a:gd name="connsiteY8978" fmla="*/ 1135914 h 4588585"/>
              <a:gd name="connsiteX8979" fmla="*/ 522016 w 5047599"/>
              <a:gd name="connsiteY8979" fmla="*/ 1139438 h 4588585"/>
              <a:gd name="connsiteX8980" fmla="*/ 520370 w 5047599"/>
              <a:gd name="connsiteY8980" fmla="*/ 1142580 h 4588585"/>
              <a:gd name="connsiteX8981" fmla="*/ 516822 w 5047599"/>
              <a:gd name="connsiteY8981" fmla="*/ 1140690 h 4588585"/>
              <a:gd name="connsiteX8982" fmla="*/ 510551 w 5047599"/>
              <a:gd name="connsiteY8982" fmla="*/ 1129801 h 4588585"/>
              <a:gd name="connsiteX8983" fmla="*/ 501789 w 5047599"/>
              <a:gd name="connsiteY8983" fmla="*/ 1112056 h 4588585"/>
              <a:gd name="connsiteX8984" fmla="*/ 498706 w 5047599"/>
              <a:gd name="connsiteY8984" fmla="*/ 1110232 h 4588585"/>
              <a:gd name="connsiteX8985" fmla="*/ 496152 w 5047599"/>
              <a:gd name="connsiteY8985" fmla="*/ 1112673 h 4588585"/>
              <a:gd name="connsiteX8986" fmla="*/ 494546 w 5047599"/>
              <a:gd name="connsiteY8986" fmla="*/ 1115006 h 4588585"/>
              <a:gd name="connsiteX8987" fmla="*/ 491591 w 5047599"/>
              <a:gd name="connsiteY8987" fmla="*/ 1129820 h 4588585"/>
              <a:gd name="connsiteX8988" fmla="*/ 490640 w 5047599"/>
              <a:gd name="connsiteY8988" fmla="*/ 1123942 h 4588585"/>
              <a:gd name="connsiteX8989" fmla="*/ 491928 w 5047599"/>
              <a:gd name="connsiteY8989" fmla="*/ 1117023 h 4588585"/>
              <a:gd name="connsiteX8990" fmla="*/ 494103 w 5047599"/>
              <a:gd name="connsiteY8990" fmla="*/ 1108490 h 4588585"/>
              <a:gd name="connsiteX8991" fmla="*/ 496545 w 5047599"/>
              <a:gd name="connsiteY8991" fmla="*/ 1096658 h 4588585"/>
              <a:gd name="connsiteX8992" fmla="*/ 496404 w 5047599"/>
              <a:gd name="connsiteY8992" fmla="*/ 1096658 h 4588585"/>
              <a:gd name="connsiteX8993" fmla="*/ 493956 w 5047599"/>
              <a:gd name="connsiteY8993" fmla="*/ 1108522 h 4588585"/>
              <a:gd name="connsiteX8994" fmla="*/ 491781 w 5047599"/>
              <a:gd name="connsiteY8994" fmla="*/ 1117034 h 4588585"/>
              <a:gd name="connsiteX8995" fmla="*/ 490513 w 5047599"/>
              <a:gd name="connsiteY8995" fmla="*/ 1123973 h 4588585"/>
              <a:gd name="connsiteX8996" fmla="*/ 491443 w 5047599"/>
              <a:gd name="connsiteY8996" fmla="*/ 1129833 h 4588585"/>
              <a:gd name="connsiteX8997" fmla="*/ 488444 w 5047599"/>
              <a:gd name="connsiteY8997" fmla="*/ 1126627 h 4588585"/>
              <a:gd name="connsiteX8998" fmla="*/ 493723 w 5047599"/>
              <a:gd name="connsiteY8998" fmla="*/ 1093603 h 4588585"/>
              <a:gd name="connsiteX8999" fmla="*/ 494103 w 5047599"/>
              <a:gd name="connsiteY8999" fmla="*/ 1090822 h 4588585"/>
              <a:gd name="connsiteX9000" fmla="*/ 498411 w 5047599"/>
              <a:gd name="connsiteY9000" fmla="*/ 1060279 h 4588585"/>
              <a:gd name="connsiteX9001" fmla="*/ 506540 w 5047599"/>
              <a:gd name="connsiteY9001" fmla="*/ 1043684 h 4588585"/>
              <a:gd name="connsiteX9002" fmla="*/ 513022 w 5047599"/>
              <a:gd name="connsiteY9002" fmla="*/ 1036360 h 4588585"/>
              <a:gd name="connsiteX9003" fmla="*/ 523073 w 5047599"/>
              <a:gd name="connsiteY9003" fmla="*/ 1032562 h 4588585"/>
              <a:gd name="connsiteX9004" fmla="*/ 532299 w 5047599"/>
              <a:gd name="connsiteY9004" fmla="*/ 1015838 h 4588585"/>
              <a:gd name="connsiteX9005" fmla="*/ 535530 w 5047599"/>
              <a:gd name="connsiteY9005" fmla="*/ 1000407 h 4588585"/>
              <a:gd name="connsiteX9006" fmla="*/ 541589 w 5047599"/>
              <a:gd name="connsiteY9006" fmla="*/ 993296 h 4588585"/>
              <a:gd name="connsiteX9007" fmla="*/ 543490 w 5047599"/>
              <a:gd name="connsiteY9007" fmla="*/ 987736 h 4588585"/>
              <a:gd name="connsiteX9008" fmla="*/ 541104 w 5047599"/>
              <a:gd name="connsiteY9008" fmla="*/ 983492 h 4588585"/>
              <a:gd name="connsiteX9009" fmla="*/ 546826 w 5047599"/>
              <a:gd name="connsiteY9009" fmla="*/ 975150 h 4588585"/>
              <a:gd name="connsiteX9010" fmla="*/ 553752 w 5047599"/>
              <a:gd name="connsiteY9010" fmla="*/ 962373 h 4588585"/>
              <a:gd name="connsiteX9011" fmla="*/ 556962 w 5047599"/>
              <a:gd name="connsiteY9011" fmla="*/ 954160 h 4588585"/>
              <a:gd name="connsiteX9012" fmla="*/ 565048 w 5047599"/>
              <a:gd name="connsiteY9012" fmla="*/ 941446 h 4588585"/>
              <a:gd name="connsiteX9013" fmla="*/ 566040 w 5047599"/>
              <a:gd name="connsiteY9013" fmla="*/ 938623 h 4588585"/>
              <a:gd name="connsiteX9014" fmla="*/ 565323 w 5047599"/>
              <a:gd name="connsiteY9014" fmla="*/ 935439 h 4588585"/>
              <a:gd name="connsiteX9015" fmla="*/ 562134 w 5047599"/>
              <a:gd name="connsiteY9015" fmla="*/ 938134 h 4588585"/>
              <a:gd name="connsiteX9016" fmla="*/ 558735 w 5047599"/>
              <a:gd name="connsiteY9016" fmla="*/ 942846 h 4588585"/>
              <a:gd name="connsiteX9017" fmla="*/ 554702 w 5047599"/>
              <a:gd name="connsiteY9017" fmla="*/ 946560 h 4588585"/>
              <a:gd name="connsiteX9018" fmla="*/ 556349 w 5047599"/>
              <a:gd name="connsiteY9018" fmla="*/ 941997 h 4588585"/>
              <a:gd name="connsiteX9019" fmla="*/ 559516 w 5047599"/>
              <a:gd name="connsiteY9019" fmla="*/ 935291 h 4588585"/>
              <a:gd name="connsiteX9020" fmla="*/ 566716 w 5047599"/>
              <a:gd name="connsiteY9020" fmla="*/ 928243 h 4588585"/>
              <a:gd name="connsiteX9021" fmla="*/ 578076 w 5047599"/>
              <a:gd name="connsiteY9021" fmla="*/ 920497 h 4588585"/>
              <a:gd name="connsiteX9022" fmla="*/ 601640 w 5047599"/>
              <a:gd name="connsiteY9022" fmla="*/ 894115 h 4588585"/>
              <a:gd name="connsiteX9023" fmla="*/ 610508 w 5047599"/>
              <a:gd name="connsiteY9023" fmla="*/ 889553 h 4588585"/>
              <a:gd name="connsiteX9024" fmla="*/ 618489 w 5047599"/>
              <a:gd name="connsiteY9024" fmla="*/ 878409 h 4588585"/>
              <a:gd name="connsiteX9025" fmla="*/ 621340 w 5047599"/>
              <a:gd name="connsiteY9025" fmla="*/ 868498 h 4588585"/>
              <a:gd name="connsiteX9026" fmla="*/ 622121 w 5047599"/>
              <a:gd name="connsiteY9026" fmla="*/ 845702 h 4588585"/>
              <a:gd name="connsiteX9027" fmla="*/ 624971 w 5047599"/>
              <a:gd name="connsiteY9027" fmla="*/ 833648 h 4588585"/>
              <a:gd name="connsiteX9028" fmla="*/ 630166 w 5047599"/>
              <a:gd name="connsiteY9028" fmla="*/ 824245 h 4588585"/>
              <a:gd name="connsiteX9029" fmla="*/ 636373 w 5047599"/>
              <a:gd name="connsiteY9029" fmla="*/ 807075 h 4588585"/>
              <a:gd name="connsiteX9030" fmla="*/ 641103 w 5047599"/>
              <a:gd name="connsiteY9030" fmla="*/ 799413 h 4588585"/>
              <a:gd name="connsiteX9031" fmla="*/ 644186 w 5047599"/>
              <a:gd name="connsiteY9031" fmla="*/ 783708 h 4588585"/>
              <a:gd name="connsiteX9032" fmla="*/ 647543 w 5047599"/>
              <a:gd name="connsiteY9032" fmla="*/ 777743 h 4588585"/>
              <a:gd name="connsiteX9033" fmla="*/ 653561 w 5047599"/>
              <a:gd name="connsiteY9033" fmla="*/ 774877 h 4588585"/>
              <a:gd name="connsiteX9034" fmla="*/ 662091 w 5047599"/>
              <a:gd name="connsiteY9034" fmla="*/ 767046 h 4588585"/>
              <a:gd name="connsiteX9035" fmla="*/ 674908 w 5047599"/>
              <a:gd name="connsiteY9035" fmla="*/ 762185 h 4588585"/>
              <a:gd name="connsiteX9036" fmla="*/ 690089 w 5047599"/>
              <a:gd name="connsiteY9036" fmla="*/ 751977 h 4588585"/>
              <a:gd name="connsiteX9037" fmla="*/ 697205 w 5047599"/>
              <a:gd name="connsiteY9037" fmla="*/ 745864 h 4588585"/>
              <a:gd name="connsiteX9038" fmla="*/ 701955 w 5047599"/>
              <a:gd name="connsiteY9038" fmla="*/ 736739 h 4588585"/>
              <a:gd name="connsiteX9039" fmla="*/ 707044 w 5047599"/>
              <a:gd name="connsiteY9039" fmla="*/ 718527 h 4588585"/>
              <a:gd name="connsiteX9040" fmla="*/ 716145 w 5047599"/>
              <a:gd name="connsiteY9040" fmla="*/ 699320 h 4588585"/>
              <a:gd name="connsiteX9041" fmla="*/ 720811 w 5047599"/>
              <a:gd name="connsiteY9041" fmla="*/ 684802 h 4588585"/>
              <a:gd name="connsiteX9042" fmla="*/ 979127 w 5047599"/>
              <a:gd name="connsiteY9042" fmla="*/ 684506 h 4588585"/>
              <a:gd name="connsiteX9043" fmla="*/ 979170 w 5047599"/>
              <a:gd name="connsiteY9043" fmla="*/ 684526 h 4588585"/>
              <a:gd name="connsiteX9044" fmla="*/ 979170 w 5047599"/>
              <a:gd name="connsiteY9044" fmla="*/ 684524 h 4588585"/>
              <a:gd name="connsiteX9045" fmla="*/ 979127 w 5047599"/>
              <a:gd name="connsiteY9045" fmla="*/ 684503 h 4588585"/>
              <a:gd name="connsiteX9046" fmla="*/ 720811 w 5047599"/>
              <a:gd name="connsiteY9046" fmla="*/ 684800 h 4588585"/>
              <a:gd name="connsiteX9047" fmla="*/ 720896 w 5047599"/>
              <a:gd name="connsiteY9047" fmla="*/ 684545 h 4588585"/>
              <a:gd name="connsiteX9048" fmla="*/ 728919 w 5047599"/>
              <a:gd name="connsiteY9048" fmla="*/ 676907 h 4588585"/>
              <a:gd name="connsiteX9049" fmla="*/ 734346 w 5047599"/>
              <a:gd name="connsiteY9049" fmla="*/ 667227 h 4588585"/>
              <a:gd name="connsiteX9050" fmla="*/ 743552 w 5047599"/>
              <a:gd name="connsiteY9050" fmla="*/ 662917 h 4588585"/>
              <a:gd name="connsiteX9051" fmla="*/ 762808 w 5047599"/>
              <a:gd name="connsiteY9051" fmla="*/ 660838 h 4588585"/>
              <a:gd name="connsiteX9052" fmla="*/ 791419 w 5047599"/>
              <a:gd name="connsiteY9052" fmla="*/ 652795 h 4588585"/>
              <a:gd name="connsiteX9053" fmla="*/ 817094 w 5047599"/>
              <a:gd name="connsiteY9053" fmla="*/ 640633 h 4588585"/>
              <a:gd name="connsiteX9054" fmla="*/ 824357 w 5047599"/>
              <a:gd name="connsiteY9054" fmla="*/ 635794 h 4588585"/>
              <a:gd name="connsiteX9055" fmla="*/ 832127 w 5047599"/>
              <a:gd name="connsiteY9055" fmla="*/ 626072 h 4588585"/>
              <a:gd name="connsiteX9056" fmla="*/ 845050 w 5047599"/>
              <a:gd name="connsiteY9056" fmla="*/ 613401 h 4588585"/>
              <a:gd name="connsiteX9057" fmla="*/ 869184 w 5047599"/>
              <a:gd name="connsiteY9057" fmla="*/ 598163 h 4588585"/>
              <a:gd name="connsiteX9058" fmla="*/ 880290 w 5047599"/>
              <a:gd name="connsiteY9058" fmla="*/ 589630 h 4588585"/>
              <a:gd name="connsiteX9059" fmla="*/ 897223 w 5047599"/>
              <a:gd name="connsiteY9059" fmla="*/ 568216 h 4588585"/>
              <a:gd name="connsiteX9060" fmla="*/ 908477 w 5047599"/>
              <a:gd name="connsiteY9060" fmla="*/ 550450 h 4588585"/>
              <a:gd name="connsiteX9061" fmla="*/ 917831 w 5047599"/>
              <a:gd name="connsiteY9061" fmla="*/ 538989 h 4588585"/>
              <a:gd name="connsiteX9062" fmla="*/ 924292 w 5047599"/>
              <a:gd name="connsiteY9062" fmla="*/ 528802 h 4588585"/>
              <a:gd name="connsiteX9063" fmla="*/ 928832 w 5047599"/>
              <a:gd name="connsiteY9063" fmla="*/ 518466 h 4588585"/>
              <a:gd name="connsiteX9064" fmla="*/ 931387 w 5047599"/>
              <a:gd name="connsiteY9064" fmla="*/ 501783 h 4588585"/>
              <a:gd name="connsiteX9065" fmla="*/ 929677 w 5047599"/>
              <a:gd name="connsiteY9065" fmla="*/ 495246 h 4588585"/>
              <a:gd name="connsiteX9066" fmla="*/ 922540 w 5047599"/>
              <a:gd name="connsiteY9066" fmla="*/ 484549 h 4588585"/>
              <a:gd name="connsiteX9067" fmla="*/ 917768 w 5047599"/>
              <a:gd name="connsiteY9067" fmla="*/ 481685 h 4588585"/>
              <a:gd name="connsiteX9068" fmla="*/ 916480 w 5047599"/>
              <a:gd name="connsiteY9068" fmla="*/ 476634 h 4588585"/>
              <a:gd name="connsiteX9069" fmla="*/ 919035 w 5047599"/>
              <a:gd name="connsiteY9069" fmla="*/ 467719 h 4588585"/>
              <a:gd name="connsiteX9070" fmla="*/ 918993 w 5047599"/>
              <a:gd name="connsiteY9070" fmla="*/ 452352 h 4588585"/>
              <a:gd name="connsiteX9071" fmla="*/ 920429 w 5047599"/>
              <a:gd name="connsiteY9071" fmla="*/ 427732 h 4588585"/>
              <a:gd name="connsiteX9072" fmla="*/ 928368 w 5047599"/>
              <a:gd name="connsiteY9072" fmla="*/ 407802 h 4588585"/>
              <a:gd name="connsiteX9073" fmla="*/ 947772 w 5047599"/>
              <a:gd name="connsiteY9073" fmla="*/ 381590 h 4588585"/>
              <a:gd name="connsiteX9074" fmla="*/ 951383 w 5047599"/>
              <a:gd name="connsiteY9074" fmla="*/ 370788 h 4588585"/>
              <a:gd name="connsiteX9075" fmla="*/ 953600 w 5047599"/>
              <a:gd name="connsiteY9075" fmla="*/ 353596 h 4588585"/>
              <a:gd name="connsiteX9076" fmla="*/ 953790 w 5047599"/>
              <a:gd name="connsiteY9076" fmla="*/ 347506 h 4588585"/>
              <a:gd name="connsiteX9077" fmla="*/ 978071 w 5047599"/>
              <a:gd name="connsiteY9077" fmla="*/ 322970 h 4588585"/>
              <a:gd name="connsiteX9078" fmla="*/ 992282 w 5047599"/>
              <a:gd name="connsiteY9078" fmla="*/ 304102 h 4588585"/>
              <a:gd name="connsiteX9079" fmla="*/ 997223 w 5047599"/>
              <a:gd name="connsiteY9079" fmla="*/ 299474 h 4588585"/>
              <a:gd name="connsiteX9080" fmla="*/ 1009764 w 5047599"/>
              <a:gd name="connsiteY9080" fmla="*/ 290835 h 4588585"/>
              <a:gd name="connsiteX9081" fmla="*/ 1053557 w 5047599"/>
              <a:gd name="connsiteY9081" fmla="*/ 271925 h 4588585"/>
              <a:gd name="connsiteX9082" fmla="*/ 1078303 w 5047599"/>
              <a:gd name="connsiteY9082" fmla="*/ 258363 h 4588585"/>
              <a:gd name="connsiteX9083" fmla="*/ 1092745 w 5047599"/>
              <a:gd name="connsiteY9083" fmla="*/ 248471 h 4588585"/>
              <a:gd name="connsiteX9084" fmla="*/ 1101360 w 5047599"/>
              <a:gd name="connsiteY9084" fmla="*/ 236736 h 4588585"/>
              <a:gd name="connsiteX9085" fmla="*/ 1125220 w 5047599"/>
              <a:gd name="connsiteY9085" fmla="*/ 190488 h 4588585"/>
              <a:gd name="connsiteX9086" fmla="*/ 1148636 w 5047599"/>
              <a:gd name="connsiteY9086" fmla="*/ 124777 h 4588585"/>
              <a:gd name="connsiteX9087" fmla="*/ 1150600 w 5047599"/>
              <a:gd name="connsiteY9087" fmla="*/ 117137 h 4588585"/>
              <a:gd name="connsiteX9088" fmla="*/ 1161072 w 5047599"/>
              <a:gd name="connsiteY9088" fmla="*/ 114929 h 4588585"/>
              <a:gd name="connsiteX9089" fmla="*/ 1168484 w 5047599"/>
              <a:gd name="connsiteY9089" fmla="*/ 113975 h 4588585"/>
              <a:gd name="connsiteX9090" fmla="*/ 1174459 w 5047599"/>
              <a:gd name="connsiteY9090" fmla="*/ 111556 h 4588585"/>
              <a:gd name="connsiteX9091" fmla="*/ 1181849 w 5047599"/>
              <a:gd name="connsiteY9091" fmla="*/ 106589 h 4588585"/>
              <a:gd name="connsiteX9092" fmla="*/ 1188944 w 5047599"/>
              <a:gd name="connsiteY9092" fmla="*/ 108585 h 4588585"/>
              <a:gd name="connsiteX9093" fmla="*/ 1185396 w 5047599"/>
              <a:gd name="connsiteY9093" fmla="*/ 111960 h 4588585"/>
              <a:gd name="connsiteX9094" fmla="*/ 1185396 w 5047599"/>
              <a:gd name="connsiteY9094" fmla="*/ 120110 h 4588585"/>
              <a:gd name="connsiteX9095" fmla="*/ 1190422 w 5047599"/>
              <a:gd name="connsiteY9095" fmla="*/ 129639 h 4588585"/>
              <a:gd name="connsiteX9096" fmla="*/ 1199163 w 5047599"/>
              <a:gd name="connsiteY9096" fmla="*/ 140336 h 4588585"/>
              <a:gd name="connsiteX9097" fmla="*/ 1215041 w 5047599"/>
              <a:gd name="connsiteY9097" fmla="*/ 153899 h 4588585"/>
              <a:gd name="connsiteX9098" fmla="*/ 1227415 w 5047599"/>
              <a:gd name="connsiteY9098" fmla="*/ 159333 h 4588585"/>
              <a:gd name="connsiteX9099" fmla="*/ 1245088 w 5047599"/>
              <a:gd name="connsiteY9099" fmla="*/ 162601 h 4588585"/>
              <a:gd name="connsiteX9100" fmla="*/ 1265696 w 5047599"/>
              <a:gd name="connsiteY9100" fmla="*/ 156658 h 4588585"/>
              <a:gd name="connsiteX9101" fmla="*/ 1277223 w 5047599"/>
              <a:gd name="connsiteY9101" fmla="*/ 156553 h 4588585"/>
              <a:gd name="connsiteX9102" fmla="*/ 1282819 w 5047599"/>
              <a:gd name="connsiteY9102" fmla="*/ 153984 h 4588585"/>
              <a:gd name="connsiteX9103" fmla="*/ 1288921 w 5047599"/>
              <a:gd name="connsiteY9103" fmla="*/ 157740 h 4588585"/>
              <a:gd name="connsiteX9104" fmla="*/ 1300513 w 5047599"/>
              <a:gd name="connsiteY9104" fmla="*/ 158950 h 4588585"/>
              <a:gd name="connsiteX9105" fmla="*/ 1311704 w 5047599"/>
              <a:gd name="connsiteY9105" fmla="*/ 156976 h 4588585"/>
              <a:gd name="connsiteX9106" fmla="*/ 1320171 w 5047599"/>
              <a:gd name="connsiteY9106" fmla="*/ 151288 h 4588585"/>
              <a:gd name="connsiteX9107" fmla="*/ 1325555 w 5047599"/>
              <a:gd name="connsiteY9107" fmla="*/ 144729 h 4588585"/>
              <a:gd name="connsiteX9108" fmla="*/ 1326399 w 5047599"/>
              <a:gd name="connsiteY9108" fmla="*/ 147956 h 4588585"/>
              <a:gd name="connsiteX9109" fmla="*/ 1326653 w 5047599"/>
              <a:gd name="connsiteY9109" fmla="*/ 151436 h 4588585"/>
              <a:gd name="connsiteX9110" fmla="*/ 1328300 w 5047599"/>
              <a:gd name="connsiteY9110" fmla="*/ 153475 h 4588585"/>
              <a:gd name="connsiteX9111" fmla="*/ 1331636 w 5047599"/>
              <a:gd name="connsiteY9111" fmla="*/ 161794 h 4588585"/>
              <a:gd name="connsiteX9112" fmla="*/ 1333388 w 5047599"/>
              <a:gd name="connsiteY9112" fmla="*/ 165042 h 4588585"/>
              <a:gd name="connsiteX9113" fmla="*/ 1339829 w 5047599"/>
              <a:gd name="connsiteY9113" fmla="*/ 164509 h 4588585"/>
              <a:gd name="connsiteX9114" fmla="*/ 1345424 w 5047599"/>
              <a:gd name="connsiteY9114" fmla="*/ 166144 h 4588585"/>
              <a:gd name="connsiteX9115" fmla="*/ 1358050 w 5047599"/>
              <a:gd name="connsiteY9115" fmla="*/ 165360 h 4588585"/>
              <a:gd name="connsiteX9116" fmla="*/ 1370149 w 5047599"/>
              <a:gd name="connsiteY9116" fmla="*/ 166763 h 4588585"/>
              <a:gd name="connsiteX9117" fmla="*/ 1370149 w 5047599"/>
              <a:gd name="connsiteY9117" fmla="*/ 166764 h 4588585"/>
              <a:gd name="connsiteX9118" fmla="*/ 1382121 w 5047599"/>
              <a:gd name="connsiteY9118" fmla="*/ 168142 h 4588585"/>
              <a:gd name="connsiteX9119" fmla="*/ 1388307 w 5047599"/>
              <a:gd name="connsiteY9119" fmla="*/ 167484 h 4588585"/>
              <a:gd name="connsiteX9120" fmla="*/ 1402496 w 5047599"/>
              <a:gd name="connsiteY9120" fmla="*/ 161033 h 4588585"/>
              <a:gd name="connsiteX9121" fmla="*/ 1413772 w 5047599"/>
              <a:gd name="connsiteY9121" fmla="*/ 152308 h 4588585"/>
              <a:gd name="connsiteX9122" fmla="*/ 1422534 w 5047599"/>
              <a:gd name="connsiteY9122" fmla="*/ 147873 h 4588585"/>
              <a:gd name="connsiteX9123" fmla="*/ 1430241 w 5047599"/>
              <a:gd name="connsiteY9123" fmla="*/ 138301 h 4588585"/>
              <a:gd name="connsiteX9124" fmla="*/ 1437230 w 5047599"/>
              <a:gd name="connsiteY9124" fmla="*/ 132252 h 4588585"/>
              <a:gd name="connsiteX9125" fmla="*/ 1447323 w 5047599"/>
              <a:gd name="connsiteY9125" fmla="*/ 125716 h 4588585"/>
              <a:gd name="connsiteX9126" fmla="*/ 1476440 w 5047599"/>
              <a:gd name="connsiteY9126" fmla="*/ 111601 h 4588585"/>
              <a:gd name="connsiteX9127" fmla="*/ 1480895 w 5047599"/>
              <a:gd name="connsiteY9127" fmla="*/ 111495 h 4588585"/>
              <a:gd name="connsiteX9128" fmla="*/ 1490481 w 5047599"/>
              <a:gd name="connsiteY9128" fmla="*/ 114699 h 4588585"/>
              <a:gd name="connsiteX9129" fmla="*/ 1498821 w 5047599"/>
              <a:gd name="connsiteY9129" fmla="*/ 113702 h 4588585"/>
              <a:gd name="connsiteX9130" fmla="*/ 1504523 w 5047599"/>
              <a:gd name="connsiteY9130" fmla="*/ 108758 h 4588585"/>
              <a:gd name="connsiteX9131" fmla="*/ 1510667 w 5047599"/>
              <a:gd name="connsiteY9131" fmla="*/ 96829 h 4588585"/>
              <a:gd name="connsiteX9132" fmla="*/ 1520190 w 5047599"/>
              <a:gd name="connsiteY9132" fmla="*/ 89551 h 4588585"/>
              <a:gd name="connsiteX9133" fmla="*/ 1532203 w 5047599"/>
              <a:gd name="connsiteY9133" fmla="*/ 82249 h 4588585"/>
              <a:gd name="connsiteX9134" fmla="*/ 1548546 w 5047599"/>
              <a:gd name="connsiteY9134" fmla="*/ 75267 h 4588585"/>
              <a:gd name="connsiteX9135" fmla="*/ 1559251 w 5047599"/>
              <a:gd name="connsiteY9135" fmla="*/ 68834 h 4588585"/>
              <a:gd name="connsiteX9136" fmla="*/ 1576186 w 5047599"/>
              <a:gd name="connsiteY9136" fmla="*/ 63253 h 4588585"/>
              <a:gd name="connsiteX9137" fmla="*/ 1618689 w 5047599"/>
              <a:gd name="connsiteY9137" fmla="*/ 59708 h 4588585"/>
              <a:gd name="connsiteX9138" fmla="*/ 1640521 w 5047599"/>
              <a:gd name="connsiteY9138" fmla="*/ 56546 h 4588585"/>
              <a:gd name="connsiteX9139" fmla="*/ 1655366 w 5047599"/>
              <a:gd name="connsiteY9139" fmla="*/ 57268 h 4588585"/>
              <a:gd name="connsiteX9140" fmla="*/ 1670357 w 5047599"/>
              <a:gd name="connsiteY9140" fmla="*/ 47038 h 4588585"/>
              <a:gd name="connsiteX9141" fmla="*/ 1677853 w 5047599"/>
              <a:gd name="connsiteY9141" fmla="*/ 43663 h 4588585"/>
              <a:gd name="connsiteX9142" fmla="*/ 1710305 w 5047599"/>
              <a:gd name="connsiteY9142" fmla="*/ 42878 h 4588585"/>
              <a:gd name="connsiteX9143" fmla="*/ 1725613 w 5047599"/>
              <a:gd name="connsiteY9143" fmla="*/ 35384 h 4588585"/>
              <a:gd name="connsiteX9144" fmla="*/ 1783637 w 5047599"/>
              <a:gd name="connsiteY9144" fmla="*/ 35384 h 4588585"/>
              <a:gd name="connsiteX9145" fmla="*/ 1790731 w 5047599"/>
              <a:gd name="connsiteY9145" fmla="*/ 37891 h 4588585"/>
              <a:gd name="connsiteX9146" fmla="*/ 1797699 w 5047599"/>
              <a:gd name="connsiteY9146" fmla="*/ 41923 h 4588585"/>
              <a:gd name="connsiteX9147" fmla="*/ 1809565 w 5047599"/>
              <a:gd name="connsiteY9147" fmla="*/ 51623 h 4588585"/>
              <a:gd name="connsiteX9148" fmla="*/ 1815477 w 5047599"/>
              <a:gd name="connsiteY9148" fmla="*/ 53745 h 4588585"/>
              <a:gd name="connsiteX9149" fmla="*/ 1823142 w 5047599"/>
              <a:gd name="connsiteY9149" fmla="*/ 51728 h 4588585"/>
              <a:gd name="connsiteX9150" fmla="*/ 1840963 w 5047599"/>
              <a:gd name="connsiteY9150" fmla="*/ 42538 h 4588585"/>
              <a:gd name="connsiteX9151" fmla="*/ 1861064 w 5047599"/>
              <a:gd name="connsiteY9151" fmla="*/ 37742 h 4588585"/>
              <a:gd name="connsiteX9152" fmla="*/ 1872001 w 5047599"/>
              <a:gd name="connsiteY9152" fmla="*/ 32266 h 4588585"/>
              <a:gd name="connsiteX9153" fmla="*/ 1876646 w 5047599"/>
              <a:gd name="connsiteY9153" fmla="*/ 24264 h 4588585"/>
              <a:gd name="connsiteX9154" fmla="*/ 1886064 w 5047599"/>
              <a:gd name="connsiteY9154" fmla="*/ 21314 h 4588585"/>
              <a:gd name="connsiteX9155" fmla="*/ 1891364 w 5047599"/>
              <a:gd name="connsiteY9155" fmla="*/ 27471 h 4588585"/>
              <a:gd name="connsiteX9156" fmla="*/ 1912203 w 5047599"/>
              <a:gd name="connsiteY9156" fmla="*/ 33667 h 4588585"/>
              <a:gd name="connsiteX9157" fmla="*/ 1924999 w 5047599"/>
              <a:gd name="connsiteY9157" fmla="*/ 31884 h 4588585"/>
              <a:gd name="connsiteX9158" fmla="*/ 1930615 w 5047599"/>
              <a:gd name="connsiteY9158" fmla="*/ 30016 h 4588585"/>
              <a:gd name="connsiteX9159" fmla="*/ 1928589 w 5047599"/>
              <a:gd name="connsiteY9159" fmla="*/ 20826 h 4588585"/>
              <a:gd name="connsiteX9160" fmla="*/ 1942123 w 5047599"/>
              <a:gd name="connsiteY9160" fmla="*/ 23266 h 4588585"/>
              <a:gd name="connsiteX9161" fmla="*/ 1952511 w 5047599"/>
              <a:gd name="connsiteY9161" fmla="*/ 27703 h 4588585"/>
              <a:gd name="connsiteX9162" fmla="*/ 1963386 w 5047599"/>
              <a:gd name="connsiteY9162" fmla="*/ 36575 h 4588585"/>
              <a:gd name="connsiteX9163" fmla="*/ 1970437 w 5047599"/>
              <a:gd name="connsiteY9163" fmla="*/ 38335 h 4588585"/>
              <a:gd name="connsiteX9164" fmla="*/ 1983276 w 5047599"/>
              <a:gd name="connsiteY9164" fmla="*/ 34345 h 4588585"/>
              <a:gd name="connsiteX9165" fmla="*/ 2009742 w 5047599"/>
              <a:gd name="connsiteY9165" fmla="*/ 32364 h 4588585"/>
              <a:gd name="connsiteX9166" fmla="*/ 2009711 w 5047599"/>
              <a:gd name="connsiteY9166" fmla="*/ 32264 h 4588585"/>
              <a:gd name="connsiteX9167" fmla="*/ 2024343 w 5047599"/>
              <a:gd name="connsiteY9167" fmla="*/ 27787 h 4588585"/>
              <a:gd name="connsiteX9168" fmla="*/ 2038279 w 5047599"/>
              <a:gd name="connsiteY9168" fmla="*/ 16028 h 4588585"/>
              <a:gd name="connsiteX9169" fmla="*/ 2043199 w 5047599"/>
              <a:gd name="connsiteY9169" fmla="*/ 13142 h 4588585"/>
              <a:gd name="connsiteX9170" fmla="*/ 2075546 w 5047599"/>
              <a:gd name="connsiteY9170" fmla="*/ 2275 h 4588585"/>
              <a:gd name="connsiteX9171" fmla="*/ 2079748 w 5047599"/>
              <a:gd name="connsiteY9171" fmla="*/ 3016 h 4588585"/>
              <a:gd name="connsiteX9172" fmla="*/ 2084456 w 5047599"/>
              <a:gd name="connsiteY9172" fmla="*/ 4608 h 4588585"/>
              <a:gd name="connsiteX9173" fmla="*/ 2083105 w 5047599"/>
              <a:gd name="connsiteY9173" fmla="*/ 8663 h 4588585"/>
              <a:gd name="connsiteX9174" fmla="*/ 2081247 w 5047599"/>
              <a:gd name="connsiteY9174" fmla="*/ 11867 h 4588585"/>
              <a:gd name="connsiteX9175" fmla="*/ 2083991 w 5047599"/>
              <a:gd name="connsiteY9175" fmla="*/ 17533 h 4588585"/>
              <a:gd name="connsiteX9176" fmla="*/ 2087919 w 5047599"/>
              <a:gd name="connsiteY9176" fmla="*/ 14075 h 4588585"/>
              <a:gd name="connsiteX9177" fmla="*/ 2086927 w 5047599"/>
              <a:gd name="connsiteY9177" fmla="*/ 11761 h 4588585"/>
              <a:gd name="connsiteX9178" fmla="*/ 2086694 w 5047599"/>
              <a:gd name="connsiteY9178" fmla="*/ 8684 h 4588585"/>
              <a:gd name="connsiteX9179" fmla="*/ 2093345 w 5047599"/>
              <a:gd name="connsiteY9179" fmla="*/ 8406 h 4588585"/>
              <a:gd name="connsiteX9180" fmla="*/ 2099237 w 5047599"/>
              <a:gd name="connsiteY9180" fmla="*/ 8895 h 4588585"/>
              <a:gd name="connsiteX9181" fmla="*/ 2105698 w 5047599"/>
              <a:gd name="connsiteY9181" fmla="*/ 12269 h 4588585"/>
              <a:gd name="connsiteX9182" fmla="*/ 2105254 w 5047599"/>
              <a:gd name="connsiteY9182" fmla="*/ 25067 h 4588585"/>
              <a:gd name="connsiteX9183" fmla="*/ 2113869 w 5047599"/>
              <a:gd name="connsiteY9183" fmla="*/ 37568 h 4588585"/>
              <a:gd name="connsiteX9184" fmla="*/ 2111441 w 5047599"/>
              <a:gd name="connsiteY9184" fmla="*/ 43788 h 4588585"/>
              <a:gd name="connsiteX9185" fmla="*/ 2118493 w 5047599"/>
              <a:gd name="connsiteY9185" fmla="*/ 47459 h 4588585"/>
              <a:gd name="connsiteX9186" fmla="*/ 2124764 w 5047599"/>
              <a:gd name="connsiteY9186" fmla="*/ 43045 h 4588585"/>
              <a:gd name="connsiteX9187" fmla="*/ 2127910 w 5047599"/>
              <a:gd name="connsiteY9187" fmla="*/ 36529 h 4588585"/>
              <a:gd name="connsiteX9188" fmla="*/ 2139460 w 5047599"/>
              <a:gd name="connsiteY9188" fmla="*/ 32750 h 4588585"/>
              <a:gd name="connsiteX9189" fmla="*/ 2150440 w 5047599"/>
              <a:gd name="connsiteY9189" fmla="*/ 23157 h 4588585"/>
              <a:gd name="connsiteX9190" fmla="*/ 2156520 w 5047599"/>
              <a:gd name="connsiteY9190" fmla="*/ 22181 h 4588585"/>
              <a:gd name="connsiteX9191" fmla="*/ 2157893 w 5047599"/>
              <a:gd name="connsiteY9191" fmla="*/ 30056 h 4588585"/>
              <a:gd name="connsiteX9192" fmla="*/ 2160828 w 5047599"/>
              <a:gd name="connsiteY9192" fmla="*/ 36933 h 4588585"/>
              <a:gd name="connsiteX9193" fmla="*/ 2156668 w 5047599"/>
              <a:gd name="connsiteY9193" fmla="*/ 39352 h 4588585"/>
              <a:gd name="connsiteX9194" fmla="*/ 2151389 w 5047599"/>
              <a:gd name="connsiteY9194" fmla="*/ 46653 h 4588585"/>
              <a:gd name="connsiteX9195" fmla="*/ 2141360 w 5047599"/>
              <a:gd name="connsiteY9195" fmla="*/ 65119 h 4588585"/>
              <a:gd name="connsiteX9196" fmla="*/ 2132133 w 5047599"/>
              <a:gd name="connsiteY9196" fmla="*/ 70531 h 4588585"/>
              <a:gd name="connsiteX9197" fmla="*/ 2125207 w 5047599"/>
              <a:gd name="connsiteY9197" fmla="*/ 77619 h 4588585"/>
              <a:gd name="connsiteX9198" fmla="*/ 2122969 w 5047599"/>
              <a:gd name="connsiteY9198" fmla="*/ 82649 h 4588585"/>
              <a:gd name="connsiteX9199" fmla="*/ 2122293 w 5047599"/>
              <a:gd name="connsiteY9199" fmla="*/ 88508 h 4588585"/>
              <a:gd name="connsiteX9200" fmla="*/ 2124025 w 5047599"/>
              <a:gd name="connsiteY9200" fmla="*/ 98992 h 4588585"/>
              <a:gd name="connsiteX9201" fmla="*/ 2129071 w 5047599"/>
              <a:gd name="connsiteY9201" fmla="*/ 109625 h 4588585"/>
              <a:gd name="connsiteX9202" fmla="*/ 2134899 w 5047599"/>
              <a:gd name="connsiteY9202" fmla="*/ 116036 h 4588585"/>
              <a:gd name="connsiteX9203" fmla="*/ 2140515 w 5047599"/>
              <a:gd name="connsiteY9203" fmla="*/ 118030 h 4588585"/>
              <a:gd name="connsiteX9204" fmla="*/ 2153586 w 5047599"/>
              <a:gd name="connsiteY9204" fmla="*/ 128133 h 4588585"/>
              <a:gd name="connsiteX9205" fmla="*/ 2153375 w 5047599"/>
              <a:gd name="connsiteY9205" fmla="*/ 134118 h 4588585"/>
              <a:gd name="connsiteX9206" fmla="*/ 2155191 w 5047599"/>
              <a:gd name="connsiteY9206" fmla="*/ 141228 h 4588585"/>
              <a:gd name="connsiteX9207" fmla="*/ 2155887 w 5047599"/>
              <a:gd name="connsiteY9207" fmla="*/ 149867 h 4588585"/>
              <a:gd name="connsiteX9208" fmla="*/ 2160426 w 5047599"/>
              <a:gd name="connsiteY9208" fmla="*/ 156765 h 4588585"/>
              <a:gd name="connsiteX9209" fmla="*/ 2150714 w 5047599"/>
              <a:gd name="connsiteY9209" fmla="*/ 171749 h 4588585"/>
              <a:gd name="connsiteX9210" fmla="*/ 2145393 w 5047599"/>
              <a:gd name="connsiteY9210" fmla="*/ 182553 h 4588585"/>
              <a:gd name="connsiteX9211" fmla="*/ 2135005 w 5047599"/>
              <a:gd name="connsiteY9211" fmla="*/ 197409 h 4588585"/>
              <a:gd name="connsiteX9212" fmla="*/ 2125757 w 5047599"/>
              <a:gd name="connsiteY9212" fmla="*/ 207045 h 4588585"/>
              <a:gd name="connsiteX9213" fmla="*/ 2105951 w 5047599"/>
              <a:gd name="connsiteY9213" fmla="*/ 221328 h 4588585"/>
              <a:gd name="connsiteX9214" fmla="*/ 2101095 w 5047599"/>
              <a:gd name="connsiteY9214" fmla="*/ 226062 h 4588585"/>
              <a:gd name="connsiteX9215" fmla="*/ 2097927 w 5047599"/>
              <a:gd name="connsiteY9215" fmla="*/ 230965 h 4588585"/>
              <a:gd name="connsiteX9216" fmla="*/ 2096471 w 5047599"/>
              <a:gd name="connsiteY9216" fmla="*/ 236081 h 4588585"/>
              <a:gd name="connsiteX9217" fmla="*/ 2096999 w 5047599"/>
              <a:gd name="connsiteY9217" fmla="*/ 242086 h 4588585"/>
              <a:gd name="connsiteX9218" fmla="*/ 2103523 w 5047599"/>
              <a:gd name="connsiteY9218" fmla="*/ 256837 h 4588585"/>
              <a:gd name="connsiteX9219" fmla="*/ 2112201 w 5047599"/>
              <a:gd name="connsiteY9219" fmla="*/ 265519 h 4588585"/>
              <a:gd name="connsiteX9220" fmla="*/ 2121027 w 5047599"/>
              <a:gd name="connsiteY9220" fmla="*/ 270209 h 4588585"/>
              <a:gd name="connsiteX9221" fmla="*/ 2136377 w 5047599"/>
              <a:gd name="connsiteY9221" fmla="*/ 268319 h 4588585"/>
              <a:gd name="connsiteX9222" fmla="*/ 2135849 w 5047599"/>
              <a:gd name="connsiteY9222" fmla="*/ 273986 h 4588585"/>
              <a:gd name="connsiteX9223" fmla="*/ 2136947 w 5047599"/>
              <a:gd name="connsiteY9223" fmla="*/ 280758 h 4588585"/>
              <a:gd name="connsiteX9224" fmla="*/ 2143176 w 5047599"/>
              <a:gd name="connsiteY9224" fmla="*/ 280436 h 4588585"/>
              <a:gd name="connsiteX9225" fmla="*/ 2147357 w 5047599"/>
              <a:gd name="connsiteY9225" fmla="*/ 279378 h 4588585"/>
              <a:gd name="connsiteX9226" fmla="*/ 2150883 w 5047599"/>
              <a:gd name="connsiteY9226" fmla="*/ 272776 h 4588585"/>
              <a:gd name="connsiteX9227" fmla="*/ 2158378 w 5047599"/>
              <a:gd name="connsiteY9227" fmla="*/ 277296 h 4588585"/>
              <a:gd name="connsiteX9228" fmla="*/ 2162285 w 5047599"/>
              <a:gd name="connsiteY9228" fmla="*/ 291051 h 4588585"/>
              <a:gd name="connsiteX9229" fmla="*/ 2168641 w 5047599"/>
              <a:gd name="connsiteY9229" fmla="*/ 295339 h 4588585"/>
              <a:gd name="connsiteX9230" fmla="*/ 2169379 w 5047599"/>
              <a:gd name="connsiteY9230" fmla="*/ 296929 h 4588585"/>
              <a:gd name="connsiteX9231" fmla="*/ 2167142 w 5047599"/>
              <a:gd name="connsiteY9231" fmla="*/ 297991 h 4588585"/>
              <a:gd name="connsiteX9232" fmla="*/ 2165388 w 5047599"/>
              <a:gd name="connsiteY9232" fmla="*/ 299563 h 4588585"/>
              <a:gd name="connsiteX9233" fmla="*/ 2167268 w 5047599"/>
              <a:gd name="connsiteY9233" fmla="*/ 300685 h 4588585"/>
              <a:gd name="connsiteX9234" fmla="*/ 2173413 w 5047599"/>
              <a:gd name="connsiteY9234" fmla="*/ 302381 h 4588585"/>
              <a:gd name="connsiteX9235" fmla="*/ 2177128 w 5047599"/>
              <a:gd name="connsiteY9235" fmla="*/ 301299 h 4588585"/>
              <a:gd name="connsiteX9236" fmla="*/ 2183420 w 5047599"/>
              <a:gd name="connsiteY9236" fmla="*/ 304463 h 4588585"/>
              <a:gd name="connsiteX9237" fmla="*/ 2183420 w 5047599"/>
              <a:gd name="connsiteY9237" fmla="*/ 304467 h 4588585"/>
              <a:gd name="connsiteX9238" fmla="*/ 2183294 w 5047599"/>
              <a:gd name="connsiteY9238" fmla="*/ 306335 h 4588585"/>
              <a:gd name="connsiteX9239" fmla="*/ 2181203 w 5047599"/>
              <a:gd name="connsiteY9239" fmla="*/ 319769 h 4588585"/>
              <a:gd name="connsiteX9240" fmla="*/ 2180739 w 5047599"/>
              <a:gd name="connsiteY9240" fmla="*/ 324587 h 4588585"/>
              <a:gd name="connsiteX9241" fmla="*/ 2180442 w 5047599"/>
              <a:gd name="connsiteY9241" fmla="*/ 332262 h 4588585"/>
              <a:gd name="connsiteX9242" fmla="*/ 2180740 w 5047599"/>
              <a:gd name="connsiteY9242" fmla="*/ 324606 h 4588585"/>
              <a:gd name="connsiteX9243" fmla="*/ 2181204 w 5047599"/>
              <a:gd name="connsiteY9243" fmla="*/ 319788 h 4588585"/>
              <a:gd name="connsiteX9244" fmla="*/ 2183295 w 5047599"/>
              <a:gd name="connsiteY9244" fmla="*/ 306353 h 4588585"/>
              <a:gd name="connsiteX9245" fmla="*/ 2183421 w 5047599"/>
              <a:gd name="connsiteY9245" fmla="*/ 304463 h 4588585"/>
              <a:gd name="connsiteX9246" fmla="*/ 2192458 w 5047599"/>
              <a:gd name="connsiteY9246" fmla="*/ 308941 h 4588585"/>
              <a:gd name="connsiteX9247" fmla="*/ 2201728 w 5047599"/>
              <a:gd name="connsiteY9247" fmla="*/ 310723 h 4588585"/>
              <a:gd name="connsiteX9248" fmla="*/ 2229367 w 5047599"/>
              <a:gd name="connsiteY9248" fmla="*/ 327343 h 4588585"/>
              <a:gd name="connsiteX9249" fmla="*/ 2238087 w 5047599"/>
              <a:gd name="connsiteY9249" fmla="*/ 329422 h 4588585"/>
              <a:gd name="connsiteX9250" fmla="*/ 2257428 w 5047599"/>
              <a:gd name="connsiteY9250" fmla="*/ 331397 h 4588585"/>
              <a:gd name="connsiteX9251" fmla="*/ 2280211 w 5047599"/>
              <a:gd name="connsiteY9251" fmla="*/ 324604 h 4588585"/>
              <a:gd name="connsiteX9252" fmla="*/ 2288825 w 5047599"/>
              <a:gd name="connsiteY9252" fmla="*/ 323372 h 4588585"/>
              <a:gd name="connsiteX9253" fmla="*/ 2303817 w 5047599"/>
              <a:gd name="connsiteY9253" fmla="*/ 329762 h 4588585"/>
              <a:gd name="connsiteX9254" fmla="*/ 2310426 w 5047599"/>
              <a:gd name="connsiteY9254" fmla="*/ 331567 h 4588585"/>
              <a:gd name="connsiteX9255" fmla="*/ 2321533 w 5047599"/>
              <a:gd name="connsiteY9255" fmla="*/ 332055 h 4588585"/>
              <a:gd name="connsiteX9256" fmla="*/ 2340514 w 5047599"/>
              <a:gd name="connsiteY9256" fmla="*/ 337828 h 4588585"/>
              <a:gd name="connsiteX9257" fmla="*/ 2345349 w 5047599"/>
              <a:gd name="connsiteY9257" fmla="*/ 339844 h 4588585"/>
              <a:gd name="connsiteX9258" fmla="*/ 2356413 w 5047599"/>
              <a:gd name="connsiteY9258" fmla="*/ 349056 h 4588585"/>
              <a:gd name="connsiteX9259" fmla="*/ 2361714 w 5047599"/>
              <a:gd name="connsiteY9259" fmla="*/ 351815 h 4588585"/>
              <a:gd name="connsiteX9260" fmla="*/ 2401007 w 5047599"/>
              <a:gd name="connsiteY9260" fmla="*/ 360241 h 4588585"/>
              <a:gd name="connsiteX9261" fmla="*/ 2406371 w 5047599"/>
              <a:gd name="connsiteY9261" fmla="*/ 365824 h 4588585"/>
              <a:gd name="connsiteX9262" fmla="*/ 2411839 w 5047599"/>
              <a:gd name="connsiteY9262" fmla="*/ 376457 h 4588585"/>
              <a:gd name="connsiteX9263" fmla="*/ 2412071 w 5047599"/>
              <a:gd name="connsiteY9263" fmla="*/ 389658 h 4588585"/>
              <a:gd name="connsiteX9264" fmla="*/ 2415091 w 5047599"/>
              <a:gd name="connsiteY9264" fmla="*/ 399208 h 4588585"/>
              <a:gd name="connsiteX9265" fmla="*/ 2419969 w 5047599"/>
              <a:gd name="connsiteY9265" fmla="*/ 411583 h 4588585"/>
              <a:gd name="connsiteX9266" fmla="*/ 2425859 w 5047599"/>
              <a:gd name="connsiteY9266" fmla="*/ 420327 h 4588585"/>
              <a:gd name="connsiteX9267" fmla="*/ 2432384 w 5047599"/>
              <a:gd name="connsiteY9267" fmla="*/ 427607 h 4588585"/>
              <a:gd name="connsiteX9268" fmla="*/ 2439880 w 5047599"/>
              <a:gd name="connsiteY9268" fmla="*/ 432149 h 4588585"/>
              <a:gd name="connsiteX9269" fmla="*/ 2457109 w 5047599"/>
              <a:gd name="connsiteY9269" fmla="*/ 438855 h 4588585"/>
              <a:gd name="connsiteX9270" fmla="*/ 2476535 w 5047599"/>
              <a:gd name="connsiteY9270" fmla="*/ 441425 h 4588585"/>
              <a:gd name="connsiteX9271" fmla="*/ 2496129 w 5047599"/>
              <a:gd name="connsiteY9271" fmla="*/ 442295 h 4588585"/>
              <a:gd name="connsiteX9272" fmla="*/ 2529765 w 5047599"/>
              <a:gd name="connsiteY9272" fmla="*/ 451525 h 4588585"/>
              <a:gd name="connsiteX9273" fmla="*/ 2558290 w 5047599"/>
              <a:gd name="connsiteY9273" fmla="*/ 462159 h 4588585"/>
              <a:gd name="connsiteX9274" fmla="*/ 2565322 w 5047599"/>
              <a:gd name="connsiteY9274" fmla="*/ 467402 h 4588585"/>
              <a:gd name="connsiteX9275" fmla="*/ 2579616 w 5047599"/>
              <a:gd name="connsiteY9275" fmla="*/ 472539 h 4588585"/>
              <a:gd name="connsiteX9276" fmla="*/ 2608015 w 5047599"/>
              <a:gd name="connsiteY9276" fmla="*/ 497457 h 4588585"/>
              <a:gd name="connsiteX9277" fmla="*/ 2623830 w 5047599"/>
              <a:gd name="connsiteY9277" fmla="*/ 506052 h 4588585"/>
              <a:gd name="connsiteX9278" fmla="*/ 2634915 w 5047599"/>
              <a:gd name="connsiteY9278" fmla="*/ 507708 h 4588585"/>
              <a:gd name="connsiteX9279" fmla="*/ 2644861 w 5047599"/>
              <a:gd name="connsiteY9279" fmla="*/ 506200 h 4588585"/>
              <a:gd name="connsiteX9280" fmla="*/ 2662534 w 5047599"/>
              <a:gd name="connsiteY9280" fmla="*/ 497583 h 4588585"/>
              <a:gd name="connsiteX9281" fmla="*/ 2669839 w 5047599"/>
              <a:gd name="connsiteY9281" fmla="*/ 492446 h 4588585"/>
              <a:gd name="connsiteX9282" fmla="*/ 2687618 w 5047599"/>
              <a:gd name="connsiteY9282" fmla="*/ 470924 h 4588585"/>
              <a:gd name="connsiteX9283" fmla="*/ 2693466 w 5047599"/>
              <a:gd name="connsiteY9283" fmla="*/ 459676 h 4588585"/>
              <a:gd name="connsiteX9284" fmla="*/ 2695789 w 5047599"/>
              <a:gd name="connsiteY9284" fmla="*/ 451716 h 4588585"/>
              <a:gd name="connsiteX9285" fmla="*/ 2695219 w 5047599"/>
              <a:gd name="connsiteY9285" fmla="*/ 443631 h 4588585"/>
              <a:gd name="connsiteX9286" fmla="*/ 2693002 w 5047599"/>
              <a:gd name="connsiteY9286" fmla="*/ 436351 h 4588585"/>
              <a:gd name="connsiteX9287" fmla="*/ 2688019 w 5047599"/>
              <a:gd name="connsiteY9287" fmla="*/ 428710 h 4588585"/>
              <a:gd name="connsiteX9288" fmla="*/ 2684535 w 5047599"/>
              <a:gd name="connsiteY9288" fmla="*/ 418606 h 4588585"/>
              <a:gd name="connsiteX9289" fmla="*/ 2682487 w 5047599"/>
              <a:gd name="connsiteY9289" fmla="*/ 400377 h 4588585"/>
              <a:gd name="connsiteX9290" fmla="*/ 2685274 w 5047599"/>
              <a:gd name="connsiteY9290" fmla="*/ 387705 h 4588585"/>
              <a:gd name="connsiteX9291" fmla="*/ 2688673 w 5047599"/>
              <a:gd name="connsiteY9291" fmla="*/ 380106 h 4588585"/>
              <a:gd name="connsiteX9292" fmla="*/ 2694037 w 5047599"/>
              <a:gd name="connsiteY9292" fmla="*/ 372338 h 4588585"/>
              <a:gd name="connsiteX9293" fmla="*/ 2708795 w 5047599"/>
              <a:gd name="connsiteY9293" fmla="*/ 357460 h 4588585"/>
              <a:gd name="connsiteX9294" fmla="*/ 2723639 w 5047599"/>
              <a:gd name="connsiteY9294" fmla="*/ 346953 h 4588585"/>
              <a:gd name="connsiteX9295" fmla="*/ 2749800 w 5047599"/>
              <a:gd name="connsiteY9295" fmla="*/ 333199 h 4588585"/>
              <a:gd name="connsiteX9296" fmla="*/ 2764981 w 5047599"/>
              <a:gd name="connsiteY9296" fmla="*/ 333051 h 4588585"/>
              <a:gd name="connsiteX9297" fmla="*/ 2771273 w 5047599"/>
              <a:gd name="connsiteY9297" fmla="*/ 331523 h 4588585"/>
              <a:gd name="connsiteX9298" fmla="*/ 2783774 w 5047599"/>
              <a:gd name="connsiteY9298" fmla="*/ 321783 h 4588585"/>
              <a:gd name="connsiteX9299" fmla="*/ 2788841 w 5047599"/>
              <a:gd name="connsiteY9299" fmla="*/ 321422 h 4588585"/>
              <a:gd name="connsiteX9300" fmla="*/ 2795851 w 5047599"/>
              <a:gd name="connsiteY9300" fmla="*/ 323797 h 4588585"/>
              <a:gd name="connsiteX9301" fmla="*/ 2816460 w 5047599"/>
              <a:gd name="connsiteY9301" fmla="*/ 323117 h 4588585"/>
              <a:gd name="connsiteX9302" fmla="*/ 2825538 w 5047599"/>
              <a:gd name="connsiteY9302" fmla="*/ 325835 h 4588585"/>
              <a:gd name="connsiteX9303" fmla="*/ 2836371 w 5047599"/>
              <a:gd name="connsiteY9303" fmla="*/ 331905 h 4588585"/>
              <a:gd name="connsiteX9304" fmla="*/ 2850052 w 5047599"/>
              <a:gd name="connsiteY9304" fmla="*/ 335662 h 4588585"/>
              <a:gd name="connsiteX9305" fmla="*/ 2859702 w 5047599"/>
              <a:gd name="connsiteY9305" fmla="*/ 339418 h 4588585"/>
              <a:gd name="connsiteX9306" fmla="*/ 2869985 w 5047599"/>
              <a:gd name="connsiteY9306" fmla="*/ 344236 h 4588585"/>
              <a:gd name="connsiteX9307" fmla="*/ 2872307 w 5047599"/>
              <a:gd name="connsiteY9307" fmla="*/ 356228 h 4588585"/>
              <a:gd name="connsiteX9308" fmla="*/ 2871167 w 5047599"/>
              <a:gd name="connsiteY9308" fmla="*/ 359793 h 4588585"/>
              <a:gd name="connsiteX9309" fmla="*/ 2870914 w 5047599"/>
              <a:gd name="connsiteY9309" fmla="*/ 364442 h 4588585"/>
              <a:gd name="connsiteX9310" fmla="*/ 2881577 w 5047599"/>
              <a:gd name="connsiteY9310" fmla="*/ 372678 h 4588585"/>
              <a:gd name="connsiteX9311" fmla="*/ 2911876 w 5047599"/>
              <a:gd name="connsiteY9311" fmla="*/ 376540 h 4588585"/>
              <a:gd name="connsiteX9312" fmla="*/ 2917851 w 5047599"/>
              <a:gd name="connsiteY9312" fmla="*/ 378748 h 4588585"/>
              <a:gd name="connsiteX9313" fmla="*/ 2926192 w 5047599"/>
              <a:gd name="connsiteY9313" fmla="*/ 385051 h 4588585"/>
              <a:gd name="connsiteX9314" fmla="*/ 2931555 w 5047599"/>
              <a:gd name="connsiteY9314" fmla="*/ 386983 h 4588585"/>
              <a:gd name="connsiteX9315" fmla="*/ 2952311 w 5047599"/>
              <a:gd name="connsiteY9315" fmla="*/ 387874 h 4588585"/>
              <a:gd name="connsiteX9316" fmla="*/ 2964409 w 5047599"/>
              <a:gd name="connsiteY9316" fmla="*/ 386537 h 4588585"/>
              <a:gd name="connsiteX9317" fmla="*/ 2975937 w 5047599"/>
              <a:gd name="connsiteY9317" fmla="*/ 388743 h 4588585"/>
              <a:gd name="connsiteX9318" fmla="*/ 2980203 w 5047599"/>
              <a:gd name="connsiteY9318" fmla="*/ 390868 h 4588585"/>
              <a:gd name="connsiteX9319" fmla="*/ 2984616 w 5047599"/>
              <a:gd name="connsiteY9319" fmla="*/ 395791 h 4588585"/>
              <a:gd name="connsiteX9320" fmla="*/ 2989958 w 5047599"/>
              <a:gd name="connsiteY9320" fmla="*/ 407719 h 4588585"/>
              <a:gd name="connsiteX9321" fmla="*/ 2992048 w 5047599"/>
              <a:gd name="connsiteY9321" fmla="*/ 411712 h 4588585"/>
              <a:gd name="connsiteX9322" fmla="*/ 2989768 w 5047599"/>
              <a:gd name="connsiteY9322" fmla="*/ 413665 h 4588585"/>
              <a:gd name="connsiteX9323" fmla="*/ 2986517 w 5047599"/>
              <a:gd name="connsiteY9323" fmla="*/ 417825 h 4588585"/>
              <a:gd name="connsiteX9324" fmla="*/ 2984468 w 5047599"/>
              <a:gd name="connsiteY9324" fmla="*/ 421518 h 4588585"/>
              <a:gd name="connsiteX9325" fmla="*/ 2978978 w 5047599"/>
              <a:gd name="connsiteY9325" fmla="*/ 427546 h 4588585"/>
              <a:gd name="connsiteX9326" fmla="*/ 2974396 w 5047599"/>
              <a:gd name="connsiteY9326" fmla="*/ 433977 h 4588585"/>
              <a:gd name="connsiteX9327" fmla="*/ 2974396 w 5047599"/>
              <a:gd name="connsiteY9327" fmla="*/ 433978 h 4588585"/>
              <a:gd name="connsiteX9328" fmla="*/ 2978978 w 5047599"/>
              <a:gd name="connsiteY9328" fmla="*/ 427549 h 4588585"/>
              <a:gd name="connsiteX9329" fmla="*/ 2984468 w 5047599"/>
              <a:gd name="connsiteY9329" fmla="*/ 421518 h 4588585"/>
              <a:gd name="connsiteX9330" fmla="*/ 2986517 w 5047599"/>
              <a:gd name="connsiteY9330" fmla="*/ 417826 h 4588585"/>
              <a:gd name="connsiteX9331" fmla="*/ 2989768 w 5047599"/>
              <a:gd name="connsiteY9331" fmla="*/ 413667 h 4588585"/>
              <a:gd name="connsiteX9332" fmla="*/ 2992048 w 5047599"/>
              <a:gd name="connsiteY9332" fmla="*/ 411714 h 4588585"/>
              <a:gd name="connsiteX9333" fmla="*/ 2996503 w 5047599"/>
              <a:gd name="connsiteY9333" fmla="*/ 420162 h 4588585"/>
              <a:gd name="connsiteX9334" fmla="*/ 3005794 w 5047599"/>
              <a:gd name="connsiteY9334" fmla="*/ 421604 h 4588585"/>
              <a:gd name="connsiteX9335" fmla="*/ 3036073 w 5047599"/>
              <a:gd name="connsiteY9335" fmla="*/ 414091 h 4588585"/>
              <a:gd name="connsiteX9336" fmla="*/ 3069497 w 5047599"/>
              <a:gd name="connsiteY9336" fmla="*/ 421668 h 4588585"/>
              <a:gd name="connsiteX9337" fmla="*/ 3087930 w 5047599"/>
              <a:gd name="connsiteY9337" fmla="*/ 424554 h 4588585"/>
              <a:gd name="connsiteX9338" fmla="*/ 3116350 w 5047599"/>
              <a:gd name="connsiteY9338" fmla="*/ 430986 h 4588585"/>
              <a:gd name="connsiteX9339" fmla="*/ 3133643 w 5047599"/>
              <a:gd name="connsiteY9339" fmla="*/ 442446 h 4588585"/>
              <a:gd name="connsiteX9340" fmla="*/ 3138394 w 5047599"/>
              <a:gd name="connsiteY9340" fmla="*/ 443888 h 4588585"/>
              <a:gd name="connsiteX9341" fmla="*/ 3150831 w 5047599"/>
              <a:gd name="connsiteY9341" fmla="*/ 443654 h 4588585"/>
              <a:gd name="connsiteX9342" fmla="*/ 3158981 w 5047599"/>
              <a:gd name="connsiteY9342" fmla="*/ 450423 h 4588585"/>
              <a:gd name="connsiteX9343" fmla="*/ 3191413 w 5047599"/>
              <a:gd name="connsiteY9343" fmla="*/ 453671 h 4588585"/>
              <a:gd name="connsiteX9344" fmla="*/ 3208727 w 5047599"/>
              <a:gd name="connsiteY9344" fmla="*/ 461122 h 4588585"/>
              <a:gd name="connsiteX9345" fmla="*/ 3218545 w 5047599"/>
              <a:gd name="connsiteY9345" fmla="*/ 467064 h 4588585"/>
              <a:gd name="connsiteX9346" fmla="*/ 3224436 w 5047599"/>
              <a:gd name="connsiteY9346" fmla="*/ 468890 h 4588585"/>
              <a:gd name="connsiteX9347" fmla="*/ 3229651 w 5047599"/>
              <a:gd name="connsiteY9347" fmla="*/ 468593 h 4588585"/>
              <a:gd name="connsiteX9348" fmla="*/ 3236682 w 5047599"/>
              <a:gd name="connsiteY9348" fmla="*/ 466365 h 4588585"/>
              <a:gd name="connsiteX9349" fmla="*/ 3245572 w 5047599"/>
              <a:gd name="connsiteY9349" fmla="*/ 462183 h 4588585"/>
              <a:gd name="connsiteX9350" fmla="*/ 3255221 w 5047599"/>
              <a:gd name="connsiteY9350" fmla="*/ 456366 h 4588585"/>
              <a:gd name="connsiteX9351" fmla="*/ 3275259 w 5047599"/>
              <a:gd name="connsiteY9351" fmla="*/ 441405 h 4588585"/>
              <a:gd name="connsiteX9352" fmla="*/ 3282353 w 5047599"/>
              <a:gd name="connsiteY9352" fmla="*/ 438771 h 4588585"/>
              <a:gd name="connsiteX9353" fmla="*/ 3286977 w 5047599"/>
              <a:gd name="connsiteY9353" fmla="*/ 439473 h 4588585"/>
              <a:gd name="connsiteX9354" fmla="*/ 3292615 w 5047599"/>
              <a:gd name="connsiteY9354" fmla="*/ 439260 h 4588585"/>
              <a:gd name="connsiteX9355" fmla="*/ 3294958 w 5047599"/>
              <a:gd name="connsiteY9355" fmla="*/ 435205 h 4588585"/>
              <a:gd name="connsiteX9356" fmla="*/ 3297936 w 5047599"/>
              <a:gd name="connsiteY9356" fmla="*/ 432427 h 4588585"/>
              <a:gd name="connsiteX9357" fmla="*/ 3299794 w 5047599"/>
              <a:gd name="connsiteY9357" fmla="*/ 429264 h 4588585"/>
              <a:gd name="connsiteX9358" fmla="*/ 3302835 w 5047599"/>
              <a:gd name="connsiteY9358" fmla="*/ 425445 h 4588585"/>
              <a:gd name="connsiteX9359" fmla="*/ 3313265 w 5047599"/>
              <a:gd name="connsiteY9359" fmla="*/ 424382 h 4588585"/>
              <a:gd name="connsiteX9360" fmla="*/ 3334147 w 5047599"/>
              <a:gd name="connsiteY9360" fmla="*/ 417847 h 4588585"/>
              <a:gd name="connsiteX9361" fmla="*/ 3331804 w 5047599"/>
              <a:gd name="connsiteY9361" fmla="*/ 420945 h 4588585"/>
              <a:gd name="connsiteX9362" fmla="*/ 3312780 w 5047599"/>
              <a:gd name="connsiteY9362" fmla="*/ 428268 h 4588585"/>
              <a:gd name="connsiteX9363" fmla="*/ 3320930 w 5047599"/>
              <a:gd name="connsiteY9363" fmla="*/ 429180 h 4588585"/>
              <a:gd name="connsiteX9364" fmla="*/ 3329270 w 5047599"/>
              <a:gd name="connsiteY9364" fmla="*/ 426675 h 4588585"/>
              <a:gd name="connsiteX9365" fmla="*/ 3338793 w 5047599"/>
              <a:gd name="connsiteY9365" fmla="*/ 425084 h 4588585"/>
              <a:gd name="connsiteX9366" fmla="*/ 3340524 w 5047599"/>
              <a:gd name="connsiteY9366" fmla="*/ 421963 h 4588585"/>
              <a:gd name="connsiteX9367" fmla="*/ 3341770 w 5047599"/>
              <a:gd name="connsiteY9367" fmla="*/ 416126 h 4588585"/>
              <a:gd name="connsiteX9368" fmla="*/ 3343586 w 5047599"/>
              <a:gd name="connsiteY9368" fmla="*/ 415300 h 4588585"/>
              <a:gd name="connsiteX9369" fmla="*/ 3350174 w 5047599"/>
              <a:gd name="connsiteY9369" fmla="*/ 416403 h 4588585"/>
              <a:gd name="connsiteX9370" fmla="*/ 3369747 w 5047599"/>
              <a:gd name="connsiteY9370" fmla="*/ 425402 h 4588585"/>
              <a:gd name="connsiteX9371" fmla="*/ 3374624 w 5047599"/>
              <a:gd name="connsiteY9371" fmla="*/ 425570 h 4588585"/>
              <a:gd name="connsiteX9372" fmla="*/ 3388412 w 5047599"/>
              <a:gd name="connsiteY9372" fmla="*/ 420668 h 4588585"/>
              <a:gd name="connsiteX9373" fmla="*/ 3391347 w 5047599"/>
              <a:gd name="connsiteY9373" fmla="*/ 419629 h 4588585"/>
              <a:gd name="connsiteX9374" fmla="*/ 3395824 w 5047599"/>
              <a:gd name="connsiteY9374" fmla="*/ 422346 h 4588585"/>
              <a:gd name="connsiteX9375" fmla="*/ 3406001 w 5047599"/>
              <a:gd name="connsiteY9375" fmla="*/ 433532 h 4588585"/>
              <a:gd name="connsiteX9376" fmla="*/ 3402454 w 5047599"/>
              <a:gd name="connsiteY9376" fmla="*/ 433298 h 4588585"/>
              <a:gd name="connsiteX9377" fmla="*/ 3391559 w 5047599"/>
              <a:gd name="connsiteY9377" fmla="*/ 423704 h 4588585"/>
              <a:gd name="connsiteX9378" fmla="*/ 3390587 w 5047599"/>
              <a:gd name="connsiteY9378" fmla="*/ 428501 h 4588585"/>
              <a:gd name="connsiteX9379" fmla="*/ 3384380 w 5047599"/>
              <a:gd name="connsiteY9379" fmla="*/ 436905 h 4588585"/>
              <a:gd name="connsiteX9380" fmla="*/ 3392128 w 5047599"/>
              <a:gd name="connsiteY9380" fmla="*/ 440534 h 4588585"/>
              <a:gd name="connsiteX9381" fmla="*/ 3398441 w 5047599"/>
              <a:gd name="connsiteY9381" fmla="*/ 441892 h 4588585"/>
              <a:gd name="connsiteX9382" fmla="*/ 3401820 w 5047599"/>
              <a:gd name="connsiteY9382" fmla="*/ 446583 h 4588585"/>
              <a:gd name="connsiteX9383" fmla="*/ 3403953 w 5047599"/>
              <a:gd name="connsiteY9383" fmla="*/ 450743 h 4588585"/>
              <a:gd name="connsiteX9384" fmla="*/ 3410181 w 5047599"/>
              <a:gd name="connsiteY9384" fmla="*/ 448915 h 4588585"/>
              <a:gd name="connsiteX9385" fmla="*/ 3414636 w 5047599"/>
              <a:gd name="connsiteY9385" fmla="*/ 443247 h 4588585"/>
              <a:gd name="connsiteX9386" fmla="*/ 3412314 w 5047599"/>
              <a:gd name="connsiteY9386" fmla="*/ 440088 h 4588585"/>
              <a:gd name="connsiteX9387" fmla="*/ 3410751 w 5047599"/>
              <a:gd name="connsiteY9387" fmla="*/ 436819 h 4588585"/>
              <a:gd name="connsiteX9388" fmla="*/ 3412778 w 5047599"/>
              <a:gd name="connsiteY9388" fmla="*/ 436735 h 4588585"/>
              <a:gd name="connsiteX9389" fmla="*/ 3417107 w 5047599"/>
              <a:gd name="connsiteY9389" fmla="*/ 439428 h 4588585"/>
              <a:gd name="connsiteX9390" fmla="*/ 3429502 w 5047599"/>
              <a:gd name="connsiteY9390" fmla="*/ 450190 h 4588585"/>
              <a:gd name="connsiteX9391" fmla="*/ 3433682 w 5047599"/>
              <a:gd name="connsiteY9391" fmla="*/ 452417 h 4588585"/>
              <a:gd name="connsiteX9392" fmla="*/ 3438496 w 5047599"/>
              <a:gd name="connsiteY9392" fmla="*/ 452036 h 4588585"/>
              <a:gd name="connsiteX9393" fmla="*/ 3448568 w 5047599"/>
              <a:gd name="connsiteY9393" fmla="*/ 449023 h 4588585"/>
              <a:gd name="connsiteX9394" fmla="*/ 3451376 w 5047599"/>
              <a:gd name="connsiteY9394" fmla="*/ 449489 h 4588585"/>
              <a:gd name="connsiteX9395" fmla="*/ 3464889 w 5047599"/>
              <a:gd name="connsiteY9395" fmla="*/ 445520 h 4588585"/>
              <a:gd name="connsiteX9396" fmla="*/ 3466473 w 5047599"/>
              <a:gd name="connsiteY9396" fmla="*/ 448428 h 4588585"/>
              <a:gd name="connsiteX9397" fmla="*/ 3468711 w 5047599"/>
              <a:gd name="connsiteY9397" fmla="*/ 451313 h 4588585"/>
              <a:gd name="connsiteX9398" fmla="*/ 3479606 w 5047599"/>
              <a:gd name="connsiteY9398" fmla="*/ 448088 h 4588585"/>
              <a:gd name="connsiteX9399" fmla="*/ 3496688 w 5047599"/>
              <a:gd name="connsiteY9399" fmla="*/ 448130 h 4588585"/>
              <a:gd name="connsiteX9400" fmla="*/ 3510687 w 5047599"/>
              <a:gd name="connsiteY9400" fmla="*/ 444630 h 4588585"/>
              <a:gd name="connsiteX9401" fmla="*/ 3526903 w 5047599"/>
              <a:gd name="connsiteY9401" fmla="*/ 436097 h 4588585"/>
              <a:gd name="connsiteX9402" fmla="*/ 3528191 w 5047599"/>
              <a:gd name="connsiteY9402" fmla="*/ 434825 h 4588585"/>
              <a:gd name="connsiteX9403" fmla="*/ 3528191 w 5047599"/>
              <a:gd name="connsiteY9403" fmla="*/ 434826 h 4588585"/>
              <a:gd name="connsiteX9404" fmla="*/ 3539402 w 5047599"/>
              <a:gd name="connsiteY9404" fmla="*/ 423640 h 4588585"/>
              <a:gd name="connsiteX9405" fmla="*/ 3544745 w 5047599"/>
              <a:gd name="connsiteY9405" fmla="*/ 416594 h 4588585"/>
              <a:gd name="connsiteX9406" fmla="*/ 3544745 w 5047599"/>
              <a:gd name="connsiteY9406" fmla="*/ 416595 h 4588585"/>
              <a:gd name="connsiteX9407" fmla="*/ 3545146 w 5047599"/>
              <a:gd name="connsiteY9407" fmla="*/ 416088 h 4588585"/>
              <a:gd name="connsiteX9408" fmla="*/ 3556653 w 5047599"/>
              <a:gd name="connsiteY9408" fmla="*/ 394926 h 4588585"/>
              <a:gd name="connsiteX9409" fmla="*/ 3564085 w 5047599"/>
              <a:gd name="connsiteY9409" fmla="*/ 373916 h 4588585"/>
              <a:gd name="connsiteX9410" fmla="*/ 3571074 w 5047599"/>
              <a:gd name="connsiteY9410" fmla="*/ 344563 h 4588585"/>
              <a:gd name="connsiteX9411" fmla="*/ 3576057 w 5047599"/>
              <a:gd name="connsiteY9411" fmla="*/ 329598 h 4588585"/>
              <a:gd name="connsiteX9412" fmla="*/ 3580280 w 5047599"/>
              <a:gd name="connsiteY9412" fmla="*/ 319667 h 4588585"/>
              <a:gd name="connsiteX9413" fmla="*/ 3582138 w 5047599"/>
              <a:gd name="connsiteY9413" fmla="*/ 311431 h 4588585"/>
              <a:gd name="connsiteX9414" fmla="*/ 3588937 w 5047599"/>
              <a:gd name="connsiteY9414" fmla="*/ 310857 h 4588585"/>
              <a:gd name="connsiteX9415" fmla="*/ 3594005 w 5047599"/>
              <a:gd name="connsiteY9415" fmla="*/ 311727 h 4588585"/>
              <a:gd name="connsiteX9416" fmla="*/ 3600086 w 5047599"/>
              <a:gd name="connsiteY9416" fmla="*/ 312004 h 4588585"/>
              <a:gd name="connsiteX9417" fmla="*/ 3604942 w 5047599"/>
              <a:gd name="connsiteY9417" fmla="*/ 308903 h 4588585"/>
              <a:gd name="connsiteX9418" fmla="*/ 3607265 w 5047599"/>
              <a:gd name="connsiteY9418" fmla="*/ 299630 h 4588585"/>
              <a:gd name="connsiteX9419" fmla="*/ 3610031 w 5047599"/>
              <a:gd name="connsiteY9419" fmla="*/ 298123 h 4588585"/>
              <a:gd name="connsiteX9420" fmla="*/ 3611445 w 5047599"/>
              <a:gd name="connsiteY9420" fmla="*/ 300330 h 4588585"/>
              <a:gd name="connsiteX9421" fmla="*/ 3612882 w 5047599"/>
              <a:gd name="connsiteY9421" fmla="*/ 297889 h 4588585"/>
              <a:gd name="connsiteX9422" fmla="*/ 3619237 w 5047599"/>
              <a:gd name="connsiteY9422" fmla="*/ 293792 h 4588585"/>
              <a:gd name="connsiteX9423" fmla="*/ 3622383 w 5047599"/>
              <a:gd name="connsiteY9423" fmla="*/ 291160 h 4588585"/>
              <a:gd name="connsiteX9424" fmla="*/ 3625529 w 5047599"/>
              <a:gd name="connsiteY9424" fmla="*/ 287914 h 4588585"/>
              <a:gd name="connsiteX9425" fmla="*/ 3627216 w 5047599"/>
              <a:gd name="connsiteY9425" fmla="*/ 286747 h 4588585"/>
              <a:gd name="connsiteX9426" fmla="*/ 3627217 w 5047599"/>
              <a:gd name="connsiteY9426" fmla="*/ 286744 h 4588585"/>
              <a:gd name="connsiteX9427" fmla="*/ 3625529 w 5047599"/>
              <a:gd name="connsiteY9427" fmla="*/ 287912 h 4588585"/>
              <a:gd name="connsiteX9428" fmla="*/ 3622383 w 5047599"/>
              <a:gd name="connsiteY9428" fmla="*/ 291159 h 4588585"/>
              <a:gd name="connsiteX9429" fmla="*/ 3619237 w 5047599"/>
              <a:gd name="connsiteY9429" fmla="*/ 293792 h 4588585"/>
              <a:gd name="connsiteX9430" fmla="*/ 3612882 w 5047599"/>
              <a:gd name="connsiteY9430" fmla="*/ 297888 h 4588585"/>
              <a:gd name="connsiteX9431" fmla="*/ 3611445 w 5047599"/>
              <a:gd name="connsiteY9431" fmla="*/ 300329 h 4588585"/>
              <a:gd name="connsiteX9432" fmla="*/ 3610031 w 5047599"/>
              <a:gd name="connsiteY9432" fmla="*/ 298120 h 4588585"/>
              <a:gd name="connsiteX9433" fmla="*/ 3607265 w 5047599"/>
              <a:gd name="connsiteY9433" fmla="*/ 299627 h 4588585"/>
              <a:gd name="connsiteX9434" fmla="*/ 3604942 w 5047599"/>
              <a:gd name="connsiteY9434" fmla="*/ 308903 h 4588585"/>
              <a:gd name="connsiteX9435" fmla="*/ 3600086 w 5047599"/>
              <a:gd name="connsiteY9435" fmla="*/ 312002 h 4588585"/>
              <a:gd name="connsiteX9436" fmla="*/ 3594005 w 5047599"/>
              <a:gd name="connsiteY9436" fmla="*/ 311723 h 4588585"/>
              <a:gd name="connsiteX9437" fmla="*/ 3588937 w 5047599"/>
              <a:gd name="connsiteY9437" fmla="*/ 310853 h 4588585"/>
              <a:gd name="connsiteX9438" fmla="*/ 3582138 w 5047599"/>
              <a:gd name="connsiteY9438" fmla="*/ 311427 h 4588585"/>
              <a:gd name="connsiteX9439" fmla="*/ 3584904 w 5047599"/>
              <a:gd name="connsiteY9439" fmla="*/ 306036 h 4588585"/>
              <a:gd name="connsiteX9440" fmla="*/ 3587776 w 5047599"/>
              <a:gd name="connsiteY9440" fmla="*/ 299011 h 4588585"/>
              <a:gd name="connsiteX9441" fmla="*/ 3590605 w 5047599"/>
              <a:gd name="connsiteY9441" fmla="*/ 289545 h 4588585"/>
              <a:gd name="connsiteX9442" fmla="*/ 3595609 w 5047599"/>
              <a:gd name="connsiteY9442" fmla="*/ 281672 h 4588585"/>
              <a:gd name="connsiteX9443" fmla="*/ 3605977 w 5047599"/>
              <a:gd name="connsiteY9443" fmla="*/ 254844 h 4588585"/>
              <a:gd name="connsiteX9444" fmla="*/ 3611973 w 5047599"/>
              <a:gd name="connsiteY9444" fmla="*/ 243955 h 4588585"/>
              <a:gd name="connsiteX9445" fmla="*/ 3614106 w 5047599"/>
              <a:gd name="connsiteY9445" fmla="*/ 228461 h 4588585"/>
              <a:gd name="connsiteX9446" fmla="*/ 3623375 w 5047599"/>
              <a:gd name="connsiteY9446" fmla="*/ 214898 h 4588585"/>
              <a:gd name="connsiteX9447" fmla="*/ 3630301 w 5047599"/>
              <a:gd name="connsiteY9447" fmla="*/ 210867 h 4588585"/>
              <a:gd name="connsiteX9448" fmla="*/ 3633658 w 5047599"/>
              <a:gd name="connsiteY9448" fmla="*/ 206982 h 4588585"/>
              <a:gd name="connsiteX9449" fmla="*/ 3633573 w 5047599"/>
              <a:gd name="connsiteY9449" fmla="*/ 201082 h 4588585"/>
              <a:gd name="connsiteX9450" fmla="*/ 3643920 w 5047599"/>
              <a:gd name="connsiteY9450" fmla="*/ 201125 h 4588585"/>
              <a:gd name="connsiteX9451" fmla="*/ 3650592 w 5047599"/>
              <a:gd name="connsiteY9451" fmla="*/ 200826 h 4588585"/>
              <a:gd name="connsiteX9452" fmla="*/ 3652514 w 5047599"/>
              <a:gd name="connsiteY9452" fmla="*/ 197515 h 4588585"/>
              <a:gd name="connsiteX9453" fmla="*/ 3657728 w 5047599"/>
              <a:gd name="connsiteY9453" fmla="*/ 199023 h 4588585"/>
              <a:gd name="connsiteX9454" fmla="*/ 3660621 w 5047599"/>
              <a:gd name="connsiteY9454" fmla="*/ 202208 h 4588585"/>
              <a:gd name="connsiteX9455" fmla="*/ 3660622 w 5047599"/>
              <a:gd name="connsiteY9455" fmla="*/ 202206 h 4588585"/>
              <a:gd name="connsiteX9456" fmla="*/ 3657729 w 5047599"/>
              <a:gd name="connsiteY9456" fmla="*/ 199023 h 4588585"/>
              <a:gd name="connsiteX9457" fmla="*/ 3652514 w 5047599"/>
              <a:gd name="connsiteY9457" fmla="*/ 197515 h 4588585"/>
              <a:gd name="connsiteX9458" fmla="*/ 3650592 w 5047599"/>
              <a:gd name="connsiteY9458" fmla="*/ 200825 h 4588585"/>
              <a:gd name="connsiteX9459" fmla="*/ 3643920 w 5047599"/>
              <a:gd name="connsiteY9459" fmla="*/ 201123 h 4588585"/>
              <a:gd name="connsiteX9460" fmla="*/ 3633573 w 5047599"/>
              <a:gd name="connsiteY9460" fmla="*/ 201081 h 4588585"/>
              <a:gd name="connsiteX9461" fmla="*/ 3629013 w 5047599"/>
              <a:gd name="connsiteY9461" fmla="*/ 184993 h 4588585"/>
              <a:gd name="connsiteX9462" fmla="*/ 3628316 w 5047599"/>
              <a:gd name="connsiteY9462" fmla="*/ 178010 h 4588585"/>
              <a:gd name="connsiteX9463" fmla="*/ 3628443 w 5047599"/>
              <a:gd name="connsiteY9463" fmla="*/ 169924 h 4588585"/>
              <a:gd name="connsiteX9464" fmla="*/ 3631589 w 5047599"/>
              <a:gd name="connsiteY9464" fmla="*/ 158081 h 4588585"/>
              <a:gd name="connsiteX9465" fmla="*/ 3630111 w 5047599"/>
              <a:gd name="connsiteY9465" fmla="*/ 152583 h 4588585"/>
              <a:gd name="connsiteX9466" fmla="*/ 3629984 w 5047599"/>
              <a:gd name="connsiteY9466" fmla="*/ 148869 h 4588585"/>
              <a:gd name="connsiteX9467" fmla="*/ 3629182 w 5047599"/>
              <a:gd name="connsiteY9467" fmla="*/ 143775 h 4588585"/>
              <a:gd name="connsiteX9468" fmla="*/ 3621011 w 5047599"/>
              <a:gd name="connsiteY9468" fmla="*/ 132781 h 4588585"/>
              <a:gd name="connsiteX9469" fmla="*/ 3625466 w 5047599"/>
              <a:gd name="connsiteY9469" fmla="*/ 112491 h 4588585"/>
              <a:gd name="connsiteX9470" fmla="*/ 3628612 w 5047599"/>
              <a:gd name="connsiteY9470" fmla="*/ 107567 h 4588585"/>
              <a:gd name="connsiteX9471" fmla="*/ 3633046 w 5047599"/>
              <a:gd name="connsiteY9471" fmla="*/ 108034 h 4588585"/>
              <a:gd name="connsiteX9472" fmla="*/ 3642506 w 5047599"/>
              <a:gd name="connsiteY9472" fmla="*/ 113807 h 4588585"/>
              <a:gd name="connsiteX9473" fmla="*/ 3644068 w 5047599"/>
              <a:gd name="connsiteY9473" fmla="*/ 113638 h 4588585"/>
              <a:gd name="connsiteX9474" fmla="*/ 3646939 w 5047599"/>
              <a:gd name="connsiteY9474" fmla="*/ 106040 h 4588585"/>
              <a:gd name="connsiteX9475" fmla="*/ 3649726 w 5047599"/>
              <a:gd name="connsiteY9475" fmla="*/ 103471 h 4588585"/>
              <a:gd name="connsiteX9476" fmla="*/ 3655554 w 5047599"/>
              <a:gd name="connsiteY9476" fmla="*/ 101201 h 4588585"/>
              <a:gd name="connsiteX9477" fmla="*/ 3657222 w 5047599"/>
              <a:gd name="connsiteY9477" fmla="*/ 88891 h 4588585"/>
              <a:gd name="connsiteX9478" fmla="*/ 3659946 w 5047599"/>
              <a:gd name="connsiteY9478" fmla="*/ 86535 h 4588585"/>
              <a:gd name="connsiteX9479" fmla="*/ 3663240 w 5047599"/>
              <a:gd name="connsiteY9479" fmla="*/ 85261 h 4588585"/>
              <a:gd name="connsiteX9480" fmla="*/ 3668307 w 5047599"/>
              <a:gd name="connsiteY9480" fmla="*/ 85006 h 4588585"/>
              <a:gd name="connsiteX9481" fmla="*/ 3672699 w 5047599"/>
              <a:gd name="connsiteY9481" fmla="*/ 84285 h 4588585"/>
              <a:gd name="connsiteX9482" fmla="*/ 3672974 w 5047599"/>
              <a:gd name="connsiteY9482" fmla="*/ 82119 h 4588585"/>
              <a:gd name="connsiteX9483" fmla="*/ 3666808 w 5047599"/>
              <a:gd name="connsiteY9483" fmla="*/ 67835 h 4588585"/>
              <a:gd name="connsiteX9484" fmla="*/ 3667358 w 5047599"/>
              <a:gd name="connsiteY9484" fmla="*/ 64207 h 4588585"/>
              <a:gd name="connsiteX9485" fmla="*/ 3670334 w 5047599"/>
              <a:gd name="connsiteY9485" fmla="*/ 49815 h 4588585"/>
              <a:gd name="connsiteX9486" fmla="*/ 3672213 w 5047599"/>
              <a:gd name="connsiteY9486" fmla="*/ 44170 h 4588585"/>
              <a:gd name="connsiteX9487" fmla="*/ 3674009 w 5047599"/>
              <a:gd name="connsiteY9487" fmla="*/ 42322 h 4588585"/>
              <a:gd name="connsiteX9488" fmla="*/ 3680997 w 5047599"/>
              <a:gd name="connsiteY9488" fmla="*/ 43044 h 4588585"/>
              <a:gd name="connsiteX9489" fmla="*/ 3690773 w 5047599"/>
              <a:gd name="connsiteY9489" fmla="*/ 45592 h 4588585"/>
              <a:gd name="connsiteX9490" fmla="*/ 3693371 w 5047599"/>
              <a:gd name="connsiteY9490" fmla="*/ 49731 h 4588585"/>
              <a:gd name="connsiteX9491" fmla="*/ 3698164 w 5047599"/>
              <a:gd name="connsiteY9491" fmla="*/ 53423 h 4588585"/>
              <a:gd name="connsiteX9492" fmla="*/ 3705321 w 5047599"/>
              <a:gd name="connsiteY9492" fmla="*/ 53167 h 4588585"/>
              <a:gd name="connsiteX9493" fmla="*/ 3713619 w 5047599"/>
              <a:gd name="connsiteY9493" fmla="*/ 53868 h 4588585"/>
              <a:gd name="connsiteX9494" fmla="*/ 3720080 w 5047599"/>
              <a:gd name="connsiteY9494" fmla="*/ 54103 h 4588585"/>
              <a:gd name="connsiteX9495" fmla="*/ 3725254 w 5047599"/>
              <a:gd name="connsiteY9495" fmla="*/ 51513 h 4588585"/>
              <a:gd name="connsiteX9496" fmla="*/ 3736930 w 5047599"/>
              <a:gd name="connsiteY9496" fmla="*/ 46674 h 4588585"/>
              <a:gd name="connsiteX9497" fmla="*/ 3742694 w 5047599"/>
              <a:gd name="connsiteY9497" fmla="*/ 45061 h 4588585"/>
              <a:gd name="connsiteX9498" fmla="*/ 3747952 w 5047599"/>
              <a:gd name="connsiteY9498" fmla="*/ 42917 h 4588585"/>
              <a:gd name="connsiteX9499" fmla="*/ 3764843 w 5047599"/>
              <a:gd name="connsiteY9499" fmla="*/ 34979 h 4588585"/>
              <a:gd name="connsiteX9500" fmla="*/ 3771621 w 5047599"/>
              <a:gd name="connsiteY9500" fmla="*/ 35597 h 4588585"/>
              <a:gd name="connsiteX9501" fmla="*/ 3776245 w 5047599"/>
              <a:gd name="connsiteY9501" fmla="*/ 36635 h 4588585"/>
              <a:gd name="connsiteX9502" fmla="*/ 3779792 w 5047599"/>
              <a:gd name="connsiteY9502" fmla="*/ 37909 h 4588585"/>
              <a:gd name="connsiteX9503" fmla="*/ 3787732 w 5047599"/>
              <a:gd name="connsiteY9503" fmla="*/ 43320 h 4588585"/>
              <a:gd name="connsiteX9504" fmla="*/ 3794298 w 5047599"/>
              <a:gd name="connsiteY9504" fmla="*/ 48797 h 4588585"/>
              <a:gd name="connsiteX9505" fmla="*/ 3798923 w 5047599"/>
              <a:gd name="connsiteY9505" fmla="*/ 50430 h 4588585"/>
              <a:gd name="connsiteX9506" fmla="*/ 3807199 w 5047599"/>
              <a:gd name="connsiteY9506" fmla="*/ 50304 h 4588585"/>
              <a:gd name="connsiteX9507" fmla="*/ 3819171 w 5047599"/>
              <a:gd name="connsiteY9507" fmla="*/ 51364 h 4588585"/>
              <a:gd name="connsiteX9508" fmla="*/ 3833867 w 5047599"/>
              <a:gd name="connsiteY9508" fmla="*/ 51279 h 4588585"/>
              <a:gd name="connsiteX9509" fmla="*/ 3842461 w 5047599"/>
              <a:gd name="connsiteY9509" fmla="*/ 49752 h 4588585"/>
              <a:gd name="connsiteX9510" fmla="*/ 3853420 w 5047599"/>
              <a:gd name="connsiteY9510" fmla="*/ 47055 h 4588585"/>
              <a:gd name="connsiteX9511" fmla="*/ 3872971 w 5047599"/>
              <a:gd name="connsiteY9511" fmla="*/ 40582 h 4588585"/>
              <a:gd name="connsiteX9512" fmla="*/ 3898689 w 5047599"/>
              <a:gd name="connsiteY9512" fmla="*/ 27020 h 4588585"/>
              <a:gd name="connsiteX9513" fmla="*/ 3913807 w 5047599"/>
              <a:gd name="connsiteY9513" fmla="*/ 20419 h 4588585"/>
              <a:gd name="connsiteX9514" fmla="*/ 3920332 w 5047599"/>
              <a:gd name="connsiteY9514" fmla="*/ 19634 h 4588585"/>
              <a:gd name="connsiteX9515" fmla="*/ 3928820 w 5047599"/>
              <a:gd name="connsiteY9515" fmla="*/ 19571 h 4588585"/>
              <a:gd name="connsiteX9516" fmla="*/ 3937307 w 5047599"/>
              <a:gd name="connsiteY9516" fmla="*/ 21289 h 4588585"/>
              <a:gd name="connsiteX9517" fmla="*/ 3946936 w 5047599"/>
              <a:gd name="connsiteY9517" fmla="*/ 22519 h 4588585"/>
              <a:gd name="connsiteX9518" fmla="*/ 3951391 w 5047599"/>
              <a:gd name="connsiteY9518" fmla="*/ 22415 h 4588585"/>
              <a:gd name="connsiteX9519" fmla="*/ 3961800 w 5047599"/>
              <a:gd name="connsiteY9519" fmla="*/ 21056 h 4588585"/>
              <a:gd name="connsiteX9520" fmla="*/ 3975314 w 5047599"/>
              <a:gd name="connsiteY9520" fmla="*/ 18298 h 4588585"/>
              <a:gd name="connsiteX9521" fmla="*/ 3983802 w 5047599"/>
              <a:gd name="connsiteY9521" fmla="*/ 16047 h 4588585"/>
              <a:gd name="connsiteX9522" fmla="*/ 3994064 w 5047599"/>
              <a:gd name="connsiteY9522" fmla="*/ 12354 h 4588585"/>
              <a:gd name="connsiteX9523" fmla="*/ 4000461 w 5047599"/>
              <a:gd name="connsiteY9523" fmla="*/ 6199 h 4588585"/>
              <a:gd name="connsiteX9524" fmla="*/ 4002531 w 5047599"/>
              <a:gd name="connsiteY9524" fmla="*/ 5562 h 4588585"/>
              <a:gd name="connsiteX9525" fmla="*/ 4005191 w 5047599"/>
              <a:gd name="connsiteY9525" fmla="*/ 6686 h 4588585"/>
              <a:gd name="connsiteX9526" fmla="*/ 4006437 w 5047599"/>
              <a:gd name="connsiteY9526" fmla="*/ 7110 h 4588585"/>
              <a:gd name="connsiteX9527" fmla="*/ 4009055 w 5047599"/>
              <a:gd name="connsiteY9527" fmla="*/ 10590 h 4588585"/>
              <a:gd name="connsiteX9528" fmla="*/ 4011800 w 5047599"/>
              <a:gd name="connsiteY9528" fmla="*/ 19615 h 4588585"/>
              <a:gd name="connsiteX9529" fmla="*/ 4011800 w 5047599"/>
              <a:gd name="connsiteY9529" fmla="*/ 20612 h 4588585"/>
              <a:gd name="connsiteX9530" fmla="*/ 4011801 w 5047599"/>
              <a:gd name="connsiteY9530" fmla="*/ 20607 h 4588585"/>
              <a:gd name="connsiteX9531" fmla="*/ 4011801 w 5047599"/>
              <a:gd name="connsiteY9531" fmla="*/ 19612 h 4588585"/>
              <a:gd name="connsiteX9532" fmla="*/ 4017544 w 5047599"/>
              <a:gd name="connsiteY9532" fmla="*/ 18104 h 4588585"/>
              <a:gd name="connsiteX9533" fmla="*/ 4028164 w 5047599"/>
              <a:gd name="connsiteY9533" fmla="*/ 9125 h 4588585"/>
              <a:gd name="connsiteX9534" fmla="*/ 4034435 w 5047599"/>
              <a:gd name="connsiteY9534" fmla="*/ 743 h 458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Lst>
            <a:rect l="l" t="t" r="r" b="b"/>
            <a:pathLst>
              <a:path w="5047599" h="4588585">
                <a:moveTo>
                  <a:pt x="3122369" y="4269463"/>
                </a:moveTo>
                <a:lnTo>
                  <a:pt x="3122368" y="4269501"/>
                </a:lnTo>
                <a:lnTo>
                  <a:pt x="3123233" y="4271697"/>
                </a:lnTo>
                <a:lnTo>
                  <a:pt x="3124668" y="4274210"/>
                </a:lnTo>
                <a:lnTo>
                  <a:pt x="3125872" y="4274843"/>
                </a:lnTo>
                <a:lnTo>
                  <a:pt x="3127223" y="4275772"/>
                </a:lnTo>
                <a:lnTo>
                  <a:pt x="3130813" y="4277525"/>
                </a:lnTo>
                <a:lnTo>
                  <a:pt x="3131678" y="4278686"/>
                </a:lnTo>
                <a:lnTo>
                  <a:pt x="3134191" y="4280776"/>
                </a:lnTo>
                <a:lnTo>
                  <a:pt x="3136598" y="4284577"/>
                </a:lnTo>
                <a:lnTo>
                  <a:pt x="3141159" y="4289792"/>
                </a:lnTo>
                <a:lnTo>
                  <a:pt x="3146290" y="4293762"/>
                </a:lnTo>
                <a:lnTo>
                  <a:pt x="3155095" y="4295388"/>
                </a:lnTo>
                <a:lnTo>
                  <a:pt x="3161978" y="4296676"/>
                </a:lnTo>
                <a:lnTo>
                  <a:pt x="3164259" y="4295894"/>
                </a:lnTo>
                <a:lnTo>
                  <a:pt x="3166602" y="4292685"/>
                </a:lnTo>
                <a:lnTo>
                  <a:pt x="3168524" y="4288609"/>
                </a:lnTo>
                <a:lnTo>
                  <a:pt x="3168529" y="4288557"/>
                </a:lnTo>
                <a:lnTo>
                  <a:pt x="3166624" y="4292621"/>
                </a:lnTo>
                <a:lnTo>
                  <a:pt x="3164259" y="4295810"/>
                </a:lnTo>
                <a:lnTo>
                  <a:pt x="3161979" y="4296590"/>
                </a:lnTo>
                <a:lnTo>
                  <a:pt x="3155096" y="4295324"/>
                </a:lnTo>
                <a:lnTo>
                  <a:pt x="3146270" y="4293698"/>
                </a:lnTo>
                <a:lnTo>
                  <a:pt x="3141139" y="4289728"/>
                </a:lnTo>
                <a:lnTo>
                  <a:pt x="3136578" y="4284492"/>
                </a:lnTo>
                <a:lnTo>
                  <a:pt x="3134192" y="4280691"/>
                </a:lnTo>
                <a:lnTo>
                  <a:pt x="3131658" y="4278622"/>
                </a:lnTo>
                <a:lnTo>
                  <a:pt x="3130792" y="4277461"/>
                </a:lnTo>
                <a:lnTo>
                  <a:pt x="3127224" y="4275708"/>
                </a:lnTo>
                <a:lnTo>
                  <a:pt x="3125873" y="4274800"/>
                </a:lnTo>
                <a:lnTo>
                  <a:pt x="3124669" y="4274145"/>
                </a:lnTo>
                <a:lnTo>
                  <a:pt x="3123234" y="4271634"/>
                </a:lnTo>
                <a:close/>
                <a:moveTo>
                  <a:pt x="3225957" y="4246967"/>
                </a:moveTo>
                <a:lnTo>
                  <a:pt x="3221881" y="4250265"/>
                </a:lnTo>
                <a:lnTo>
                  <a:pt x="3218713" y="4252440"/>
                </a:lnTo>
                <a:lnTo>
                  <a:pt x="3214301" y="4255122"/>
                </a:lnTo>
                <a:lnTo>
                  <a:pt x="3204567" y="4259471"/>
                </a:lnTo>
                <a:lnTo>
                  <a:pt x="3199246" y="4261181"/>
                </a:lnTo>
                <a:lnTo>
                  <a:pt x="3198507" y="4261308"/>
                </a:lnTo>
                <a:lnTo>
                  <a:pt x="3195066" y="4260928"/>
                </a:lnTo>
                <a:lnTo>
                  <a:pt x="3190505" y="4261329"/>
                </a:lnTo>
                <a:lnTo>
                  <a:pt x="3186936" y="4262258"/>
                </a:lnTo>
                <a:lnTo>
                  <a:pt x="3184148" y="4262618"/>
                </a:lnTo>
                <a:lnTo>
                  <a:pt x="3179610" y="4267473"/>
                </a:lnTo>
                <a:lnTo>
                  <a:pt x="3171332" y="4280586"/>
                </a:lnTo>
                <a:lnTo>
                  <a:pt x="3169136" y="4283351"/>
                </a:lnTo>
                <a:lnTo>
                  <a:pt x="3168897" y="4285444"/>
                </a:lnTo>
                <a:lnTo>
                  <a:pt x="3169136" y="4283416"/>
                </a:lnTo>
                <a:lnTo>
                  <a:pt x="3171332" y="4280671"/>
                </a:lnTo>
                <a:lnTo>
                  <a:pt x="3179588" y="4267537"/>
                </a:lnTo>
                <a:lnTo>
                  <a:pt x="3184127" y="4262660"/>
                </a:lnTo>
                <a:lnTo>
                  <a:pt x="3186915" y="4262301"/>
                </a:lnTo>
                <a:lnTo>
                  <a:pt x="3190483" y="4261372"/>
                </a:lnTo>
                <a:lnTo>
                  <a:pt x="3195043" y="4260971"/>
                </a:lnTo>
                <a:lnTo>
                  <a:pt x="3198465" y="4261372"/>
                </a:lnTo>
                <a:lnTo>
                  <a:pt x="3199204" y="4261224"/>
                </a:lnTo>
                <a:lnTo>
                  <a:pt x="3204566" y="4259492"/>
                </a:lnTo>
                <a:lnTo>
                  <a:pt x="3204566" y="4259472"/>
                </a:lnTo>
                <a:lnTo>
                  <a:pt x="3214301" y="4255122"/>
                </a:lnTo>
                <a:lnTo>
                  <a:pt x="3218692" y="4252483"/>
                </a:lnTo>
                <a:lnTo>
                  <a:pt x="3221859" y="4250287"/>
                </a:lnTo>
                <a:lnTo>
                  <a:pt x="3225956" y="4246972"/>
                </a:lnTo>
                <a:close/>
                <a:moveTo>
                  <a:pt x="3104717" y="4229555"/>
                </a:moveTo>
                <a:lnTo>
                  <a:pt x="3104715" y="4229573"/>
                </a:lnTo>
                <a:lnTo>
                  <a:pt x="3107080" y="4235696"/>
                </a:lnTo>
                <a:lnTo>
                  <a:pt x="3109360" y="4241588"/>
                </a:lnTo>
                <a:lnTo>
                  <a:pt x="3113098" y="4248514"/>
                </a:lnTo>
                <a:lnTo>
                  <a:pt x="3115842" y="4253580"/>
                </a:lnTo>
                <a:lnTo>
                  <a:pt x="3120171" y="4259789"/>
                </a:lnTo>
                <a:lnTo>
                  <a:pt x="3122703" y="4263396"/>
                </a:lnTo>
                <a:lnTo>
                  <a:pt x="3122706" y="4263356"/>
                </a:lnTo>
                <a:lnTo>
                  <a:pt x="3120172" y="4259725"/>
                </a:lnTo>
                <a:lnTo>
                  <a:pt x="3115843" y="4253559"/>
                </a:lnTo>
                <a:lnTo>
                  <a:pt x="3113119" y="4248470"/>
                </a:lnTo>
                <a:lnTo>
                  <a:pt x="3109382" y="4241566"/>
                </a:lnTo>
                <a:lnTo>
                  <a:pt x="3107081" y="4235653"/>
                </a:lnTo>
                <a:close/>
                <a:moveTo>
                  <a:pt x="3231464" y="4228982"/>
                </a:moveTo>
                <a:lnTo>
                  <a:pt x="3228595" y="4232064"/>
                </a:lnTo>
                <a:lnTo>
                  <a:pt x="3228591" y="4232088"/>
                </a:lnTo>
                <a:close/>
                <a:moveTo>
                  <a:pt x="3236632" y="4224172"/>
                </a:moveTo>
                <a:lnTo>
                  <a:pt x="3234930" y="4226448"/>
                </a:lnTo>
                <a:lnTo>
                  <a:pt x="3231720" y="4228707"/>
                </a:lnTo>
                <a:lnTo>
                  <a:pt x="3231702" y="4228726"/>
                </a:lnTo>
                <a:lnTo>
                  <a:pt x="3234909" y="4226490"/>
                </a:lnTo>
                <a:close/>
                <a:moveTo>
                  <a:pt x="2646166" y="4166363"/>
                </a:moveTo>
                <a:lnTo>
                  <a:pt x="2646106" y="4166377"/>
                </a:lnTo>
                <a:lnTo>
                  <a:pt x="2643636" y="4169355"/>
                </a:lnTo>
                <a:lnTo>
                  <a:pt x="2644311" y="4174126"/>
                </a:lnTo>
                <a:lnTo>
                  <a:pt x="2642137" y="4177737"/>
                </a:lnTo>
                <a:lnTo>
                  <a:pt x="2642020" y="4177797"/>
                </a:lnTo>
                <a:lnTo>
                  <a:pt x="2642220" y="4177695"/>
                </a:lnTo>
                <a:lnTo>
                  <a:pt x="2644395" y="4174063"/>
                </a:lnTo>
                <a:lnTo>
                  <a:pt x="2643720" y="4169312"/>
                </a:lnTo>
                <a:close/>
                <a:moveTo>
                  <a:pt x="2653467" y="4163706"/>
                </a:moveTo>
                <a:lnTo>
                  <a:pt x="2651771" y="4165051"/>
                </a:lnTo>
                <a:lnTo>
                  <a:pt x="2651785" y="4165047"/>
                </a:lnTo>
                <a:close/>
                <a:moveTo>
                  <a:pt x="2659636" y="4155615"/>
                </a:moveTo>
                <a:lnTo>
                  <a:pt x="2659577" y="4155651"/>
                </a:lnTo>
                <a:lnTo>
                  <a:pt x="2656212" y="4161518"/>
                </a:lnTo>
                <a:lnTo>
                  <a:pt x="2656262" y="4161478"/>
                </a:lnTo>
                <a:close/>
                <a:moveTo>
                  <a:pt x="2508257" y="4120540"/>
                </a:moveTo>
                <a:lnTo>
                  <a:pt x="2505124" y="4121656"/>
                </a:lnTo>
                <a:lnTo>
                  <a:pt x="2501682" y="4125584"/>
                </a:lnTo>
                <a:lnTo>
                  <a:pt x="2499655" y="4131685"/>
                </a:lnTo>
                <a:lnTo>
                  <a:pt x="2497818" y="4134768"/>
                </a:lnTo>
                <a:lnTo>
                  <a:pt x="2496889" y="4139878"/>
                </a:lnTo>
                <a:lnTo>
                  <a:pt x="2496466" y="4143510"/>
                </a:lnTo>
                <a:lnTo>
                  <a:pt x="2494608" y="4147396"/>
                </a:lnTo>
                <a:lnTo>
                  <a:pt x="2492685" y="4148942"/>
                </a:lnTo>
                <a:lnTo>
                  <a:pt x="2492729" y="4148958"/>
                </a:lnTo>
                <a:lnTo>
                  <a:pt x="2494672" y="4147396"/>
                </a:lnTo>
                <a:lnTo>
                  <a:pt x="2496551" y="4143510"/>
                </a:lnTo>
                <a:lnTo>
                  <a:pt x="2496973" y="4139878"/>
                </a:lnTo>
                <a:lnTo>
                  <a:pt x="2497903" y="4134747"/>
                </a:lnTo>
                <a:lnTo>
                  <a:pt x="2499739" y="4131664"/>
                </a:lnTo>
                <a:lnTo>
                  <a:pt x="2501766" y="4125563"/>
                </a:lnTo>
                <a:lnTo>
                  <a:pt x="2505207" y="4121635"/>
                </a:lnTo>
                <a:close/>
                <a:moveTo>
                  <a:pt x="3406328" y="4039366"/>
                </a:moveTo>
                <a:lnTo>
                  <a:pt x="3404680" y="4039494"/>
                </a:lnTo>
                <a:lnTo>
                  <a:pt x="3404691" y="4039500"/>
                </a:lnTo>
                <a:close/>
                <a:moveTo>
                  <a:pt x="2773068" y="4039055"/>
                </a:moveTo>
                <a:lnTo>
                  <a:pt x="2750317" y="4040302"/>
                </a:lnTo>
                <a:lnTo>
                  <a:pt x="2750391" y="4040323"/>
                </a:lnTo>
                <a:lnTo>
                  <a:pt x="2773086" y="4039060"/>
                </a:lnTo>
                <a:close/>
                <a:moveTo>
                  <a:pt x="3397680" y="4038028"/>
                </a:moveTo>
                <a:lnTo>
                  <a:pt x="3397617" y="4038042"/>
                </a:lnTo>
                <a:lnTo>
                  <a:pt x="3395992" y="4047565"/>
                </a:lnTo>
                <a:lnTo>
                  <a:pt x="3394725" y="4061733"/>
                </a:lnTo>
                <a:lnTo>
                  <a:pt x="3395483" y="4070518"/>
                </a:lnTo>
                <a:lnTo>
                  <a:pt x="3395527" y="4070517"/>
                </a:lnTo>
                <a:lnTo>
                  <a:pt x="3394789" y="4061691"/>
                </a:lnTo>
                <a:lnTo>
                  <a:pt x="3396055" y="4047523"/>
                </a:lnTo>
                <a:close/>
                <a:moveTo>
                  <a:pt x="2738440" y="4037451"/>
                </a:moveTo>
                <a:lnTo>
                  <a:pt x="2730753" y="4040111"/>
                </a:lnTo>
                <a:lnTo>
                  <a:pt x="2730754" y="4040111"/>
                </a:lnTo>
                <a:lnTo>
                  <a:pt x="2738497" y="4037461"/>
                </a:lnTo>
                <a:close/>
                <a:moveTo>
                  <a:pt x="2805599" y="4026129"/>
                </a:moveTo>
                <a:lnTo>
                  <a:pt x="2800306" y="4027717"/>
                </a:lnTo>
                <a:lnTo>
                  <a:pt x="2795470" y="4028794"/>
                </a:lnTo>
                <a:lnTo>
                  <a:pt x="2792810" y="4030927"/>
                </a:lnTo>
                <a:lnTo>
                  <a:pt x="2789833" y="4037324"/>
                </a:lnTo>
                <a:lnTo>
                  <a:pt x="2787257" y="4039605"/>
                </a:lnTo>
                <a:lnTo>
                  <a:pt x="2784406" y="4040471"/>
                </a:lnTo>
                <a:lnTo>
                  <a:pt x="2775813" y="4039710"/>
                </a:lnTo>
                <a:lnTo>
                  <a:pt x="2775649" y="4039672"/>
                </a:lnTo>
                <a:lnTo>
                  <a:pt x="2775897" y="4039732"/>
                </a:lnTo>
                <a:lnTo>
                  <a:pt x="2784491" y="4040492"/>
                </a:lnTo>
                <a:lnTo>
                  <a:pt x="2787363" y="4039605"/>
                </a:lnTo>
                <a:lnTo>
                  <a:pt x="2789938" y="4037325"/>
                </a:lnTo>
                <a:lnTo>
                  <a:pt x="2792915" y="4030927"/>
                </a:lnTo>
                <a:lnTo>
                  <a:pt x="2795576" y="4028794"/>
                </a:lnTo>
                <a:lnTo>
                  <a:pt x="2800411" y="4027718"/>
                </a:lnTo>
                <a:close/>
                <a:moveTo>
                  <a:pt x="3395757" y="3981891"/>
                </a:moveTo>
                <a:lnTo>
                  <a:pt x="3396055" y="3982131"/>
                </a:lnTo>
                <a:lnTo>
                  <a:pt x="3400396" y="3984545"/>
                </a:lnTo>
                <a:lnTo>
                  <a:pt x="3396034" y="3982110"/>
                </a:lnTo>
                <a:close/>
                <a:moveTo>
                  <a:pt x="3347032" y="3978705"/>
                </a:moveTo>
                <a:lnTo>
                  <a:pt x="3343944" y="3982659"/>
                </a:lnTo>
                <a:lnTo>
                  <a:pt x="3343936" y="3982679"/>
                </a:lnTo>
                <a:close/>
                <a:moveTo>
                  <a:pt x="3361385" y="3967013"/>
                </a:moveTo>
                <a:lnTo>
                  <a:pt x="3358576" y="3967837"/>
                </a:lnTo>
                <a:lnTo>
                  <a:pt x="3351018" y="3973601"/>
                </a:lnTo>
                <a:lnTo>
                  <a:pt x="3350998" y="3973626"/>
                </a:lnTo>
                <a:lnTo>
                  <a:pt x="3358535" y="3967879"/>
                </a:lnTo>
                <a:lnTo>
                  <a:pt x="3361343" y="3967055"/>
                </a:lnTo>
                <a:lnTo>
                  <a:pt x="3363286" y="3967288"/>
                </a:lnTo>
                <a:lnTo>
                  <a:pt x="3376630" y="3975226"/>
                </a:lnTo>
                <a:lnTo>
                  <a:pt x="3390312" y="3982765"/>
                </a:lnTo>
                <a:lnTo>
                  <a:pt x="3393310" y="3981920"/>
                </a:lnTo>
                <a:lnTo>
                  <a:pt x="3394862" y="3981186"/>
                </a:lnTo>
                <a:lnTo>
                  <a:pt x="3394831" y="3981160"/>
                </a:lnTo>
                <a:lnTo>
                  <a:pt x="3394830" y="3981159"/>
                </a:lnTo>
                <a:lnTo>
                  <a:pt x="3393310" y="3981877"/>
                </a:lnTo>
                <a:lnTo>
                  <a:pt x="3390333" y="3982743"/>
                </a:lnTo>
                <a:lnTo>
                  <a:pt x="3376650" y="3975206"/>
                </a:lnTo>
                <a:lnTo>
                  <a:pt x="3363306" y="3967245"/>
                </a:lnTo>
                <a:close/>
                <a:moveTo>
                  <a:pt x="2880372" y="3935784"/>
                </a:moveTo>
                <a:lnTo>
                  <a:pt x="2873426" y="3937220"/>
                </a:lnTo>
                <a:lnTo>
                  <a:pt x="2868021" y="3938761"/>
                </a:lnTo>
                <a:lnTo>
                  <a:pt x="2865930" y="3939543"/>
                </a:lnTo>
                <a:lnTo>
                  <a:pt x="2861729" y="3942562"/>
                </a:lnTo>
                <a:lnTo>
                  <a:pt x="2857442" y="3948326"/>
                </a:lnTo>
                <a:lnTo>
                  <a:pt x="2853873" y="3957321"/>
                </a:lnTo>
                <a:lnTo>
                  <a:pt x="2852523" y="3962832"/>
                </a:lnTo>
                <a:lnTo>
                  <a:pt x="2848552" y="3974572"/>
                </a:lnTo>
                <a:lnTo>
                  <a:pt x="2843295" y="3988676"/>
                </a:lnTo>
                <a:lnTo>
                  <a:pt x="2840783" y="3992730"/>
                </a:lnTo>
                <a:lnTo>
                  <a:pt x="2837868" y="3995729"/>
                </a:lnTo>
                <a:lnTo>
                  <a:pt x="2833265" y="3998410"/>
                </a:lnTo>
                <a:lnTo>
                  <a:pt x="2818253" y="4009643"/>
                </a:lnTo>
                <a:lnTo>
                  <a:pt x="2810736" y="4022312"/>
                </a:lnTo>
                <a:lnTo>
                  <a:pt x="2806012" y="4026003"/>
                </a:lnTo>
                <a:lnTo>
                  <a:pt x="2806133" y="4025965"/>
                </a:lnTo>
                <a:lnTo>
                  <a:pt x="2810863" y="4022270"/>
                </a:lnTo>
                <a:lnTo>
                  <a:pt x="2818359" y="4009601"/>
                </a:lnTo>
                <a:lnTo>
                  <a:pt x="2833371" y="3998389"/>
                </a:lnTo>
                <a:lnTo>
                  <a:pt x="2837974" y="3995708"/>
                </a:lnTo>
                <a:lnTo>
                  <a:pt x="2840888" y="3992688"/>
                </a:lnTo>
                <a:lnTo>
                  <a:pt x="2843422" y="3988635"/>
                </a:lnTo>
                <a:lnTo>
                  <a:pt x="2848679" y="3974551"/>
                </a:lnTo>
                <a:lnTo>
                  <a:pt x="2852649" y="3962833"/>
                </a:lnTo>
                <a:lnTo>
                  <a:pt x="2854000" y="3957322"/>
                </a:lnTo>
                <a:lnTo>
                  <a:pt x="2857548" y="3948305"/>
                </a:lnTo>
                <a:lnTo>
                  <a:pt x="2861833" y="3942562"/>
                </a:lnTo>
                <a:lnTo>
                  <a:pt x="2866036" y="3939522"/>
                </a:lnTo>
                <a:lnTo>
                  <a:pt x="2868147" y="3938762"/>
                </a:lnTo>
                <a:lnTo>
                  <a:pt x="2873552" y="3937220"/>
                </a:lnTo>
                <a:lnTo>
                  <a:pt x="2880387" y="3935787"/>
                </a:lnTo>
                <a:close/>
                <a:moveTo>
                  <a:pt x="2685674" y="3903754"/>
                </a:moveTo>
                <a:lnTo>
                  <a:pt x="2685674" y="3931203"/>
                </a:lnTo>
                <a:lnTo>
                  <a:pt x="2685674" y="3960383"/>
                </a:lnTo>
                <a:lnTo>
                  <a:pt x="2685674" y="3989669"/>
                </a:lnTo>
                <a:lnTo>
                  <a:pt x="2685674" y="4019081"/>
                </a:lnTo>
                <a:lnTo>
                  <a:pt x="2685674" y="4048600"/>
                </a:lnTo>
                <a:lnTo>
                  <a:pt x="2685674" y="4078223"/>
                </a:lnTo>
                <a:lnTo>
                  <a:pt x="2685674" y="4107953"/>
                </a:lnTo>
                <a:lnTo>
                  <a:pt x="2685674" y="4137852"/>
                </a:lnTo>
                <a:lnTo>
                  <a:pt x="2685674" y="4147289"/>
                </a:lnTo>
                <a:lnTo>
                  <a:pt x="2685738" y="4147290"/>
                </a:lnTo>
                <a:lnTo>
                  <a:pt x="2685738" y="4137809"/>
                </a:lnTo>
                <a:lnTo>
                  <a:pt x="2685738" y="4107911"/>
                </a:lnTo>
                <a:lnTo>
                  <a:pt x="2685738" y="4078182"/>
                </a:lnTo>
                <a:lnTo>
                  <a:pt x="2685738" y="4048558"/>
                </a:lnTo>
                <a:lnTo>
                  <a:pt x="2685738" y="4019019"/>
                </a:lnTo>
                <a:lnTo>
                  <a:pt x="2685738" y="3989627"/>
                </a:lnTo>
                <a:lnTo>
                  <a:pt x="2685738" y="3960362"/>
                </a:lnTo>
                <a:lnTo>
                  <a:pt x="2685738" y="3931182"/>
                </a:lnTo>
                <a:lnTo>
                  <a:pt x="2685738" y="3903797"/>
                </a:lnTo>
                <a:close/>
                <a:moveTo>
                  <a:pt x="3037199" y="3901841"/>
                </a:moveTo>
                <a:lnTo>
                  <a:pt x="3037169" y="3901853"/>
                </a:lnTo>
                <a:lnTo>
                  <a:pt x="3035396" y="3904471"/>
                </a:lnTo>
                <a:lnTo>
                  <a:pt x="3033643" y="3914120"/>
                </a:lnTo>
                <a:lnTo>
                  <a:pt x="3028745" y="3927908"/>
                </a:lnTo>
                <a:lnTo>
                  <a:pt x="3024775" y="3938106"/>
                </a:lnTo>
                <a:lnTo>
                  <a:pt x="3022199" y="3947017"/>
                </a:lnTo>
                <a:lnTo>
                  <a:pt x="3017723" y="3958060"/>
                </a:lnTo>
                <a:lnTo>
                  <a:pt x="3013838" y="3961776"/>
                </a:lnTo>
                <a:lnTo>
                  <a:pt x="3009460" y="3965149"/>
                </a:lnTo>
                <a:lnTo>
                  <a:pt x="3009510" y="3965134"/>
                </a:lnTo>
                <a:lnTo>
                  <a:pt x="3013923" y="3961735"/>
                </a:lnTo>
                <a:lnTo>
                  <a:pt x="3017807" y="3958018"/>
                </a:lnTo>
                <a:lnTo>
                  <a:pt x="3022284" y="3946954"/>
                </a:lnTo>
                <a:lnTo>
                  <a:pt x="3024860" y="3938086"/>
                </a:lnTo>
                <a:lnTo>
                  <a:pt x="3028829" y="3927887"/>
                </a:lnTo>
                <a:lnTo>
                  <a:pt x="3033707" y="3914058"/>
                </a:lnTo>
                <a:lnTo>
                  <a:pt x="3035459" y="3904451"/>
                </a:lnTo>
                <a:close/>
                <a:moveTo>
                  <a:pt x="3072120" y="3886581"/>
                </a:moveTo>
                <a:lnTo>
                  <a:pt x="3072114" y="3886587"/>
                </a:lnTo>
                <a:lnTo>
                  <a:pt x="3069175" y="3891080"/>
                </a:lnTo>
                <a:lnTo>
                  <a:pt x="3069200" y="3891064"/>
                </a:lnTo>
                <a:close/>
                <a:moveTo>
                  <a:pt x="3079011" y="3878913"/>
                </a:moveTo>
                <a:lnTo>
                  <a:pt x="3078998" y="3878923"/>
                </a:lnTo>
                <a:lnTo>
                  <a:pt x="3077411" y="3880690"/>
                </a:lnTo>
                <a:close/>
                <a:moveTo>
                  <a:pt x="3104223" y="3829424"/>
                </a:moveTo>
                <a:lnTo>
                  <a:pt x="3100872" y="3834117"/>
                </a:lnTo>
                <a:lnTo>
                  <a:pt x="3099902" y="3837918"/>
                </a:lnTo>
                <a:lnTo>
                  <a:pt x="3091878" y="3868851"/>
                </a:lnTo>
                <a:lnTo>
                  <a:pt x="3088902" y="3871340"/>
                </a:lnTo>
                <a:lnTo>
                  <a:pt x="3091920" y="3868830"/>
                </a:lnTo>
                <a:lnTo>
                  <a:pt x="3099944" y="3837898"/>
                </a:lnTo>
                <a:lnTo>
                  <a:pt x="3100915" y="3834075"/>
                </a:lnTo>
                <a:close/>
                <a:moveTo>
                  <a:pt x="3136804" y="3804910"/>
                </a:moveTo>
                <a:lnTo>
                  <a:pt x="3136767" y="3804937"/>
                </a:lnTo>
                <a:lnTo>
                  <a:pt x="3135020" y="3809546"/>
                </a:lnTo>
                <a:lnTo>
                  <a:pt x="3135057" y="3809519"/>
                </a:lnTo>
                <a:close/>
                <a:moveTo>
                  <a:pt x="3139808" y="3802657"/>
                </a:moveTo>
                <a:lnTo>
                  <a:pt x="3138332" y="3803763"/>
                </a:lnTo>
                <a:lnTo>
                  <a:pt x="3139821" y="3802658"/>
                </a:lnTo>
                <a:close/>
                <a:moveTo>
                  <a:pt x="3149835" y="3795585"/>
                </a:moveTo>
                <a:lnTo>
                  <a:pt x="3149795" y="3795604"/>
                </a:lnTo>
                <a:lnTo>
                  <a:pt x="3147177" y="3798244"/>
                </a:lnTo>
                <a:lnTo>
                  <a:pt x="3146586" y="3801326"/>
                </a:lnTo>
                <a:lnTo>
                  <a:pt x="3144152" y="3802761"/>
                </a:lnTo>
                <a:lnTo>
                  <a:pt x="3144179" y="3802762"/>
                </a:lnTo>
                <a:lnTo>
                  <a:pt x="3146649" y="3801306"/>
                </a:lnTo>
                <a:lnTo>
                  <a:pt x="3147240" y="3798223"/>
                </a:lnTo>
                <a:close/>
                <a:moveTo>
                  <a:pt x="2685548" y="3776812"/>
                </a:moveTo>
                <a:lnTo>
                  <a:pt x="2685548" y="3776813"/>
                </a:lnTo>
                <a:lnTo>
                  <a:pt x="2685569" y="3795267"/>
                </a:lnTo>
                <a:lnTo>
                  <a:pt x="2685590" y="3813721"/>
                </a:lnTo>
                <a:lnTo>
                  <a:pt x="2685611" y="3832260"/>
                </a:lnTo>
                <a:lnTo>
                  <a:pt x="2685632" y="3850798"/>
                </a:lnTo>
                <a:lnTo>
                  <a:pt x="2685653" y="3869421"/>
                </a:lnTo>
                <a:lnTo>
                  <a:pt x="2685674" y="3888065"/>
                </a:lnTo>
                <a:lnTo>
                  <a:pt x="2685674" y="3888044"/>
                </a:lnTo>
                <a:lnTo>
                  <a:pt x="2685653" y="3869400"/>
                </a:lnTo>
                <a:lnTo>
                  <a:pt x="2685632" y="3850798"/>
                </a:lnTo>
                <a:lnTo>
                  <a:pt x="2685611" y="3832238"/>
                </a:lnTo>
                <a:lnTo>
                  <a:pt x="2685590" y="3813721"/>
                </a:lnTo>
                <a:lnTo>
                  <a:pt x="2685569" y="3795245"/>
                </a:lnTo>
                <a:close/>
                <a:moveTo>
                  <a:pt x="3178877" y="3765478"/>
                </a:moveTo>
                <a:lnTo>
                  <a:pt x="3173359" y="3768958"/>
                </a:lnTo>
                <a:lnTo>
                  <a:pt x="3162570" y="3780529"/>
                </a:lnTo>
                <a:lnTo>
                  <a:pt x="3157058" y="3787813"/>
                </a:lnTo>
                <a:lnTo>
                  <a:pt x="3156826" y="3790811"/>
                </a:lnTo>
                <a:lnTo>
                  <a:pt x="3154419" y="3793408"/>
                </a:lnTo>
                <a:lnTo>
                  <a:pt x="3152515" y="3794312"/>
                </a:lnTo>
                <a:lnTo>
                  <a:pt x="3154482" y="3793387"/>
                </a:lnTo>
                <a:lnTo>
                  <a:pt x="3156889" y="3790770"/>
                </a:lnTo>
                <a:lnTo>
                  <a:pt x="3157122" y="3787771"/>
                </a:lnTo>
                <a:lnTo>
                  <a:pt x="3162633" y="3780508"/>
                </a:lnTo>
                <a:lnTo>
                  <a:pt x="3173422" y="3768937"/>
                </a:lnTo>
                <a:close/>
                <a:moveTo>
                  <a:pt x="3221011" y="3742318"/>
                </a:moveTo>
                <a:lnTo>
                  <a:pt x="3220952" y="3742353"/>
                </a:lnTo>
                <a:lnTo>
                  <a:pt x="3216960" y="3749806"/>
                </a:lnTo>
                <a:lnTo>
                  <a:pt x="3210703" y="3755288"/>
                </a:lnTo>
                <a:lnTo>
                  <a:pt x="3210732" y="3755276"/>
                </a:lnTo>
                <a:lnTo>
                  <a:pt x="3217002" y="3749786"/>
                </a:lnTo>
                <a:close/>
                <a:moveTo>
                  <a:pt x="2685527" y="3740052"/>
                </a:moveTo>
                <a:lnTo>
                  <a:pt x="2685548" y="3758422"/>
                </a:lnTo>
                <a:lnTo>
                  <a:pt x="2685548" y="3758401"/>
                </a:lnTo>
                <a:close/>
                <a:moveTo>
                  <a:pt x="3222100" y="3724515"/>
                </a:moveTo>
                <a:lnTo>
                  <a:pt x="3222683" y="3725736"/>
                </a:lnTo>
                <a:lnTo>
                  <a:pt x="3222683" y="3725737"/>
                </a:lnTo>
                <a:lnTo>
                  <a:pt x="3222684" y="3725737"/>
                </a:lnTo>
                <a:lnTo>
                  <a:pt x="3224414" y="3727594"/>
                </a:lnTo>
                <a:lnTo>
                  <a:pt x="3222683" y="3725737"/>
                </a:lnTo>
                <a:close/>
                <a:moveTo>
                  <a:pt x="3222363" y="3712515"/>
                </a:moveTo>
                <a:lnTo>
                  <a:pt x="3221099" y="3720689"/>
                </a:lnTo>
                <a:lnTo>
                  <a:pt x="3221101" y="3720700"/>
                </a:lnTo>
                <a:lnTo>
                  <a:pt x="3222367" y="3712519"/>
                </a:lnTo>
                <a:close/>
                <a:moveTo>
                  <a:pt x="3420325" y="3681929"/>
                </a:moveTo>
                <a:lnTo>
                  <a:pt x="3419936" y="3682157"/>
                </a:lnTo>
                <a:lnTo>
                  <a:pt x="3419930" y="3682164"/>
                </a:lnTo>
                <a:close/>
                <a:moveTo>
                  <a:pt x="3423356" y="3679790"/>
                </a:moveTo>
                <a:lnTo>
                  <a:pt x="3423312" y="3679831"/>
                </a:lnTo>
                <a:lnTo>
                  <a:pt x="3423357" y="3679791"/>
                </a:lnTo>
                <a:close/>
                <a:moveTo>
                  <a:pt x="3141990" y="3666375"/>
                </a:moveTo>
                <a:lnTo>
                  <a:pt x="3142742" y="3667945"/>
                </a:lnTo>
                <a:lnTo>
                  <a:pt x="3142743" y="3667946"/>
                </a:lnTo>
                <a:lnTo>
                  <a:pt x="3142743" y="3667946"/>
                </a:lnTo>
                <a:lnTo>
                  <a:pt x="3143562" y="3668824"/>
                </a:lnTo>
                <a:lnTo>
                  <a:pt x="3142743" y="3667946"/>
                </a:lnTo>
                <a:close/>
                <a:moveTo>
                  <a:pt x="4787551" y="3652363"/>
                </a:moveTo>
                <a:lnTo>
                  <a:pt x="4796209" y="3653271"/>
                </a:lnTo>
                <a:lnTo>
                  <a:pt x="4800093" y="3654960"/>
                </a:lnTo>
                <a:lnTo>
                  <a:pt x="4804675" y="3662266"/>
                </a:lnTo>
                <a:lnTo>
                  <a:pt x="4810587" y="3669698"/>
                </a:lnTo>
                <a:lnTo>
                  <a:pt x="4809595" y="3678524"/>
                </a:lnTo>
                <a:lnTo>
                  <a:pt x="4808117" y="3682452"/>
                </a:lnTo>
                <a:lnTo>
                  <a:pt x="4799734" y="3684352"/>
                </a:lnTo>
                <a:lnTo>
                  <a:pt x="4793907" y="3683655"/>
                </a:lnTo>
                <a:lnTo>
                  <a:pt x="4782357" y="3678271"/>
                </a:lnTo>
                <a:lnTo>
                  <a:pt x="4779274" y="3674681"/>
                </a:lnTo>
                <a:lnTo>
                  <a:pt x="4774671" y="3664610"/>
                </a:lnTo>
                <a:lnTo>
                  <a:pt x="4775685" y="3661062"/>
                </a:lnTo>
                <a:lnTo>
                  <a:pt x="4779316" y="3654812"/>
                </a:lnTo>
                <a:close/>
                <a:moveTo>
                  <a:pt x="3143375" y="3646096"/>
                </a:moveTo>
                <a:lnTo>
                  <a:pt x="3142426" y="3651286"/>
                </a:lnTo>
                <a:lnTo>
                  <a:pt x="3141772" y="3657388"/>
                </a:lnTo>
                <a:lnTo>
                  <a:pt x="3141328" y="3664989"/>
                </a:lnTo>
                <a:lnTo>
                  <a:pt x="3141772" y="3657389"/>
                </a:lnTo>
                <a:lnTo>
                  <a:pt x="3142426" y="3651286"/>
                </a:lnTo>
                <a:lnTo>
                  <a:pt x="3143377" y="3646114"/>
                </a:lnTo>
                <a:close/>
                <a:moveTo>
                  <a:pt x="3142712" y="3630618"/>
                </a:moveTo>
                <a:lnTo>
                  <a:pt x="3143101" y="3631185"/>
                </a:lnTo>
                <a:lnTo>
                  <a:pt x="3142827" y="3635217"/>
                </a:lnTo>
                <a:lnTo>
                  <a:pt x="3142952" y="3641101"/>
                </a:lnTo>
                <a:lnTo>
                  <a:pt x="3142828" y="3635218"/>
                </a:lnTo>
                <a:lnTo>
                  <a:pt x="3143102" y="3631185"/>
                </a:lnTo>
                <a:close/>
                <a:moveTo>
                  <a:pt x="3437769" y="3630279"/>
                </a:moveTo>
                <a:lnTo>
                  <a:pt x="3429311" y="3636401"/>
                </a:lnTo>
                <a:lnTo>
                  <a:pt x="3429293" y="3636425"/>
                </a:lnTo>
                <a:lnTo>
                  <a:pt x="3437756" y="3630298"/>
                </a:lnTo>
                <a:close/>
                <a:moveTo>
                  <a:pt x="3138178" y="3628179"/>
                </a:moveTo>
                <a:lnTo>
                  <a:pt x="3138667" y="3628208"/>
                </a:lnTo>
                <a:lnTo>
                  <a:pt x="3139566" y="3628549"/>
                </a:lnTo>
                <a:lnTo>
                  <a:pt x="3138668" y="3628208"/>
                </a:lnTo>
                <a:close/>
                <a:moveTo>
                  <a:pt x="3114370" y="3606424"/>
                </a:moveTo>
                <a:lnTo>
                  <a:pt x="3114787" y="3606882"/>
                </a:lnTo>
                <a:lnTo>
                  <a:pt x="3116856" y="3612309"/>
                </a:lnTo>
                <a:lnTo>
                  <a:pt x="3114788" y="3606883"/>
                </a:lnTo>
                <a:lnTo>
                  <a:pt x="3114787" y="3606882"/>
                </a:lnTo>
                <a:lnTo>
                  <a:pt x="3114787" y="3606882"/>
                </a:lnTo>
                <a:close/>
                <a:moveTo>
                  <a:pt x="4918293" y="3597043"/>
                </a:moveTo>
                <a:lnTo>
                  <a:pt x="4923065" y="3603884"/>
                </a:lnTo>
                <a:lnTo>
                  <a:pt x="4926317" y="3611084"/>
                </a:lnTo>
                <a:lnTo>
                  <a:pt x="4925641" y="3618326"/>
                </a:lnTo>
                <a:lnTo>
                  <a:pt x="4922347" y="3620944"/>
                </a:lnTo>
                <a:lnTo>
                  <a:pt x="4921249" y="3625126"/>
                </a:lnTo>
                <a:lnTo>
                  <a:pt x="4917976" y="3628292"/>
                </a:lnTo>
                <a:lnTo>
                  <a:pt x="4910502" y="3630066"/>
                </a:lnTo>
                <a:lnTo>
                  <a:pt x="4902098" y="3629454"/>
                </a:lnTo>
                <a:lnTo>
                  <a:pt x="4898847" y="3626075"/>
                </a:lnTo>
                <a:lnTo>
                  <a:pt x="4898213" y="3624661"/>
                </a:lnTo>
                <a:lnTo>
                  <a:pt x="4901021" y="3623330"/>
                </a:lnTo>
                <a:lnTo>
                  <a:pt x="4900852" y="3618981"/>
                </a:lnTo>
                <a:lnTo>
                  <a:pt x="4902246" y="3612097"/>
                </a:lnTo>
                <a:lnTo>
                  <a:pt x="4904040" y="3609268"/>
                </a:lnTo>
                <a:lnTo>
                  <a:pt x="4908200" y="3606755"/>
                </a:lnTo>
                <a:lnTo>
                  <a:pt x="4909911" y="3601202"/>
                </a:lnTo>
                <a:lnTo>
                  <a:pt x="4913500" y="3597508"/>
                </a:lnTo>
                <a:close/>
                <a:moveTo>
                  <a:pt x="3039261" y="3532183"/>
                </a:moveTo>
                <a:lnTo>
                  <a:pt x="3039978" y="3533973"/>
                </a:lnTo>
                <a:lnTo>
                  <a:pt x="3039472" y="3539970"/>
                </a:lnTo>
                <a:lnTo>
                  <a:pt x="3039473" y="3539973"/>
                </a:lnTo>
                <a:lnTo>
                  <a:pt x="3039979" y="3533974"/>
                </a:lnTo>
                <a:close/>
                <a:moveTo>
                  <a:pt x="3030210" y="3519337"/>
                </a:moveTo>
                <a:lnTo>
                  <a:pt x="3031236" y="3522170"/>
                </a:lnTo>
                <a:lnTo>
                  <a:pt x="3031237" y="3522171"/>
                </a:lnTo>
                <a:lnTo>
                  <a:pt x="3031237" y="3522171"/>
                </a:lnTo>
                <a:lnTo>
                  <a:pt x="3031995" y="3523058"/>
                </a:lnTo>
                <a:lnTo>
                  <a:pt x="3031237" y="3522171"/>
                </a:lnTo>
                <a:close/>
                <a:moveTo>
                  <a:pt x="2744563" y="3492315"/>
                </a:moveTo>
                <a:lnTo>
                  <a:pt x="2744585" y="3504878"/>
                </a:lnTo>
                <a:lnTo>
                  <a:pt x="2744606" y="3530405"/>
                </a:lnTo>
                <a:lnTo>
                  <a:pt x="2744648" y="3555954"/>
                </a:lnTo>
                <a:lnTo>
                  <a:pt x="2744690" y="3581608"/>
                </a:lnTo>
                <a:lnTo>
                  <a:pt x="2744732" y="3607283"/>
                </a:lnTo>
                <a:lnTo>
                  <a:pt x="2744753" y="3633043"/>
                </a:lnTo>
                <a:lnTo>
                  <a:pt x="2744796" y="3658866"/>
                </a:lnTo>
                <a:lnTo>
                  <a:pt x="2744838" y="3684795"/>
                </a:lnTo>
                <a:lnTo>
                  <a:pt x="2744840" y="3685788"/>
                </a:lnTo>
                <a:lnTo>
                  <a:pt x="2744838" y="3684773"/>
                </a:lnTo>
                <a:lnTo>
                  <a:pt x="2744796" y="3658866"/>
                </a:lnTo>
                <a:lnTo>
                  <a:pt x="2744753" y="3633042"/>
                </a:lnTo>
                <a:lnTo>
                  <a:pt x="2744732" y="3607262"/>
                </a:lnTo>
                <a:lnTo>
                  <a:pt x="2744690" y="3581587"/>
                </a:lnTo>
                <a:lnTo>
                  <a:pt x="2744648" y="3555954"/>
                </a:lnTo>
                <a:lnTo>
                  <a:pt x="2744606" y="3530383"/>
                </a:lnTo>
                <a:lnTo>
                  <a:pt x="2744585" y="3504856"/>
                </a:lnTo>
                <a:close/>
                <a:moveTo>
                  <a:pt x="3005898" y="3481271"/>
                </a:moveTo>
                <a:lnTo>
                  <a:pt x="3006011" y="3481482"/>
                </a:lnTo>
                <a:lnTo>
                  <a:pt x="3005899" y="3481272"/>
                </a:lnTo>
                <a:close/>
                <a:moveTo>
                  <a:pt x="2882315" y="3474135"/>
                </a:moveTo>
                <a:lnTo>
                  <a:pt x="2891859" y="3486824"/>
                </a:lnTo>
                <a:lnTo>
                  <a:pt x="2892222" y="3487416"/>
                </a:lnTo>
                <a:lnTo>
                  <a:pt x="2891860" y="3486824"/>
                </a:lnTo>
                <a:lnTo>
                  <a:pt x="2882315" y="3474135"/>
                </a:lnTo>
                <a:close/>
                <a:moveTo>
                  <a:pt x="2945152" y="3471073"/>
                </a:moveTo>
                <a:lnTo>
                  <a:pt x="2945683" y="3471191"/>
                </a:lnTo>
                <a:lnTo>
                  <a:pt x="2945153" y="3471073"/>
                </a:lnTo>
                <a:close/>
                <a:moveTo>
                  <a:pt x="2752693" y="3469701"/>
                </a:moveTo>
                <a:lnTo>
                  <a:pt x="2746440" y="3471319"/>
                </a:lnTo>
                <a:lnTo>
                  <a:pt x="2752730" y="3469703"/>
                </a:lnTo>
                <a:close/>
                <a:moveTo>
                  <a:pt x="3050661" y="3466935"/>
                </a:moveTo>
                <a:lnTo>
                  <a:pt x="3042152" y="3470546"/>
                </a:lnTo>
                <a:lnTo>
                  <a:pt x="3042153" y="3470546"/>
                </a:lnTo>
                <a:lnTo>
                  <a:pt x="3050662" y="3466957"/>
                </a:lnTo>
                <a:lnTo>
                  <a:pt x="3062149" y="3468054"/>
                </a:lnTo>
                <a:lnTo>
                  <a:pt x="3076365" y="3473740"/>
                </a:lnTo>
                <a:lnTo>
                  <a:pt x="3062148" y="3468033"/>
                </a:lnTo>
                <a:close/>
                <a:moveTo>
                  <a:pt x="2998467" y="3459608"/>
                </a:moveTo>
                <a:lnTo>
                  <a:pt x="2997305" y="3462669"/>
                </a:lnTo>
                <a:lnTo>
                  <a:pt x="2996398" y="3467145"/>
                </a:lnTo>
                <a:lnTo>
                  <a:pt x="2996400" y="3467153"/>
                </a:lnTo>
                <a:lnTo>
                  <a:pt x="2997306" y="3462691"/>
                </a:lnTo>
                <a:lnTo>
                  <a:pt x="2998467" y="3459609"/>
                </a:lnTo>
                <a:lnTo>
                  <a:pt x="3009890" y="3462796"/>
                </a:lnTo>
                <a:lnTo>
                  <a:pt x="3016140" y="3463071"/>
                </a:lnTo>
                <a:lnTo>
                  <a:pt x="3021038" y="3461488"/>
                </a:lnTo>
                <a:lnTo>
                  <a:pt x="3016139" y="3463050"/>
                </a:lnTo>
                <a:lnTo>
                  <a:pt x="3009889" y="3462775"/>
                </a:lnTo>
                <a:close/>
                <a:moveTo>
                  <a:pt x="2841185" y="3459054"/>
                </a:moveTo>
                <a:lnTo>
                  <a:pt x="2824483" y="3462310"/>
                </a:lnTo>
                <a:lnTo>
                  <a:pt x="2802925" y="3466533"/>
                </a:lnTo>
                <a:lnTo>
                  <a:pt x="2789848" y="3468957"/>
                </a:lnTo>
                <a:lnTo>
                  <a:pt x="2803030" y="3466533"/>
                </a:lnTo>
                <a:lnTo>
                  <a:pt x="2824587" y="3462310"/>
                </a:lnTo>
                <a:close/>
                <a:moveTo>
                  <a:pt x="2212474" y="3421401"/>
                </a:moveTo>
                <a:lnTo>
                  <a:pt x="2206960" y="3424396"/>
                </a:lnTo>
                <a:lnTo>
                  <a:pt x="2207006" y="3424389"/>
                </a:lnTo>
                <a:close/>
                <a:moveTo>
                  <a:pt x="2263541" y="3414334"/>
                </a:moveTo>
                <a:lnTo>
                  <a:pt x="2263531" y="3414339"/>
                </a:lnTo>
                <a:lnTo>
                  <a:pt x="2259299" y="3417065"/>
                </a:lnTo>
                <a:lnTo>
                  <a:pt x="2259307" y="3417062"/>
                </a:lnTo>
                <a:close/>
                <a:moveTo>
                  <a:pt x="4034245" y="3413578"/>
                </a:moveTo>
                <a:lnTo>
                  <a:pt x="4035617" y="3414401"/>
                </a:lnTo>
                <a:lnTo>
                  <a:pt x="4035427" y="3414993"/>
                </a:lnTo>
                <a:lnTo>
                  <a:pt x="4035068" y="3415077"/>
                </a:lnTo>
                <a:lnTo>
                  <a:pt x="4034456" y="3414950"/>
                </a:lnTo>
                <a:lnTo>
                  <a:pt x="4033421" y="3413958"/>
                </a:lnTo>
                <a:close/>
                <a:moveTo>
                  <a:pt x="4465954" y="3391534"/>
                </a:moveTo>
                <a:lnTo>
                  <a:pt x="4460824" y="3404350"/>
                </a:lnTo>
                <a:lnTo>
                  <a:pt x="4454173" y="3415731"/>
                </a:lnTo>
                <a:lnTo>
                  <a:pt x="4456052" y="3406251"/>
                </a:lnTo>
                <a:lnTo>
                  <a:pt x="4463759" y="3392569"/>
                </a:lnTo>
                <a:close/>
                <a:moveTo>
                  <a:pt x="1163457" y="3342844"/>
                </a:moveTo>
                <a:lnTo>
                  <a:pt x="1166139" y="3343245"/>
                </a:lnTo>
                <a:lnTo>
                  <a:pt x="1166308" y="3346814"/>
                </a:lnTo>
                <a:lnTo>
                  <a:pt x="1164387" y="3348461"/>
                </a:lnTo>
                <a:lnTo>
                  <a:pt x="1159044" y="3348862"/>
                </a:lnTo>
                <a:lnTo>
                  <a:pt x="1159488" y="3345948"/>
                </a:lnTo>
                <a:close/>
                <a:moveTo>
                  <a:pt x="3293204" y="3286579"/>
                </a:moveTo>
                <a:lnTo>
                  <a:pt x="3293163" y="3286595"/>
                </a:lnTo>
                <a:lnTo>
                  <a:pt x="3292572" y="3287820"/>
                </a:lnTo>
                <a:lnTo>
                  <a:pt x="3292741" y="3291282"/>
                </a:lnTo>
                <a:lnTo>
                  <a:pt x="3294367" y="3298419"/>
                </a:lnTo>
                <a:lnTo>
                  <a:pt x="3297534" y="3304880"/>
                </a:lnTo>
                <a:lnTo>
                  <a:pt x="3300194" y="3308618"/>
                </a:lnTo>
                <a:lnTo>
                  <a:pt x="3301925" y="3318224"/>
                </a:lnTo>
                <a:lnTo>
                  <a:pt x="3302897" y="3326650"/>
                </a:lnTo>
                <a:lnTo>
                  <a:pt x="3294282" y="3326671"/>
                </a:lnTo>
                <a:lnTo>
                  <a:pt x="3279121" y="3326712"/>
                </a:lnTo>
                <a:lnTo>
                  <a:pt x="3263392" y="3326734"/>
                </a:lnTo>
                <a:lnTo>
                  <a:pt x="3249034" y="3329964"/>
                </a:lnTo>
                <a:lnTo>
                  <a:pt x="3237230" y="3334863"/>
                </a:lnTo>
                <a:lnTo>
                  <a:pt x="3223147" y="3342528"/>
                </a:lnTo>
                <a:lnTo>
                  <a:pt x="3218566" y="3345526"/>
                </a:lnTo>
                <a:lnTo>
                  <a:pt x="3215018" y="3347848"/>
                </a:lnTo>
                <a:lnTo>
                  <a:pt x="3212780" y="3350847"/>
                </a:lnTo>
                <a:lnTo>
                  <a:pt x="3211681" y="3357371"/>
                </a:lnTo>
                <a:lnTo>
                  <a:pt x="3211681" y="3367485"/>
                </a:lnTo>
                <a:lnTo>
                  <a:pt x="3210246" y="3374748"/>
                </a:lnTo>
                <a:lnTo>
                  <a:pt x="3205981" y="3381420"/>
                </a:lnTo>
                <a:lnTo>
                  <a:pt x="3205981" y="3381399"/>
                </a:lnTo>
                <a:lnTo>
                  <a:pt x="3184592" y="3389487"/>
                </a:lnTo>
                <a:lnTo>
                  <a:pt x="3170614" y="3396096"/>
                </a:lnTo>
                <a:lnTo>
                  <a:pt x="3156889" y="3403929"/>
                </a:lnTo>
                <a:lnTo>
                  <a:pt x="3146480" y="3414085"/>
                </a:lnTo>
                <a:lnTo>
                  <a:pt x="3139386" y="3426585"/>
                </a:lnTo>
                <a:lnTo>
                  <a:pt x="3127603" y="3442083"/>
                </a:lnTo>
                <a:lnTo>
                  <a:pt x="3115611" y="3455512"/>
                </a:lnTo>
                <a:lnTo>
                  <a:pt x="3102878" y="3469828"/>
                </a:lnTo>
                <a:lnTo>
                  <a:pt x="3088604" y="3475001"/>
                </a:lnTo>
                <a:lnTo>
                  <a:pt x="3088605" y="3475001"/>
                </a:lnTo>
                <a:lnTo>
                  <a:pt x="3102879" y="3469828"/>
                </a:lnTo>
                <a:lnTo>
                  <a:pt x="3115611" y="3455534"/>
                </a:lnTo>
                <a:lnTo>
                  <a:pt x="3127604" y="3442083"/>
                </a:lnTo>
                <a:lnTo>
                  <a:pt x="3139386" y="3426606"/>
                </a:lnTo>
                <a:lnTo>
                  <a:pt x="3146480" y="3414085"/>
                </a:lnTo>
                <a:lnTo>
                  <a:pt x="3156890" y="3403929"/>
                </a:lnTo>
                <a:lnTo>
                  <a:pt x="3170615" y="3396096"/>
                </a:lnTo>
                <a:lnTo>
                  <a:pt x="3184592" y="3389487"/>
                </a:lnTo>
                <a:lnTo>
                  <a:pt x="3205982" y="3381420"/>
                </a:lnTo>
                <a:lnTo>
                  <a:pt x="3205982" y="3381442"/>
                </a:lnTo>
                <a:lnTo>
                  <a:pt x="3210247" y="3374749"/>
                </a:lnTo>
                <a:lnTo>
                  <a:pt x="3211682" y="3367485"/>
                </a:lnTo>
                <a:lnTo>
                  <a:pt x="3211682" y="3357392"/>
                </a:lnTo>
                <a:lnTo>
                  <a:pt x="3212781" y="3350847"/>
                </a:lnTo>
                <a:lnTo>
                  <a:pt x="3215019" y="3347848"/>
                </a:lnTo>
                <a:lnTo>
                  <a:pt x="3218566" y="3345548"/>
                </a:lnTo>
                <a:lnTo>
                  <a:pt x="3223148" y="3342528"/>
                </a:lnTo>
                <a:lnTo>
                  <a:pt x="3237231" y="3334863"/>
                </a:lnTo>
                <a:lnTo>
                  <a:pt x="3249035" y="3329964"/>
                </a:lnTo>
                <a:lnTo>
                  <a:pt x="3263392" y="3326734"/>
                </a:lnTo>
                <a:lnTo>
                  <a:pt x="3279122" y="3326713"/>
                </a:lnTo>
                <a:lnTo>
                  <a:pt x="3294282" y="3326671"/>
                </a:lnTo>
                <a:lnTo>
                  <a:pt x="3302898" y="3326650"/>
                </a:lnTo>
                <a:lnTo>
                  <a:pt x="3303025" y="3336362"/>
                </a:lnTo>
                <a:lnTo>
                  <a:pt x="3303679" y="3347279"/>
                </a:lnTo>
                <a:lnTo>
                  <a:pt x="3305368" y="3348313"/>
                </a:lnTo>
                <a:lnTo>
                  <a:pt x="3316770" y="3348545"/>
                </a:lnTo>
                <a:lnTo>
                  <a:pt x="3335055" y="3349348"/>
                </a:lnTo>
                <a:lnTo>
                  <a:pt x="3352686" y="3350065"/>
                </a:lnTo>
                <a:lnTo>
                  <a:pt x="3363940" y="3358005"/>
                </a:lnTo>
                <a:lnTo>
                  <a:pt x="3367720" y="3359694"/>
                </a:lnTo>
                <a:lnTo>
                  <a:pt x="3379417" y="3361826"/>
                </a:lnTo>
                <a:lnTo>
                  <a:pt x="3394366" y="3375044"/>
                </a:lnTo>
                <a:lnTo>
                  <a:pt x="3412356" y="3376269"/>
                </a:lnTo>
                <a:lnTo>
                  <a:pt x="3424730" y="3380407"/>
                </a:lnTo>
                <a:lnTo>
                  <a:pt x="3435625" y="3384947"/>
                </a:lnTo>
                <a:lnTo>
                  <a:pt x="3441895" y="3390416"/>
                </a:lnTo>
                <a:lnTo>
                  <a:pt x="3445949" y="3391640"/>
                </a:lnTo>
                <a:lnTo>
                  <a:pt x="3451439" y="3392042"/>
                </a:lnTo>
                <a:lnTo>
                  <a:pt x="3454099" y="3392549"/>
                </a:lnTo>
                <a:lnTo>
                  <a:pt x="3453530" y="3396476"/>
                </a:lnTo>
                <a:lnTo>
                  <a:pt x="3449855" y="3403148"/>
                </a:lnTo>
                <a:lnTo>
                  <a:pt x="3450341" y="3412692"/>
                </a:lnTo>
                <a:lnTo>
                  <a:pt x="3455388" y="3425931"/>
                </a:lnTo>
                <a:lnTo>
                  <a:pt x="3456064" y="3437480"/>
                </a:lnTo>
                <a:lnTo>
                  <a:pt x="3454522" y="3457834"/>
                </a:lnTo>
                <a:lnTo>
                  <a:pt x="3454564" y="3477598"/>
                </a:lnTo>
                <a:lnTo>
                  <a:pt x="3455092" y="3484671"/>
                </a:lnTo>
                <a:lnTo>
                  <a:pt x="3455916" y="3489337"/>
                </a:lnTo>
                <a:lnTo>
                  <a:pt x="3456992" y="3491913"/>
                </a:lnTo>
                <a:lnTo>
                  <a:pt x="3456781" y="3494827"/>
                </a:lnTo>
                <a:lnTo>
                  <a:pt x="3453783" y="3503146"/>
                </a:lnTo>
                <a:lnTo>
                  <a:pt x="3451376" y="3511888"/>
                </a:lnTo>
                <a:lnTo>
                  <a:pt x="3451292" y="3515393"/>
                </a:lnTo>
                <a:lnTo>
                  <a:pt x="3450362" y="3517885"/>
                </a:lnTo>
                <a:lnTo>
                  <a:pt x="3448568" y="3520060"/>
                </a:lnTo>
                <a:lnTo>
                  <a:pt x="3440712" y="3524113"/>
                </a:lnTo>
                <a:lnTo>
                  <a:pt x="3439383" y="3526626"/>
                </a:lnTo>
                <a:lnTo>
                  <a:pt x="3439404" y="3531166"/>
                </a:lnTo>
                <a:lnTo>
                  <a:pt x="3440396" y="3534987"/>
                </a:lnTo>
                <a:lnTo>
                  <a:pt x="3443352" y="3536381"/>
                </a:lnTo>
                <a:lnTo>
                  <a:pt x="3446899" y="3538555"/>
                </a:lnTo>
                <a:lnTo>
                  <a:pt x="3448293" y="3541406"/>
                </a:lnTo>
                <a:lnTo>
                  <a:pt x="3448314" y="3544405"/>
                </a:lnTo>
                <a:lnTo>
                  <a:pt x="3447173" y="3550000"/>
                </a:lnTo>
                <a:lnTo>
                  <a:pt x="3444007" y="3559227"/>
                </a:lnTo>
                <a:lnTo>
                  <a:pt x="3447173" y="3569890"/>
                </a:lnTo>
                <a:lnTo>
                  <a:pt x="3450700" y="3576794"/>
                </a:lnTo>
                <a:lnTo>
                  <a:pt x="3455578" y="3584776"/>
                </a:lnTo>
                <a:lnTo>
                  <a:pt x="3455590" y="3584805"/>
                </a:lnTo>
                <a:lnTo>
                  <a:pt x="3455578" y="3584775"/>
                </a:lnTo>
                <a:lnTo>
                  <a:pt x="3450721" y="3576773"/>
                </a:lnTo>
                <a:lnTo>
                  <a:pt x="3447195" y="3569847"/>
                </a:lnTo>
                <a:lnTo>
                  <a:pt x="3444049" y="3559227"/>
                </a:lnTo>
                <a:lnTo>
                  <a:pt x="3447216" y="3550000"/>
                </a:lnTo>
                <a:lnTo>
                  <a:pt x="3448335" y="3544405"/>
                </a:lnTo>
                <a:lnTo>
                  <a:pt x="3448335" y="3541385"/>
                </a:lnTo>
                <a:lnTo>
                  <a:pt x="3446941" y="3538555"/>
                </a:lnTo>
                <a:lnTo>
                  <a:pt x="3443394" y="3536381"/>
                </a:lnTo>
                <a:lnTo>
                  <a:pt x="3440438" y="3534987"/>
                </a:lnTo>
                <a:lnTo>
                  <a:pt x="3439446" y="3531166"/>
                </a:lnTo>
                <a:lnTo>
                  <a:pt x="3439425" y="3526646"/>
                </a:lnTo>
                <a:lnTo>
                  <a:pt x="3440755" y="3524135"/>
                </a:lnTo>
                <a:lnTo>
                  <a:pt x="3448610" y="3520080"/>
                </a:lnTo>
                <a:lnTo>
                  <a:pt x="3450383" y="3517884"/>
                </a:lnTo>
                <a:lnTo>
                  <a:pt x="3451312" y="3515414"/>
                </a:lnTo>
                <a:lnTo>
                  <a:pt x="3451397" y="3511909"/>
                </a:lnTo>
                <a:lnTo>
                  <a:pt x="3453825" y="3503146"/>
                </a:lnTo>
                <a:lnTo>
                  <a:pt x="3456823" y="3494827"/>
                </a:lnTo>
                <a:lnTo>
                  <a:pt x="3457034" y="3491892"/>
                </a:lnTo>
                <a:lnTo>
                  <a:pt x="3455978" y="3489337"/>
                </a:lnTo>
                <a:lnTo>
                  <a:pt x="3455155" y="3484650"/>
                </a:lnTo>
                <a:lnTo>
                  <a:pt x="3454627" y="3477576"/>
                </a:lnTo>
                <a:lnTo>
                  <a:pt x="3454585" y="3457813"/>
                </a:lnTo>
                <a:lnTo>
                  <a:pt x="3456127" y="3437459"/>
                </a:lnTo>
                <a:lnTo>
                  <a:pt x="3455451" y="3425930"/>
                </a:lnTo>
                <a:lnTo>
                  <a:pt x="3450426" y="3412691"/>
                </a:lnTo>
                <a:lnTo>
                  <a:pt x="3449940" y="3403148"/>
                </a:lnTo>
                <a:lnTo>
                  <a:pt x="3453592" y="3396475"/>
                </a:lnTo>
                <a:lnTo>
                  <a:pt x="3454184" y="3392548"/>
                </a:lnTo>
                <a:lnTo>
                  <a:pt x="3451524" y="3392041"/>
                </a:lnTo>
                <a:lnTo>
                  <a:pt x="3446034" y="3391640"/>
                </a:lnTo>
                <a:lnTo>
                  <a:pt x="3441980" y="3390415"/>
                </a:lnTo>
                <a:lnTo>
                  <a:pt x="3435708" y="3384947"/>
                </a:lnTo>
                <a:lnTo>
                  <a:pt x="3424813" y="3380407"/>
                </a:lnTo>
                <a:lnTo>
                  <a:pt x="3412440" y="3376268"/>
                </a:lnTo>
                <a:lnTo>
                  <a:pt x="3394451" y="3375044"/>
                </a:lnTo>
                <a:lnTo>
                  <a:pt x="3379501" y="3361805"/>
                </a:lnTo>
                <a:lnTo>
                  <a:pt x="3367783" y="3359673"/>
                </a:lnTo>
                <a:lnTo>
                  <a:pt x="3364003" y="3357984"/>
                </a:lnTo>
                <a:lnTo>
                  <a:pt x="3352749" y="3350044"/>
                </a:lnTo>
                <a:lnTo>
                  <a:pt x="3335118" y="3349306"/>
                </a:lnTo>
                <a:lnTo>
                  <a:pt x="3316833" y="3348503"/>
                </a:lnTo>
                <a:lnTo>
                  <a:pt x="3305431" y="3348271"/>
                </a:lnTo>
                <a:lnTo>
                  <a:pt x="3303742" y="3347214"/>
                </a:lnTo>
                <a:lnTo>
                  <a:pt x="3303088" y="3336277"/>
                </a:lnTo>
                <a:lnTo>
                  <a:pt x="3302960" y="3326586"/>
                </a:lnTo>
                <a:lnTo>
                  <a:pt x="3301990" y="3318161"/>
                </a:lnTo>
                <a:lnTo>
                  <a:pt x="3300258" y="3308575"/>
                </a:lnTo>
                <a:lnTo>
                  <a:pt x="3297598" y="3304838"/>
                </a:lnTo>
                <a:lnTo>
                  <a:pt x="3294430" y="3298355"/>
                </a:lnTo>
                <a:lnTo>
                  <a:pt x="3292826" y="3291219"/>
                </a:lnTo>
                <a:lnTo>
                  <a:pt x="3292636" y="3287777"/>
                </a:lnTo>
                <a:close/>
                <a:moveTo>
                  <a:pt x="3319346" y="3276074"/>
                </a:moveTo>
                <a:lnTo>
                  <a:pt x="3319324" y="3276080"/>
                </a:lnTo>
                <a:lnTo>
                  <a:pt x="3318676" y="3276315"/>
                </a:lnTo>
                <a:close/>
                <a:moveTo>
                  <a:pt x="3381928" y="3256316"/>
                </a:moveTo>
                <a:lnTo>
                  <a:pt x="3381866" y="3256338"/>
                </a:lnTo>
                <a:lnTo>
                  <a:pt x="3375595" y="3258808"/>
                </a:lnTo>
                <a:lnTo>
                  <a:pt x="3370559" y="3261294"/>
                </a:lnTo>
                <a:lnTo>
                  <a:pt x="3370612" y="3261279"/>
                </a:lnTo>
                <a:lnTo>
                  <a:pt x="3375658" y="3258787"/>
                </a:lnTo>
                <a:close/>
                <a:moveTo>
                  <a:pt x="3536130" y="3250954"/>
                </a:moveTo>
                <a:lnTo>
                  <a:pt x="3528803" y="3251904"/>
                </a:lnTo>
                <a:lnTo>
                  <a:pt x="3522469" y="3253446"/>
                </a:lnTo>
                <a:lnTo>
                  <a:pt x="3519365" y="3255663"/>
                </a:lnTo>
                <a:lnTo>
                  <a:pt x="3514656" y="3255768"/>
                </a:lnTo>
                <a:lnTo>
                  <a:pt x="3502304" y="3257605"/>
                </a:lnTo>
                <a:lnTo>
                  <a:pt x="3498419" y="3258386"/>
                </a:lnTo>
                <a:lnTo>
                  <a:pt x="3496181" y="3260308"/>
                </a:lnTo>
                <a:lnTo>
                  <a:pt x="3494953" y="3260683"/>
                </a:lnTo>
                <a:lnTo>
                  <a:pt x="3494977" y="3260708"/>
                </a:lnTo>
                <a:lnTo>
                  <a:pt x="3496286" y="3260307"/>
                </a:lnTo>
                <a:lnTo>
                  <a:pt x="3498525" y="3258386"/>
                </a:lnTo>
                <a:lnTo>
                  <a:pt x="3502410" y="3257604"/>
                </a:lnTo>
                <a:lnTo>
                  <a:pt x="3514761" y="3255767"/>
                </a:lnTo>
                <a:lnTo>
                  <a:pt x="3519470" y="3255662"/>
                </a:lnTo>
                <a:lnTo>
                  <a:pt x="3522574" y="3253445"/>
                </a:lnTo>
                <a:lnTo>
                  <a:pt x="3528909" y="3251904"/>
                </a:lnTo>
                <a:lnTo>
                  <a:pt x="3536193" y="3250980"/>
                </a:lnTo>
                <a:close/>
                <a:moveTo>
                  <a:pt x="3401224" y="3249604"/>
                </a:moveTo>
                <a:lnTo>
                  <a:pt x="3401164" y="3249623"/>
                </a:lnTo>
                <a:lnTo>
                  <a:pt x="3396878" y="3251333"/>
                </a:lnTo>
                <a:lnTo>
                  <a:pt x="3381940" y="3256313"/>
                </a:lnTo>
                <a:lnTo>
                  <a:pt x="3396942" y="3251333"/>
                </a:lnTo>
                <a:close/>
                <a:moveTo>
                  <a:pt x="3413081" y="3246015"/>
                </a:moveTo>
                <a:lnTo>
                  <a:pt x="3409779" y="3246836"/>
                </a:lnTo>
                <a:lnTo>
                  <a:pt x="3401359" y="3249561"/>
                </a:lnTo>
                <a:lnTo>
                  <a:pt x="3409843" y="3246836"/>
                </a:lnTo>
                <a:close/>
                <a:moveTo>
                  <a:pt x="3456071" y="3226597"/>
                </a:moveTo>
                <a:lnTo>
                  <a:pt x="3456084" y="3226629"/>
                </a:lnTo>
                <a:lnTo>
                  <a:pt x="3456653" y="3227311"/>
                </a:lnTo>
                <a:close/>
                <a:moveTo>
                  <a:pt x="3465966" y="3222407"/>
                </a:moveTo>
                <a:lnTo>
                  <a:pt x="3463326" y="3223526"/>
                </a:lnTo>
                <a:lnTo>
                  <a:pt x="3459695" y="3226608"/>
                </a:lnTo>
                <a:lnTo>
                  <a:pt x="3457731" y="3227474"/>
                </a:lnTo>
                <a:lnTo>
                  <a:pt x="3456720" y="3227390"/>
                </a:lnTo>
                <a:lnTo>
                  <a:pt x="3456738" y="3227411"/>
                </a:lnTo>
                <a:lnTo>
                  <a:pt x="3457752" y="3227495"/>
                </a:lnTo>
                <a:lnTo>
                  <a:pt x="3459715" y="3226629"/>
                </a:lnTo>
                <a:lnTo>
                  <a:pt x="3463325" y="3223547"/>
                </a:lnTo>
                <a:lnTo>
                  <a:pt x="3465965" y="3222427"/>
                </a:lnTo>
                <a:lnTo>
                  <a:pt x="3469154" y="3226861"/>
                </a:lnTo>
                <a:lnTo>
                  <a:pt x="3456422" y="3231232"/>
                </a:lnTo>
                <a:lnTo>
                  <a:pt x="3449750" y="3233513"/>
                </a:lnTo>
                <a:lnTo>
                  <a:pt x="3430725" y="3240058"/>
                </a:lnTo>
                <a:lnTo>
                  <a:pt x="3414164" y="3245740"/>
                </a:lnTo>
                <a:lnTo>
                  <a:pt x="3414172" y="3245738"/>
                </a:lnTo>
                <a:lnTo>
                  <a:pt x="3430789" y="3240037"/>
                </a:lnTo>
                <a:lnTo>
                  <a:pt x="3449834" y="3233491"/>
                </a:lnTo>
                <a:lnTo>
                  <a:pt x="3456506" y="3231211"/>
                </a:lnTo>
                <a:lnTo>
                  <a:pt x="3469185" y="3226859"/>
                </a:lnTo>
                <a:lnTo>
                  <a:pt x="3469133" y="3226820"/>
                </a:lnTo>
                <a:close/>
                <a:moveTo>
                  <a:pt x="3437753" y="3202272"/>
                </a:moveTo>
                <a:lnTo>
                  <a:pt x="3437756" y="3202305"/>
                </a:lnTo>
                <a:lnTo>
                  <a:pt x="3443661" y="3205090"/>
                </a:lnTo>
                <a:lnTo>
                  <a:pt x="3443648" y="3205071"/>
                </a:lnTo>
                <a:close/>
                <a:moveTo>
                  <a:pt x="3258535" y="3187842"/>
                </a:moveTo>
                <a:lnTo>
                  <a:pt x="3258789" y="3190376"/>
                </a:lnTo>
                <a:lnTo>
                  <a:pt x="3262808" y="3192658"/>
                </a:lnTo>
                <a:lnTo>
                  <a:pt x="3258789" y="3190355"/>
                </a:lnTo>
                <a:close/>
                <a:moveTo>
                  <a:pt x="3253003" y="3180283"/>
                </a:moveTo>
                <a:lnTo>
                  <a:pt x="3255558" y="3181001"/>
                </a:lnTo>
                <a:lnTo>
                  <a:pt x="3253004" y="3180283"/>
                </a:lnTo>
                <a:close/>
                <a:moveTo>
                  <a:pt x="4364393" y="3177221"/>
                </a:moveTo>
                <a:lnTo>
                  <a:pt x="4366906" y="3183999"/>
                </a:lnTo>
                <a:lnTo>
                  <a:pt x="4366336" y="3187292"/>
                </a:lnTo>
                <a:lnTo>
                  <a:pt x="4366420" y="3189509"/>
                </a:lnTo>
                <a:lnTo>
                  <a:pt x="4358628" y="3188581"/>
                </a:lnTo>
                <a:lnTo>
                  <a:pt x="4357404" y="3180958"/>
                </a:lnTo>
                <a:lnTo>
                  <a:pt x="4361226" y="3180726"/>
                </a:lnTo>
                <a:lnTo>
                  <a:pt x="4362071" y="3177622"/>
                </a:lnTo>
                <a:close/>
                <a:moveTo>
                  <a:pt x="3267340" y="3175342"/>
                </a:moveTo>
                <a:lnTo>
                  <a:pt x="3267340" y="3175343"/>
                </a:lnTo>
                <a:lnTo>
                  <a:pt x="3267361" y="3187652"/>
                </a:lnTo>
                <a:close/>
                <a:moveTo>
                  <a:pt x="3211788" y="3172429"/>
                </a:moveTo>
                <a:lnTo>
                  <a:pt x="3215525" y="3178214"/>
                </a:lnTo>
                <a:lnTo>
                  <a:pt x="3216749" y="3183830"/>
                </a:lnTo>
                <a:lnTo>
                  <a:pt x="3216750" y="3183831"/>
                </a:lnTo>
                <a:lnTo>
                  <a:pt x="3215525" y="3178193"/>
                </a:lnTo>
                <a:close/>
                <a:moveTo>
                  <a:pt x="2804086" y="3165271"/>
                </a:moveTo>
                <a:lnTo>
                  <a:pt x="2804086" y="3174729"/>
                </a:lnTo>
                <a:lnTo>
                  <a:pt x="2804086" y="3194261"/>
                </a:lnTo>
                <a:lnTo>
                  <a:pt x="2804086" y="3213813"/>
                </a:lnTo>
                <a:lnTo>
                  <a:pt x="2804086" y="3233365"/>
                </a:lnTo>
                <a:lnTo>
                  <a:pt x="2804086" y="3252981"/>
                </a:lnTo>
                <a:lnTo>
                  <a:pt x="2804086" y="3272617"/>
                </a:lnTo>
                <a:lnTo>
                  <a:pt x="2804086" y="3292275"/>
                </a:lnTo>
                <a:lnTo>
                  <a:pt x="2804086" y="3311953"/>
                </a:lnTo>
                <a:lnTo>
                  <a:pt x="2804086" y="3331654"/>
                </a:lnTo>
                <a:lnTo>
                  <a:pt x="2804086" y="3345906"/>
                </a:lnTo>
                <a:lnTo>
                  <a:pt x="2807654" y="3364846"/>
                </a:lnTo>
                <a:lnTo>
                  <a:pt x="2814199" y="3385474"/>
                </a:lnTo>
                <a:lnTo>
                  <a:pt x="2816754" y="3387375"/>
                </a:lnTo>
                <a:lnTo>
                  <a:pt x="2823342" y="3391176"/>
                </a:lnTo>
                <a:lnTo>
                  <a:pt x="2832485" y="3398945"/>
                </a:lnTo>
                <a:lnTo>
                  <a:pt x="2837616" y="3404816"/>
                </a:lnTo>
                <a:lnTo>
                  <a:pt x="2848046" y="3415036"/>
                </a:lnTo>
                <a:lnTo>
                  <a:pt x="2861919" y="3428062"/>
                </a:lnTo>
                <a:lnTo>
                  <a:pt x="2875284" y="3439760"/>
                </a:lnTo>
                <a:lnTo>
                  <a:pt x="2887088" y="3450065"/>
                </a:lnTo>
                <a:lnTo>
                  <a:pt x="2868570" y="3453696"/>
                </a:lnTo>
                <a:lnTo>
                  <a:pt x="2844336" y="3458439"/>
                </a:lnTo>
                <a:lnTo>
                  <a:pt x="2868654" y="3453696"/>
                </a:lnTo>
                <a:lnTo>
                  <a:pt x="2887172" y="3450065"/>
                </a:lnTo>
                <a:lnTo>
                  <a:pt x="2889561" y="3449588"/>
                </a:lnTo>
                <a:lnTo>
                  <a:pt x="2887171" y="3450065"/>
                </a:lnTo>
                <a:lnTo>
                  <a:pt x="2875368" y="3439760"/>
                </a:lnTo>
                <a:lnTo>
                  <a:pt x="2862002" y="3428062"/>
                </a:lnTo>
                <a:lnTo>
                  <a:pt x="2848131" y="3415014"/>
                </a:lnTo>
                <a:lnTo>
                  <a:pt x="2837721" y="3404795"/>
                </a:lnTo>
                <a:lnTo>
                  <a:pt x="2832568" y="3398925"/>
                </a:lnTo>
                <a:lnTo>
                  <a:pt x="2823426" y="3391155"/>
                </a:lnTo>
                <a:lnTo>
                  <a:pt x="2816838" y="3387354"/>
                </a:lnTo>
                <a:lnTo>
                  <a:pt x="2814283" y="3385432"/>
                </a:lnTo>
                <a:lnTo>
                  <a:pt x="2807738" y="3364804"/>
                </a:lnTo>
                <a:lnTo>
                  <a:pt x="2804170" y="3345885"/>
                </a:lnTo>
                <a:lnTo>
                  <a:pt x="2804170" y="3331632"/>
                </a:lnTo>
                <a:lnTo>
                  <a:pt x="2804148" y="3311911"/>
                </a:lnTo>
                <a:lnTo>
                  <a:pt x="2804148" y="3292232"/>
                </a:lnTo>
                <a:lnTo>
                  <a:pt x="2804148" y="3272575"/>
                </a:lnTo>
                <a:lnTo>
                  <a:pt x="2804127" y="3252939"/>
                </a:lnTo>
                <a:lnTo>
                  <a:pt x="2804127" y="3233322"/>
                </a:lnTo>
                <a:lnTo>
                  <a:pt x="2804127" y="3213771"/>
                </a:lnTo>
                <a:lnTo>
                  <a:pt x="2804106" y="3194240"/>
                </a:lnTo>
                <a:lnTo>
                  <a:pt x="2804106" y="3174709"/>
                </a:lnTo>
                <a:lnTo>
                  <a:pt x="2804106" y="3165271"/>
                </a:lnTo>
                <a:close/>
                <a:moveTo>
                  <a:pt x="3455423" y="3156906"/>
                </a:moveTo>
                <a:lnTo>
                  <a:pt x="3455450" y="3156973"/>
                </a:lnTo>
                <a:lnTo>
                  <a:pt x="3457159" y="3159037"/>
                </a:lnTo>
                <a:lnTo>
                  <a:pt x="3457161" y="3159021"/>
                </a:lnTo>
                <a:close/>
                <a:moveTo>
                  <a:pt x="3200787" y="3156741"/>
                </a:moveTo>
                <a:lnTo>
                  <a:pt x="3204165" y="3160646"/>
                </a:lnTo>
                <a:lnTo>
                  <a:pt x="3205641" y="3162623"/>
                </a:lnTo>
                <a:lnTo>
                  <a:pt x="3204166" y="3160646"/>
                </a:lnTo>
                <a:close/>
                <a:moveTo>
                  <a:pt x="3267319" y="3154670"/>
                </a:moveTo>
                <a:lnTo>
                  <a:pt x="3267319" y="3154671"/>
                </a:lnTo>
                <a:lnTo>
                  <a:pt x="3267320" y="3155106"/>
                </a:lnTo>
                <a:close/>
                <a:moveTo>
                  <a:pt x="4173770" y="3144113"/>
                </a:moveTo>
                <a:lnTo>
                  <a:pt x="4176283" y="3147512"/>
                </a:lnTo>
                <a:lnTo>
                  <a:pt x="4177719" y="3147745"/>
                </a:lnTo>
                <a:lnTo>
                  <a:pt x="4181519" y="3150131"/>
                </a:lnTo>
                <a:lnTo>
                  <a:pt x="4180400" y="3154501"/>
                </a:lnTo>
                <a:lnTo>
                  <a:pt x="4180654" y="3155938"/>
                </a:lnTo>
                <a:lnTo>
                  <a:pt x="4178922" y="3160309"/>
                </a:lnTo>
                <a:lnTo>
                  <a:pt x="4178986" y="3163750"/>
                </a:lnTo>
                <a:lnTo>
                  <a:pt x="4175248" y="3164257"/>
                </a:lnTo>
                <a:lnTo>
                  <a:pt x="4173496" y="3162652"/>
                </a:lnTo>
                <a:lnTo>
                  <a:pt x="4172418" y="3158831"/>
                </a:lnTo>
                <a:lnTo>
                  <a:pt x="4173517" y="3155156"/>
                </a:lnTo>
                <a:lnTo>
                  <a:pt x="4173834" y="3152179"/>
                </a:lnTo>
                <a:lnTo>
                  <a:pt x="4170814" y="3147028"/>
                </a:lnTo>
                <a:close/>
                <a:moveTo>
                  <a:pt x="3175251" y="3130970"/>
                </a:moveTo>
                <a:lnTo>
                  <a:pt x="3182100" y="3133746"/>
                </a:lnTo>
                <a:lnTo>
                  <a:pt x="3185373" y="3135921"/>
                </a:lnTo>
                <a:lnTo>
                  <a:pt x="3187653" y="3139510"/>
                </a:lnTo>
                <a:lnTo>
                  <a:pt x="3189005" y="3142298"/>
                </a:lnTo>
                <a:lnTo>
                  <a:pt x="3191201" y="3149519"/>
                </a:lnTo>
                <a:lnTo>
                  <a:pt x="3193545" y="3155220"/>
                </a:lnTo>
                <a:lnTo>
                  <a:pt x="3191201" y="3149498"/>
                </a:lnTo>
                <a:lnTo>
                  <a:pt x="3189005" y="3142298"/>
                </a:lnTo>
                <a:lnTo>
                  <a:pt x="3187654" y="3139510"/>
                </a:lnTo>
                <a:lnTo>
                  <a:pt x="3185374" y="3135921"/>
                </a:lnTo>
                <a:lnTo>
                  <a:pt x="3182100" y="3133725"/>
                </a:lnTo>
                <a:close/>
                <a:moveTo>
                  <a:pt x="3240525" y="3129059"/>
                </a:moveTo>
                <a:lnTo>
                  <a:pt x="3245508" y="3130664"/>
                </a:lnTo>
                <a:lnTo>
                  <a:pt x="3248929" y="3129883"/>
                </a:lnTo>
                <a:lnTo>
                  <a:pt x="3249060" y="3129660"/>
                </a:lnTo>
                <a:lnTo>
                  <a:pt x="3248928" y="3129882"/>
                </a:lnTo>
                <a:lnTo>
                  <a:pt x="3245508" y="3130663"/>
                </a:lnTo>
                <a:close/>
                <a:moveTo>
                  <a:pt x="2923644" y="3125986"/>
                </a:moveTo>
                <a:lnTo>
                  <a:pt x="2923341" y="3130115"/>
                </a:lnTo>
                <a:lnTo>
                  <a:pt x="2920575" y="3137505"/>
                </a:lnTo>
                <a:lnTo>
                  <a:pt x="2918485" y="3143100"/>
                </a:lnTo>
                <a:lnTo>
                  <a:pt x="2917134" y="3149604"/>
                </a:lnTo>
                <a:lnTo>
                  <a:pt x="2916880" y="3153003"/>
                </a:lnTo>
                <a:lnTo>
                  <a:pt x="2921947" y="3162589"/>
                </a:lnTo>
                <a:lnTo>
                  <a:pt x="2921654" y="3164474"/>
                </a:lnTo>
                <a:lnTo>
                  <a:pt x="2921694" y="3164468"/>
                </a:lnTo>
                <a:lnTo>
                  <a:pt x="2921968" y="3162547"/>
                </a:lnTo>
                <a:lnTo>
                  <a:pt x="2916901" y="3152960"/>
                </a:lnTo>
                <a:lnTo>
                  <a:pt x="2917154" y="3149583"/>
                </a:lnTo>
                <a:lnTo>
                  <a:pt x="2918505" y="3143079"/>
                </a:lnTo>
                <a:lnTo>
                  <a:pt x="2920595" y="3137483"/>
                </a:lnTo>
                <a:lnTo>
                  <a:pt x="2923362" y="3130114"/>
                </a:lnTo>
                <a:close/>
                <a:moveTo>
                  <a:pt x="3223982" y="3125672"/>
                </a:moveTo>
                <a:lnTo>
                  <a:pt x="3223992" y="3125681"/>
                </a:lnTo>
                <a:lnTo>
                  <a:pt x="3231509" y="3126969"/>
                </a:lnTo>
                <a:lnTo>
                  <a:pt x="3223992" y="3125680"/>
                </a:lnTo>
                <a:close/>
                <a:moveTo>
                  <a:pt x="3161149" y="3125294"/>
                </a:moveTo>
                <a:lnTo>
                  <a:pt x="3164997" y="3126842"/>
                </a:lnTo>
                <a:lnTo>
                  <a:pt x="3168056" y="3128074"/>
                </a:lnTo>
                <a:lnTo>
                  <a:pt x="3164998" y="3126842"/>
                </a:lnTo>
                <a:close/>
                <a:moveTo>
                  <a:pt x="3477337" y="3123193"/>
                </a:moveTo>
                <a:lnTo>
                  <a:pt x="3477346" y="3123211"/>
                </a:lnTo>
                <a:lnTo>
                  <a:pt x="3479119" y="3124519"/>
                </a:lnTo>
                <a:lnTo>
                  <a:pt x="3486319" y="3124604"/>
                </a:lnTo>
                <a:lnTo>
                  <a:pt x="3487515" y="3125573"/>
                </a:lnTo>
                <a:lnTo>
                  <a:pt x="3487524" y="3125554"/>
                </a:lnTo>
                <a:lnTo>
                  <a:pt x="3486278" y="3124562"/>
                </a:lnTo>
                <a:lnTo>
                  <a:pt x="3479078" y="3124477"/>
                </a:lnTo>
                <a:close/>
                <a:moveTo>
                  <a:pt x="3249355" y="3120851"/>
                </a:moveTo>
                <a:lnTo>
                  <a:pt x="3249921" y="3123780"/>
                </a:lnTo>
                <a:lnTo>
                  <a:pt x="3250088" y="3127922"/>
                </a:lnTo>
                <a:lnTo>
                  <a:pt x="3250090" y="3127919"/>
                </a:lnTo>
                <a:lnTo>
                  <a:pt x="3249921" y="3123759"/>
                </a:lnTo>
                <a:close/>
                <a:moveTo>
                  <a:pt x="3140095" y="3120711"/>
                </a:moveTo>
                <a:lnTo>
                  <a:pt x="3146501" y="3121542"/>
                </a:lnTo>
                <a:lnTo>
                  <a:pt x="3152205" y="3121785"/>
                </a:lnTo>
                <a:lnTo>
                  <a:pt x="3146501" y="3121522"/>
                </a:lnTo>
                <a:close/>
                <a:moveTo>
                  <a:pt x="4087201" y="3119494"/>
                </a:moveTo>
                <a:lnTo>
                  <a:pt x="4091528" y="3120043"/>
                </a:lnTo>
                <a:lnTo>
                  <a:pt x="4096512" y="3123125"/>
                </a:lnTo>
                <a:lnTo>
                  <a:pt x="4100672" y="3126842"/>
                </a:lnTo>
                <a:lnTo>
                  <a:pt x="4089101" y="3125322"/>
                </a:lnTo>
                <a:lnTo>
                  <a:pt x="4087284" y="3121964"/>
                </a:lnTo>
                <a:close/>
                <a:moveTo>
                  <a:pt x="3253668" y="3116802"/>
                </a:moveTo>
                <a:lnTo>
                  <a:pt x="3253341" y="3116812"/>
                </a:lnTo>
                <a:lnTo>
                  <a:pt x="3250279" y="3118354"/>
                </a:lnTo>
                <a:lnTo>
                  <a:pt x="3249329" y="3120718"/>
                </a:lnTo>
                <a:lnTo>
                  <a:pt x="3249329" y="3120719"/>
                </a:lnTo>
                <a:lnTo>
                  <a:pt x="3250280" y="3118354"/>
                </a:lnTo>
                <a:lnTo>
                  <a:pt x="3253342" y="3116813"/>
                </a:lnTo>
                <a:close/>
                <a:moveTo>
                  <a:pt x="3267277" y="3113962"/>
                </a:moveTo>
                <a:lnTo>
                  <a:pt x="3264574" y="3114468"/>
                </a:lnTo>
                <a:lnTo>
                  <a:pt x="3264351" y="3114606"/>
                </a:lnTo>
                <a:lnTo>
                  <a:pt x="3264575" y="3114469"/>
                </a:lnTo>
                <a:lnTo>
                  <a:pt x="3267277" y="3113962"/>
                </a:lnTo>
                <a:lnTo>
                  <a:pt x="3267298" y="3123084"/>
                </a:lnTo>
                <a:lnTo>
                  <a:pt x="3267298" y="3123083"/>
                </a:lnTo>
                <a:close/>
                <a:moveTo>
                  <a:pt x="2921442" y="3111671"/>
                </a:moveTo>
                <a:lnTo>
                  <a:pt x="2921441" y="3111703"/>
                </a:lnTo>
                <a:lnTo>
                  <a:pt x="2923342" y="3123778"/>
                </a:lnTo>
                <a:close/>
                <a:moveTo>
                  <a:pt x="4417623" y="3109548"/>
                </a:moveTo>
                <a:lnTo>
                  <a:pt x="4420959" y="3109570"/>
                </a:lnTo>
                <a:lnTo>
                  <a:pt x="4423830" y="3112230"/>
                </a:lnTo>
                <a:lnTo>
                  <a:pt x="4424908" y="3116157"/>
                </a:lnTo>
                <a:lnTo>
                  <a:pt x="4426935" y="3119050"/>
                </a:lnTo>
                <a:lnTo>
                  <a:pt x="4433797" y="3125828"/>
                </a:lnTo>
                <a:lnTo>
                  <a:pt x="4437238" y="3130726"/>
                </a:lnTo>
                <a:lnTo>
                  <a:pt x="4437238" y="3130706"/>
                </a:lnTo>
                <a:lnTo>
                  <a:pt x="4439962" y="3137061"/>
                </a:lnTo>
                <a:lnTo>
                  <a:pt x="4443130" y="3143142"/>
                </a:lnTo>
                <a:lnTo>
                  <a:pt x="4453032" y="3157879"/>
                </a:lnTo>
                <a:lnTo>
                  <a:pt x="4457276" y="3163539"/>
                </a:lnTo>
                <a:lnTo>
                  <a:pt x="4460887" y="3169577"/>
                </a:lnTo>
                <a:lnTo>
                  <a:pt x="4462639" y="3181613"/>
                </a:lnTo>
                <a:lnTo>
                  <a:pt x="4468952" y="3200320"/>
                </a:lnTo>
                <a:lnTo>
                  <a:pt x="4474885" y="3228508"/>
                </a:lnTo>
                <a:lnTo>
                  <a:pt x="4476702" y="3257477"/>
                </a:lnTo>
                <a:lnTo>
                  <a:pt x="4478539" y="3270779"/>
                </a:lnTo>
                <a:lnTo>
                  <a:pt x="4483163" y="3283321"/>
                </a:lnTo>
                <a:lnTo>
                  <a:pt x="4490743" y="3296370"/>
                </a:lnTo>
                <a:lnTo>
                  <a:pt x="4493192" y="3310855"/>
                </a:lnTo>
                <a:lnTo>
                  <a:pt x="4488547" y="3325825"/>
                </a:lnTo>
                <a:lnTo>
                  <a:pt x="4481853" y="3339930"/>
                </a:lnTo>
                <a:lnTo>
                  <a:pt x="4480122" y="3342590"/>
                </a:lnTo>
                <a:lnTo>
                  <a:pt x="4476976" y="3346222"/>
                </a:lnTo>
                <a:lnTo>
                  <a:pt x="4475561" y="3346074"/>
                </a:lnTo>
                <a:lnTo>
                  <a:pt x="4470199" y="3342421"/>
                </a:lnTo>
                <a:lnTo>
                  <a:pt x="4465807" y="3336467"/>
                </a:lnTo>
                <a:lnTo>
                  <a:pt x="4460253" y="3322426"/>
                </a:lnTo>
                <a:lnTo>
                  <a:pt x="4458226" y="3315310"/>
                </a:lnTo>
                <a:lnTo>
                  <a:pt x="4455904" y="3314191"/>
                </a:lnTo>
                <a:lnTo>
                  <a:pt x="4449401" y="3314803"/>
                </a:lnTo>
                <a:lnTo>
                  <a:pt x="4444692" y="3319216"/>
                </a:lnTo>
                <a:lnTo>
                  <a:pt x="4443826" y="3322003"/>
                </a:lnTo>
                <a:lnTo>
                  <a:pt x="4444840" y="3329922"/>
                </a:lnTo>
                <a:lnTo>
                  <a:pt x="4446634" y="3337038"/>
                </a:lnTo>
                <a:lnTo>
                  <a:pt x="4447416" y="3344279"/>
                </a:lnTo>
                <a:lnTo>
                  <a:pt x="4447564" y="3353380"/>
                </a:lnTo>
                <a:lnTo>
                  <a:pt x="4449316" y="3356125"/>
                </a:lnTo>
                <a:lnTo>
                  <a:pt x="4451892" y="3358447"/>
                </a:lnTo>
                <a:lnTo>
                  <a:pt x="4454573" y="3364401"/>
                </a:lnTo>
                <a:lnTo>
                  <a:pt x="4455038" y="3378633"/>
                </a:lnTo>
                <a:lnTo>
                  <a:pt x="4453391" y="3385833"/>
                </a:lnTo>
                <a:lnTo>
                  <a:pt x="4448809" y="3392020"/>
                </a:lnTo>
                <a:lnTo>
                  <a:pt x="4449084" y="3395440"/>
                </a:lnTo>
                <a:lnTo>
                  <a:pt x="4450794" y="3398966"/>
                </a:lnTo>
                <a:lnTo>
                  <a:pt x="4449168" y="3401078"/>
                </a:lnTo>
                <a:lnTo>
                  <a:pt x="4443066" y="3403760"/>
                </a:lnTo>
                <a:lnTo>
                  <a:pt x="4440596" y="3406146"/>
                </a:lnTo>
                <a:lnTo>
                  <a:pt x="4437301" y="3412438"/>
                </a:lnTo>
                <a:lnTo>
                  <a:pt x="4431959" y="3425296"/>
                </a:lnTo>
                <a:lnTo>
                  <a:pt x="4431242" y="3431884"/>
                </a:lnTo>
                <a:lnTo>
                  <a:pt x="4434578" y="3451922"/>
                </a:lnTo>
                <a:lnTo>
                  <a:pt x="4433649" y="3466132"/>
                </a:lnTo>
                <a:lnTo>
                  <a:pt x="4426850" y="3493412"/>
                </a:lnTo>
                <a:lnTo>
                  <a:pt x="4422923" y="3506376"/>
                </a:lnTo>
                <a:lnTo>
                  <a:pt x="4417369" y="3521896"/>
                </a:lnTo>
                <a:lnTo>
                  <a:pt x="4408882" y="3542377"/>
                </a:lnTo>
                <a:lnTo>
                  <a:pt x="4400478" y="3568157"/>
                </a:lnTo>
                <a:lnTo>
                  <a:pt x="4393341" y="3594762"/>
                </a:lnTo>
                <a:lnTo>
                  <a:pt x="4388062" y="3610788"/>
                </a:lnTo>
                <a:lnTo>
                  <a:pt x="4382066" y="3626603"/>
                </a:lnTo>
                <a:lnTo>
                  <a:pt x="4373852" y="3654580"/>
                </a:lnTo>
                <a:lnTo>
                  <a:pt x="4366884" y="3683084"/>
                </a:lnTo>
                <a:lnTo>
                  <a:pt x="4356517" y="3714545"/>
                </a:lnTo>
                <a:lnTo>
                  <a:pt x="4342202" y="3749764"/>
                </a:lnTo>
                <a:lnTo>
                  <a:pt x="4340660" y="3754367"/>
                </a:lnTo>
                <a:lnTo>
                  <a:pt x="4337683" y="3772420"/>
                </a:lnTo>
                <a:lnTo>
                  <a:pt x="4334473" y="3788129"/>
                </a:lnTo>
                <a:lnTo>
                  <a:pt x="4330631" y="3803712"/>
                </a:lnTo>
                <a:lnTo>
                  <a:pt x="4322607" y="3829514"/>
                </a:lnTo>
                <a:lnTo>
                  <a:pt x="4321699" y="3837474"/>
                </a:lnTo>
                <a:lnTo>
                  <a:pt x="4319883" y="3845139"/>
                </a:lnTo>
                <a:lnTo>
                  <a:pt x="4312155" y="3861398"/>
                </a:lnTo>
                <a:lnTo>
                  <a:pt x="4308882" y="3867457"/>
                </a:lnTo>
                <a:lnTo>
                  <a:pt x="4306582" y="3873876"/>
                </a:lnTo>
                <a:lnTo>
                  <a:pt x="4305272" y="3882047"/>
                </a:lnTo>
                <a:lnTo>
                  <a:pt x="4302970" y="3889944"/>
                </a:lnTo>
                <a:lnTo>
                  <a:pt x="4297311" y="3904492"/>
                </a:lnTo>
                <a:lnTo>
                  <a:pt x="4288887" y="3917013"/>
                </a:lnTo>
                <a:lnTo>
                  <a:pt x="4283144" y="3921574"/>
                </a:lnTo>
                <a:lnTo>
                  <a:pt x="4270729" y="3928183"/>
                </a:lnTo>
                <a:lnTo>
                  <a:pt x="4264436" y="3929534"/>
                </a:lnTo>
                <a:lnTo>
                  <a:pt x="4250479" y="3929682"/>
                </a:lnTo>
                <a:lnTo>
                  <a:pt x="4236966" y="3933461"/>
                </a:lnTo>
                <a:lnTo>
                  <a:pt x="4222883" y="3940704"/>
                </a:lnTo>
                <a:lnTo>
                  <a:pt x="4209327" y="3949045"/>
                </a:lnTo>
                <a:lnTo>
                  <a:pt x="4204133" y="3953014"/>
                </a:lnTo>
                <a:lnTo>
                  <a:pt x="4198411" y="3955294"/>
                </a:lnTo>
                <a:lnTo>
                  <a:pt x="4180505" y="3955758"/>
                </a:lnTo>
                <a:lnTo>
                  <a:pt x="4175142" y="3953963"/>
                </a:lnTo>
                <a:lnTo>
                  <a:pt x="4157216" y="3940239"/>
                </a:lnTo>
                <a:lnTo>
                  <a:pt x="4150269" y="3938001"/>
                </a:lnTo>
                <a:lnTo>
                  <a:pt x="4137115" y="3936122"/>
                </a:lnTo>
                <a:lnTo>
                  <a:pt x="4133146" y="3934961"/>
                </a:lnTo>
                <a:lnTo>
                  <a:pt x="4129535" y="3933187"/>
                </a:lnTo>
                <a:lnTo>
                  <a:pt x="4124214" y="3926029"/>
                </a:lnTo>
                <a:lnTo>
                  <a:pt x="4113656" y="3919990"/>
                </a:lnTo>
                <a:lnTo>
                  <a:pt x="4111122" y="3918111"/>
                </a:lnTo>
                <a:lnTo>
                  <a:pt x="4109518" y="3913951"/>
                </a:lnTo>
                <a:lnTo>
                  <a:pt x="4108421" y="3909475"/>
                </a:lnTo>
                <a:lnTo>
                  <a:pt x="4105675" y="3904471"/>
                </a:lnTo>
                <a:lnTo>
                  <a:pt x="4103648" y="3894928"/>
                </a:lnTo>
                <a:lnTo>
                  <a:pt x="4100206" y="3888297"/>
                </a:lnTo>
                <a:lnTo>
                  <a:pt x="4090494" y="3876558"/>
                </a:lnTo>
                <a:lnTo>
                  <a:pt x="4089459" y="3872799"/>
                </a:lnTo>
                <a:lnTo>
                  <a:pt x="4088678" y="3860363"/>
                </a:lnTo>
                <a:lnTo>
                  <a:pt x="4088994" y="3851959"/>
                </a:lnTo>
                <a:lnTo>
                  <a:pt x="4088045" y="3836588"/>
                </a:lnTo>
                <a:lnTo>
                  <a:pt x="4089163" y="3829367"/>
                </a:lnTo>
                <a:lnTo>
                  <a:pt x="4092584" y="3822884"/>
                </a:lnTo>
                <a:lnTo>
                  <a:pt x="4091190" y="3815853"/>
                </a:lnTo>
                <a:lnTo>
                  <a:pt x="4087559" y="3808463"/>
                </a:lnTo>
                <a:lnTo>
                  <a:pt x="4086207" y="3800840"/>
                </a:lnTo>
                <a:lnTo>
                  <a:pt x="4083547" y="3793894"/>
                </a:lnTo>
                <a:lnTo>
                  <a:pt x="4073370" y="3781415"/>
                </a:lnTo>
                <a:lnTo>
                  <a:pt x="4070984" y="3775292"/>
                </a:lnTo>
                <a:lnTo>
                  <a:pt x="4069337" y="3768937"/>
                </a:lnTo>
                <a:lnTo>
                  <a:pt x="4065494" y="3749194"/>
                </a:lnTo>
                <a:lnTo>
                  <a:pt x="4065030" y="3742311"/>
                </a:lnTo>
                <a:lnTo>
                  <a:pt x="4065600" y="3727784"/>
                </a:lnTo>
                <a:lnTo>
                  <a:pt x="4067014" y="3720309"/>
                </a:lnTo>
                <a:lnTo>
                  <a:pt x="4069485" y="3715115"/>
                </a:lnTo>
                <a:lnTo>
                  <a:pt x="4070097" y="3711231"/>
                </a:lnTo>
                <a:lnTo>
                  <a:pt x="4071702" y="3707894"/>
                </a:lnTo>
                <a:lnTo>
                  <a:pt x="4074109" y="3705255"/>
                </a:lnTo>
                <a:lnTo>
                  <a:pt x="4075735" y="3702087"/>
                </a:lnTo>
                <a:lnTo>
                  <a:pt x="4079535" y="3683612"/>
                </a:lnTo>
                <a:lnTo>
                  <a:pt x="4084349" y="3679516"/>
                </a:lnTo>
                <a:lnTo>
                  <a:pt x="4091486" y="3677173"/>
                </a:lnTo>
                <a:lnTo>
                  <a:pt x="4097209" y="3672358"/>
                </a:lnTo>
                <a:lnTo>
                  <a:pt x="4100502" y="3665855"/>
                </a:lnTo>
                <a:lnTo>
                  <a:pt x="4103796" y="3652468"/>
                </a:lnTo>
                <a:lnTo>
                  <a:pt x="4112791" y="3639209"/>
                </a:lnTo>
                <a:lnTo>
                  <a:pt x="4116000" y="3632241"/>
                </a:lnTo>
                <a:lnTo>
                  <a:pt x="4123264" y="3621704"/>
                </a:lnTo>
                <a:lnTo>
                  <a:pt x="4129682" y="3606945"/>
                </a:lnTo>
                <a:lnTo>
                  <a:pt x="4131625" y="3599977"/>
                </a:lnTo>
                <a:lnTo>
                  <a:pt x="4133019" y="3592861"/>
                </a:lnTo>
                <a:lnTo>
                  <a:pt x="4134645" y="3577258"/>
                </a:lnTo>
                <a:lnTo>
                  <a:pt x="4135869" y="3569530"/>
                </a:lnTo>
                <a:lnTo>
                  <a:pt x="4135616" y="3561844"/>
                </a:lnTo>
                <a:lnTo>
                  <a:pt x="4131942" y="3553969"/>
                </a:lnTo>
                <a:lnTo>
                  <a:pt x="4123179" y="3539674"/>
                </a:lnTo>
                <a:lnTo>
                  <a:pt x="4122905" y="3537034"/>
                </a:lnTo>
                <a:lnTo>
                  <a:pt x="4123602" y="3526414"/>
                </a:lnTo>
                <a:lnTo>
                  <a:pt x="4122862" y="3518749"/>
                </a:lnTo>
                <a:lnTo>
                  <a:pt x="4119632" y="3511106"/>
                </a:lnTo>
                <a:lnTo>
                  <a:pt x="4115494" y="3503948"/>
                </a:lnTo>
                <a:lnTo>
                  <a:pt x="4111418" y="3490519"/>
                </a:lnTo>
                <a:lnTo>
                  <a:pt x="4109434" y="3468391"/>
                </a:lnTo>
                <a:lnTo>
                  <a:pt x="4109856" y="3460409"/>
                </a:lnTo>
                <a:lnTo>
                  <a:pt x="4108652" y="3453315"/>
                </a:lnTo>
                <a:lnTo>
                  <a:pt x="4105697" y="3446559"/>
                </a:lnTo>
                <a:lnTo>
                  <a:pt x="4107808" y="3434798"/>
                </a:lnTo>
                <a:lnTo>
                  <a:pt x="4134011" y="3392125"/>
                </a:lnTo>
                <a:lnTo>
                  <a:pt x="4134877" y="3387121"/>
                </a:lnTo>
                <a:lnTo>
                  <a:pt x="4133821" y="3374157"/>
                </a:lnTo>
                <a:lnTo>
                  <a:pt x="4134370" y="3366618"/>
                </a:lnTo>
                <a:lnTo>
                  <a:pt x="4135278" y="3363810"/>
                </a:lnTo>
                <a:lnTo>
                  <a:pt x="4137284" y="3362184"/>
                </a:lnTo>
                <a:lnTo>
                  <a:pt x="4141760" y="3361404"/>
                </a:lnTo>
                <a:lnTo>
                  <a:pt x="4162938" y="3359545"/>
                </a:lnTo>
                <a:lnTo>
                  <a:pt x="4165662" y="3358236"/>
                </a:lnTo>
                <a:lnTo>
                  <a:pt x="4170941" y="3354668"/>
                </a:lnTo>
                <a:lnTo>
                  <a:pt x="4178204" y="3347743"/>
                </a:lnTo>
                <a:lnTo>
                  <a:pt x="4181540" y="3345758"/>
                </a:lnTo>
                <a:lnTo>
                  <a:pt x="4184412" y="3346496"/>
                </a:lnTo>
                <a:lnTo>
                  <a:pt x="4186249" y="3349453"/>
                </a:lnTo>
                <a:lnTo>
                  <a:pt x="4188614" y="3351057"/>
                </a:lnTo>
                <a:lnTo>
                  <a:pt x="4197165" y="3347933"/>
                </a:lnTo>
                <a:lnTo>
                  <a:pt x="4200438" y="3347848"/>
                </a:lnTo>
                <a:lnTo>
                  <a:pt x="4203795" y="3348375"/>
                </a:lnTo>
                <a:lnTo>
                  <a:pt x="4205357" y="3345483"/>
                </a:lnTo>
                <a:lnTo>
                  <a:pt x="4206287" y="3341619"/>
                </a:lnTo>
                <a:lnTo>
                  <a:pt x="4207532" y="3338896"/>
                </a:lnTo>
                <a:lnTo>
                  <a:pt x="4209812" y="3337354"/>
                </a:lnTo>
                <a:lnTo>
                  <a:pt x="4220813" y="3336510"/>
                </a:lnTo>
                <a:lnTo>
                  <a:pt x="4227845" y="3335390"/>
                </a:lnTo>
                <a:lnTo>
                  <a:pt x="4236924" y="3332708"/>
                </a:lnTo>
                <a:lnTo>
                  <a:pt x="4238867" y="3333236"/>
                </a:lnTo>
                <a:lnTo>
                  <a:pt x="4246193" y="3342949"/>
                </a:lnTo>
                <a:lnTo>
                  <a:pt x="4248410" y="3343773"/>
                </a:lnTo>
                <a:lnTo>
                  <a:pt x="4251261" y="3344195"/>
                </a:lnTo>
                <a:lnTo>
                  <a:pt x="4253752" y="3342421"/>
                </a:lnTo>
                <a:lnTo>
                  <a:pt x="4247797" y="3337354"/>
                </a:lnTo>
                <a:lnTo>
                  <a:pt x="4246911" y="3334483"/>
                </a:lnTo>
                <a:lnTo>
                  <a:pt x="4247228" y="3331209"/>
                </a:lnTo>
                <a:lnTo>
                  <a:pt x="4250416" y="3324242"/>
                </a:lnTo>
                <a:lnTo>
                  <a:pt x="4255737" y="3318899"/>
                </a:lnTo>
                <a:lnTo>
                  <a:pt x="4267561" y="3310813"/>
                </a:lnTo>
                <a:lnTo>
                  <a:pt x="4279850" y="3301480"/>
                </a:lnTo>
                <a:lnTo>
                  <a:pt x="4283419" y="3300847"/>
                </a:lnTo>
                <a:lnTo>
                  <a:pt x="4286437" y="3302304"/>
                </a:lnTo>
                <a:lnTo>
                  <a:pt x="4288760" y="3313347"/>
                </a:lnTo>
                <a:lnTo>
                  <a:pt x="4288465" y="3315141"/>
                </a:lnTo>
                <a:lnTo>
                  <a:pt x="4290429" y="3315416"/>
                </a:lnTo>
                <a:lnTo>
                  <a:pt x="4292708" y="3314044"/>
                </a:lnTo>
                <a:lnTo>
                  <a:pt x="4294736" y="3309610"/>
                </a:lnTo>
                <a:lnTo>
                  <a:pt x="4294842" y="3305914"/>
                </a:lnTo>
                <a:lnTo>
                  <a:pt x="4293194" y="3302367"/>
                </a:lnTo>
                <a:lnTo>
                  <a:pt x="4292392" y="3299390"/>
                </a:lnTo>
                <a:lnTo>
                  <a:pt x="4292329" y="3296624"/>
                </a:lnTo>
                <a:lnTo>
                  <a:pt x="4298558" y="3290099"/>
                </a:lnTo>
                <a:lnTo>
                  <a:pt x="4303456" y="3283913"/>
                </a:lnTo>
                <a:lnTo>
                  <a:pt x="4305716" y="3276501"/>
                </a:lnTo>
                <a:lnTo>
                  <a:pt x="4307679" y="3273081"/>
                </a:lnTo>
                <a:lnTo>
                  <a:pt x="4312852" y="3269237"/>
                </a:lnTo>
                <a:lnTo>
                  <a:pt x="4314372" y="3269829"/>
                </a:lnTo>
                <a:lnTo>
                  <a:pt x="4315576" y="3272954"/>
                </a:lnTo>
                <a:lnTo>
                  <a:pt x="4316251" y="3276270"/>
                </a:lnTo>
                <a:lnTo>
                  <a:pt x="4314922" y="3279563"/>
                </a:lnTo>
                <a:lnTo>
                  <a:pt x="4313043" y="3282815"/>
                </a:lnTo>
                <a:lnTo>
                  <a:pt x="4312282" y="3287144"/>
                </a:lnTo>
                <a:lnTo>
                  <a:pt x="4315195" y="3287988"/>
                </a:lnTo>
                <a:lnTo>
                  <a:pt x="4317940" y="3286953"/>
                </a:lnTo>
                <a:lnTo>
                  <a:pt x="4321953" y="3279119"/>
                </a:lnTo>
                <a:lnTo>
                  <a:pt x="4326535" y="3271708"/>
                </a:lnTo>
                <a:lnTo>
                  <a:pt x="4329258" y="3267844"/>
                </a:lnTo>
                <a:lnTo>
                  <a:pt x="4332700" y="3265163"/>
                </a:lnTo>
                <a:lnTo>
                  <a:pt x="4338422" y="3265712"/>
                </a:lnTo>
                <a:lnTo>
                  <a:pt x="4343975" y="3267359"/>
                </a:lnTo>
                <a:lnTo>
                  <a:pt x="4334917" y="3259547"/>
                </a:lnTo>
                <a:lnTo>
                  <a:pt x="4332658" y="3248842"/>
                </a:lnTo>
                <a:lnTo>
                  <a:pt x="4343426" y="3230366"/>
                </a:lnTo>
                <a:lnTo>
                  <a:pt x="4343532" y="3226524"/>
                </a:lnTo>
                <a:lnTo>
                  <a:pt x="4345094" y="3225341"/>
                </a:lnTo>
                <a:lnTo>
                  <a:pt x="4345833" y="3223842"/>
                </a:lnTo>
                <a:lnTo>
                  <a:pt x="4340259" y="3217634"/>
                </a:lnTo>
                <a:lnTo>
                  <a:pt x="4339203" y="3214530"/>
                </a:lnTo>
                <a:lnTo>
                  <a:pt x="4339943" y="3209843"/>
                </a:lnTo>
                <a:lnTo>
                  <a:pt x="4342602" y="3205683"/>
                </a:lnTo>
                <a:lnTo>
                  <a:pt x="4345031" y="3202769"/>
                </a:lnTo>
                <a:lnTo>
                  <a:pt x="4348473" y="3201650"/>
                </a:lnTo>
                <a:lnTo>
                  <a:pt x="4351197" y="3203234"/>
                </a:lnTo>
                <a:lnTo>
                  <a:pt x="4357193" y="3208365"/>
                </a:lnTo>
                <a:lnTo>
                  <a:pt x="4361226" y="3209145"/>
                </a:lnTo>
                <a:lnTo>
                  <a:pt x="4366103" y="3204248"/>
                </a:lnTo>
                <a:lnTo>
                  <a:pt x="4370094" y="3198104"/>
                </a:lnTo>
                <a:lnTo>
                  <a:pt x="4376090" y="3193901"/>
                </a:lnTo>
                <a:lnTo>
                  <a:pt x="4382910" y="3191283"/>
                </a:lnTo>
                <a:lnTo>
                  <a:pt x="4393278" y="3181634"/>
                </a:lnTo>
                <a:lnTo>
                  <a:pt x="4400035" y="3161469"/>
                </a:lnTo>
                <a:lnTo>
                  <a:pt x="4400562" y="3155599"/>
                </a:lnTo>
                <a:lnTo>
                  <a:pt x="4399063" y="3148483"/>
                </a:lnTo>
                <a:lnTo>
                  <a:pt x="4396677" y="3141706"/>
                </a:lnTo>
                <a:lnTo>
                  <a:pt x="4392686" y="3133260"/>
                </a:lnTo>
                <a:lnTo>
                  <a:pt x="4393721" y="3131402"/>
                </a:lnTo>
                <a:lnTo>
                  <a:pt x="4399401" y="3132521"/>
                </a:lnTo>
                <a:lnTo>
                  <a:pt x="4401301" y="3131338"/>
                </a:lnTo>
                <a:lnTo>
                  <a:pt x="4407467" y="3123864"/>
                </a:lnTo>
                <a:close/>
                <a:moveTo>
                  <a:pt x="4135806" y="3108873"/>
                </a:moveTo>
                <a:lnTo>
                  <a:pt x="4137263" y="3109486"/>
                </a:lnTo>
                <a:lnTo>
                  <a:pt x="4140240" y="3117847"/>
                </a:lnTo>
                <a:lnTo>
                  <a:pt x="4140219" y="3124160"/>
                </a:lnTo>
                <a:lnTo>
                  <a:pt x="4138952" y="3126145"/>
                </a:lnTo>
                <a:lnTo>
                  <a:pt x="4136292" y="3124836"/>
                </a:lnTo>
                <a:lnTo>
                  <a:pt x="4131393" y="3119832"/>
                </a:lnTo>
                <a:lnTo>
                  <a:pt x="4122082" y="3114933"/>
                </a:lnTo>
                <a:lnTo>
                  <a:pt x="4126368" y="3114532"/>
                </a:lnTo>
                <a:lnTo>
                  <a:pt x="4128860" y="3115018"/>
                </a:lnTo>
                <a:lnTo>
                  <a:pt x="4131499" y="3114574"/>
                </a:lnTo>
                <a:lnTo>
                  <a:pt x="4133146" y="3111830"/>
                </a:lnTo>
                <a:lnTo>
                  <a:pt x="4133484" y="3110182"/>
                </a:lnTo>
                <a:close/>
                <a:moveTo>
                  <a:pt x="3560260" y="3105367"/>
                </a:moveTo>
                <a:lnTo>
                  <a:pt x="3561235" y="3106403"/>
                </a:lnTo>
                <a:lnTo>
                  <a:pt x="3561256" y="3108134"/>
                </a:lnTo>
                <a:lnTo>
                  <a:pt x="3560644" y="3109887"/>
                </a:lnTo>
                <a:lnTo>
                  <a:pt x="3559082" y="3111238"/>
                </a:lnTo>
                <a:lnTo>
                  <a:pt x="3556991" y="3111724"/>
                </a:lnTo>
                <a:lnTo>
                  <a:pt x="3555703" y="3110664"/>
                </a:lnTo>
                <a:lnTo>
                  <a:pt x="3555703" y="3110668"/>
                </a:lnTo>
                <a:lnTo>
                  <a:pt x="3557013" y="3111765"/>
                </a:lnTo>
                <a:lnTo>
                  <a:pt x="3559082" y="3111238"/>
                </a:lnTo>
                <a:lnTo>
                  <a:pt x="3560665" y="3109908"/>
                </a:lnTo>
                <a:lnTo>
                  <a:pt x="3561278" y="3108155"/>
                </a:lnTo>
                <a:lnTo>
                  <a:pt x="3561256" y="3106424"/>
                </a:lnTo>
                <a:lnTo>
                  <a:pt x="3560264" y="3105368"/>
                </a:lnTo>
                <a:close/>
                <a:moveTo>
                  <a:pt x="3551501" y="3102792"/>
                </a:moveTo>
                <a:lnTo>
                  <a:pt x="3549284" y="3103489"/>
                </a:lnTo>
                <a:lnTo>
                  <a:pt x="3548545" y="3105685"/>
                </a:lnTo>
                <a:lnTo>
                  <a:pt x="3548550" y="3105692"/>
                </a:lnTo>
                <a:lnTo>
                  <a:pt x="3549284" y="3103510"/>
                </a:lnTo>
                <a:lnTo>
                  <a:pt x="3551501" y="3102814"/>
                </a:lnTo>
                <a:lnTo>
                  <a:pt x="3553444" y="3103638"/>
                </a:lnTo>
                <a:lnTo>
                  <a:pt x="3554093" y="3104737"/>
                </a:lnTo>
                <a:lnTo>
                  <a:pt x="3553444" y="3103637"/>
                </a:lnTo>
                <a:close/>
                <a:moveTo>
                  <a:pt x="3097493" y="3099706"/>
                </a:moveTo>
                <a:lnTo>
                  <a:pt x="3095151" y="3101104"/>
                </a:lnTo>
                <a:lnTo>
                  <a:pt x="3091223" y="3102434"/>
                </a:lnTo>
                <a:lnTo>
                  <a:pt x="3095150" y="3101124"/>
                </a:lnTo>
                <a:close/>
                <a:moveTo>
                  <a:pt x="3048694" y="3098762"/>
                </a:moveTo>
                <a:lnTo>
                  <a:pt x="3062528" y="3100321"/>
                </a:lnTo>
                <a:lnTo>
                  <a:pt x="3067849" y="3101399"/>
                </a:lnTo>
                <a:lnTo>
                  <a:pt x="3077389" y="3102784"/>
                </a:lnTo>
                <a:lnTo>
                  <a:pt x="3067849" y="3101377"/>
                </a:lnTo>
                <a:lnTo>
                  <a:pt x="3062528" y="3100301"/>
                </a:lnTo>
                <a:close/>
                <a:moveTo>
                  <a:pt x="3192995" y="3097239"/>
                </a:moveTo>
                <a:lnTo>
                  <a:pt x="3194960" y="3098971"/>
                </a:lnTo>
                <a:lnTo>
                  <a:pt x="3195115" y="3099089"/>
                </a:lnTo>
                <a:lnTo>
                  <a:pt x="3194959" y="3098970"/>
                </a:lnTo>
                <a:close/>
                <a:moveTo>
                  <a:pt x="3038035" y="3095782"/>
                </a:moveTo>
                <a:lnTo>
                  <a:pt x="3043926" y="3097915"/>
                </a:lnTo>
                <a:lnTo>
                  <a:pt x="3044662" y="3098053"/>
                </a:lnTo>
                <a:lnTo>
                  <a:pt x="3043927" y="3097915"/>
                </a:lnTo>
                <a:close/>
                <a:moveTo>
                  <a:pt x="3019814" y="3089068"/>
                </a:moveTo>
                <a:lnTo>
                  <a:pt x="3013734" y="3089614"/>
                </a:lnTo>
                <a:lnTo>
                  <a:pt x="3019813" y="3089089"/>
                </a:lnTo>
                <a:lnTo>
                  <a:pt x="3033791" y="3093671"/>
                </a:lnTo>
                <a:close/>
                <a:moveTo>
                  <a:pt x="3104265" y="3081599"/>
                </a:moveTo>
                <a:lnTo>
                  <a:pt x="3103216" y="3084212"/>
                </a:lnTo>
                <a:lnTo>
                  <a:pt x="3100281" y="3093946"/>
                </a:lnTo>
                <a:lnTo>
                  <a:pt x="3103216" y="3084233"/>
                </a:lnTo>
                <a:close/>
                <a:moveTo>
                  <a:pt x="3680684" y="3081043"/>
                </a:moveTo>
                <a:lnTo>
                  <a:pt x="3680681" y="3081044"/>
                </a:lnTo>
                <a:lnTo>
                  <a:pt x="3674997" y="3085437"/>
                </a:lnTo>
                <a:lnTo>
                  <a:pt x="3675001" y="3085436"/>
                </a:lnTo>
                <a:close/>
                <a:moveTo>
                  <a:pt x="3110884" y="3079146"/>
                </a:moveTo>
                <a:lnTo>
                  <a:pt x="3107291" y="3079968"/>
                </a:lnTo>
                <a:lnTo>
                  <a:pt x="3104433" y="3081293"/>
                </a:lnTo>
                <a:lnTo>
                  <a:pt x="3107291" y="3079989"/>
                </a:lnTo>
                <a:close/>
                <a:moveTo>
                  <a:pt x="3111099" y="3079122"/>
                </a:moveTo>
                <a:lnTo>
                  <a:pt x="3113288" y="3080664"/>
                </a:lnTo>
                <a:lnTo>
                  <a:pt x="3115758" y="3091433"/>
                </a:lnTo>
                <a:lnTo>
                  <a:pt x="3126759" y="3101187"/>
                </a:lnTo>
                <a:lnTo>
                  <a:pt x="3130517" y="3109379"/>
                </a:lnTo>
                <a:lnTo>
                  <a:pt x="3133263" y="3116369"/>
                </a:lnTo>
                <a:lnTo>
                  <a:pt x="3135648" y="3118291"/>
                </a:lnTo>
                <a:lnTo>
                  <a:pt x="3137980" y="3119621"/>
                </a:lnTo>
                <a:lnTo>
                  <a:pt x="3135649" y="3118291"/>
                </a:lnTo>
                <a:lnTo>
                  <a:pt x="3133263" y="3116369"/>
                </a:lnTo>
                <a:lnTo>
                  <a:pt x="3130517" y="3109359"/>
                </a:lnTo>
                <a:lnTo>
                  <a:pt x="3126759" y="3101167"/>
                </a:lnTo>
                <a:lnTo>
                  <a:pt x="3115759" y="3091433"/>
                </a:lnTo>
                <a:lnTo>
                  <a:pt x="3113288" y="3080644"/>
                </a:lnTo>
                <a:close/>
                <a:moveTo>
                  <a:pt x="3565437" y="3078890"/>
                </a:moveTo>
                <a:lnTo>
                  <a:pt x="3555534" y="3079672"/>
                </a:lnTo>
                <a:lnTo>
                  <a:pt x="3553106" y="3081572"/>
                </a:lnTo>
                <a:lnTo>
                  <a:pt x="3552367" y="3085795"/>
                </a:lnTo>
                <a:lnTo>
                  <a:pt x="3549263" y="3094495"/>
                </a:lnTo>
                <a:lnTo>
                  <a:pt x="3547532" y="3097704"/>
                </a:lnTo>
                <a:lnTo>
                  <a:pt x="3543879" y="3103552"/>
                </a:lnTo>
                <a:lnTo>
                  <a:pt x="3538727" y="3111830"/>
                </a:lnTo>
                <a:lnTo>
                  <a:pt x="3537650" y="3114511"/>
                </a:lnTo>
                <a:lnTo>
                  <a:pt x="3537819" y="3117298"/>
                </a:lnTo>
                <a:lnTo>
                  <a:pt x="3540860" y="3128531"/>
                </a:lnTo>
                <a:lnTo>
                  <a:pt x="3544048" y="3140313"/>
                </a:lnTo>
                <a:lnTo>
                  <a:pt x="3545061" y="3144958"/>
                </a:lnTo>
                <a:lnTo>
                  <a:pt x="3547321" y="3160646"/>
                </a:lnTo>
                <a:lnTo>
                  <a:pt x="3548588" y="3171774"/>
                </a:lnTo>
                <a:lnTo>
                  <a:pt x="3548778" y="3178319"/>
                </a:lnTo>
                <a:lnTo>
                  <a:pt x="3549855" y="3187061"/>
                </a:lnTo>
                <a:lnTo>
                  <a:pt x="3552684" y="3191790"/>
                </a:lnTo>
                <a:lnTo>
                  <a:pt x="3555661" y="3194768"/>
                </a:lnTo>
                <a:lnTo>
                  <a:pt x="3566851" y="3196541"/>
                </a:lnTo>
                <a:lnTo>
                  <a:pt x="3570188" y="3198737"/>
                </a:lnTo>
                <a:lnTo>
                  <a:pt x="3576522" y="3204311"/>
                </a:lnTo>
                <a:lnTo>
                  <a:pt x="3590374" y="3219768"/>
                </a:lnTo>
                <a:lnTo>
                  <a:pt x="3597974" y="3229628"/>
                </a:lnTo>
                <a:lnTo>
                  <a:pt x="3604668" y="3238306"/>
                </a:lnTo>
                <a:lnTo>
                  <a:pt x="3616619" y="3254459"/>
                </a:lnTo>
                <a:lnTo>
                  <a:pt x="3625909" y="3267021"/>
                </a:lnTo>
                <a:lnTo>
                  <a:pt x="3627071" y="3278825"/>
                </a:lnTo>
                <a:lnTo>
                  <a:pt x="3628612" y="3280557"/>
                </a:lnTo>
                <a:lnTo>
                  <a:pt x="3625487" y="3289319"/>
                </a:lnTo>
                <a:lnTo>
                  <a:pt x="3623439" y="3303465"/>
                </a:lnTo>
                <a:lnTo>
                  <a:pt x="3624916" y="3312883"/>
                </a:lnTo>
                <a:lnTo>
                  <a:pt x="3624305" y="3328951"/>
                </a:lnTo>
                <a:lnTo>
                  <a:pt x="3622594" y="3346075"/>
                </a:lnTo>
                <a:lnTo>
                  <a:pt x="3620461" y="3352198"/>
                </a:lnTo>
                <a:lnTo>
                  <a:pt x="3617717" y="3354520"/>
                </a:lnTo>
                <a:lnTo>
                  <a:pt x="3611214" y="3356358"/>
                </a:lnTo>
                <a:lnTo>
                  <a:pt x="3596940" y="3358512"/>
                </a:lnTo>
                <a:lnTo>
                  <a:pt x="3594808" y="3360518"/>
                </a:lnTo>
                <a:lnTo>
                  <a:pt x="3592971" y="3363853"/>
                </a:lnTo>
                <a:lnTo>
                  <a:pt x="3590078" y="3371772"/>
                </a:lnTo>
                <a:lnTo>
                  <a:pt x="3586679" y="3379753"/>
                </a:lnTo>
                <a:lnTo>
                  <a:pt x="3585602" y="3383174"/>
                </a:lnTo>
                <a:lnTo>
                  <a:pt x="3586256" y="3383975"/>
                </a:lnTo>
                <a:lnTo>
                  <a:pt x="3589317" y="3388051"/>
                </a:lnTo>
                <a:lnTo>
                  <a:pt x="3592358" y="3398482"/>
                </a:lnTo>
                <a:lnTo>
                  <a:pt x="3592907" y="3416366"/>
                </a:lnTo>
                <a:lnTo>
                  <a:pt x="3591851" y="3417695"/>
                </a:lnTo>
                <a:lnTo>
                  <a:pt x="3587628" y="3418477"/>
                </a:lnTo>
                <a:lnTo>
                  <a:pt x="3583162" y="3418248"/>
                </a:lnTo>
                <a:lnTo>
                  <a:pt x="3583194" y="3418266"/>
                </a:lnTo>
                <a:lnTo>
                  <a:pt x="3587734" y="3418497"/>
                </a:lnTo>
                <a:lnTo>
                  <a:pt x="3591957" y="3417717"/>
                </a:lnTo>
                <a:lnTo>
                  <a:pt x="3593013" y="3416365"/>
                </a:lnTo>
                <a:lnTo>
                  <a:pt x="3592464" y="3398481"/>
                </a:lnTo>
                <a:lnTo>
                  <a:pt x="3589423" y="3388050"/>
                </a:lnTo>
                <a:lnTo>
                  <a:pt x="3586362" y="3383975"/>
                </a:lnTo>
                <a:lnTo>
                  <a:pt x="3585707" y="3383173"/>
                </a:lnTo>
                <a:lnTo>
                  <a:pt x="3586783" y="3379753"/>
                </a:lnTo>
                <a:lnTo>
                  <a:pt x="3590183" y="3371771"/>
                </a:lnTo>
                <a:lnTo>
                  <a:pt x="3593075" y="3363853"/>
                </a:lnTo>
                <a:lnTo>
                  <a:pt x="3594913" y="3360538"/>
                </a:lnTo>
                <a:lnTo>
                  <a:pt x="3597046" y="3358512"/>
                </a:lnTo>
                <a:lnTo>
                  <a:pt x="3611319" y="3356379"/>
                </a:lnTo>
                <a:lnTo>
                  <a:pt x="3617822" y="3354520"/>
                </a:lnTo>
                <a:lnTo>
                  <a:pt x="3620567" y="3352219"/>
                </a:lnTo>
                <a:lnTo>
                  <a:pt x="3622699" y="3346075"/>
                </a:lnTo>
                <a:lnTo>
                  <a:pt x="3624410" y="3328950"/>
                </a:lnTo>
                <a:lnTo>
                  <a:pt x="3625022" y="3312883"/>
                </a:lnTo>
                <a:lnTo>
                  <a:pt x="3623544" y="3303487"/>
                </a:lnTo>
                <a:lnTo>
                  <a:pt x="3625592" y="3289318"/>
                </a:lnTo>
                <a:lnTo>
                  <a:pt x="3628718" y="3280556"/>
                </a:lnTo>
                <a:lnTo>
                  <a:pt x="3627176" y="3278846"/>
                </a:lnTo>
                <a:lnTo>
                  <a:pt x="3626015" y="3267043"/>
                </a:lnTo>
                <a:lnTo>
                  <a:pt x="3616724" y="3254480"/>
                </a:lnTo>
                <a:lnTo>
                  <a:pt x="3604773" y="3238327"/>
                </a:lnTo>
                <a:lnTo>
                  <a:pt x="3598080" y="3229649"/>
                </a:lnTo>
                <a:lnTo>
                  <a:pt x="3590479" y="3219767"/>
                </a:lnTo>
                <a:lnTo>
                  <a:pt x="3576628" y="3204311"/>
                </a:lnTo>
                <a:lnTo>
                  <a:pt x="3570294" y="3198737"/>
                </a:lnTo>
                <a:lnTo>
                  <a:pt x="3566957" y="3196541"/>
                </a:lnTo>
                <a:lnTo>
                  <a:pt x="3555766" y="3194767"/>
                </a:lnTo>
                <a:lnTo>
                  <a:pt x="3552789" y="3191790"/>
                </a:lnTo>
                <a:lnTo>
                  <a:pt x="3549960" y="3187061"/>
                </a:lnTo>
                <a:lnTo>
                  <a:pt x="3548883" y="3178319"/>
                </a:lnTo>
                <a:lnTo>
                  <a:pt x="3548693" y="3171774"/>
                </a:lnTo>
                <a:lnTo>
                  <a:pt x="3547426" y="3160668"/>
                </a:lnTo>
                <a:lnTo>
                  <a:pt x="3545167" y="3144958"/>
                </a:lnTo>
                <a:lnTo>
                  <a:pt x="3544153" y="3140334"/>
                </a:lnTo>
                <a:lnTo>
                  <a:pt x="3540965" y="3128531"/>
                </a:lnTo>
                <a:lnTo>
                  <a:pt x="3537924" y="3117298"/>
                </a:lnTo>
                <a:lnTo>
                  <a:pt x="3537755" y="3114511"/>
                </a:lnTo>
                <a:lnTo>
                  <a:pt x="3538833" y="3111830"/>
                </a:lnTo>
                <a:lnTo>
                  <a:pt x="3543984" y="3103573"/>
                </a:lnTo>
                <a:lnTo>
                  <a:pt x="3547638" y="3097704"/>
                </a:lnTo>
                <a:lnTo>
                  <a:pt x="3549369" y="3094515"/>
                </a:lnTo>
                <a:lnTo>
                  <a:pt x="3552472" y="3085795"/>
                </a:lnTo>
                <a:lnTo>
                  <a:pt x="3553211" y="3081572"/>
                </a:lnTo>
                <a:lnTo>
                  <a:pt x="3555640" y="3079672"/>
                </a:lnTo>
                <a:lnTo>
                  <a:pt x="3565522" y="3078892"/>
                </a:lnTo>
                <a:close/>
                <a:moveTo>
                  <a:pt x="4304406" y="3077603"/>
                </a:moveTo>
                <a:lnTo>
                  <a:pt x="4304765" y="3078848"/>
                </a:lnTo>
                <a:lnTo>
                  <a:pt x="4304343" y="3079017"/>
                </a:lnTo>
                <a:lnTo>
                  <a:pt x="4303520" y="3078827"/>
                </a:lnTo>
                <a:lnTo>
                  <a:pt x="4303351" y="3077793"/>
                </a:lnTo>
                <a:close/>
                <a:moveTo>
                  <a:pt x="3470611" y="3076397"/>
                </a:moveTo>
                <a:lnTo>
                  <a:pt x="3470610" y="3076420"/>
                </a:lnTo>
                <a:lnTo>
                  <a:pt x="3472004" y="3079017"/>
                </a:lnTo>
                <a:lnTo>
                  <a:pt x="3474279" y="3081039"/>
                </a:lnTo>
                <a:lnTo>
                  <a:pt x="3474264" y="3080960"/>
                </a:lnTo>
                <a:lnTo>
                  <a:pt x="3471984" y="3078933"/>
                </a:lnTo>
                <a:close/>
                <a:moveTo>
                  <a:pt x="3622277" y="3071521"/>
                </a:moveTo>
                <a:lnTo>
                  <a:pt x="3617500" y="3076299"/>
                </a:lnTo>
                <a:lnTo>
                  <a:pt x="3617569" y="3076251"/>
                </a:lnTo>
                <a:lnTo>
                  <a:pt x="3622299" y="3071522"/>
                </a:lnTo>
                <a:close/>
                <a:moveTo>
                  <a:pt x="2999883" y="3068572"/>
                </a:moveTo>
                <a:lnTo>
                  <a:pt x="2999881" y="3068587"/>
                </a:lnTo>
                <a:lnTo>
                  <a:pt x="3002140" y="3077560"/>
                </a:lnTo>
                <a:lnTo>
                  <a:pt x="3003829" y="3081741"/>
                </a:lnTo>
                <a:lnTo>
                  <a:pt x="3007630" y="3084803"/>
                </a:lnTo>
                <a:lnTo>
                  <a:pt x="3010396" y="3086386"/>
                </a:lnTo>
                <a:lnTo>
                  <a:pt x="3011928" y="3088014"/>
                </a:lnTo>
                <a:lnTo>
                  <a:pt x="3010397" y="3086386"/>
                </a:lnTo>
                <a:lnTo>
                  <a:pt x="3007631" y="3084782"/>
                </a:lnTo>
                <a:lnTo>
                  <a:pt x="3003830" y="3081741"/>
                </a:lnTo>
                <a:lnTo>
                  <a:pt x="3002140" y="3077560"/>
                </a:lnTo>
                <a:close/>
                <a:moveTo>
                  <a:pt x="4070055" y="3066370"/>
                </a:moveTo>
                <a:lnTo>
                  <a:pt x="4073117" y="3068798"/>
                </a:lnTo>
                <a:lnTo>
                  <a:pt x="4072314" y="3081213"/>
                </a:lnTo>
                <a:lnTo>
                  <a:pt x="4076347" y="3089575"/>
                </a:lnTo>
                <a:lnTo>
                  <a:pt x="4078944" y="3096226"/>
                </a:lnTo>
                <a:lnTo>
                  <a:pt x="4077382" y="3098569"/>
                </a:lnTo>
                <a:lnTo>
                  <a:pt x="4076263" y="3099372"/>
                </a:lnTo>
                <a:lnTo>
                  <a:pt x="4070858" y="3095930"/>
                </a:lnTo>
                <a:lnTo>
                  <a:pt x="4067775" y="3095107"/>
                </a:lnTo>
                <a:lnTo>
                  <a:pt x="4063235" y="3089533"/>
                </a:lnTo>
                <a:lnTo>
                  <a:pt x="4064987" y="3070212"/>
                </a:lnTo>
                <a:lnTo>
                  <a:pt x="4066445" y="3067742"/>
                </a:lnTo>
                <a:lnTo>
                  <a:pt x="4067542" y="3066750"/>
                </a:lnTo>
                <a:close/>
                <a:moveTo>
                  <a:pt x="3566806" y="3065379"/>
                </a:moveTo>
                <a:lnTo>
                  <a:pt x="3569111" y="3067847"/>
                </a:lnTo>
                <a:lnTo>
                  <a:pt x="3571856" y="3072070"/>
                </a:lnTo>
                <a:lnTo>
                  <a:pt x="3572764" y="3076927"/>
                </a:lnTo>
                <a:lnTo>
                  <a:pt x="3573312" y="3079018"/>
                </a:lnTo>
                <a:lnTo>
                  <a:pt x="3573312" y="3079036"/>
                </a:lnTo>
                <a:lnTo>
                  <a:pt x="3573324" y="3079036"/>
                </a:lnTo>
                <a:lnTo>
                  <a:pt x="3572911" y="3077011"/>
                </a:lnTo>
                <a:lnTo>
                  <a:pt x="3572004" y="3072155"/>
                </a:lnTo>
                <a:lnTo>
                  <a:pt x="3569259" y="3067932"/>
                </a:lnTo>
                <a:lnTo>
                  <a:pt x="3566894" y="3065398"/>
                </a:lnTo>
                <a:close/>
                <a:moveTo>
                  <a:pt x="3746785" y="3063235"/>
                </a:moveTo>
                <a:lnTo>
                  <a:pt x="3746706" y="3063287"/>
                </a:lnTo>
                <a:lnTo>
                  <a:pt x="3744911" y="3067066"/>
                </a:lnTo>
                <a:lnTo>
                  <a:pt x="3743391" y="3073252"/>
                </a:lnTo>
                <a:lnTo>
                  <a:pt x="3737247" y="3079187"/>
                </a:lnTo>
                <a:lnTo>
                  <a:pt x="3737289" y="3079165"/>
                </a:lnTo>
                <a:lnTo>
                  <a:pt x="3743475" y="3073190"/>
                </a:lnTo>
                <a:lnTo>
                  <a:pt x="3744996" y="3067003"/>
                </a:lnTo>
                <a:close/>
                <a:moveTo>
                  <a:pt x="2946323" y="3063228"/>
                </a:moveTo>
                <a:lnTo>
                  <a:pt x="2946271" y="3063413"/>
                </a:lnTo>
                <a:lnTo>
                  <a:pt x="2943737" y="3066539"/>
                </a:lnTo>
                <a:lnTo>
                  <a:pt x="2946271" y="3063414"/>
                </a:lnTo>
                <a:close/>
                <a:moveTo>
                  <a:pt x="2925331" y="3062692"/>
                </a:moveTo>
                <a:lnTo>
                  <a:pt x="2925389" y="3063202"/>
                </a:lnTo>
                <a:lnTo>
                  <a:pt x="2926318" y="3066729"/>
                </a:lnTo>
                <a:lnTo>
                  <a:pt x="2926635" y="3068629"/>
                </a:lnTo>
                <a:lnTo>
                  <a:pt x="2925601" y="3070656"/>
                </a:lnTo>
                <a:lnTo>
                  <a:pt x="2924946" y="3074339"/>
                </a:lnTo>
                <a:lnTo>
                  <a:pt x="2925621" y="3070635"/>
                </a:lnTo>
                <a:lnTo>
                  <a:pt x="2926655" y="3068608"/>
                </a:lnTo>
                <a:lnTo>
                  <a:pt x="2926317" y="3066708"/>
                </a:lnTo>
                <a:lnTo>
                  <a:pt x="2925389" y="3063181"/>
                </a:lnTo>
                <a:close/>
                <a:moveTo>
                  <a:pt x="2975598" y="3062263"/>
                </a:moveTo>
                <a:lnTo>
                  <a:pt x="2971651" y="3063499"/>
                </a:lnTo>
                <a:lnTo>
                  <a:pt x="2967027" y="3064512"/>
                </a:lnTo>
                <a:lnTo>
                  <a:pt x="2963658" y="3065394"/>
                </a:lnTo>
                <a:lnTo>
                  <a:pt x="2967027" y="3064533"/>
                </a:lnTo>
                <a:lnTo>
                  <a:pt x="2971650" y="3063519"/>
                </a:lnTo>
                <a:close/>
                <a:moveTo>
                  <a:pt x="3748801" y="3061932"/>
                </a:moveTo>
                <a:lnTo>
                  <a:pt x="3748775" y="3061935"/>
                </a:lnTo>
                <a:lnTo>
                  <a:pt x="3747554" y="3062733"/>
                </a:lnTo>
                <a:close/>
                <a:moveTo>
                  <a:pt x="2994030" y="3058797"/>
                </a:moveTo>
                <a:lnTo>
                  <a:pt x="2987635" y="3059824"/>
                </a:lnTo>
                <a:lnTo>
                  <a:pt x="2976404" y="3062074"/>
                </a:lnTo>
                <a:lnTo>
                  <a:pt x="2987634" y="3059845"/>
                </a:lnTo>
                <a:close/>
                <a:moveTo>
                  <a:pt x="3800624" y="3057954"/>
                </a:moveTo>
                <a:lnTo>
                  <a:pt x="3800590" y="3057965"/>
                </a:lnTo>
                <a:lnTo>
                  <a:pt x="3795225" y="3061293"/>
                </a:lnTo>
                <a:close/>
                <a:moveTo>
                  <a:pt x="2828554" y="3053810"/>
                </a:moveTo>
                <a:lnTo>
                  <a:pt x="2824027" y="3056104"/>
                </a:lnTo>
                <a:lnTo>
                  <a:pt x="2824060" y="3056107"/>
                </a:lnTo>
                <a:close/>
                <a:moveTo>
                  <a:pt x="2834207" y="3049359"/>
                </a:moveTo>
                <a:lnTo>
                  <a:pt x="2834174" y="3049373"/>
                </a:lnTo>
                <a:lnTo>
                  <a:pt x="2828643" y="3053764"/>
                </a:lnTo>
                <a:lnTo>
                  <a:pt x="2828684" y="3053743"/>
                </a:lnTo>
                <a:close/>
                <a:moveTo>
                  <a:pt x="2839325" y="3047540"/>
                </a:moveTo>
                <a:lnTo>
                  <a:pt x="2844901" y="3047746"/>
                </a:lnTo>
                <a:lnTo>
                  <a:pt x="2850832" y="3048588"/>
                </a:lnTo>
                <a:lnTo>
                  <a:pt x="2844858" y="3047725"/>
                </a:lnTo>
                <a:close/>
                <a:moveTo>
                  <a:pt x="2838608" y="3047515"/>
                </a:moveTo>
                <a:lnTo>
                  <a:pt x="2834947" y="3049049"/>
                </a:lnTo>
                <a:lnTo>
                  <a:pt x="2838645" y="3047517"/>
                </a:lnTo>
                <a:close/>
                <a:moveTo>
                  <a:pt x="3838862" y="3046213"/>
                </a:moveTo>
                <a:lnTo>
                  <a:pt x="3838787" y="3046247"/>
                </a:lnTo>
                <a:lnTo>
                  <a:pt x="3831901" y="3051505"/>
                </a:lnTo>
                <a:lnTo>
                  <a:pt x="3831903" y="3051504"/>
                </a:lnTo>
                <a:close/>
                <a:moveTo>
                  <a:pt x="2934975" y="3045952"/>
                </a:moveTo>
                <a:lnTo>
                  <a:pt x="2942829" y="3048465"/>
                </a:lnTo>
                <a:lnTo>
                  <a:pt x="2945553" y="3051969"/>
                </a:lnTo>
                <a:lnTo>
                  <a:pt x="2947345" y="3059540"/>
                </a:lnTo>
                <a:lnTo>
                  <a:pt x="2947348" y="3059529"/>
                </a:lnTo>
                <a:lnTo>
                  <a:pt x="2945554" y="3051949"/>
                </a:lnTo>
                <a:lnTo>
                  <a:pt x="2942830" y="3048465"/>
                </a:lnTo>
                <a:close/>
                <a:moveTo>
                  <a:pt x="3474562" y="3042959"/>
                </a:moveTo>
                <a:lnTo>
                  <a:pt x="3474580" y="3043017"/>
                </a:lnTo>
                <a:lnTo>
                  <a:pt x="3477261" y="3049287"/>
                </a:lnTo>
                <a:lnTo>
                  <a:pt x="3479658" y="3053624"/>
                </a:lnTo>
                <a:lnTo>
                  <a:pt x="3479669" y="3053596"/>
                </a:lnTo>
                <a:lnTo>
                  <a:pt x="3477241" y="3049204"/>
                </a:lnTo>
                <a:close/>
                <a:moveTo>
                  <a:pt x="2892112" y="3042278"/>
                </a:moveTo>
                <a:lnTo>
                  <a:pt x="2888333" y="3042722"/>
                </a:lnTo>
                <a:lnTo>
                  <a:pt x="2873890" y="3048655"/>
                </a:lnTo>
                <a:lnTo>
                  <a:pt x="2869147" y="3049435"/>
                </a:lnTo>
                <a:lnTo>
                  <a:pt x="2869182" y="3049436"/>
                </a:lnTo>
                <a:lnTo>
                  <a:pt x="2873954" y="3048655"/>
                </a:lnTo>
                <a:lnTo>
                  <a:pt x="2888375" y="3042742"/>
                </a:lnTo>
                <a:lnTo>
                  <a:pt x="2892155" y="3042299"/>
                </a:lnTo>
                <a:lnTo>
                  <a:pt x="2896293" y="3042698"/>
                </a:lnTo>
                <a:close/>
                <a:moveTo>
                  <a:pt x="3191487" y="3040555"/>
                </a:moveTo>
                <a:lnTo>
                  <a:pt x="3188773" y="3050745"/>
                </a:lnTo>
                <a:lnTo>
                  <a:pt x="3184867" y="3065525"/>
                </a:lnTo>
                <a:lnTo>
                  <a:pt x="3188773" y="3050766"/>
                </a:lnTo>
                <a:close/>
                <a:moveTo>
                  <a:pt x="3472693" y="3037700"/>
                </a:moveTo>
                <a:lnTo>
                  <a:pt x="3472680" y="3037716"/>
                </a:lnTo>
                <a:lnTo>
                  <a:pt x="3473355" y="3039047"/>
                </a:lnTo>
                <a:lnTo>
                  <a:pt x="3474435" y="3042549"/>
                </a:lnTo>
                <a:lnTo>
                  <a:pt x="3473335" y="3038963"/>
                </a:lnTo>
                <a:close/>
                <a:moveTo>
                  <a:pt x="2923534" y="3036770"/>
                </a:moveTo>
                <a:lnTo>
                  <a:pt x="2924037" y="3036872"/>
                </a:lnTo>
                <a:lnTo>
                  <a:pt x="2928514" y="3037612"/>
                </a:lnTo>
                <a:lnTo>
                  <a:pt x="2924038" y="3036872"/>
                </a:lnTo>
                <a:close/>
                <a:moveTo>
                  <a:pt x="2921884" y="3036430"/>
                </a:moveTo>
                <a:lnTo>
                  <a:pt x="2919646" y="3037612"/>
                </a:lnTo>
                <a:lnTo>
                  <a:pt x="2918379" y="3040737"/>
                </a:lnTo>
                <a:lnTo>
                  <a:pt x="2918020" y="3043122"/>
                </a:lnTo>
                <a:lnTo>
                  <a:pt x="2914036" y="3044957"/>
                </a:lnTo>
                <a:lnTo>
                  <a:pt x="2914093" y="3044959"/>
                </a:lnTo>
                <a:lnTo>
                  <a:pt x="2918062" y="3043143"/>
                </a:lnTo>
                <a:lnTo>
                  <a:pt x="2918422" y="3040736"/>
                </a:lnTo>
                <a:lnTo>
                  <a:pt x="2919689" y="3037612"/>
                </a:lnTo>
                <a:lnTo>
                  <a:pt x="2921885" y="3036450"/>
                </a:lnTo>
                <a:lnTo>
                  <a:pt x="2921885" y="3036434"/>
                </a:lnTo>
                <a:close/>
                <a:moveTo>
                  <a:pt x="3492163" y="3010412"/>
                </a:moveTo>
                <a:lnTo>
                  <a:pt x="3494301" y="3013329"/>
                </a:lnTo>
                <a:lnTo>
                  <a:pt x="3496370" y="3017177"/>
                </a:lnTo>
                <a:lnTo>
                  <a:pt x="3496371" y="3017173"/>
                </a:lnTo>
                <a:lnTo>
                  <a:pt x="3494281" y="3013288"/>
                </a:lnTo>
                <a:close/>
                <a:moveTo>
                  <a:pt x="3475661" y="2986223"/>
                </a:moveTo>
                <a:lnTo>
                  <a:pt x="3475657" y="2986239"/>
                </a:lnTo>
                <a:lnTo>
                  <a:pt x="3480513" y="2991222"/>
                </a:lnTo>
                <a:lnTo>
                  <a:pt x="3486826" y="2995952"/>
                </a:lnTo>
                <a:lnTo>
                  <a:pt x="3488517" y="2998041"/>
                </a:lnTo>
                <a:lnTo>
                  <a:pt x="3488516" y="2998022"/>
                </a:lnTo>
                <a:lnTo>
                  <a:pt x="3486806" y="2995910"/>
                </a:lnTo>
                <a:lnTo>
                  <a:pt x="3480493" y="2991181"/>
                </a:lnTo>
                <a:close/>
                <a:moveTo>
                  <a:pt x="3469793" y="2964884"/>
                </a:moveTo>
                <a:lnTo>
                  <a:pt x="3469808" y="2964935"/>
                </a:lnTo>
                <a:lnTo>
                  <a:pt x="3472025" y="2969517"/>
                </a:lnTo>
                <a:lnTo>
                  <a:pt x="3475593" y="2972641"/>
                </a:lnTo>
                <a:lnTo>
                  <a:pt x="3477976" y="2975651"/>
                </a:lnTo>
                <a:lnTo>
                  <a:pt x="3477980" y="2975620"/>
                </a:lnTo>
                <a:lnTo>
                  <a:pt x="3475573" y="2972579"/>
                </a:lnTo>
                <a:lnTo>
                  <a:pt x="3472005" y="2969453"/>
                </a:lnTo>
                <a:close/>
                <a:moveTo>
                  <a:pt x="3502653" y="2960605"/>
                </a:moveTo>
                <a:lnTo>
                  <a:pt x="3507731" y="2963647"/>
                </a:lnTo>
                <a:lnTo>
                  <a:pt x="3507742" y="2963650"/>
                </a:lnTo>
                <a:lnTo>
                  <a:pt x="3502663" y="2960606"/>
                </a:lnTo>
                <a:close/>
                <a:moveTo>
                  <a:pt x="3463369" y="2960036"/>
                </a:moveTo>
                <a:lnTo>
                  <a:pt x="3461468" y="2962169"/>
                </a:lnTo>
                <a:lnTo>
                  <a:pt x="3459420" y="2961980"/>
                </a:lnTo>
                <a:lnTo>
                  <a:pt x="3456929" y="2961240"/>
                </a:lnTo>
                <a:lnTo>
                  <a:pt x="3456876" y="2961054"/>
                </a:lnTo>
                <a:lnTo>
                  <a:pt x="3456950" y="2961325"/>
                </a:lnTo>
                <a:lnTo>
                  <a:pt x="3459441" y="2962042"/>
                </a:lnTo>
                <a:lnTo>
                  <a:pt x="3461490" y="2962232"/>
                </a:lnTo>
                <a:lnTo>
                  <a:pt x="3463390" y="2960100"/>
                </a:lnTo>
                <a:lnTo>
                  <a:pt x="3465965" y="2960142"/>
                </a:lnTo>
                <a:lnTo>
                  <a:pt x="3468793" y="2961514"/>
                </a:lnTo>
                <a:lnTo>
                  <a:pt x="3468774" y="2961451"/>
                </a:lnTo>
                <a:lnTo>
                  <a:pt x="3465966" y="2960078"/>
                </a:lnTo>
                <a:close/>
                <a:moveTo>
                  <a:pt x="3521666" y="2956146"/>
                </a:moveTo>
                <a:lnTo>
                  <a:pt x="3535391" y="2967743"/>
                </a:lnTo>
                <a:lnTo>
                  <a:pt x="3535813" y="2969242"/>
                </a:lnTo>
                <a:lnTo>
                  <a:pt x="3544597" y="2980792"/>
                </a:lnTo>
                <a:lnTo>
                  <a:pt x="3547447" y="2985670"/>
                </a:lnTo>
                <a:lnTo>
                  <a:pt x="3547447" y="2988267"/>
                </a:lnTo>
                <a:lnTo>
                  <a:pt x="3550150" y="2998380"/>
                </a:lnTo>
                <a:lnTo>
                  <a:pt x="3550741" y="3003110"/>
                </a:lnTo>
                <a:lnTo>
                  <a:pt x="3550129" y="3006721"/>
                </a:lnTo>
                <a:lnTo>
                  <a:pt x="3550235" y="3009592"/>
                </a:lnTo>
                <a:lnTo>
                  <a:pt x="3551290" y="3013710"/>
                </a:lnTo>
                <a:lnTo>
                  <a:pt x="3550931" y="3015463"/>
                </a:lnTo>
                <a:lnTo>
                  <a:pt x="3554056" y="3021501"/>
                </a:lnTo>
                <a:lnTo>
                  <a:pt x="3555556" y="3026590"/>
                </a:lnTo>
                <a:lnTo>
                  <a:pt x="3555872" y="3031572"/>
                </a:lnTo>
                <a:lnTo>
                  <a:pt x="3554986" y="3036430"/>
                </a:lnTo>
                <a:lnTo>
                  <a:pt x="3552219" y="3043502"/>
                </a:lnTo>
                <a:lnTo>
                  <a:pt x="3551755" y="3046332"/>
                </a:lnTo>
                <a:lnTo>
                  <a:pt x="3552367" y="3048929"/>
                </a:lnTo>
                <a:lnTo>
                  <a:pt x="3554162" y="3051759"/>
                </a:lnTo>
                <a:lnTo>
                  <a:pt x="3557139" y="3054778"/>
                </a:lnTo>
                <a:lnTo>
                  <a:pt x="3559377" y="3058431"/>
                </a:lnTo>
                <a:lnTo>
                  <a:pt x="3560897" y="3062738"/>
                </a:lnTo>
                <a:lnTo>
                  <a:pt x="3562185" y="3064702"/>
                </a:lnTo>
                <a:lnTo>
                  <a:pt x="3562276" y="3064700"/>
                </a:lnTo>
                <a:lnTo>
                  <a:pt x="3561045" y="3062822"/>
                </a:lnTo>
                <a:lnTo>
                  <a:pt x="3559524" y="3058515"/>
                </a:lnTo>
                <a:lnTo>
                  <a:pt x="3557287" y="3054861"/>
                </a:lnTo>
                <a:lnTo>
                  <a:pt x="3554310" y="3051842"/>
                </a:lnTo>
                <a:lnTo>
                  <a:pt x="3552514" y="3049013"/>
                </a:lnTo>
                <a:lnTo>
                  <a:pt x="3551903" y="3046416"/>
                </a:lnTo>
                <a:lnTo>
                  <a:pt x="3552367" y="3043586"/>
                </a:lnTo>
                <a:lnTo>
                  <a:pt x="3555133" y="3036513"/>
                </a:lnTo>
                <a:lnTo>
                  <a:pt x="3556020" y="3031657"/>
                </a:lnTo>
                <a:lnTo>
                  <a:pt x="3555703" y="3026674"/>
                </a:lnTo>
                <a:lnTo>
                  <a:pt x="3554204" y="3021585"/>
                </a:lnTo>
                <a:lnTo>
                  <a:pt x="3551079" y="3015546"/>
                </a:lnTo>
                <a:lnTo>
                  <a:pt x="3551438" y="3013794"/>
                </a:lnTo>
                <a:lnTo>
                  <a:pt x="3550382" y="3009676"/>
                </a:lnTo>
                <a:lnTo>
                  <a:pt x="3550277" y="3006805"/>
                </a:lnTo>
                <a:lnTo>
                  <a:pt x="3550889" y="3003195"/>
                </a:lnTo>
                <a:lnTo>
                  <a:pt x="3550297" y="2998465"/>
                </a:lnTo>
                <a:lnTo>
                  <a:pt x="3547595" y="2988351"/>
                </a:lnTo>
                <a:lnTo>
                  <a:pt x="3547595" y="2985753"/>
                </a:lnTo>
                <a:lnTo>
                  <a:pt x="3544745" y="2980876"/>
                </a:lnTo>
                <a:lnTo>
                  <a:pt x="3535961" y="2969327"/>
                </a:lnTo>
                <a:lnTo>
                  <a:pt x="3535538" y="2967827"/>
                </a:lnTo>
                <a:lnTo>
                  <a:pt x="3521772" y="2956194"/>
                </a:lnTo>
                <a:close/>
                <a:moveTo>
                  <a:pt x="3476805" y="2955103"/>
                </a:moveTo>
                <a:lnTo>
                  <a:pt x="3482076" y="2960353"/>
                </a:lnTo>
                <a:lnTo>
                  <a:pt x="3482163" y="2960376"/>
                </a:lnTo>
                <a:lnTo>
                  <a:pt x="3476882" y="2955116"/>
                </a:lnTo>
                <a:close/>
                <a:moveTo>
                  <a:pt x="3454272" y="2952973"/>
                </a:moveTo>
                <a:lnTo>
                  <a:pt x="3454289" y="2953005"/>
                </a:lnTo>
                <a:lnTo>
                  <a:pt x="3455958" y="2955107"/>
                </a:lnTo>
                <a:lnTo>
                  <a:pt x="3455958" y="2955096"/>
                </a:lnTo>
                <a:close/>
                <a:moveTo>
                  <a:pt x="3455747" y="2947663"/>
                </a:moveTo>
                <a:lnTo>
                  <a:pt x="3455729" y="2947665"/>
                </a:lnTo>
                <a:lnTo>
                  <a:pt x="3464868" y="2953639"/>
                </a:lnTo>
                <a:lnTo>
                  <a:pt x="3464888" y="2953639"/>
                </a:lnTo>
                <a:close/>
                <a:moveTo>
                  <a:pt x="3184654" y="2937575"/>
                </a:moveTo>
                <a:lnTo>
                  <a:pt x="3184613" y="2940442"/>
                </a:lnTo>
                <a:lnTo>
                  <a:pt x="3184613" y="2940443"/>
                </a:lnTo>
                <a:close/>
                <a:moveTo>
                  <a:pt x="3423615" y="2933354"/>
                </a:moveTo>
                <a:lnTo>
                  <a:pt x="3426819" y="2936726"/>
                </a:lnTo>
                <a:lnTo>
                  <a:pt x="3433977" y="2940189"/>
                </a:lnTo>
                <a:lnTo>
                  <a:pt x="3442761" y="2943293"/>
                </a:lnTo>
                <a:lnTo>
                  <a:pt x="3449095" y="2946797"/>
                </a:lnTo>
                <a:lnTo>
                  <a:pt x="3452394" y="2948374"/>
                </a:lnTo>
                <a:lnTo>
                  <a:pt x="3452391" y="2948353"/>
                </a:lnTo>
                <a:lnTo>
                  <a:pt x="3449179" y="2946819"/>
                </a:lnTo>
                <a:lnTo>
                  <a:pt x="3442866" y="2943292"/>
                </a:lnTo>
                <a:lnTo>
                  <a:pt x="3434083" y="2940188"/>
                </a:lnTo>
                <a:lnTo>
                  <a:pt x="3426904" y="2936746"/>
                </a:lnTo>
                <a:lnTo>
                  <a:pt x="3423694" y="2933369"/>
                </a:lnTo>
                <a:close/>
                <a:moveTo>
                  <a:pt x="3416958" y="2932080"/>
                </a:moveTo>
                <a:lnTo>
                  <a:pt x="3417058" y="2932099"/>
                </a:lnTo>
                <a:lnTo>
                  <a:pt x="3416959" y="2932080"/>
                </a:lnTo>
                <a:close/>
                <a:moveTo>
                  <a:pt x="3405646" y="2928380"/>
                </a:moveTo>
                <a:lnTo>
                  <a:pt x="3411025" y="2931511"/>
                </a:lnTo>
                <a:lnTo>
                  <a:pt x="3414135" y="2931804"/>
                </a:lnTo>
                <a:lnTo>
                  <a:pt x="3411131" y="2931510"/>
                </a:lnTo>
                <a:lnTo>
                  <a:pt x="3405726" y="2928385"/>
                </a:lnTo>
                <a:close/>
                <a:moveTo>
                  <a:pt x="3201119" y="2924977"/>
                </a:moveTo>
                <a:lnTo>
                  <a:pt x="3197430" y="2928281"/>
                </a:lnTo>
                <a:lnTo>
                  <a:pt x="3189596" y="2934108"/>
                </a:lnTo>
                <a:lnTo>
                  <a:pt x="3197430" y="2928301"/>
                </a:lnTo>
                <a:close/>
                <a:moveTo>
                  <a:pt x="3387272" y="2918123"/>
                </a:moveTo>
                <a:lnTo>
                  <a:pt x="3387235" y="2918124"/>
                </a:lnTo>
                <a:lnTo>
                  <a:pt x="3391199" y="2919306"/>
                </a:lnTo>
                <a:lnTo>
                  <a:pt x="3393120" y="2920510"/>
                </a:lnTo>
                <a:lnTo>
                  <a:pt x="3393310" y="2925134"/>
                </a:lnTo>
                <a:lnTo>
                  <a:pt x="3394534" y="2927203"/>
                </a:lnTo>
                <a:lnTo>
                  <a:pt x="3400025" y="2928005"/>
                </a:lnTo>
                <a:lnTo>
                  <a:pt x="3401930" y="2928127"/>
                </a:lnTo>
                <a:lnTo>
                  <a:pt x="3400130" y="2928005"/>
                </a:lnTo>
                <a:lnTo>
                  <a:pt x="3394641" y="2927202"/>
                </a:lnTo>
                <a:lnTo>
                  <a:pt x="3393416" y="2925154"/>
                </a:lnTo>
                <a:lnTo>
                  <a:pt x="3393226" y="2920530"/>
                </a:lnTo>
                <a:lnTo>
                  <a:pt x="3391304" y="2919306"/>
                </a:lnTo>
                <a:close/>
                <a:moveTo>
                  <a:pt x="3207732" y="2917661"/>
                </a:moveTo>
                <a:lnTo>
                  <a:pt x="3205876" y="2919919"/>
                </a:lnTo>
                <a:lnTo>
                  <a:pt x="3201482" y="2924615"/>
                </a:lnTo>
                <a:lnTo>
                  <a:pt x="3205875" y="2919940"/>
                </a:lnTo>
                <a:close/>
                <a:moveTo>
                  <a:pt x="3215168" y="2906249"/>
                </a:moveTo>
                <a:lnTo>
                  <a:pt x="3212443" y="2911135"/>
                </a:lnTo>
                <a:lnTo>
                  <a:pt x="3208376" y="2916799"/>
                </a:lnTo>
                <a:lnTo>
                  <a:pt x="3212442" y="2911156"/>
                </a:lnTo>
                <a:close/>
                <a:moveTo>
                  <a:pt x="3359569" y="2900471"/>
                </a:moveTo>
                <a:lnTo>
                  <a:pt x="3359550" y="2900472"/>
                </a:lnTo>
                <a:lnTo>
                  <a:pt x="3365291" y="2903238"/>
                </a:lnTo>
                <a:lnTo>
                  <a:pt x="3370379" y="2906806"/>
                </a:lnTo>
                <a:lnTo>
                  <a:pt x="3371646" y="2912318"/>
                </a:lnTo>
                <a:lnTo>
                  <a:pt x="3374982" y="2915780"/>
                </a:lnTo>
                <a:lnTo>
                  <a:pt x="3378593" y="2918483"/>
                </a:lnTo>
                <a:lnTo>
                  <a:pt x="3380156" y="2918842"/>
                </a:lnTo>
                <a:lnTo>
                  <a:pt x="3380215" y="2918827"/>
                </a:lnTo>
                <a:lnTo>
                  <a:pt x="3378720" y="2918503"/>
                </a:lnTo>
                <a:lnTo>
                  <a:pt x="3375110" y="2915780"/>
                </a:lnTo>
                <a:lnTo>
                  <a:pt x="3371752" y="2912338"/>
                </a:lnTo>
                <a:lnTo>
                  <a:pt x="3370486" y="2906806"/>
                </a:lnTo>
                <a:lnTo>
                  <a:pt x="3365418" y="2903259"/>
                </a:lnTo>
                <a:close/>
                <a:moveTo>
                  <a:pt x="3216282" y="2899433"/>
                </a:moveTo>
                <a:lnTo>
                  <a:pt x="3215348" y="2905659"/>
                </a:lnTo>
                <a:lnTo>
                  <a:pt x="3216284" y="2899437"/>
                </a:lnTo>
                <a:close/>
                <a:moveTo>
                  <a:pt x="3265567" y="2884678"/>
                </a:moveTo>
                <a:lnTo>
                  <a:pt x="3248822" y="2887255"/>
                </a:lnTo>
                <a:lnTo>
                  <a:pt x="3233048" y="2889688"/>
                </a:lnTo>
                <a:lnTo>
                  <a:pt x="3248822" y="2887276"/>
                </a:lnTo>
                <a:close/>
                <a:moveTo>
                  <a:pt x="649337" y="2857145"/>
                </a:moveTo>
                <a:lnTo>
                  <a:pt x="650710" y="2857335"/>
                </a:lnTo>
                <a:lnTo>
                  <a:pt x="652568" y="2858939"/>
                </a:lnTo>
                <a:lnTo>
                  <a:pt x="654131" y="2860291"/>
                </a:lnTo>
                <a:lnTo>
                  <a:pt x="653286" y="2861515"/>
                </a:lnTo>
                <a:lnTo>
                  <a:pt x="650478" y="2862593"/>
                </a:lnTo>
                <a:lnTo>
                  <a:pt x="650478" y="2862614"/>
                </a:lnTo>
                <a:lnTo>
                  <a:pt x="648451" y="2862698"/>
                </a:lnTo>
                <a:lnTo>
                  <a:pt x="647860" y="2862191"/>
                </a:lnTo>
                <a:lnTo>
                  <a:pt x="647479" y="2860797"/>
                </a:lnTo>
                <a:lnTo>
                  <a:pt x="648451" y="2858539"/>
                </a:lnTo>
                <a:close/>
                <a:moveTo>
                  <a:pt x="3866511" y="2843167"/>
                </a:moveTo>
                <a:lnTo>
                  <a:pt x="3865961" y="2847875"/>
                </a:lnTo>
                <a:lnTo>
                  <a:pt x="3861612" y="2858158"/>
                </a:lnTo>
                <a:lnTo>
                  <a:pt x="3857896" y="2858855"/>
                </a:lnTo>
                <a:lnTo>
                  <a:pt x="3854897" y="2862782"/>
                </a:lnTo>
                <a:lnTo>
                  <a:pt x="3851688" y="2863563"/>
                </a:lnTo>
                <a:lnTo>
                  <a:pt x="3850442" y="2862782"/>
                </a:lnTo>
                <a:lnTo>
                  <a:pt x="3848479" y="2860290"/>
                </a:lnTo>
                <a:lnTo>
                  <a:pt x="3851899" y="2858158"/>
                </a:lnTo>
                <a:lnTo>
                  <a:pt x="3855214" y="2854041"/>
                </a:lnTo>
                <a:lnTo>
                  <a:pt x="3862920" y="2848002"/>
                </a:lnTo>
                <a:lnTo>
                  <a:pt x="3865560" y="2844012"/>
                </a:lnTo>
                <a:close/>
                <a:moveTo>
                  <a:pt x="2508179" y="2819792"/>
                </a:moveTo>
                <a:lnTo>
                  <a:pt x="2508186" y="2819814"/>
                </a:lnTo>
                <a:lnTo>
                  <a:pt x="2510966" y="2823547"/>
                </a:lnTo>
                <a:close/>
                <a:moveTo>
                  <a:pt x="2689921" y="2802506"/>
                </a:moveTo>
                <a:lnTo>
                  <a:pt x="2686688" y="2803008"/>
                </a:lnTo>
                <a:lnTo>
                  <a:pt x="2679446" y="2803598"/>
                </a:lnTo>
                <a:lnTo>
                  <a:pt x="2666713" y="2806639"/>
                </a:lnTo>
                <a:lnTo>
                  <a:pt x="2658838" y="2813058"/>
                </a:lnTo>
                <a:lnTo>
                  <a:pt x="2656262" y="2821102"/>
                </a:lnTo>
                <a:lnTo>
                  <a:pt x="2656473" y="2827733"/>
                </a:lnTo>
                <a:lnTo>
                  <a:pt x="2656029" y="2832589"/>
                </a:lnTo>
                <a:lnTo>
                  <a:pt x="2652440" y="2837677"/>
                </a:lnTo>
                <a:lnTo>
                  <a:pt x="2649611" y="2843505"/>
                </a:lnTo>
                <a:lnTo>
                  <a:pt x="2649505" y="2846588"/>
                </a:lnTo>
                <a:lnTo>
                  <a:pt x="2647774" y="2862128"/>
                </a:lnTo>
                <a:lnTo>
                  <a:pt x="2636034" y="2864197"/>
                </a:lnTo>
                <a:lnTo>
                  <a:pt x="2624294" y="2864197"/>
                </a:lnTo>
                <a:lnTo>
                  <a:pt x="2621550" y="2864008"/>
                </a:lnTo>
                <a:lnTo>
                  <a:pt x="2607044" y="2860291"/>
                </a:lnTo>
                <a:lnTo>
                  <a:pt x="2601660" y="2860270"/>
                </a:lnTo>
                <a:lnTo>
                  <a:pt x="2597057" y="2862234"/>
                </a:lnTo>
                <a:lnTo>
                  <a:pt x="2588168" y="2864134"/>
                </a:lnTo>
                <a:lnTo>
                  <a:pt x="2579679" y="2865549"/>
                </a:lnTo>
                <a:lnTo>
                  <a:pt x="2571128" y="2870152"/>
                </a:lnTo>
                <a:lnTo>
                  <a:pt x="2568847" y="2870553"/>
                </a:lnTo>
                <a:lnTo>
                  <a:pt x="2563168" y="2868146"/>
                </a:lnTo>
                <a:lnTo>
                  <a:pt x="2555228" y="2868379"/>
                </a:lnTo>
                <a:lnTo>
                  <a:pt x="2547184" y="2869518"/>
                </a:lnTo>
                <a:lnTo>
                  <a:pt x="2543425" y="2870046"/>
                </a:lnTo>
                <a:lnTo>
                  <a:pt x="2540829" y="2868631"/>
                </a:lnTo>
                <a:lnTo>
                  <a:pt x="2533438" y="2857060"/>
                </a:lnTo>
                <a:lnTo>
                  <a:pt x="2523598" y="2841626"/>
                </a:lnTo>
                <a:lnTo>
                  <a:pt x="2518257" y="2831935"/>
                </a:lnTo>
                <a:lnTo>
                  <a:pt x="2516924" y="2830247"/>
                </a:lnTo>
                <a:lnTo>
                  <a:pt x="2518278" y="2831976"/>
                </a:lnTo>
                <a:lnTo>
                  <a:pt x="2523599" y="2841647"/>
                </a:lnTo>
                <a:lnTo>
                  <a:pt x="2533459" y="2857103"/>
                </a:lnTo>
                <a:lnTo>
                  <a:pt x="2540850" y="2868695"/>
                </a:lnTo>
                <a:lnTo>
                  <a:pt x="2543447" y="2870067"/>
                </a:lnTo>
                <a:lnTo>
                  <a:pt x="2547226" y="2869582"/>
                </a:lnTo>
                <a:lnTo>
                  <a:pt x="2555250" y="2868441"/>
                </a:lnTo>
                <a:lnTo>
                  <a:pt x="2563189" y="2868209"/>
                </a:lnTo>
                <a:lnTo>
                  <a:pt x="2568869" y="2870574"/>
                </a:lnTo>
                <a:lnTo>
                  <a:pt x="2571150" y="2870172"/>
                </a:lnTo>
                <a:lnTo>
                  <a:pt x="2579701" y="2865569"/>
                </a:lnTo>
                <a:lnTo>
                  <a:pt x="2588189" y="2864176"/>
                </a:lnTo>
                <a:lnTo>
                  <a:pt x="2597057" y="2862255"/>
                </a:lnTo>
                <a:lnTo>
                  <a:pt x="2601681" y="2860312"/>
                </a:lnTo>
                <a:lnTo>
                  <a:pt x="2607066" y="2860312"/>
                </a:lnTo>
                <a:lnTo>
                  <a:pt x="2621571" y="2864028"/>
                </a:lnTo>
                <a:lnTo>
                  <a:pt x="2624316" y="2864218"/>
                </a:lnTo>
                <a:lnTo>
                  <a:pt x="2636056" y="2864218"/>
                </a:lnTo>
                <a:lnTo>
                  <a:pt x="2647796" y="2862128"/>
                </a:lnTo>
                <a:lnTo>
                  <a:pt x="2649527" y="2846588"/>
                </a:lnTo>
                <a:lnTo>
                  <a:pt x="2649633" y="2843526"/>
                </a:lnTo>
                <a:lnTo>
                  <a:pt x="2652461" y="2837677"/>
                </a:lnTo>
                <a:lnTo>
                  <a:pt x="2656051" y="2832589"/>
                </a:lnTo>
                <a:lnTo>
                  <a:pt x="2656495" y="2827732"/>
                </a:lnTo>
                <a:lnTo>
                  <a:pt x="2656284" y="2821081"/>
                </a:lnTo>
                <a:lnTo>
                  <a:pt x="2658881" y="2813037"/>
                </a:lnTo>
                <a:lnTo>
                  <a:pt x="2666756" y="2806639"/>
                </a:lnTo>
                <a:lnTo>
                  <a:pt x="2679488" y="2803598"/>
                </a:lnTo>
                <a:lnTo>
                  <a:pt x="2686731" y="2803007"/>
                </a:lnTo>
                <a:close/>
                <a:moveTo>
                  <a:pt x="2715425" y="2799418"/>
                </a:moveTo>
                <a:lnTo>
                  <a:pt x="2711831" y="2799795"/>
                </a:lnTo>
                <a:lnTo>
                  <a:pt x="2715456" y="2799419"/>
                </a:lnTo>
                <a:close/>
                <a:moveTo>
                  <a:pt x="2489829" y="2753511"/>
                </a:moveTo>
                <a:lnTo>
                  <a:pt x="2491154" y="2754665"/>
                </a:lnTo>
                <a:lnTo>
                  <a:pt x="2491146" y="2754634"/>
                </a:lnTo>
                <a:close/>
                <a:moveTo>
                  <a:pt x="2366199" y="2738332"/>
                </a:moveTo>
                <a:lnTo>
                  <a:pt x="2354949" y="2738502"/>
                </a:lnTo>
                <a:lnTo>
                  <a:pt x="2354957" y="2738502"/>
                </a:lnTo>
                <a:close/>
                <a:moveTo>
                  <a:pt x="2433629" y="2736771"/>
                </a:moveTo>
                <a:lnTo>
                  <a:pt x="2415745" y="2737066"/>
                </a:lnTo>
                <a:lnTo>
                  <a:pt x="2395855" y="2737404"/>
                </a:lnTo>
                <a:lnTo>
                  <a:pt x="2375712" y="2737742"/>
                </a:lnTo>
                <a:lnTo>
                  <a:pt x="2370289" y="2738270"/>
                </a:lnTo>
                <a:lnTo>
                  <a:pt x="2370328" y="2738270"/>
                </a:lnTo>
                <a:lnTo>
                  <a:pt x="2375755" y="2737763"/>
                </a:lnTo>
                <a:lnTo>
                  <a:pt x="2395898" y="2737426"/>
                </a:lnTo>
                <a:lnTo>
                  <a:pt x="2415788" y="2737088"/>
                </a:lnTo>
                <a:lnTo>
                  <a:pt x="2433666" y="2736771"/>
                </a:lnTo>
                <a:close/>
                <a:moveTo>
                  <a:pt x="2317351" y="2736264"/>
                </a:moveTo>
                <a:lnTo>
                  <a:pt x="2310489" y="2736644"/>
                </a:lnTo>
                <a:lnTo>
                  <a:pt x="2294061" y="2736665"/>
                </a:lnTo>
                <a:lnTo>
                  <a:pt x="2292563" y="2736750"/>
                </a:lnTo>
                <a:lnTo>
                  <a:pt x="2289987" y="2737860"/>
                </a:lnTo>
                <a:lnTo>
                  <a:pt x="2290029" y="2737869"/>
                </a:lnTo>
                <a:lnTo>
                  <a:pt x="2292627" y="2736771"/>
                </a:lnTo>
                <a:lnTo>
                  <a:pt x="2294105" y="2736686"/>
                </a:lnTo>
                <a:lnTo>
                  <a:pt x="2310553" y="2736686"/>
                </a:lnTo>
                <a:lnTo>
                  <a:pt x="2317394" y="2736285"/>
                </a:lnTo>
                <a:lnTo>
                  <a:pt x="2330084" y="2736390"/>
                </a:lnTo>
                <a:lnTo>
                  <a:pt x="2338086" y="2736876"/>
                </a:lnTo>
                <a:lnTo>
                  <a:pt x="2341199" y="2737309"/>
                </a:lnTo>
                <a:lnTo>
                  <a:pt x="2338044" y="2736855"/>
                </a:lnTo>
                <a:lnTo>
                  <a:pt x="2330019" y="2736369"/>
                </a:lnTo>
                <a:close/>
                <a:moveTo>
                  <a:pt x="3831080" y="2728345"/>
                </a:moveTo>
                <a:lnTo>
                  <a:pt x="3833951" y="2733666"/>
                </a:lnTo>
                <a:lnTo>
                  <a:pt x="3834606" y="2741985"/>
                </a:lnTo>
                <a:lnTo>
                  <a:pt x="3838470" y="2751741"/>
                </a:lnTo>
                <a:lnTo>
                  <a:pt x="3841701" y="2754759"/>
                </a:lnTo>
                <a:lnTo>
                  <a:pt x="3842166" y="2755266"/>
                </a:lnTo>
                <a:lnTo>
                  <a:pt x="3846705" y="2767936"/>
                </a:lnTo>
                <a:lnTo>
                  <a:pt x="3846135" y="2770321"/>
                </a:lnTo>
                <a:lnTo>
                  <a:pt x="3842925" y="2771757"/>
                </a:lnTo>
                <a:lnTo>
                  <a:pt x="3841257" y="2771884"/>
                </a:lnTo>
                <a:lnTo>
                  <a:pt x="3839273" y="2769857"/>
                </a:lnTo>
                <a:lnTo>
                  <a:pt x="3837879" y="2765591"/>
                </a:lnTo>
                <a:lnTo>
                  <a:pt x="3835451" y="2766605"/>
                </a:lnTo>
                <a:lnTo>
                  <a:pt x="3831313" y="2761495"/>
                </a:lnTo>
                <a:lnTo>
                  <a:pt x="3827216" y="2761242"/>
                </a:lnTo>
                <a:lnTo>
                  <a:pt x="3823584" y="2755140"/>
                </a:lnTo>
                <a:lnTo>
                  <a:pt x="3824999" y="2749840"/>
                </a:lnTo>
                <a:lnTo>
                  <a:pt x="3824176" y="2740781"/>
                </a:lnTo>
                <a:lnTo>
                  <a:pt x="3828589" y="2736137"/>
                </a:lnTo>
                <a:close/>
                <a:moveTo>
                  <a:pt x="2242617" y="2726796"/>
                </a:moveTo>
                <a:lnTo>
                  <a:pt x="2241486" y="2728135"/>
                </a:lnTo>
                <a:lnTo>
                  <a:pt x="2235659" y="2728683"/>
                </a:lnTo>
                <a:lnTo>
                  <a:pt x="2227910" y="2729803"/>
                </a:lnTo>
                <a:lnTo>
                  <a:pt x="2235658" y="2728684"/>
                </a:lnTo>
                <a:lnTo>
                  <a:pt x="2241486" y="2728156"/>
                </a:lnTo>
                <a:close/>
                <a:moveTo>
                  <a:pt x="2239713" y="2690860"/>
                </a:moveTo>
                <a:lnTo>
                  <a:pt x="2241655" y="2692134"/>
                </a:lnTo>
                <a:lnTo>
                  <a:pt x="2243725" y="2694288"/>
                </a:lnTo>
                <a:lnTo>
                  <a:pt x="2241655" y="2692113"/>
                </a:lnTo>
                <a:close/>
                <a:moveTo>
                  <a:pt x="2240738" y="2688867"/>
                </a:moveTo>
                <a:lnTo>
                  <a:pt x="2239523" y="2689685"/>
                </a:lnTo>
                <a:lnTo>
                  <a:pt x="2239628" y="2690800"/>
                </a:lnTo>
                <a:lnTo>
                  <a:pt x="2239544" y="2689685"/>
                </a:lnTo>
                <a:close/>
                <a:moveTo>
                  <a:pt x="3863998" y="2679866"/>
                </a:moveTo>
                <a:lnTo>
                  <a:pt x="3864357" y="2682864"/>
                </a:lnTo>
                <a:lnTo>
                  <a:pt x="3863449" y="2685673"/>
                </a:lnTo>
                <a:lnTo>
                  <a:pt x="3863639" y="2694646"/>
                </a:lnTo>
                <a:lnTo>
                  <a:pt x="3863280" y="2700621"/>
                </a:lnTo>
                <a:lnTo>
                  <a:pt x="3859902" y="2708878"/>
                </a:lnTo>
                <a:lnTo>
                  <a:pt x="3857135" y="2711834"/>
                </a:lnTo>
                <a:lnTo>
                  <a:pt x="3854665" y="2710947"/>
                </a:lnTo>
                <a:lnTo>
                  <a:pt x="3852638" y="2709596"/>
                </a:lnTo>
                <a:lnTo>
                  <a:pt x="3851055" y="2707336"/>
                </a:lnTo>
                <a:lnTo>
                  <a:pt x="3854264" y="2692197"/>
                </a:lnTo>
                <a:lnTo>
                  <a:pt x="3852617" y="2681112"/>
                </a:lnTo>
                <a:lnTo>
                  <a:pt x="3858972" y="2682168"/>
                </a:lnTo>
                <a:close/>
                <a:moveTo>
                  <a:pt x="2360552" y="2676636"/>
                </a:moveTo>
                <a:lnTo>
                  <a:pt x="2358652" y="2677417"/>
                </a:lnTo>
                <a:lnTo>
                  <a:pt x="2357427" y="2676783"/>
                </a:lnTo>
                <a:lnTo>
                  <a:pt x="2357294" y="2676683"/>
                </a:lnTo>
                <a:lnTo>
                  <a:pt x="2357426" y="2676784"/>
                </a:lnTo>
                <a:lnTo>
                  <a:pt x="2358652" y="2677418"/>
                </a:lnTo>
                <a:lnTo>
                  <a:pt x="2360552" y="2676636"/>
                </a:lnTo>
                <a:lnTo>
                  <a:pt x="2364331" y="2676869"/>
                </a:lnTo>
                <a:lnTo>
                  <a:pt x="2368871" y="2678600"/>
                </a:lnTo>
                <a:lnTo>
                  <a:pt x="2368872" y="2678600"/>
                </a:lnTo>
                <a:lnTo>
                  <a:pt x="2364332" y="2676868"/>
                </a:lnTo>
                <a:close/>
                <a:moveTo>
                  <a:pt x="2355694" y="2672121"/>
                </a:moveTo>
                <a:lnTo>
                  <a:pt x="2355632" y="2675411"/>
                </a:lnTo>
                <a:lnTo>
                  <a:pt x="2355633" y="2675412"/>
                </a:lnTo>
                <a:close/>
                <a:moveTo>
                  <a:pt x="2261947" y="2669795"/>
                </a:moveTo>
                <a:lnTo>
                  <a:pt x="2252762" y="2679824"/>
                </a:lnTo>
                <a:lnTo>
                  <a:pt x="2248117" y="2684153"/>
                </a:lnTo>
                <a:lnTo>
                  <a:pt x="2247384" y="2684737"/>
                </a:lnTo>
                <a:lnTo>
                  <a:pt x="2248117" y="2684154"/>
                </a:lnTo>
                <a:lnTo>
                  <a:pt x="2252762" y="2679825"/>
                </a:lnTo>
                <a:close/>
                <a:moveTo>
                  <a:pt x="2277212" y="2661792"/>
                </a:moveTo>
                <a:lnTo>
                  <a:pt x="2276765" y="2662807"/>
                </a:lnTo>
                <a:lnTo>
                  <a:pt x="2277212" y="2661793"/>
                </a:lnTo>
                <a:lnTo>
                  <a:pt x="2280126" y="2661940"/>
                </a:lnTo>
                <a:lnTo>
                  <a:pt x="2281055" y="2662870"/>
                </a:lnTo>
                <a:lnTo>
                  <a:pt x="2282491" y="2665002"/>
                </a:lnTo>
                <a:lnTo>
                  <a:pt x="2285045" y="2667980"/>
                </a:lnTo>
                <a:lnTo>
                  <a:pt x="2285387" y="2668239"/>
                </a:lnTo>
                <a:lnTo>
                  <a:pt x="2285046" y="2667979"/>
                </a:lnTo>
                <a:lnTo>
                  <a:pt x="2282491" y="2665002"/>
                </a:lnTo>
                <a:lnTo>
                  <a:pt x="2281056" y="2662869"/>
                </a:lnTo>
                <a:lnTo>
                  <a:pt x="2280126" y="2661940"/>
                </a:lnTo>
                <a:close/>
                <a:moveTo>
                  <a:pt x="4787889" y="2659258"/>
                </a:moveTo>
                <a:lnTo>
                  <a:pt x="4792872" y="2667218"/>
                </a:lnTo>
                <a:lnTo>
                  <a:pt x="4793041" y="2672708"/>
                </a:lnTo>
                <a:lnTo>
                  <a:pt x="4790190" y="2670872"/>
                </a:lnTo>
                <a:lnTo>
                  <a:pt x="4789388" y="2667324"/>
                </a:lnTo>
                <a:lnTo>
                  <a:pt x="4785587" y="2664664"/>
                </a:lnTo>
                <a:lnTo>
                  <a:pt x="4783603" y="2662236"/>
                </a:lnTo>
                <a:close/>
                <a:moveTo>
                  <a:pt x="2355590" y="2656240"/>
                </a:moveTo>
                <a:lnTo>
                  <a:pt x="2352950" y="2660822"/>
                </a:lnTo>
                <a:lnTo>
                  <a:pt x="2355167" y="2666523"/>
                </a:lnTo>
                <a:lnTo>
                  <a:pt x="2355695" y="2672076"/>
                </a:lnTo>
                <a:lnTo>
                  <a:pt x="2355695" y="2672075"/>
                </a:lnTo>
                <a:lnTo>
                  <a:pt x="2355168" y="2666522"/>
                </a:lnTo>
                <a:lnTo>
                  <a:pt x="2352951" y="2660821"/>
                </a:lnTo>
                <a:close/>
                <a:moveTo>
                  <a:pt x="2396848" y="2653431"/>
                </a:moveTo>
                <a:lnTo>
                  <a:pt x="2385340" y="2667958"/>
                </a:lnTo>
                <a:lnTo>
                  <a:pt x="2381523" y="2671991"/>
                </a:lnTo>
                <a:lnTo>
                  <a:pt x="2385340" y="2667958"/>
                </a:lnTo>
                <a:close/>
                <a:moveTo>
                  <a:pt x="2322377" y="2653304"/>
                </a:moveTo>
                <a:lnTo>
                  <a:pt x="2324319" y="2654846"/>
                </a:lnTo>
                <a:lnTo>
                  <a:pt x="2327803" y="2654846"/>
                </a:lnTo>
                <a:lnTo>
                  <a:pt x="2328617" y="2654334"/>
                </a:lnTo>
                <a:lnTo>
                  <a:pt x="2327803" y="2654846"/>
                </a:lnTo>
                <a:lnTo>
                  <a:pt x="2324319" y="2654846"/>
                </a:lnTo>
                <a:close/>
                <a:moveTo>
                  <a:pt x="2264980" y="2652498"/>
                </a:moveTo>
                <a:lnTo>
                  <a:pt x="2270309" y="2658795"/>
                </a:lnTo>
                <a:lnTo>
                  <a:pt x="2270333" y="2658817"/>
                </a:lnTo>
                <a:lnTo>
                  <a:pt x="2264987" y="2652502"/>
                </a:lnTo>
                <a:close/>
                <a:moveTo>
                  <a:pt x="2315932" y="2652311"/>
                </a:moveTo>
                <a:lnTo>
                  <a:pt x="2315831" y="2652333"/>
                </a:lnTo>
                <a:lnTo>
                  <a:pt x="2314522" y="2653051"/>
                </a:lnTo>
                <a:lnTo>
                  <a:pt x="2314522" y="2653052"/>
                </a:lnTo>
                <a:lnTo>
                  <a:pt x="2315831" y="2652334"/>
                </a:lnTo>
                <a:close/>
                <a:moveTo>
                  <a:pt x="2263045" y="2651531"/>
                </a:moveTo>
                <a:lnTo>
                  <a:pt x="2263026" y="2651532"/>
                </a:lnTo>
                <a:lnTo>
                  <a:pt x="2264040" y="2652028"/>
                </a:lnTo>
                <a:close/>
                <a:moveTo>
                  <a:pt x="2352529" y="2643845"/>
                </a:moveTo>
                <a:lnTo>
                  <a:pt x="2350037" y="2644141"/>
                </a:lnTo>
                <a:lnTo>
                  <a:pt x="2344737" y="2647328"/>
                </a:lnTo>
                <a:lnTo>
                  <a:pt x="2339226" y="2649820"/>
                </a:lnTo>
                <a:lnTo>
                  <a:pt x="2339052" y="2649856"/>
                </a:lnTo>
                <a:lnTo>
                  <a:pt x="2339226" y="2649821"/>
                </a:lnTo>
                <a:lnTo>
                  <a:pt x="2344737" y="2647329"/>
                </a:lnTo>
                <a:lnTo>
                  <a:pt x="2350037" y="2644141"/>
                </a:lnTo>
                <a:lnTo>
                  <a:pt x="2352528" y="2643846"/>
                </a:lnTo>
                <a:lnTo>
                  <a:pt x="2355167" y="2648026"/>
                </a:lnTo>
                <a:lnTo>
                  <a:pt x="2355399" y="2648309"/>
                </a:lnTo>
                <a:lnTo>
                  <a:pt x="2355168" y="2648025"/>
                </a:lnTo>
                <a:close/>
                <a:moveTo>
                  <a:pt x="2440118" y="2623109"/>
                </a:moveTo>
                <a:lnTo>
                  <a:pt x="2435277" y="2625222"/>
                </a:lnTo>
                <a:lnTo>
                  <a:pt x="2426113" y="2627924"/>
                </a:lnTo>
                <a:lnTo>
                  <a:pt x="2421721" y="2631303"/>
                </a:lnTo>
                <a:lnTo>
                  <a:pt x="2419039" y="2636286"/>
                </a:lnTo>
                <a:lnTo>
                  <a:pt x="2413929" y="2640614"/>
                </a:lnTo>
                <a:lnTo>
                  <a:pt x="2408891" y="2643098"/>
                </a:lnTo>
                <a:lnTo>
                  <a:pt x="2413929" y="2640615"/>
                </a:lnTo>
                <a:lnTo>
                  <a:pt x="2419039" y="2636286"/>
                </a:lnTo>
                <a:lnTo>
                  <a:pt x="2421721" y="2631303"/>
                </a:lnTo>
                <a:lnTo>
                  <a:pt x="2426113" y="2627925"/>
                </a:lnTo>
                <a:lnTo>
                  <a:pt x="2435277" y="2625222"/>
                </a:lnTo>
                <a:close/>
                <a:moveTo>
                  <a:pt x="2202952" y="2598906"/>
                </a:moveTo>
                <a:lnTo>
                  <a:pt x="2203269" y="2601194"/>
                </a:lnTo>
                <a:lnTo>
                  <a:pt x="2205951" y="2603875"/>
                </a:lnTo>
                <a:lnTo>
                  <a:pt x="2203269" y="2601172"/>
                </a:lnTo>
                <a:close/>
                <a:moveTo>
                  <a:pt x="3731074" y="2597106"/>
                </a:moveTo>
                <a:lnTo>
                  <a:pt x="3731144" y="2597182"/>
                </a:lnTo>
                <a:lnTo>
                  <a:pt x="3733990" y="2597497"/>
                </a:lnTo>
                <a:lnTo>
                  <a:pt x="3733847" y="2597414"/>
                </a:lnTo>
                <a:close/>
                <a:moveTo>
                  <a:pt x="2461152" y="2578004"/>
                </a:moveTo>
                <a:lnTo>
                  <a:pt x="2461099" y="2578326"/>
                </a:lnTo>
                <a:lnTo>
                  <a:pt x="2460680" y="2580908"/>
                </a:lnTo>
                <a:lnTo>
                  <a:pt x="2461099" y="2578327"/>
                </a:lnTo>
                <a:close/>
                <a:moveTo>
                  <a:pt x="2194359" y="2574336"/>
                </a:moveTo>
                <a:lnTo>
                  <a:pt x="2194359" y="2574337"/>
                </a:lnTo>
                <a:lnTo>
                  <a:pt x="2195922" y="2577292"/>
                </a:lnTo>
                <a:lnTo>
                  <a:pt x="2199997" y="2580396"/>
                </a:lnTo>
                <a:lnTo>
                  <a:pt x="2205972" y="2583584"/>
                </a:lnTo>
                <a:lnTo>
                  <a:pt x="2199997" y="2580374"/>
                </a:lnTo>
                <a:lnTo>
                  <a:pt x="2195922" y="2577292"/>
                </a:lnTo>
                <a:close/>
                <a:moveTo>
                  <a:pt x="3325717" y="2566017"/>
                </a:moveTo>
                <a:lnTo>
                  <a:pt x="3326651" y="2567706"/>
                </a:lnTo>
                <a:lnTo>
                  <a:pt x="3326461" y="2570915"/>
                </a:lnTo>
                <a:lnTo>
                  <a:pt x="3327475" y="2573703"/>
                </a:lnTo>
                <a:lnTo>
                  <a:pt x="3327496" y="2578685"/>
                </a:lnTo>
                <a:lnTo>
                  <a:pt x="3326250" y="2583078"/>
                </a:lnTo>
                <a:lnTo>
                  <a:pt x="3319831" y="2585147"/>
                </a:lnTo>
                <a:lnTo>
                  <a:pt x="3316517" y="2587385"/>
                </a:lnTo>
                <a:lnTo>
                  <a:pt x="3315630" y="2588525"/>
                </a:lnTo>
                <a:lnTo>
                  <a:pt x="3316432" y="2589856"/>
                </a:lnTo>
                <a:lnTo>
                  <a:pt x="3316854" y="2591608"/>
                </a:lnTo>
                <a:lnTo>
                  <a:pt x="3310815" y="2596000"/>
                </a:lnTo>
                <a:lnTo>
                  <a:pt x="3304608" y="2601700"/>
                </a:lnTo>
                <a:lnTo>
                  <a:pt x="3303129" y="2605544"/>
                </a:lnTo>
                <a:lnTo>
                  <a:pt x="3301884" y="2610125"/>
                </a:lnTo>
                <a:lnTo>
                  <a:pt x="3300068" y="2613018"/>
                </a:lnTo>
                <a:lnTo>
                  <a:pt x="3295339" y="2617219"/>
                </a:lnTo>
                <a:lnTo>
                  <a:pt x="3290503" y="2625666"/>
                </a:lnTo>
                <a:lnTo>
                  <a:pt x="3288138" y="2631155"/>
                </a:lnTo>
                <a:lnTo>
                  <a:pt x="3276293" y="2644310"/>
                </a:lnTo>
                <a:lnTo>
                  <a:pt x="3265757" y="2650876"/>
                </a:lnTo>
                <a:lnTo>
                  <a:pt x="3262695" y="2653114"/>
                </a:lnTo>
                <a:lnTo>
                  <a:pt x="3244051" y="2652735"/>
                </a:lnTo>
                <a:lnTo>
                  <a:pt x="3244115" y="2655564"/>
                </a:lnTo>
                <a:lnTo>
                  <a:pt x="3241939" y="2665763"/>
                </a:lnTo>
                <a:lnTo>
                  <a:pt x="3239469" y="2675686"/>
                </a:lnTo>
                <a:lnTo>
                  <a:pt x="3239322" y="2679445"/>
                </a:lnTo>
                <a:lnTo>
                  <a:pt x="3240482" y="2684448"/>
                </a:lnTo>
                <a:lnTo>
                  <a:pt x="3245064" y="2695914"/>
                </a:lnTo>
                <a:lnTo>
                  <a:pt x="3248401" y="2704255"/>
                </a:lnTo>
                <a:lnTo>
                  <a:pt x="3250005" y="2709279"/>
                </a:lnTo>
                <a:lnTo>
                  <a:pt x="3252307" y="2715129"/>
                </a:lnTo>
                <a:lnTo>
                  <a:pt x="3255368" y="2724123"/>
                </a:lnTo>
                <a:lnTo>
                  <a:pt x="3256128" y="2728388"/>
                </a:lnTo>
                <a:lnTo>
                  <a:pt x="3255496" y="2731555"/>
                </a:lnTo>
                <a:lnTo>
                  <a:pt x="3249245" y="2742830"/>
                </a:lnTo>
                <a:lnTo>
                  <a:pt x="3248612" y="2746378"/>
                </a:lnTo>
                <a:lnTo>
                  <a:pt x="3250153" y="2755119"/>
                </a:lnTo>
                <a:lnTo>
                  <a:pt x="3252201" y="2763565"/>
                </a:lnTo>
                <a:lnTo>
                  <a:pt x="3255158" y="2768358"/>
                </a:lnTo>
                <a:lnTo>
                  <a:pt x="3262210" y="2781618"/>
                </a:lnTo>
                <a:lnTo>
                  <a:pt x="3267467" y="2786094"/>
                </a:lnTo>
                <a:lnTo>
                  <a:pt x="3277159" y="2792703"/>
                </a:lnTo>
                <a:lnTo>
                  <a:pt x="3285710" y="2799375"/>
                </a:lnTo>
                <a:lnTo>
                  <a:pt x="3289004" y="2802839"/>
                </a:lnTo>
                <a:lnTo>
                  <a:pt x="3292023" y="2806702"/>
                </a:lnTo>
                <a:lnTo>
                  <a:pt x="3297978" y="2816584"/>
                </a:lnTo>
                <a:lnTo>
                  <a:pt x="3301609" y="2824629"/>
                </a:lnTo>
                <a:lnTo>
                  <a:pt x="3303531" y="2831914"/>
                </a:lnTo>
                <a:lnTo>
                  <a:pt x="3308197" y="2841858"/>
                </a:lnTo>
                <a:lnTo>
                  <a:pt x="3312547" y="2851106"/>
                </a:lnTo>
                <a:lnTo>
                  <a:pt x="3318164" y="2862382"/>
                </a:lnTo>
                <a:lnTo>
                  <a:pt x="3322133" y="2870363"/>
                </a:lnTo>
                <a:lnTo>
                  <a:pt x="3323928" y="2875705"/>
                </a:lnTo>
                <a:lnTo>
                  <a:pt x="3325447" y="2880012"/>
                </a:lnTo>
                <a:lnTo>
                  <a:pt x="3328657" y="2887191"/>
                </a:lnTo>
                <a:lnTo>
                  <a:pt x="3332268" y="2892449"/>
                </a:lnTo>
                <a:lnTo>
                  <a:pt x="3336807" y="2897072"/>
                </a:lnTo>
                <a:lnTo>
                  <a:pt x="3340650" y="2899881"/>
                </a:lnTo>
                <a:lnTo>
                  <a:pt x="3342541" y="2900506"/>
                </a:lnTo>
                <a:lnTo>
                  <a:pt x="3340756" y="2899902"/>
                </a:lnTo>
                <a:lnTo>
                  <a:pt x="3336893" y="2897115"/>
                </a:lnTo>
                <a:lnTo>
                  <a:pt x="3332373" y="2892490"/>
                </a:lnTo>
                <a:lnTo>
                  <a:pt x="3328742" y="2887190"/>
                </a:lnTo>
                <a:lnTo>
                  <a:pt x="3325554" y="2880053"/>
                </a:lnTo>
                <a:lnTo>
                  <a:pt x="3324033" y="2875725"/>
                </a:lnTo>
                <a:lnTo>
                  <a:pt x="3322239" y="2870384"/>
                </a:lnTo>
                <a:lnTo>
                  <a:pt x="3318269" y="2862402"/>
                </a:lnTo>
                <a:lnTo>
                  <a:pt x="3312652" y="2851126"/>
                </a:lnTo>
                <a:lnTo>
                  <a:pt x="3308303" y="2841857"/>
                </a:lnTo>
                <a:lnTo>
                  <a:pt x="3303636" y="2831934"/>
                </a:lnTo>
                <a:lnTo>
                  <a:pt x="3301736" y="2824649"/>
                </a:lnTo>
                <a:lnTo>
                  <a:pt x="3298105" y="2816605"/>
                </a:lnTo>
                <a:lnTo>
                  <a:pt x="3292150" y="2806723"/>
                </a:lnTo>
                <a:lnTo>
                  <a:pt x="3289131" y="2802859"/>
                </a:lnTo>
                <a:lnTo>
                  <a:pt x="3285837" y="2799396"/>
                </a:lnTo>
                <a:lnTo>
                  <a:pt x="3277286" y="2792723"/>
                </a:lnTo>
                <a:lnTo>
                  <a:pt x="3267594" y="2786115"/>
                </a:lnTo>
                <a:lnTo>
                  <a:pt x="3262337" y="2781659"/>
                </a:lnTo>
                <a:lnTo>
                  <a:pt x="3255284" y="2768378"/>
                </a:lnTo>
                <a:lnTo>
                  <a:pt x="3252328" y="2763585"/>
                </a:lnTo>
                <a:lnTo>
                  <a:pt x="3250280" y="2755161"/>
                </a:lnTo>
                <a:lnTo>
                  <a:pt x="3248739" y="2746419"/>
                </a:lnTo>
                <a:lnTo>
                  <a:pt x="3249372" y="2742873"/>
                </a:lnTo>
                <a:lnTo>
                  <a:pt x="3255622" y="2731597"/>
                </a:lnTo>
                <a:lnTo>
                  <a:pt x="3256255" y="2728451"/>
                </a:lnTo>
                <a:lnTo>
                  <a:pt x="3255496" y="2724165"/>
                </a:lnTo>
                <a:lnTo>
                  <a:pt x="3252412" y="2715191"/>
                </a:lnTo>
                <a:lnTo>
                  <a:pt x="3250111" y="2709342"/>
                </a:lnTo>
                <a:lnTo>
                  <a:pt x="3248506" y="2704338"/>
                </a:lnTo>
                <a:lnTo>
                  <a:pt x="3245170" y="2695997"/>
                </a:lnTo>
                <a:lnTo>
                  <a:pt x="3240588" y="2684512"/>
                </a:lnTo>
                <a:lnTo>
                  <a:pt x="3239427" y="2679507"/>
                </a:lnTo>
                <a:lnTo>
                  <a:pt x="3239575" y="2675749"/>
                </a:lnTo>
                <a:lnTo>
                  <a:pt x="3242045" y="2665825"/>
                </a:lnTo>
                <a:lnTo>
                  <a:pt x="3244220" y="2655627"/>
                </a:lnTo>
                <a:lnTo>
                  <a:pt x="3244157" y="2652819"/>
                </a:lnTo>
                <a:lnTo>
                  <a:pt x="3262800" y="2653199"/>
                </a:lnTo>
                <a:lnTo>
                  <a:pt x="3265862" y="2650982"/>
                </a:lnTo>
                <a:lnTo>
                  <a:pt x="3276398" y="2644394"/>
                </a:lnTo>
                <a:lnTo>
                  <a:pt x="3288244" y="2631218"/>
                </a:lnTo>
                <a:lnTo>
                  <a:pt x="3290609" y="2625728"/>
                </a:lnTo>
                <a:lnTo>
                  <a:pt x="3295444" y="2617283"/>
                </a:lnTo>
                <a:lnTo>
                  <a:pt x="3300174" y="2613102"/>
                </a:lnTo>
                <a:lnTo>
                  <a:pt x="3301990" y="2610209"/>
                </a:lnTo>
                <a:lnTo>
                  <a:pt x="3303235" y="2605627"/>
                </a:lnTo>
                <a:lnTo>
                  <a:pt x="3304714" y="2601785"/>
                </a:lnTo>
                <a:lnTo>
                  <a:pt x="3310921" y="2596062"/>
                </a:lnTo>
                <a:lnTo>
                  <a:pt x="3316960" y="2591670"/>
                </a:lnTo>
                <a:lnTo>
                  <a:pt x="3316517" y="2589918"/>
                </a:lnTo>
                <a:lnTo>
                  <a:pt x="3315714" y="2588587"/>
                </a:lnTo>
                <a:lnTo>
                  <a:pt x="3316601" y="2587469"/>
                </a:lnTo>
                <a:lnTo>
                  <a:pt x="3319895" y="2585231"/>
                </a:lnTo>
                <a:lnTo>
                  <a:pt x="3326314" y="2583161"/>
                </a:lnTo>
                <a:lnTo>
                  <a:pt x="3327580" y="2578770"/>
                </a:lnTo>
                <a:lnTo>
                  <a:pt x="3327560" y="2573786"/>
                </a:lnTo>
                <a:lnTo>
                  <a:pt x="3326525" y="2570999"/>
                </a:lnTo>
                <a:lnTo>
                  <a:pt x="3326715" y="2567790"/>
                </a:lnTo>
                <a:lnTo>
                  <a:pt x="3325722" y="2566017"/>
                </a:lnTo>
                <a:close/>
                <a:moveTo>
                  <a:pt x="3229249" y="2564159"/>
                </a:moveTo>
                <a:lnTo>
                  <a:pt x="3233451" y="2569987"/>
                </a:lnTo>
                <a:lnTo>
                  <a:pt x="3233557" y="2575033"/>
                </a:lnTo>
                <a:lnTo>
                  <a:pt x="3233451" y="2569986"/>
                </a:lnTo>
                <a:close/>
                <a:moveTo>
                  <a:pt x="2185385" y="2557149"/>
                </a:moveTo>
                <a:lnTo>
                  <a:pt x="2191403" y="2558247"/>
                </a:lnTo>
                <a:lnTo>
                  <a:pt x="2193557" y="2560105"/>
                </a:lnTo>
                <a:lnTo>
                  <a:pt x="2195668" y="2563040"/>
                </a:lnTo>
                <a:lnTo>
                  <a:pt x="2198560" y="2565805"/>
                </a:lnTo>
                <a:lnTo>
                  <a:pt x="2195668" y="2563039"/>
                </a:lnTo>
                <a:lnTo>
                  <a:pt x="2193557" y="2560083"/>
                </a:lnTo>
                <a:lnTo>
                  <a:pt x="2191403" y="2558246"/>
                </a:lnTo>
                <a:close/>
                <a:moveTo>
                  <a:pt x="3220994" y="2552485"/>
                </a:moveTo>
                <a:lnTo>
                  <a:pt x="3220994" y="2552503"/>
                </a:lnTo>
                <a:lnTo>
                  <a:pt x="3221142" y="2554932"/>
                </a:lnTo>
                <a:close/>
                <a:moveTo>
                  <a:pt x="3307460" y="2548752"/>
                </a:moveTo>
                <a:lnTo>
                  <a:pt x="3306107" y="2552208"/>
                </a:lnTo>
                <a:lnTo>
                  <a:pt x="3305579" y="2553137"/>
                </a:lnTo>
                <a:lnTo>
                  <a:pt x="3304545" y="2556388"/>
                </a:lnTo>
                <a:lnTo>
                  <a:pt x="3305114" y="2559366"/>
                </a:lnTo>
                <a:lnTo>
                  <a:pt x="3305157" y="2559402"/>
                </a:lnTo>
                <a:lnTo>
                  <a:pt x="3304608" y="2556515"/>
                </a:lnTo>
                <a:lnTo>
                  <a:pt x="3305643" y="2553242"/>
                </a:lnTo>
                <a:lnTo>
                  <a:pt x="3306170" y="2552313"/>
                </a:lnTo>
                <a:lnTo>
                  <a:pt x="3307521" y="2548808"/>
                </a:lnTo>
                <a:close/>
                <a:moveTo>
                  <a:pt x="3237502" y="2547301"/>
                </a:moveTo>
                <a:lnTo>
                  <a:pt x="3237758" y="2547436"/>
                </a:lnTo>
                <a:lnTo>
                  <a:pt x="3240884" y="2554467"/>
                </a:lnTo>
                <a:lnTo>
                  <a:pt x="3237758" y="2547436"/>
                </a:lnTo>
                <a:close/>
                <a:moveTo>
                  <a:pt x="3226209" y="2542854"/>
                </a:moveTo>
                <a:lnTo>
                  <a:pt x="3223908" y="2543255"/>
                </a:lnTo>
                <a:lnTo>
                  <a:pt x="3226209" y="2542855"/>
                </a:lnTo>
                <a:lnTo>
                  <a:pt x="3226440" y="2542914"/>
                </a:lnTo>
                <a:close/>
                <a:moveTo>
                  <a:pt x="3213730" y="2540490"/>
                </a:moveTo>
                <a:lnTo>
                  <a:pt x="3213878" y="2545198"/>
                </a:lnTo>
                <a:lnTo>
                  <a:pt x="3215525" y="2547964"/>
                </a:lnTo>
                <a:lnTo>
                  <a:pt x="3213878" y="2545197"/>
                </a:lnTo>
                <a:close/>
                <a:moveTo>
                  <a:pt x="2187624" y="2531078"/>
                </a:moveTo>
                <a:lnTo>
                  <a:pt x="2187623" y="2531094"/>
                </a:lnTo>
                <a:lnTo>
                  <a:pt x="2189291" y="2542833"/>
                </a:lnTo>
                <a:lnTo>
                  <a:pt x="2189291" y="2542833"/>
                </a:lnTo>
                <a:close/>
                <a:moveTo>
                  <a:pt x="2323671" y="2526600"/>
                </a:moveTo>
                <a:lnTo>
                  <a:pt x="2324087" y="2527123"/>
                </a:lnTo>
                <a:lnTo>
                  <a:pt x="2324636" y="2529763"/>
                </a:lnTo>
                <a:lnTo>
                  <a:pt x="2323116" y="2533035"/>
                </a:lnTo>
                <a:lnTo>
                  <a:pt x="2323116" y="2533036"/>
                </a:lnTo>
                <a:lnTo>
                  <a:pt x="2324636" y="2529763"/>
                </a:lnTo>
                <a:lnTo>
                  <a:pt x="2324087" y="2527124"/>
                </a:lnTo>
                <a:close/>
                <a:moveTo>
                  <a:pt x="2340937" y="2523302"/>
                </a:moveTo>
                <a:lnTo>
                  <a:pt x="2340937" y="2523323"/>
                </a:lnTo>
                <a:lnTo>
                  <a:pt x="2343175" y="2525371"/>
                </a:lnTo>
                <a:close/>
                <a:moveTo>
                  <a:pt x="2461494" y="2522698"/>
                </a:moveTo>
                <a:lnTo>
                  <a:pt x="2461163" y="2524104"/>
                </a:lnTo>
                <a:lnTo>
                  <a:pt x="2461163" y="2524104"/>
                </a:lnTo>
                <a:close/>
                <a:moveTo>
                  <a:pt x="3228932" y="2515388"/>
                </a:moveTo>
                <a:lnTo>
                  <a:pt x="3227962" y="2519142"/>
                </a:lnTo>
                <a:lnTo>
                  <a:pt x="3226483" y="2521380"/>
                </a:lnTo>
                <a:lnTo>
                  <a:pt x="3219557" y="2526110"/>
                </a:lnTo>
                <a:lnTo>
                  <a:pt x="3214998" y="2529510"/>
                </a:lnTo>
                <a:lnTo>
                  <a:pt x="3219558" y="2526110"/>
                </a:lnTo>
                <a:lnTo>
                  <a:pt x="3226484" y="2521380"/>
                </a:lnTo>
                <a:lnTo>
                  <a:pt x="3227962" y="2519142"/>
                </a:lnTo>
                <a:lnTo>
                  <a:pt x="3228933" y="2515405"/>
                </a:lnTo>
                <a:close/>
                <a:moveTo>
                  <a:pt x="3936378" y="2509725"/>
                </a:moveTo>
                <a:lnTo>
                  <a:pt x="3939017" y="2510696"/>
                </a:lnTo>
                <a:lnTo>
                  <a:pt x="3939524" y="2511689"/>
                </a:lnTo>
                <a:lnTo>
                  <a:pt x="3939377" y="2512597"/>
                </a:lnTo>
                <a:lnTo>
                  <a:pt x="3938278" y="2513483"/>
                </a:lnTo>
                <a:lnTo>
                  <a:pt x="3930931" y="2516968"/>
                </a:lnTo>
                <a:lnTo>
                  <a:pt x="3928735" y="2517474"/>
                </a:lnTo>
                <a:lnTo>
                  <a:pt x="3929875" y="2514075"/>
                </a:lnTo>
                <a:close/>
                <a:moveTo>
                  <a:pt x="3623993" y="2509005"/>
                </a:moveTo>
                <a:lnTo>
                  <a:pt x="3625360" y="2509767"/>
                </a:lnTo>
                <a:lnTo>
                  <a:pt x="3637986" y="2516819"/>
                </a:lnTo>
                <a:lnTo>
                  <a:pt x="3650613" y="2523871"/>
                </a:lnTo>
                <a:lnTo>
                  <a:pt x="3663240" y="2530902"/>
                </a:lnTo>
                <a:lnTo>
                  <a:pt x="3675867" y="2537955"/>
                </a:lnTo>
                <a:lnTo>
                  <a:pt x="3688514" y="2545007"/>
                </a:lnTo>
                <a:lnTo>
                  <a:pt x="3701140" y="2552060"/>
                </a:lnTo>
                <a:lnTo>
                  <a:pt x="3713767" y="2559091"/>
                </a:lnTo>
                <a:lnTo>
                  <a:pt x="3726394" y="2566143"/>
                </a:lnTo>
                <a:lnTo>
                  <a:pt x="3732285" y="2569439"/>
                </a:lnTo>
                <a:lnTo>
                  <a:pt x="3732284" y="2569437"/>
                </a:lnTo>
                <a:lnTo>
                  <a:pt x="3726246" y="2566059"/>
                </a:lnTo>
                <a:lnTo>
                  <a:pt x="3713619" y="2559007"/>
                </a:lnTo>
                <a:lnTo>
                  <a:pt x="3700992" y="2551975"/>
                </a:lnTo>
                <a:lnTo>
                  <a:pt x="3688366" y="2544923"/>
                </a:lnTo>
                <a:lnTo>
                  <a:pt x="3675718" y="2537870"/>
                </a:lnTo>
                <a:lnTo>
                  <a:pt x="3663092" y="2530818"/>
                </a:lnTo>
                <a:lnTo>
                  <a:pt x="3650466" y="2523788"/>
                </a:lnTo>
                <a:lnTo>
                  <a:pt x="3637838" y="2516735"/>
                </a:lnTo>
                <a:lnTo>
                  <a:pt x="3625212" y="2509683"/>
                </a:lnTo>
                <a:close/>
                <a:moveTo>
                  <a:pt x="2475500" y="2505270"/>
                </a:moveTo>
                <a:lnTo>
                  <a:pt x="2466040" y="2513990"/>
                </a:lnTo>
                <a:lnTo>
                  <a:pt x="2463146" y="2517432"/>
                </a:lnTo>
                <a:lnTo>
                  <a:pt x="2466040" y="2513991"/>
                </a:lnTo>
                <a:close/>
                <a:moveTo>
                  <a:pt x="2238383" y="2503391"/>
                </a:moveTo>
                <a:lnTo>
                  <a:pt x="2238404" y="2507023"/>
                </a:lnTo>
                <a:lnTo>
                  <a:pt x="2239079" y="2510401"/>
                </a:lnTo>
                <a:lnTo>
                  <a:pt x="2240199" y="2512048"/>
                </a:lnTo>
                <a:lnTo>
                  <a:pt x="2239079" y="2510400"/>
                </a:lnTo>
                <a:lnTo>
                  <a:pt x="2238404" y="2507001"/>
                </a:lnTo>
                <a:close/>
                <a:moveTo>
                  <a:pt x="3231826" y="2491018"/>
                </a:moveTo>
                <a:lnTo>
                  <a:pt x="3228658" y="2496698"/>
                </a:lnTo>
                <a:lnTo>
                  <a:pt x="3227835" y="2499316"/>
                </a:lnTo>
                <a:lnTo>
                  <a:pt x="3228659" y="2496698"/>
                </a:lnTo>
                <a:close/>
                <a:moveTo>
                  <a:pt x="2355168" y="2486668"/>
                </a:moveTo>
                <a:lnTo>
                  <a:pt x="2355168" y="2486690"/>
                </a:lnTo>
                <a:lnTo>
                  <a:pt x="2356369" y="2490502"/>
                </a:lnTo>
                <a:lnTo>
                  <a:pt x="2356371" y="2490489"/>
                </a:lnTo>
                <a:close/>
                <a:moveTo>
                  <a:pt x="3324587" y="2475550"/>
                </a:moveTo>
                <a:lnTo>
                  <a:pt x="3327580" y="2481706"/>
                </a:lnTo>
                <a:lnTo>
                  <a:pt x="3328467" y="2489455"/>
                </a:lnTo>
                <a:lnTo>
                  <a:pt x="3327222" y="2498746"/>
                </a:lnTo>
                <a:lnTo>
                  <a:pt x="3327960" y="2505650"/>
                </a:lnTo>
                <a:lnTo>
                  <a:pt x="3330663" y="2510190"/>
                </a:lnTo>
                <a:lnTo>
                  <a:pt x="3331360" y="2516080"/>
                </a:lnTo>
                <a:lnTo>
                  <a:pt x="3330093" y="2523302"/>
                </a:lnTo>
                <a:lnTo>
                  <a:pt x="3328531" y="2527630"/>
                </a:lnTo>
                <a:lnTo>
                  <a:pt x="3326694" y="2529067"/>
                </a:lnTo>
                <a:lnTo>
                  <a:pt x="3324603" y="2529594"/>
                </a:lnTo>
                <a:lnTo>
                  <a:pt x="3321774" y="2529109"/>
                </a:lnTo>
                <a:lnTo>
                  <a:pt x="3318333" y="2529721"/>
                </a:lnTo>
                <a:lnTo>
                  <a:pt x="3314595" y="2531072"/>
                </a:lnTo>
                <a:lnTo>
                  <a:pt x="3312230" y="2531263"/>
                </a:lnTo>
                <a:lnTo>
                  <a:pt x="3311048" y="2532825"/>
                </a:lnTo>
                <a:lnTo>
                  <a:pt x="3305621" y="2543910"/>
                </a:lnTo>
                <a:lnTo>
                  <a:pt x="3304566" y="2545578"/>
                </a:lnTo>
                <a:lnTo>
                  <a:pt x="3305156" y="2546592"/>
                </a:lnTo>
                <a:lnTo>
                  <a:pt x="3305163" y="2546598"/>
                </a:lnTo>
                <a:lnTo>
                  <a:pt x="3304629" y="2545683"/>
                </a:lnTo>
                <a:lnTo>
                  <a:pt x="3305685" y="2544015"/>
                </a:lnTo>
                <a:lnTo>
                  <a:pt x="3311111" y="2532929"/>
                </a:lnTo>
                <a:lnTo>
                  <a:pt x="3312293" y="2531388"/>
                </a:lnTo>
                <a:lnTo>
                  <a:pt x="3314658" y="2531198"/>
                </a:lnTo>
                <a:lnTo>
                  <a:pt x="3318396" y="2529826"/>
                </a:lnTo>
                <a:lnTo>
                  <a:pt x="3321858" y="2529214"/>
                </a:lnTo>
                <a:lnTo>
                  <a:pt x="3324688" y="2529678"/>
                </a:lnTo>
                <a:lnTo>
                  <a:pt x="3326778" y="2529150"/>
                </a:lnTo>
                <a:lnTo>
                  <a:pt x="3328615" y="2527736"/>
                </a:lnTo>
                <a:lnTo>
                  <a:pt x="3330177" y="2523407"/>
                </a:lnTo>
                <a:lnTo>
                  <a:pt x="3331466" y="2516186"/>
                </a:lnTo>
                <a:lnTo>
                  <a:pt x="3330748" y="2510316"/>
                </a:lnTo>
                <a:lnTo>
                  <a:pt x="3328045" y="2505776"/>
                </a:lnTo>
                <a:lnTo>
                  <a:pt x="3327306" y="2498850"/>
                </a:lnTo>
                <a:lnTo>
                  <a:pt x="3328552" y="2489561"/>
                </a:lnTo>
                <a:lnTo>
                  <a:pt x="3327665" y="2481832"/>
                </a:lnTo>
                <a:lnTo>
                  <a:pt x="3324667" y="2475646"/>
                </a:lnTo>
                <a:close/>
                <a:moveTo>
                  <a:pt x="3271875" y="2473613"/>
                </a:moveTo>
                <a:lnTo>
                  <a:pt x="3272408" y="2475140"/>
                </a:lnTo>
                <a:lnTo>
                  <a:pt x="3273020" y="2475622"/>
                </a:lnTo>
                <a:lnTo>
                  <a:pt x="3272408" y="2475139"/>
                </a:lnTo>
                <a:close/>
                <a:moveTo>
                  <a:pt x="3269071" y="2468256"/>
                </a:moveTo>
                <a:lnTo>
                  <a:pt x="3256297" y="2471317"/>
                </a:lnTo>
                <a:lnTo>
                  <a:pt x="3269072" y="2468256"/>
                </a:lnTo>
                <a:lnTo>
                  <a:pt x="3269382" y="2468489"/>
                </a:lnTo>
                <a:close/>
                <a:moveTo>
                  <a:pt x="3510727" y="2448429"/>
                </a:moveTo>
                <a:lnTo>
                  <a:pt x="3510729" y="2448514"/>
                </a:lnTo>
                <a:lnTo>
                  <a:pt x="3510750" y="2448514"/>
                </a:lnTo>
                <a:lnTo>
                  <a:pt x="3515268" y="2448514"/>
                </a:lnTo>
                <a:lnTo>
                  <a:pt x="3519533" y="2450752"/>
                </a:lnTo>
                <a:lnTo>
                  <a:pt x="3524284" y="2453391"/>
                </a:lnTo>
                <a:lnTo>
                  <a:pt x="3536933" y="2460444"/>
                </a:lnTo>
                <a:lnTo>
                  <a:pt x="3549559" y="2467495"/>
                </a:lnTo>
                <a:lnTo>
                  <a:pt x="3562185" y="2474547"/>
                </a:lnTo>
                <a:lnTo>
                  <a:pt x="3574811" y="2481579"/>
                </a:lnTo>
                <a:lnTo>
                  <a:pt x="3587438" y="2488631"/>
                </a:lnTo>
                <a:lnTo>
                  <a:pt x="3600086" y="2495684"/>
                </a:lnTo>
                <a:lnTo>
                  <a:pt x="3601201" y="2496304"/>
                </a:lnTo>
                <a:lnTo>
                  <a:pt x="3599938" y="2495599"/>
                </a:lnTo>
                <a:lnTo>
                  <a:pt x="3587290" y="2488547"/>
                </a:lnTo>
                <a:lnTo>
                  <a:pt x="3574663" y="2481495"/>
                </a:lnTo>
                <a:lnTo>
                  <a:pt x="3562037" y="2474464"/>
                </a:lnTo>
                <a:lnTo>
                  <a:pt x="3549411" y="2467411"/>
                </a:lnTo>
                <a:lnTo>
                  <a:pt x="3536784" y="2460359"/>
                </a:lnTo>
                <a:lnTo>
                  <a:pt x="3524137" y="2453307"/>
                </a:lnTo>
                <a:lnTo>
                  <a:pt x="3519386" y="2450667"/>
                </a:lnTo>
                <a:lnTo>
                  <a:pt x="3515121" y="2448429"/>
                </a:lnTo>
                <a:close/>
                <a:moveTo>
                  <a:pt x="3327369" y="2448091"/>
                </a:moveTo>
                <a:lnTo>
                  <a:pt x="3323399" y="2448830"/>
                </a:lnTo>
                <a:lnTo>
                  <a:pt x="3319282" y="2451449"/>
                </a:lnTo>
                <a:lnTo>
                  <a:pt x="3314912" y="2452504"/>
                </a:lnTo>
                <a:lnTo>
                  <a:pt x="3310224" y="2452104"/>
                </a:lnTo>
                <a:lnTo>
                  <a:pt x="3309633" y="2452377"/>
                </a:lnTo>
                <a:lnTo>
                  <a:pt x="3307268" y="2452314"/>
                </a:lnTo>
                <a:lnTo>
                  <a:pt x="3303848" y="2452125"/>
                </a:lnTo>
                <a:lnTo>
                  <a:pt x="3300764" y="2452800"/>
                </a:lnTo>
                <a:lnTo>
                  <a:pt x="3298421" y="2455080"/>
                </a:lnTo>
                <a:lnTo>
                  <a:pt x="3296014" y="2458986"/>
                </a:lnTo>
                <a:lnTo>
                  <a:pt x="3291685" y="2463441"/>
                </a:lnTo>
                <a:lnTo>
                  <a:pt x="3288306" y="2467411"/>
                </a:lnTo>
                <a:lnTo>
                  <a:pt x="3285435" y="2470219"/>
                </a:lnTo>
                <a:lnTo>
                  <a:pt x="3278869" y="2474864"/>
                </a:lnTo>
                <a:lnTo>
                  <a:pt x="3275279" y="2476216"/>
                </a:lnTo>
                <a:lnTo>
                  <a:pt x="3275280" y="2476216"/>
                </a:lnTo>
                <a:lnTo>
                  <a:pt x="3278869" y="2474865"/>
                </a:lnTo>
                <a:lnTo>
                  <a:pt x="3285435" y="2470220"/>
                </a:lnTo>
                <a:lnTo>
                  <a:pt x="3288307" y="2467411"/>
                </a:lnTo>
                <a:lnTo>
                  <a:pt x="3291685" y="2463442"/>
                </a:lnTo>
                <a:lnTo>
                  <a:pt x="3296015" y="2458987"/>
                </a:lnTo>
                <a:lnTo>
                  <a:pt x="3298421" y="2455081"/>
                </a:lnTo>
                <a:lnTo>
                  <a:pt x="3300765" y="2452801"/>
                </a:lnTo>
                <a:lnTo>
                  <a:pt x="3303848" y="2452125"/>
                </a:lnTo>
                <a:lnTo>
                  <a:pt x="3307269" y="2452315"/>
                </a:lnTo>
                <a:lnTo>
                  <a:pt x="3309633" y="2452378"/>
                </a:lnTo>
                <a:lnTo>
                  <a:pt x="3307691" y="2453286"/>
                </a:lnTo>
                <a:lnTo>
                  <a:pt x="3307289" y="2456157"/>
                </a:lnTo>
                <a:lnTo>
                  <a:pt x="3309528" y="2460718"/>
                </a:lnTo>
                <a:lnTo>
                  <a:pt x="3309560" y="2460760"/>
                </a:lnTo>
                <a:lnTo>
                  <a:pt x="3307353" y="2456242"/>
                </a:lnTo>
                <a:lnTo>
                  <a:pt x="3307754" y="2453412"/>
                </a:lnTo>
                <a:lnTo>
                  <a:pt x="3309696" y="2452483"/>
                </a:lnTo>
                <a:lnTo>
                  <a:pt x="3310287" y="2452208"/>
                </a:lnTo>
                <a:lnTo>
                  <a:pt x="3314975" y="2452631"/>
                </a:lnTo>
                <a:lnTo>
                  <a:pt x="3319367" y="2451554"/>
                </a:lnTo>
                <a:lnTo>
                  <a:pt x="3323464" y="2448978"/>
                </a:lnTo>
                <a:lnTo>
                  <a:pt x="3327433" y="2448218"/>
                </a:lnTo>
                <a:lnTo>
                  <a:pt x="3328235" y="2448345"/>
                </a:lnTo>
                <a:close/>
                <a:moveTo>
                  <a:pt x="2355633" y="2446740"/>
                </a:moveTo>
                <a:lnTo>
                  <a:pt x="2356435" y="2454553"/>
                </a:lnTo>
                <a:lnTo>
                  <a:pt x="2357174" y="2462007"/>
                </a:lnTo>
                <a:lnTo>
                  <a:pt x="2358292" y="2472838"/>
                </a:lnTo>
                <a:lnTo>
                  <a:pt x="2358292" y="2472837"/>
                </a:lnTo>
                <a:lnTo>
                  <a:pt x="2357174" y="2461985"/>
                </a:lnTo>
                <a:lnTo>
                  <a:pt x="2356435" y="2454552"/>
                </a:lnTo>
                <a:close/>
                <a:moveTo>
                  <a:pt x="3256107" y="2435570"/>
                </a:moveTo>
                <a:lnTo>
                  <a:pt x="3255136" y="2441716"/>
                </a:lnTo>
                <a:lnTo>
                  <a:pt x="3253468" y="2447057"/>
                </a:lnTo>
                <a:lnTo>
                  <a:pt x="3255135" y="2441736"/>
                </a:lnTo>
                <a:close/>
                <a:moveTo>
                  <a:pt x="2541229" y="2435085"/>
                </a:moveTo>
                <a:lnTo>
                  <a:pt x="2525584" y="2448366"/>
                </a:lnTo>
                <a:lnTo>
                  <a:pt x="2515449" y="2452208"/>
                </a:lnTo>
                <a:lnTo>
                  <a:pt x="2507573" y="2456685"/>
                </a:lnTo>
                <a:lnTo>
                  <a:pt x="2507573" y="2456685"/>
                </a:lnTo>
                <a:lnTo>
                  <a:pt x="2507572" y="2456685"/>
                </a:lnTo>
                <a:lnTo>
                  <a:pt x="2506775" y="2457404"/>
                </a:lnTo>
                <a:lnTo>
                  <a:pt x="2501956" y="2461752"/>
                </a:lnTo>
                <a:lnTo>
                  <a:pt x="2500120" y="2464519"/>
                </a:lnTo>
                <a:lnTo>
                  <a:pt x="2499951" y="2464772"/>
                </a:lnTo>
                <a:lnTo>
                  <a:pt x="2500120" y="2464519"/>
                </a:lnTo>
                <a:lnTo>
                  <a:pt x="2501956" y="2461753"/>
                </a:lnTo>
                <a:lnTo>
                  <a:pt x="2506775" y="2457404"/>
                </a:lnTo>
                <a:lnTo>
                  <a:pt x="2507573" y="2456685"/>
                </a:lnTo>
                <a:lnTo>
                  <a:pt x="2515449" y="2452209"/>
                </a:lnTo>
                <a:lnTo>
                  <a:pt x="2525583" y="2448367"/>
                </a:lnTo>
                <a:lnTo>
                  <a:pt x="2541229" y="2435086"/>
                </a:lnTo>
                <a:close/>
                <a:moveTo>
                  <a:pt x="3257690" y="2415364"/>
                </a:moveTo>
                <a:lnTo>
                  <a:pt x="3258557" y="2420896"/>
                </a:lnTo>
                <a:lnTo>
                  <a:pt x="3258557" y="2420895"/>
                </a:lnTo>
                <a:close/>
                <a:moveTo>
                  <a:pt x="2340599" y="2411203"/>
                </a:moveTo>
                <a:lnTo>
                  <a:pt x="2343555" y="2414520"/>
                </a:lnTo>
                <a:lnTo>
                  <a:pt x="2352845" y="2416969"/>
                </a:lnTo>
                <a:lnTo>
                  <a:pt x="2356456" y="2419903"/>
                </a:lnTo>
                <a:lnTo>
                  <a:pt x="2359391" y="2423156"/>
                </a:lnTo>
                <a:lnTo>
                  <a:pt x="2359771" y="2425816"/>
                </a:lnTo>
                <a:lnTo>
                  <a:pt x="2359771" y="2425815"/>
                </a:lnTo>
                <a:lnTo>
                  <a:pt x="2359391" y="2423155"/>
                </a:lnTo>
                <a:lnTo>
                  <a:pt x="2356456" y="2419903"/>
                </a:lnTo>
                <a:lnTo>
                  <a:pt x="2352845" y="2416947"/>
                </a:lnTo>
                <a:lnTo>
                  <a:pt x="2343555" y="2414519"/>
                </a:lnTo>
                <a:close/>
                <a:moveTo>
                  <a:pt x="2552051" y="2406352"/>
                </a:moveTo>
                <a:lnTo>
                  <a:pt x="2553664" y="2421701"/>
                </a:lnTo>
                <a:lnTo>
                  <a:pt x="2553666" y="2421699"/>
                </a:lnTo>
                <a:close/>
                <a:moveTo>
                  <a:pt x="3929866" y="2405014"/>
                </a:moveTo>
                <a:lnTo>
                  <a:pt x="3929875" y="2407445"/>
                </a:lnTo>
                <a:lnTo>
                  <a:pt x="3929959" y="2432382"/>
                </a:lnTo>
                <a:lnTo>
                  <a:pt x="3930002" y="2440765"/>
                </a:lnTo>
                <a:lnTo>
                  <a:pt x="3938130" y="2451259"/>
                </a:lnTo>
                <a:lnTo>
                  <a:pt x="3946070" y="2461499"/>
                </a:lnTo>
                <a:lnTo>
                  <a:pt x="3956564" y="2475054"/>
                </a:lnTo>
                <a:lnTo>
                  <a:pt x="3962192" y="2482284"/>
                </a:lnTo>
                <a:lnTo>
                  <a:pt x="3962181" y="2482255"/>
                </a:lnTo>
                <a:lnTo>
                  <a:pt x="3956564" y="2474992"/>
                </a:lnTo>
                <a:lnTo>
                  <a:pt x="3946070" y="2461435"/>
                </a:lnTo>
                <a:lnTo>
                  <a:pt x="3938131" y="2451195"/>
                </a:lnTo>
                <a:lnTo>
                  <a:pt x="3930002" y="2440723"/>
                </a:lnTo>
                <a:lnTo>
                  <a:pt x="3929960" y="2432340"/>
                </a:lnTo>
                <a:lnTo>
                  <a:pt x="3929876" y="2407404"/>
                </a:lnTo>
                <a:close/>
                <a:moveTo>
                  <a:pt x="2552602" y="2402788"/>
                </a:moveTo>
                <a:lnTo>
                  <a:pt x="2551977" y="2405651"/>
                </a:lnTo>
                <a:lnTo>
                  <a:pt x="2551977" y="2405652"/>
                </a:lnTo>
                <a:close/>
                <a:moveTo>
                  <a:pt x="2323010" y="2401259"/>
                </a:moveTo>
                <a:lnTo>
                  <a:pt x="2323010" y="2401260"/>
                </a:lnTo>
                <a:lnTo>
                  <a:pt x="2325248" y="2403583"/>
                </a:lnTo>
                <a:lnTo>
                  <a:pt x="2335426" y="2405208"/>
                </a:lnTo>
                <a:lnTo>
                  <a:pt x="2336108" y="2405663"/>
                </a:lnTo>
                <a:lnTo>
                  <a:pt x="2335425" y="2405207"/>
                </a:lnTo>
                <a:lnTo>
                  <a:pt x="2325248" y="2403582"/>
                </a:lnTo>
                <a:close/>
                <a:moveTo>
                  <a:pt x="3262613" y="2384042"/>
                </a:moveTo>
                <a:lnTo>
                  <a:pt x="3261513" y="2392772"/>
                </a:lnTo>
                <a:lnTo>
                  <a:pt x="3260710" y="2395939"/>
                </a:lnTo>
                <a:lnTo>
                  <a:pt x="3261512" y="2392792"/>
                </a:lnTo>
                <a:close/>
                <a:moveTo>
                  <a:pt x="3266139" y="2379468"/>
                </a:moveTo>
                <a:lnTo>
                  <a:pt x="3264575" y="2380504"/>
                </a:lnTo>
                <a:lnTo>
                  <a:pt x="3262787" y="2383256"/>
                </a:lnTo>
                <a:lnTo>
                  <a:pt x="3264574" y="2380524"/>
                </a:lnTo>
                <a:close/>
                <a:moveTo>
                  <a:pt x="1897909" y="2365280"/>
                </a:moveTo>
                <a:lnTo>
                  <a:pt x="1901625" y="2369946"/>
                </a:lnTo>
                <a:lnTo>
                  <a:pt x="1901647" y="2374803"/>
                </a:lnTo>
                <a:lnTo>
                  <a:pt x="1896347" y="2382086"/>
                </a:lnTo>
                <a:lnTo>
                  <a:pt x="1890224" y="2386416"/>
                </a:lnTo>
                <a:lnTo>
                  <a:pt x="1888028" y="2385296"/>
                </a:lnTo>
                <a:lnTo>
                  <a:pt x="1886676" y="2382277"/>
                </a:lnTo>
                <a:lnTo>
                  <a:pt x="1884966" y="2375773"/>
                </a:lnTo>
                <a:lnTo>
                  <a:pt x="1885515" y="2372649"/>
                </a:lnTo>
                <a:lnTo>
                  <a:pt x="1888281" y="2369080"/>
                </a:lnTo>
                <a:lnTo>
                  <a:pt x="1894299" y="2365533"/>
                </a:lnTo>
                <a:close/>
                <a:moveTo>
                  <a:pt x="3275531" y="2359688"/>
                </a:moveTo>
                <a:lnTo>
                  <a:pt x="3272640" y="2364436"/>
                </a:lnTo>
                <a:lnTo>
                  <a:pt x="3275532" y="2359706"/>
                </a:lnTo>
                <a:close/>
                <a:moveTo>
                  <a:pt x="2352121" y="2326375"/>
                </a:moveTo>
                <a:lnTo>
                  <a:pt x="2354196" y="2329787"/>
                </a:lnTo>
                <a:lnTo>
                  <a:pt x="2356773" y="2335889"/>
                </a:lnTo>
                <a:lnTo>
                  <a:pt x="2357320" y="2338984"/>
                </a:lnTo>
                <a:lnTo>
                  <a:pt x="2357322" y="2338971"/>
                </a:lnTo>
                <a:lnTo>
                  <a:pt x="2356773" y="2335888"/>
                </a:lnTo>
                <a:lnTo>
                  <a:pt x="2354196" y="2329786"/>
                </a:lnTo>
                <a:close/>
                <a:moveTo>
                  <a:pt x="3293338" y="2324679"/>
                </a:moveTo>
                <a:lnTo>
                  <a:pt x="3290250" y="2331624"/>
                </a:lnTo>
                <a:lnTo>
                  <a:pt x="3282865" y="2337609"/>
                </a:lnTo>
                <a:lnTo>
                  <a:pt x="3290250" y="2331644"/>
                </a:lnTo>
                <a:close/>
                <a:moveTo>
                  <a:pt x="3307323" y="2316074"/>
                </a:moveTo>
                <a:lnTo>
                  <a:pt x="3298443" y="2319081"/>
                </a:lnTo>
                <a:lnTo>
                  <a:pt x="3293858" y="2323767"/>
                </a:lnTo>
                <a:lnTo>
                  <a:pt x="3298442" y="2319102"/>
                </a:lnTo>
                <a:close/>
                <a:moveTo>
                  <a:pt x="2342129" y="2308258"/>
                </a:moveTo>
                <a:lnTo>
                  <a:pt x="2345497" y="2310974"/>
                </a:lnTo>
                <a:lnTo>
                  <a:pt x="2349255" y="2322904"/>
                </a:lnTo>
                <a:lnTo>
                  <a:pt x="2351098" y="2324704"/>
                </a:lnTo>
                <a:lnTo>
                  <a:pt x="2349255" y="2322882"/>
                </a:lnTo>
                <a:lnTo>
                  <a:pt x="2345497" y="2310952"/>
                </a:lnTo>
                <a:close/>
                <a:moveTo>
                  <a:pt x="3929485" y="2305369"/>
                </a:moveTo>
                <a:lnTo>
                  <a:pt x="3929495" y="2307700"/>
                </a:lnTo>
                <a:lnTo>
                  <a:pt x="3929503" y="2309905"/>
                </a:lnTo>
                <a:lnTo>
                  <a:pt x="3929495" y="2307679"/>
                </a:lnTo>
                <a:close/>
                <a:moveTo>
                  <a:pt x="2322482" y="2305272"/>
                </a:moveTo>
                <a:lnTo>
                  <a:pt x="2314776" y="2307426"/>
                </a:lnTo>
                <a:lnTo>
                  <a:pt x="2303057" y="2311437"/>
                </a:lnTo>
                <a:lnTo>
                  <a:pt x="2294105" y="2314204"/>
                </a:lnTo>
                <a:lnTo>
                  <a:pt x="2288276" y="2315787"/>
                </a:lnTo>
                <a:lnTo>
                  <a:pt x="2284856" y="2315364"/>
                </a:lnTo>
                <a:lnTo>
                  <a:pt x="2283294" y="2313529"/>
                </a:lnTo>
                <a:lnTo>
                  <a:pt x="2284856" y="2315365"/>
                </a:lnTo>
                <a:lnTo>
                  <a:pt x="2288277" y="2315788"/>
                </a:lnTo>
                <a:lnTo>
                  <a:pt x="2294105" y="2314205"/>
                </a:lnTo>
                <a:lnTo>
                  <a:pt x="2303057" y="2311438"/>
                </a:lnTo>
                <a:lnTo>
                  <a:pt x="2314776" y="2307427"/>
                </a:lnTo>
                <a:lnTo>
                  <a:pt x="2322482" y="2305273"/>
                </a:lnTo>
                <a:lnTo>
                  <a:pt x="2335215" y="2306645"/>
                </a:lnTo>
                <a:lnTo>
                  <a:pt x="2341949" y="2308150"/>
                </a:lnTo>
                <a:lnTo>
                  <a:pt x="2335215" y="2306623"/>
                </a:lnTo>
                <a:close/>
                <a:moveTo>
                  <a:pt x="2569155" y="2304791"/>
                </a:moveTo>
                <a:lnTo>
                  <a:pt x="2569037" y="2305082"/>
                </a:lnTo>
                <a:lnTo>
                  <a:pt x="2568753" y="2305870"/>
                </a:lnTo>
                <a:lnTo>
                  <a:pt x="2569037" y="2305083"/>
                </a:lnTo>
                <a:close/>
                <a:moveTo>
                  <a:pt x="2281689" y="2291695"/>
                </a:moveTo>
                <a:lnTo>
                  <a:pt x="2281689" y="2291696"/>
                </a:lnTo>
                <a:lnTo>
                  <a:pt x="2282977" y="2298411"/>
                </a:lnTo>
                <a:lnTo>
                  <a:pt x="2285236" y="2303162"/>
                </a:lnTo>
                <a:lnTo>
                  <a:pt x="2286693" y="2308355"/>
                </a:lnTo>
                <a:lnTo>
                  <a:pt x="2285236" y="2303161"/>
                </a:lnTo>
                <a:lnTo>
                  <a:pt x="2282977" y="2298389"/>
                </a:lnTo>
                <a:close/>
                <a:moveTo>
                  <a:pt x="1941089" y="2288676"/>
                </a:moveTo>
                <a:lnTo>
                  <a:pt x="1942419" y="2289626"/>
                </a:lnTo>
                <a:lnTo>
                  <a:pt x="1943221" y="2290893"/>
                </a:lnTo>
                <a:lnTo>
                  <a:pt x="1943327" y="2292708"/>
                </a:lnTo>
                <a:lnTo>
                  <a:pt x="1941617" y="2296467"/>
                </a:lnTo>
                <a:lnTo>
                  <a:pt x="1939421" y="2298008"/>
                </a:lnTo>
                <a:lnTo>
                  <a:pt x="1936803" y="2296700"/>
                </a:lnTo>
                <a:lnTo>
                  <a:pt x="1936106" y="2294356"/>
                </a:lnTo>
                <a:lnTo>
                  <a:pt x="1939484" y="2289795"/>
                </a:lnTo>
                <a:close/>
                <a:moveTo>
                  <a:pt x="2415301" y="2273410"/>
                </a:moveTo>
                <a:lnTo>
                  <a:pt x="2415270" y="2273415"/>
                </a:lnTo>
                <a:lnTo>
                  <a:pt x="2415302" y="2273410"/>
                </a:lnTo>
                <a:close/>
                <a:moveTo>
                  <a:pt x="2454554" y="2264542"/>
                </a:moveTo>
                <a:lnTo>
                  <a:pt x="2453941" y="2269567"/>
                </a:lnTo>
                <a:lnTo>
                  <a:pt x="2455019" y="2275712"/>
                </a:lnTo>
                <a:lnTo>
                  <a:pt x="2457805" y="2282954"/>
                </a:lnTo>
                <a:lnTo>
                  <a:pt x="2457868" y="2287198"/>
                </a:lnTo>
                <a:lnTo>
                  <a:pt x="2456898" y="2287789"/>
                </a:lnTo>
                <a:lnTo>
                  <a:pt x="2457869" y="2287198"/>
                </a:lnTo>
                <a:lnTo>
                  <a:pt x="2457806" y="2282954"/>
                </a:lnTo>
                <a:lnTo>
                  <a:pt x="2455019" y="2275712"/>
                </a:lnTo>
                <a:lnTo>
                  <a:pt x="2453942" y="2269567"/>
                </a:lnTo>
                <a:close/>
                <a:moveTo>
                  <a:pt x="3354919" y="2262214"/>
                </a:moveTo>
                <a:lnTo>
                  <a:pt x="3353847" y="2265619"/>
                </a:lnTo>
                <a:lnTo>
                  <a:pt x="3353774" y="2266631"/>
                </a:lnTo>
                <a:lnTo>
                  <a:pt x="3353846" y="2265640"/>
                </a:lnTo>
                <a:lnTo>
                  <a:pt x="3354924" y="2262219"/>
                </a:lnTo>
                <a:close/>
                <a:moveTo>
                  <a:pt x="3350025" y="2257110"/>
                </a:moveTo>
                <a:lnTo>
                  <a:pt x="3352685" y="2259538"/>
                </a:lnTo>
                <a:lnTo>
                  <a:pt x="3352780" y="2259651"/>
                </a:lnTo>
                <a:lnTo>
                  <a:pt x="3352685" y="2259538"/>
                </a:lnTo>
                <a:close/>
                <a:moveTo>
                  <a:pt x="2279788" y="2255505"/>
                </a:moveTo>
                <a:lnTo>
                  <a:pt x="2264185" y="2256244"/>
                </a:lnTo>
                <a:lnTo>
                  <a:pt x="2252820" y="2255683"/>
                </a:lnTo>
                <a:lnTo>
                  <a:pt x="2264185" y="2256245"/>
                </a:lnTo>
                <a:lnTo>
                  <a:pt x="2279788" y="2255506"/>
                </a:lnTo>
                <a:lnTo>
                  <a:pt x="2285088" y="2255675"/>
                </a:lnTo>
                <a:lnTo>
                  <a:pt x="2288024" y="2257596"/>
                </a:lnTo>
                <a:lnTo>
                  <a:pt x="2289285" y="2260889"/>
                </a:lnTo>
                <a:lnTo>
                  <a:pt x="2288023" y="2257575"/>
                </a:lnTo>
                <a:lnTo>
                  <a:pt x="2285088" y="2255674"/>
                </a:lnTo>
                <a:close/>
                <a:moveTo>
                  <a:pt x="3349067" y="2254847"/>
                </a:moveTo>
                <a:lnTo>
                  <a:pt x="3349117" y="2254872"/>
                </a:lnTo>
                <a:lnTo>
                  <a:pt x="3349117" y="2254871"/>
                </a:lnTo>
                <a:close/>
                <a:moveTo>
                  <a:pt x="2219063" y="2253858"/>
                </a:moveTo>
                <a:lnTo>
                  <a:pt x="2209203" y="2253985"/>
                </a:lnTo>
                <a:lnTo>
                  <a:pt x="2219063" y="2253859"/>
                </a:lnTo>
                <a:lnTo>
                  <a:pt x="2221686" y="2254036"/>
                </a:lnTo>
                <a:close/>
                <a:moveTo>
                  <a:pt x="3322598" y="2243893"/>
                </a:moveTo>
                <a:lnTo>
                  <a:pt x="3328615" y="2247166"/>
                </a:lnTo>
                <a:lnTo>
                  <a:pt x="3336428" y="2246997"/>
                </a:lnTo>
                <a:lnTo>
                  <a:pt x="3336447" y="2247012"/>
                </a:lnTo>
                <a:lnTo>
                  <a:pt x="3336428" y="2246997"/>
                </a:lnTo>
                <a:lnTo>
                  <a:pt x="3336428" y="2246997"/>
                </a:lnTo>
                <a:lnTo>
                  <a:pt x="3336427" y="2246996"/>
                </a:lnTo>
                <a:lnTo>
                  <a:pt x="3328615" y="2247165"/>
                </a:lnTo>
                <a:close/>
                <a:moveTo>
                  <a:pt x="2583614" y="2241292"/>
                </a:moveTo>
                <a:lnTo>
                  <a:pt x="2580862" y="2246320"/>
                </a:lnTo>
                <a:lnTo>
                  <a:pt x="2580553" y="2247208"/>
                </a:lnTo>
                <a:lnTo>
                  <a:pt x="2580862" y="2246321"/>
                </a:lnTo>
                <a:close/>
                <a:moveTo>
                  <a:pt x="2455462" y="2235384"/>
                </a:moveTo>
                <a:lnTo>
                  <a:pt x="2456137" y="2242836"/>
                </a:lnTo>
                <a:lnTo>
                  <a:pt x="2457868" y="2249318"/>
                </a:lnTo>
                <a:lnTo>
                  <a:pt x="2460677" y="2254872"/>
                </a:lnTo>
                <a:lnTo>
                  <a:pt x="2460635" y="2255337"/>
                </a:lnTo>
                <a:lnTo>
                  <a:pt x="2460276" y="2258736"/>
                </a:lnTo>
                <a:lnTo>
                  <a:pt x="2456665" y="2260911"/>
                </a:lnTo>
                <a:lnTo>
                  <a:pt x="2460276" y="2258736"/>
                </a:lnTo>
                <a:lnTo>
                  <a:pt x="2460636" y="2255336"/>
                </a:lnTo>
                <a:lnTo>
                  <a:pt x="2460678" y="2254871"/>
                </a:lnTo>
                <a:lnTo>
                  <a:pt x="2464732" y="2246785"/>
                </a:lnTo>
                <a:lnTo>
                  <a:pt x="2460678" y="2254851"/>
                </a:lnTo>
                <a:lnTo>
                  <a:pt x="2457869" y="2249318"/>
                </a:lnTo>
                <a:lnTo>
                  <a:pt x="2456138" y="2242836"/>
                </a:lnTo>
                <a:close/>
                <a:moveTo>
                  <a:pt x="3564700" y="2234133"/>
                </a:moveTo>
                <a:lnTo>
                  <a:pt x="3564718" y="2234180"/>
                </a:lnTo>
                <a:lnTo>
                  <a:pt x="3566619" y="2235594"/>
                </a:lnTo>
                <a:lnTo>
                  <a:pt x="3567688" y="2235924"/>
                </a:lnTo>
                <a:lnTo>
                  <a:pt x="3567653" y="2235826"/>
                </a:lnTo>
                <a:lnTo>
                  <a:pt x="3566492" y="2235467"/>
                </a:lnTo>
                <a:close/>
                <a:moveTo>
                  <a:pt x="2454765" y="2231202"/>
                </a:moveTo>
                <a:lnTo>
                  <a:pt x="2455842" y="2233398"/>
                </a:lnTo>
                <a:lnTo>
                  <a:pt x="2455524" y="2235063"/>
                </a:lnTo>
                <a:lnTo>
                  <a:pt x="2455842" y="2233398"/>
                </a:lnTo>
                <a:close/>
                <a:moveTo>
                  <a:pt x="2477566" y="2221600"/>
                </a:moveTo>
                <a:lnTo>
                  <a:pt x="2473579" y="2229344"/>
                </a:lnTo>
                <a:lnTo>
                  <a:pt x="2477569" y="2221616"/>
                </a:lnTo>
                <a:close/>
                <a:moveTo>
                  <a:pt x="3329754" y="2218869"/>
                </a:moveTo>
                <a:lnTo>
                  <a:pt x="3329586" y="2220687"/>
                </a:lnTo>
                <a:lnTo>
                  <a:pt x="3325572" y="2229515"/>
                </a:lnTo>
                <a:lnTo>
                  <a:pt x="3329586" y="2220708"/>
                </a:lnTo>
                <a:close/>
                <a:moveTo>
                  <a:pt x="3551341" y="2216070"/>
                </a:moveTo>
                <a:lnTo>
                  <a:pt x="3551352" y="2216105"/>
                </a:lnTo>
                <a:lnTo>
                  <a:pt x="3559224" y="2220970"/>
                </a:lnTo>
                <a:lnTo>
                  <a:pt x="3559165" y="2220898"/>
                </a:lnTo>
                <a:close/>
                <a:moveTo>
                  <a:pt x="2478265" y="2205639"/>
                </a:moveTo>
                <a:lnTo>
                  <a:pt x="2477442" y="2212030"/>
                </a:lnTo>
                <a:lnTo>
                  <a:pt x="2477042" y="2217752"/>
                </a:lnTo>
                <a:lnTo>
                  <a:pt x="2477042" y="2217755"/>
                </a:lnTo>
                <a:lnTo>
                  <a:pt x="2477442" y="2212030"/>
                </a:lnTo>
                <a:lnTo>
                  <a:pt x="2478266" y="2205653"/>
                </a:lnTo>
                <a:close/>
                <a:moveTo>
                  <a:pt x="2436480" y="2204091"/>
                </a:moveTo>
                <a:lnTo>
                  <a:pt x="2440893" y="2205548"/>
                </a:lnTo>
                <a:lnTo>
                  <a:pt x="2444166" y="2205971"/>
                </a:lnTo>
                <a:lnTo>
                  <a:pt x="2445580" y="2207153"/>
                </a:lnTo>
                <a:lnTo>
                  <a:pt x="2447311" y="2209940"/>
                </a:lnTo>
                <a:lnTo>
                  <a:pt x="2450289" y="2213022"/>
                </a:lnTo>
                <a:lnTo>
                  <a:pt x="2453582" y="2217056"/>
                </a:lnTo>
                <a:lnTo>
                  <a:pt x="2454702" y="2221152"/>
                </a:lnTo>
                <a:lnTo>
                  <a:pt x="2453583" y="2217056"/>
                </a:lnTo>
                <a:lnTo>
                  <a:pt x="2450289" y="2213022"/>
                </a:lnTo>
                <a:lnTo>
                  <a:pt x="2447312" y="2209940"/>
                </a:lnTo>
                <a:lnTo>
                  <a:pt x="2445580" y="2207153"/>
                </a:lnTo>
                <a:lnTo>
                  <a:pt x="2444166" y="2205970"/>
                </a:lnTo>
                <a:lnTo>
                  <a:pt x="2440893" y="2205527"/>
                </a:lnTo>
                <a:close/>
                <a:moveTo>
                  <a:pt x="3325534" y="2202252"/>
                </a:moveTo>
                <a:lnTo>
                  <a:pt x="3324096" y="2209159"/>
                </a:lnTo>
                <a:lnTo>
                  <a:pt x="3324100" y="2209163"/>
                </a:lnTo>
                <a:close/>
                <a:moveTo>
                  <a:pt x="3542987" y="2201936"/>
                </a:moveTo>
                <a:lnTo>
                  <a:pt x="3542991" y="2201958"/>
                </a:lnTo>
                <a:lnTo>
                  <a:pt x="3547287" y="2204454"/>
                </a:lnTo>
                <a:lnTo>
                  <a:pt x="3547278" y="2204429"/>
                </a:lnTo>
                <a:close/>
                <a:moveTo>
                  <a:pt x="3952205" y="2198695"/>
                </a:moveTo>
                <a:lnTo>
                  <a:pt x="3951517" y="2199678"/>
                </a:lnTo>
                <a:lnTo>
                  <a:pt x="3939271" y="2211798"/>
                </a:lnTo>
                <a:lnTo>
                  <a:pt x="3934621" y="2216416"/>
                </a:lnTo>
                <a:lnTo>
                  <a:pt x="3939271" y="2211819"/>
                </a:lnTo>
                <a:lnTo>
                  <a:pt x="3951518" y="2199678"/>
                </a:lnTo>
                <a:close/>
                <a:moveTo>
                  <a:pt x="2605186" y="2193639"/>
                </a:moveTo>
                <a:lnTo>
                  <a:pt x="2600752" y="2206498"/>
                </a:lnTo>
                <a:lnTo>
                  <a:pt x="2599897" y="2208965"/>
                </a:lnTo>
                <a:lnTo>
                  <a:pt x="2600752" y="2206499"/>
                </a:lnTo>
                <a:close/>
                <a:moveTo>
                  <a:pt x="2576410" y="2180521"/>
                </a:moveTo>
                <a:lnTo>
                  <a:pt x="2577863" y="2182026"/>
                </a:lnTo>
                <a:lnTo>
                  <a:pt x="2577864" y="2182026"/>
                </a:lnTo>
                <a:close/>
                <a:moveTo>
                  <a:pt x="3321724" y="2173766"/>
                </a:moveTo>
                <a:lnTo>
                  <a:pt x="3324287" y="2174658"/>
                </a:lnTo>
                <a:lnTo>
                  <a:pt x="3326651" y="2177678"/>
                </a:lnTo>
                <a:lnTo>
                  <a:pt x="3327833" y="2180021"/>
                </a:lnTo>
                <a:lnTo>
                  <a:pt x="3329122" y="2182554"/>
                </a:lnTo>
                <a:lnTo>
                  <a:pt x="3327833" y="2180020"/>
                </a:lnTo>
                <a:lnTo>
                  <a:pt x="3326651" y="2177677"/>
                </a:lnTo>
                <a:lnTo>
                  <a:pt x="3324287" y="2174657"/>
                </a:lnTo>
                <a:close/>
                <a:moveTo>
                  <a:pt x="3391434" y="2169856"/>
                </a:moveTo>
                <a:lnTo>
                  <a:pt x="3394492" y="2175650"/>
                </a:lnTo>
                <a:lnTo>
                  <a:pt x="3400805" y="2178374"/>
                </a:lnTo>
                <a:lnTo>
                  <a:pt x="3403825" y="2180295"/>
                </a:lnTo>
                <a:lnTo>
                  <a:pt x="3406000" y="2180844"/>
                </a:lnTo>
                <a:lnTo>
                  <a:pt x="3407204" y="2180358"/>
                </a:lnTo>
                <a:lnTo>
                  <a:pt x="3409589" y="2175629"/>
                </a:lnTo>
                <a:lnTo>
                  <a:pt x="3412372" y="2173150"/>
                </a:lnTo>
                <a:lnTo>
                  <a:pt x="3409590" y="2175607"/>
                </a:lnTo>
                <a:lnTo>
                  <a:pt x="3407204" y="2180337"/>
                </a:lnTo>
                <a:lnTo>
                  <a:pt x="3406000" y="2180823"/>
                </a:lnTo>
                <a:lnTo>
                  <a:pt x="3403825" y="2180274"/>
                </a:lnTo>
                <a:lnTo>
                  <a:pt x="3400806" y="2178374"/>
                </a:lnTo>
                <a:lnTo>
                  <a:pt x="3394492" y="2175629"/>
                </a:lnTo>
                <a:close/>
                <a:moveTo>
                  <a:pt x="3532128" y="2168073"/>
                </a:moveTo>
                <a:lnTo>
                  <a:pt x="3532286" y="2168196"/>
                </a:lnTo>
                <a:lnTo>
                  <a:pt x="3539692" y="2170651"/>
                </a:lnTo>
                <a:lnTo>
                  <a:pt x="3539571" y="2170540"/>
                </a:lnTo>
                <a:close/>
                <a:moveTo>
                  <a:pt x="2019340" y="2166697"/>
                </a:moveTo>
                <a:lnTo>
                  <a:pt x="2020796" y="2166929"/>
                </a:lnTo>
                <a:lnTo>
                  <a:pt x="2029664" y="2166697"/>
                </a:lnTo>
                <a:lnTo>
                  <a:pt x="2032071" y="2169844"/>
                </a:lnTo>
                <a:lnTo>
                  <a:pt x="2031797" y="2174447"/>
                </a:lnTo>
                <a:lnTo>
                  <a:pt x="2022675" y="2187897"/>
                </a:lnTo>
                <a:lnTo>
                  <a:pt x="2020965" y="2193576"/>
                </a:lnTo>
                <a:lnTo>
                  <a:pt x="2017439" y="2198390"/>
                </a:lnTo>
                <a:lnTo>
                  <a:pt x="2014378" y="2198770"/>
                </a:lnTo>
                <a:lnTo>
                  <a:pt x="2003863" y="2195941"/>
                </a:lnTo>
                <a:lnTo>
                  <a:pt x="2002089" y="2194231"/>
                </a:lnTo>
                <a:lnTo>
                  <a:pt x="2001456" y="2191929"/>
                </a:lnTo>
                <a:lnTo>
                  <a:pt x="2002490" y="2186566"/>
                </a:lnTo>
                <a:lnTo>
                  <a:pt x="2003271" y="2184940"/>
                </a:lnTo>
                <a:lnTo>
                  <a:pt x="2008318" y="2183926"/>
                </a:lnTo>
                <a:lnTo>
                  <a:pt x="2009943" y="2183040"/>
                </a:lnTo>
                <a:lnTo>
                  <a:pt x="2012646" y="2177275"/>
                </a:lnTo>
                <a:lnTo>
                  <a:pt x="2013533" y="2171997"/>
                </a:lnTo>
                <a:lnTo>
                  <a:pt x="2015793" y="2168007"/>
                </a:lnTo>
                <a:close/>
                <a:moveTo>
                  <a:pt x="3438052" y="2166401"/>
                </a:moveTo>
                <a:lnTo>
                  <a:pt x="3429627" y="2167183"/>
                </a:lnTo>
                <a:lnTo>
                  <a:pt x="3418304" y="2169695"/>
                </a:lnTo>
                <a:lnTo>
                  <a:pt x="3429627" y="2167204"/>
                </a:lnTo>
                <a:close/>
                <a:moveTo>
                  <a:pt x="3347702" y="2165072"/>
                </a:moveTo>
                <a:lnTo>
                  <a:pt x="3341516" y="2168661"/>
                </a:lnTo>
                <a:lnTo>
                  <a:pt x="3334790" y="2173831"/>
                </a:lnTo>
                <a:lnTo>
                  <a:pt x="3341516" y="2168682"/>
                </a:lnTo>
                <a:close/>
                <a:moveTo>
                  <a:pt x="3351841" y="2165050"/>
                </a:moveTo>
                <a:lnTo>
                  <a:pt x="3359865" y="2167942"/>
                </a:lnTo>
                <a:lnTo>
                  <a:pt x="3367127" y="2171300"/>
                </a:lnTo>
                <a:lnTo>
                  <a:pt x="3371098" y="2171469"/>
                </a:lnTo>
                <a:lnTo>
                  <a:pt x="3367128" y="2171300"/>
                </a:lnTo>
                <a:lnTo>
                  <a:pt x="3359865" y="2167922"/>
                </a:lnTo>
                <a:close/>
                <a:moveTo>
                  <a:pt x="3311238" y="2164987"/>
                </a:moveTo>
                <a:lnTo>
                  <a:pt x="3312230" y="2168809"/>
                </a:lnTo>
                <a:lnTo>
                  <a:pt x="3312568" y="2172948"/>
                </a:lnTo>
                <a:lnTo>
                  <a:pt x="3314194" y="2174658"/>
                </a:lnTo>
                <a:lnTo>
                  <a:pt x="3317805" y="2174066"/>
                </a:lnTo>
                <a:lnTo>
                  <a:pt x="3320887" y="2173475"/>
                </a:lnTo>
                <a:lnTo>
                  <a:pt x="3317804" y="2174066"/>
                </a:lnTo>
                <a:lnTo>
                  <a:pt x="3314193" y="2174657"/>
                </a:lnTo>
                <a:lnTo>
                  <a:pt x="3312568" y="2172947"/>
                </a:lnTo>
                <a:lnTo>
                  <a:pt x="3312230" y="2168809"/>
                </a:lnTo>
                <a:close/>
                <a:moveTo>
                  <a:pt x="3385962" y="2164058"/>
                </a:moveTo>
                <a:lnTo>
                  <a:pt x="3376591" y="2169693"/>
                </a:lnTo>
                <a:lnTo>
                  <a:pt x="3385962" y="2164079"/>
                </a:lnTo>
                <a:lnTo>
                  <a:pt x="3388390" y="2165979"/>
                </a:lnTo>
                <a:close/>
                <a:moveTo>
                  <a:pt x="3526230" y="2163458"/>
                </a:moveTo>
                <a:lnTo>
                  <a:pt x="3526227" y="2163466"/>
                </a:lnTo>
                <a:lnTo>
                  <a:pt x="3530225" y="2166587"/>
                </a:lnTo>
                <a:close/>
                <a:moveTo>
                  <a:pt x="3457034" y="2159455"/>
                </a:moveTo>
                <a:lnTo>
                  <a:pt x="3447596" y="2164311"/>
                </a:lnTo>
                <a:lnTo>
                  <a:pt x="3441620" y="2165852"/>
                </a:lnTo>
                <a:lnTo>
                  <a:pt x="3447596" y="2164332"/>
                </a:lnTo>
                <a:lnTo>
                  <a:pt x="3457034" y="2159476"/>
                </a:lnTo>
                <a:lnTo>
                  <a:pt x="3466324" y="2165725"/>
                </a:lnTo>
                <a:lnTo>
                  <a:pt x="3476417" y="2166929"/>
                </a:lnTo>
                <a:lnTo>
                  <a:pt x="3466325" y="2165725"/>
                </a:lnTo>
                <a:close/>
                <a:moveTo>
                  <a:pt x="3524247" y="2158868"/>
                </a:moveTo>
                <a:lnTo>
                  <a:pt x="3524284" y="2158948"/>
                </a:lnTo>
                <a:lnTo>
                  <a:pt x="3527283" y="2160041"/>
                </a:lnTo>
                <a:lnTo>
                  <a:pt x="3527303" y="2159962"/>
                </a:lnTo>
                <a:close/>
                <a:moveTo>
                  <a:pt x="2394230" y="2155485"/>
                </a:moveTo>
                <a:lnTo>
                  <a:pt x="2398178" y="2162622"/>
                </a:lnTo>
                <a:lnTo>
                  <a:pt x="2404765" y="2170034"/>
                </a:lnTo>
                <a:lnTo>
                  <a:pt x="2411902" y="2178036"/>
                </a:lnTo>
                <a:lnTo>
                  <a:pt x="2417709" y="2184581"/>
                </a:lnTo>
                <a:lnTo>
                  <a:pt x="2424972" y="2192119"/>
                </a:lnTo>
                <a:lnTo>
                  <a:pt x="2430631" y="2198031"/>
                </a:lnTo>
                <a:lnTo>
                  <a:pt x="2424973" y="2192119"/>
                </a:lnTo>
                <a:lnTo>
                  <a:pt x="2417709" y="2184560"/>
                </a:lnTo>
                <a:lnTo>
                  <a:pt x="2411902" y="2178036"/>
                </a:lnTo>
                <a:lnTo>
                  <a:pt x="2404766" y="2170034"/>
                </a:lnTo>
                <a:lnTo>
                  <a:pt x="2398179" y="2162622"/>
                </a:lnTo>
                <a:close/>
                <a:moveTo>
                  <a:pt x="3983729" y="2153561"/>
                </a:moveTo>
                <a:lnTo>
                  <a:pt x="3983655" y="2153690"/>
                </a:lnTo>
                <a:lnTo>
                  <a:pt x="3983605" y="2153690"/>
                </a:lnTo>
                <a:lnTo>
                  <a:pt x="3983654" y="2153691"/>
                </a:lnTo>
                <a:lnTo>
                  <a:pt x="3983470" y="2153954"/>
                </a:lnTo>
                <a:lnTo>
                  <a:pt x="3983655" y="2153691"/>
                </a:lnTo>
                <a:close/>
                <a:moveTo>
                  <a:pt x="2397853" y="2150623"/>
                </a:moveTo>
                <a:lnTo>
                  <a:pt x="2397396" y="2150903"/>
                </a:lnTo>
                <a:lnTo>
                  <a:pt x="2394546" y="2150988"/>
                </a:lnTo>
                <a:lnTo>
                  <a:pt x="2397397" y="2150903"/>
                </a:lnTo>
                <a:close/>
                <a:moveTo>
                  <a:pt x="3923546" y="2140959"/>
                </a:moveTo>
                <a:lnTo>
                  <a:pt x="3932282" y="2148792"/>
                </a:lnTo>
                <a:lnTo>
                  <a:pt x="3936210" y="2152677"/>
                </a:lnTo>
                <a:lnTo>
                  <a:pt x="3936299" y="2152725"/>
                </a:lnTo>
                <a:lnTo>
                  <a:pt x="3932493" y="2148960"/>
                </a:lnTo>
                <a:lnTo>
                  <a:pt x="3923710" y="2141085"/>
                </a:lnTo>
                <a:close/>
                <a:moveTo>
                  <a:pt x="4010980" y="2139826"/>
                </a:moveTo>
                <a:lnTo>
                  <a:pt x="4004051" y="2140409"/>
                </a:lnTo>
                <a:lnTo>
                  <a:pt x="3991952" y="2144189"/>
                </a:lnTo>
                <a:lnTo>
                  <a:pt x="4004051" y="2140410"/>
                </a:lnTo>
                <a:close/>
                <a:moveTo>
                  <a:pt x="3514955" y="2139372"/>
                </a:moveTo>
                <a:lnTo>
                  <a:pt x="3501142" y="2153247"/>
                </a:lnTo>
                <a:lnTo>
                  <a:pt x="3490881" y="2163530"/>
                </a:lnTo>
                <a:lnTo>
                  <a:pt x="3489170" y="2164987"/>
                </a:lnTo>
                <a:lnTo>
                  <a:pt x="3490880" y="2163551"/>
                </a:lnTo>
                <a:lnTo>
                  <a:pt x="3501142" y="2153247"/>
                </a:lnTo>
                <a:lnTo>
                  <a:pt x="3514962" y="2139386"/>
                </a:lnTo>
                <a:close/>
                <a:moveTo>
                  <a:pt x="3917333" y="2136165"/>
                </a:moveTo>
                <a:lnTo>
                  <a:pt x="3917320" y="2136170"/>
                </a:lnTo>
                <a:lnTo>
                  <a:pt x="3921756" y="2139578"/>
                </a:lnTo>
                <a:close/>
                <a:moveTo>
                  <a:pt x="2786814" y="2135659"/>
                </a:moveTo>
                <a:lnTo>
                  <a:pt x="2777967" y="2137834"/>
                </a:lnTo>
                <a:lnTo>
                  <a:pt x="2786814" y="2135680"/>
                </a:lnTo>
                <a:lnTo>
                  <a:pt x="2799926" y="2137306"/>
                </a:lnTo>
                <a:lnTo>
                  <a:pt x="2830373" y="2144358"/>
                </a:lnTo>
                <a:lnTo>
                  <a:pt x="2799927" y="2137305"/>
                </a:lnTo>
                <a:close/>
                <a:moveTo>
                  <a:pt x="2394335" y="2135448"/>
                </a:moveTo>
                <a:lnTo>
                  <a:pt x="2395728" y="2142627"/>
                </a:lnTo>
                <a:lnTo>
                  <a:pt x="2398663" y="2148263"/>
                </a:lnTo>
                <a:lnTo>
                  <a:pt x="2398664" y="2148243"/>
                </a:lnTo>
                <a:lnTo>
                  <a:pt x="2395729" y="2142627"/>
                </a:lnTo>
                <a:close/>
                <a:moveTo>
                  <a:pt x="3271732" y="2132956"/>
                </a:moveTo>
                <a:lnTo>
                  <a:pt x="3275512" y="2136440"/>
                </a:lnTo>
                <a:lnTo>
                  <a:pt x="3280685" y="2141825"/>
                </a:lnTo>
                <a:lnTo>
                  <a:pt x="3290968" y="2153437"/>
                </a:lnTo>
                <a:lnTo>
                  <a:pt x="3304355" y="2159244"/>
                </a:lnTo>
                <a:lnTo>
                  <a:pt x="3309548" y="2162116"/>
                </a:lnTo>
                <a:lnTo>
                  <a:pt x="3309548" y="2162115"/>
                </a:lnTo>
                <a:lnTo>
                  <a:pt x="3304355" y="2159243"/>
                </a:lnTo>
                <a:lnTo>
                  <a:pt x="3290968" y="2153437"/>
                </a:lnTo>
                <a:lnTo>
                  <a:pt x="3280685" y="2141824"/>
                </a:lnTo>
                <a:lnTo>
                  <a:pt x="3275512" y="2136439"/>
                </a:lnTo>
                <a:close/>
                <a:moveTo>
                  <a:pt x="2733837" y="2125819"/>
                </a:moveTo>
                <a:lnTo>
                  <a:pt x="2725202" y="2126516"/>
                </a:lnTo>
                <a:lnTo>
                  <a:pt x="2733837" y="2125820"/>
                </a:lnTo>
                <a:lnTo>
                  <a:pt x="2743486" y="2127847"/>
                </a:lnTo>
                <a:lnTo>
                  <a:pt x="2753537" y="2132661"/>
                </a:lnTo>
                <a:lnTo>
                  <a:pt x="2759723" y="2134435"/>
                </a:lnTo>
                <a:lnTo>
                  <a:pt x="2760750" y="2133873"/>
                </a:lnTo>
                <a:lnTo>
                  <a:pt x="2759724" y="2134434"/>
                </a:lnTo>
                <a:lnTo>
                  <a:pt x="2753537" y="2132660"/>
                </a:lnTo>
                <a:lnTo>
                  <a:pt x="2743487" y="2127846"/>
                </a:lnTo>
                <a:close/>
                <a:moveTo>
                  <a:pt x="3203996" y="2122399"/>
                </a:moveTo>
                <a:lnTo>
                  <a:pt x="3198802" y="2125397"/>
                </a:lnTo>
                <a:lnTo>
                  <a:pt x="3192004" y="2130232"/>
                </a:lnTo>
                <a:lnTo>
                  <a:pt x="3186239" y="2133125"/>
                </a:lnTo>
                <a:lnTo>
                  <a:pt x="3192004" y="2130233"/>
                </a:lnTo>
                <a:lnTo>
                  <a:pt x="3198803" y="2125397"/>
                </a:lnTo>
                <a:lnTo>
                  <a:pt x="3203996" y="2122399"/>
                </a:lnTo>
                <a:lnTo>
                  <a:pt x="3216560" y="2123476"/>
                </a:lnTo>
                <a:lnTo>
                  <a:pt x="3223570" y="2125904"/>
                </a:lnTo>
                <a:lnTo>
                  <a:pt x="3229144" y="2129325"/>
                </a:lnTo>
                <a:lnTo>
                  <a:pt x="3223569" y="2125904"/>
                </a:lnTo>
                <a:lnTo>
                  <a:pt x="3216560" y="2123454"/>
                </a:lnTo>
                <a:close/>
                <a:moveTo>
                  <a:pt x="1929982" y="2121048"/>
                </a:moveTo>
                <a:lnTo>
                  <a:pt x="1932600" y="2122758"/>
                </a:lnTo>
                <a:lnTo>
                  <a:pt x="1935958" y="2123454"/>
                </a:lnTo>
                <a:lnTo>
                  <a:pt x="1934310" y="2127551"/>
                </a:lnTo>
                <a:lnTo>
                  <a:pt x="1928589" y="2129346"/>
                </a:lnTo>
                <a:lnTo>
                  <a:pt x="1924830" y="2128902"/>
                </a:lnTo>
                <a:close/>
                <a:moveTo>
                  <a:pt x="2845509" y="2120365"/>
                </a:moveTo>
                <a:lnTo>
                  <a:pt x="2841923" y="2125925"/>
                </a:lnTo>
                <a:lnTo>
                  <a:pt x="2839826" y="2130409"/>
                </a:lnTo>
                <a:lnTo>
                  <a:pt x="2841923" y="2125926"/>
                </a:lnTo>
                <a:close/>
                <a:moveTo>
                  <a:pt x="3252876" y="2114607"/>
                </a:moveTo>
                <a:lnTo>
                  <a:pt x="3247999" y="2116065"/>
                </a:lnTo>
                <a:lnTo>
                  <a:pt x="3252877" y="2114608"/>
                </a:lnTo>
                <a:lnTo>
                  <a:pt x="3257509" y="2116448"/>
                </a:lnTo>
                <a:close/>
                <a:moveTo>
                  <a:pt x="2864199" y="2108224"/>
                </a:moveTo>
                <a:lnTo>
                  <a:pt x="2856597" y="2109392"/>
                </a:lnTo>
                <a:lnTo>
                  <a:pt x="2850137" y="2113974"/>
                </a:lnTo>
                <a:lnTo>
                  <a:pt x="2856597" y="2109394"/>
                </a:lnTo>
                <a:lnTo>
                  <a:pt x="2864199" y="2108227"/>
                </a:lnTo>
                <a:lnTo>
                  <a:pt x="2871483" y="2108630"/>
                </a:lnTo>
                <a:lnTo>
                  <a:pt x="2877586" y="2110647"/>
                </a:lnTo>
                <a:lnTo>
                  <a:pt x="2883160" y="2112982"/>
                </a:lnTo>
                <a:lnTo>
                  <a:pt x="2889325" y="2113003"/>
                </a:lnTo>
                <a:lnTo>
                  <a:pt x="2883160" y="2112982"/>
                </a:lnTo>
                <a:lnTo>
                  <a:pt x="2877586" y="2110644"/>
                </a:lnTo>
                <a:lnTo>
                  <a:pt x="2871484" y="2108627"/>
                </a:lnTo>
                <a:close/>
                <a:moveTo>
                  <a:pt x="2932129" y="2097693"/>
                </a:moveTo>
                <a:lnTo>
                  <a:pt x="2923384" y="2100946"/>
                </a:lnTo>
                <a:lnTo>
                  <a:pt x="2914895" y="2103917"/>
                </a:lnTo>
                <a:lnTo>
                  <a:pt x="2905014" y="2106612"/>
                </a:lnTo>
                <a:lnTo>
                  <a:pt x="2895639" y="2110752"/>
                </a:lnTo>
                <a:lnTo>
                  <a:pt x="2891059" y="2112385"/>
                </a:lnTo>
                <a:lnTo>
                  <a:pt x="2895639" y="2110753"/>
                </a:lnTo>
                <a:lnTo>
                  <a:pt x="2905013" y="2106613"/>
                </a:lnTo>
                <a:lnTo>
                  <a:pt x="2914895" y="2103918"/>
                </a:lnTo>
                <a:lnTo>
                  <a:pt x="2923383" y="2100947"/>
                </a:lnTo>
                <a:close/>
                <a:moveTo>
                  <a:pt x="2949777" y="2092414"/>
                </a:moveTo>
                <a:lnTo>
                  <a:pt x="2969244" y="2097169"/>
                </a:lnTo>
                <a:lnTo>
                  <a:pt x="2981849" y="2094028"/>
                </a:lnTo>
                <a:lnTo>
                  <a:pt x="2987001" y="2094940"/>
                </a:lnTo>
                <a:lnTo>
                  <a:pt x="2981850" y="2094027"/>
                </a:lnTo>
                <a:lnTo>
                  <a:pt x="2969244" y="2097169"/>
                </a:lnTo>
                <a:close/>
                <a:moveTo>
                  <a:pt x="2675392" y="2087704"/>
                </a:moveTo>
                <a:lnTo>
                  <a:pt x="2678685" y="2091143"/>
                </a:lnTo>
                <a:lnTo>
                  <a:pt x="2686984" y="2096299"/>
                </a:lnTo>
                <a:lnTo>
                  <a:pt x="2700244" y="2103113"/>
                </a:lnTo>
                <a:lnTo>
                  <a:pt x="2710167" y="2111652"/>
                </a:lnTo>
                <a:lnTo>
                  <a:pt x="2715658" y="2120245"/>
                </a:lnTo>
                <a:lnTo>
                  <a:pt x="2710168" y="2111652"/>
                </a:lnTo>
                <a:lnTo>
                  <a:pt x="2700244" y="2103112"/>
                </a:lnTo>
                <a:lnTo>
                  <a:pt x="2686984" y="2096299"/>
                </a:lnTo>
                <a:lnTo>
                  <a:pt x="2678686" y="2091140"/>
                </a:lnTo>
                <a:close/>
                <a:moveTo>
                  <a:pt x="3105899" y="2081143"/>
                </a:moveTo>
                <a:lnTo>
                  <a:pt x="3108453" y="2081249"/>
                </a:lnTo>
                <a:lnTo>
                  <a:pt x="3125534" y="2086519"/>
                </a:lnTo>
                <a:lnTo>
                  <a:pt x="3127688" y="2090678"/>
                </a:lnTo>
                <a:lnTo>
                  <a:pt x="3130750" y="2094943"/>
                </a:lnTo>
                <a:lnTo>
                  <a:pt x="3141011" y="2102161"/>
                </a:lnTo>
                <a:lnTo>
                  <a:pt x="3144263" y="2106173"/>
                </a:lnTo>
                <a:lnTo>
                  <a:pt x="3146776" y="2110630"/>
                </a:lnTo>
                <a:lnTo>
                  <a:pt x="3148359" y="2114101"/>
                </a:lnTo>
                <a:lnTo>
                  <a:pt x="3151225" y="2116623"/>
                </a:lnTo>
                <a:lnTo>
                  <a:pt x="3151526" y="2116888"/>
                </a:lnTo>
                <a:lnTo>
                  <a:pt x="3151526" y="2116888"/>
                </a:lnTo>
                <a:lnTo>
                  <a:pt x="3151527" y="2116888"/>
                </a:lnTo>
                <a:lnTo>
                  <a:pt x="3155961" y="2118662"/>
                </a:lnTo>
                <a:lnTo>
                  <a:pt x="3159761" y="2120794"/>
                </a:lnTo>
                <a:lnTo>
                  <a:pt x="3162084" y="2123919"/>
                </a:lnTo>
                <a:lnTo>
                  <a:pt x="3165568" y="2127171"/>
                </a:lnTo>
                <a:lnTo>
                  <a:pt x="3172282" y="2131584"/>
                </a:lnTo>
                <a:lnTo>
                  <a:pt x="3175555" y="2131689"/>
                </a:lnTo>
                <a:lnTo>
                  <a:pt x="3179334" y="2132302"/>
                </a:lnTo>
                <a:lnTo>
                  <a:pt x="3182671" y="2133463"/>
                </a:lnTo>
                <a:lnTo>
                  <a:pt x="3179334" y="2132301"/>
                </a:lnTo>
                <a:lnTo>
                  <a:pt x="3175555" y="2131668"/>
                </a:lnTo>
                <a:lnTo>
                  <a:pt x="3172282" y="2131563"/>
                </a:lnTo>
                <a:lnTo>
                  <a:pt x="3165567" y="2127150"/>
                </a:lnTo>
                <a:lnTo>
                  <a:pt x="3162084" y="2123919"/>
                </a:lnTo>
                <a:lnTo>
                  <a:pt x="3159761" y="2120794"/>
                </a:lnTo>
                <a:lnTo>
                  <a:pt x="3155961" y="2118661"/>
                </a:lnTo>
                <a:lnTo>
                  <a:pt x="3151526" y="2116888"/>
                </a:lnTo>
                <a:lnTo>
                  <a:pt x="3151225" y="2116623"/>
                </a:lnTo>
                <a:lnTo>
                  <a:pt x="3148359" y="2114100"/>
                </a:lnTo>
                <a:lnTo>
                  <a:pt x="3146776" y="2110625"/>
                </a:lnTo>
                <a:lnTo>
                  <a:pt x="3144263" y="2106168"/>
                </a:lnTo>
                <a:lnTo>
                  <a:pt x="3141011" y="2102156"/>
                </a:lnTo>
                <a:lnTo>
                  <a:pt x="3130750" y="2094941"/>
                </a:lnTo>
                <a:lnTo>
                  <a:pt x="3127688" y="2090674"/>
                </a:lnTo>
                <a:lnTo>
                  <a:pt x="3125534" y="2086514"/>
                </a:lnTo>
                <a:lnTo>
                  <a:pt x="3125531" y="2086511"/>
                </a:lnTo>
                <a:lnTo>
                  <a:pt x="3108454" y="2081248"/>
                </a:lnTo>
                <a:close/>
                <a:moveTo>
                  <a:pt x="2364648" y="2076368"/>
                </a:moveTo>
                <a:lnTo>
                  <a:pt x="2364648" y="2076371"/>
                </a:lnTo>
                <a:lnTo>
                  <a:pt x="2365282" y="2078047"/>
                </a:lnTo>
                <a:lnTo>
                  <a:pt x="2366949" y="2079427"/>
                </a:lnTo>
                <a:lnTo>
                  <a:pt x="2369251" y="2082376"/>
                </a:lnTo>
                <a:lnTo>
                  <a:pt x="2370496" y="2089126"/>
                </a:lnTo>
                <a:lnTo>
                  <a:pt x="2373305" y="2112855"/>
                </a:lnTo>
                <a:lnTo>
                  <a:pt x="2374613" y="2116614"/>
                </a:lnTo>
                <a:lnTo>
                  <a:pt x="2376936" y="2119252"/>
                </a:lnTo>
                <a:lnTo>
                  <a:pt x="2384242" y="2124362"/>
                </a:lnTo>
                <a:lnTo>
                  <a:pt x="2391907" y="2131077"/>
                </a:lnTo>
                <a:lnTo>
                  <a:pt x="2384243" y="2124362"/>
                </a:lnTo>
                <a:lnTo>
                  <a:pt x="2376937" y="2119231"/>
                </a:lnTo>
                <a:lnTo>
                  <a:pt x="2374614" y="2116613"/>
                </a:lnTo>
                <a:lnTo>
                  <a:pt x="2373306" y="2112855"/>
                </a:lnTo>
                <a:lnTo>
                  <a:pt x="2370497" y="2089122"/>
                </a:lnTo>
                <a:lnTo>
                  <a:pt x="2369251" y="2082372"/>
                </a:lnTo>
                <a:lnTo>
                  <a:pt x="2366949" y="2079422"/>
                </a:lnTo>
                <a:lnTo>
                  <a:pt x="2365282" y="2078043"/>
                </a:lnTo>
                <a:close/>
                <a:moveTo>
                  <a:pt x="3014239" y="2074458"/>
                </a:moveTo>
                <a:lnTo>
                  <a:pt x="3025430" y="2076156"/>
                </a:lnTo>
                <a:lnTo>
                  <a:pt x="3031722" y="2077938"/>
                </a:lnTo>
                <a:lnTo>
                  <a:pt x="3052668" y="2082841"/>
                </a:lnTo>
                <a:lnTo>
                  <a:pt x="3079864" y="2087957"/>
                </a:lnTo>
                <a:lnTo>
                  <a:pt x="3087866" y="2088740"/>
                </a:lnTo>
                <a:lnTo>
                  <a:pt x="3091118" y="2089314"/>
                </a:lnTo>
                <a:lnTo>
                  <a:pt x="3093948" y="2088508"/>
                </a:lnTo>
                <a:lnTo>
                  <a:pt x="3101137" y="2083314"/>
                </a:lnTo>
                <a:lnTo>
                  <a:pt x="3093948" y="2088505"/>
                </a:lnTo>
                <a:lnTo>
                  <a:pt x="3091118" y="2089312"/>
                </a:lnTo>
                <a:lnTo>
                  <a:pt x="3087867" y="2088738"/>
                </a:lnTo>
                <a:lnTo>
                  <a:pt x="3079864" y="2087954"/>
                </a:lnTo>
                <a:lnTo>
                  <a:pt x="3052668" y="2082841"/>
                </a:lnTo>
                <a:lnTo>
                  <a:pt x="3031723" y="2077938"/>
                </a:lnTo>
                <a:lnTo>
                  <a:pt x="3025430" y="2076156"/>
                </a:lnTo>
                <a:close/>
                <a:moveTo>
                  <a:pt x="3619718" y="2072543"/>
                </a:moveTo>
                <a:lnTo>
                  <a:pt x="3622383" y="2076314"/>
                </a:lnTo>
                <a:lnTo>
                  <a:pt x="3622193" y="2080495"/>
                </a:lnTo>
                <a:lnTo>
                  <a:pt x="3622911" y="2083528"/>
                </a:lnTo>
                <a:lnTo>
                  <a:pt x="3621643" y="2086586"/>
                </a:lnTo>
                <a:lnTo>
                  <a:pt x="3620292" y="2095798"/>
                </a:lnTo>
                <a:lnTo>
                  <a:pt x="3620715" y="2104244"/>
                </a:lnTo>
                <a:lnTo>
                  <a:pt x="3625592" y="2110507"/>
                </a:lnTo>
                <a:lnTo>
                  <a:pt x="3629984" y="2115410"/>
                </a:lnTo>
                <a:lnTo>
                  <a:pt x="3633468" y="2122314"/>
                </a:lnTo>
                <a:lnTo>
                  <a:pt x="3636044" y="2124426"/>
                </a:lnTo>
                <a:lnTo>
                  <a:pt x="3636049" y="2124428"/>
                </a:lnTo>
                <a:lnTo>
                  <a:pt x="3633700" y="2122482"/>
                </a:lnTo>
                <a:lnTo>
                  <a:pt x="3630217" y="2115578"/>
                </a:lnTo>
                <a:lnTo>
                  <a:pt x="3625825" y="2110682"/>
                </a:lnTo>
                <a:lnTo>
                  <a:pt x="3620926" y="2104421"/>
                </a:lnTo>
                <a:lnTo>
                  <a:pt x="3620525" y="2095974"/>
                </a:lnTo>
                <a:lnTo>
                  <a:pt x="3621877" y="2086740"/>
                </a:lnTo>
                <a:lnTo>
                  <a:pt x="3623143" y="2083685"/>
                </a:lnTo>
                <a:lnTo>
                  <a:pt x="3622426" y="2080650"/>
                </a:lnTo>
                <a:lnTo>
                  <a:pt x="3622615" y="2076468"/>
                </a:lnTo>
                <a:lnTo>
                  <a:pt x="3619871" y="2072585"/>
                </a:lnTo>
                <a:close/>
                <a:moveTo>
                  <a:pt x="2365873" y="2066884"/>
                </a:moveTo>
                <a:lnTo>
                  <a:pt x="2365914" y="2068368"/>
                </a:lnTo>
                <a:lnTo>
                  <a:pt x="2365915" y="2068365"/>
                </a:lnTo>
                <a:close/>
                <a:moveTo>
                  <a:pt x="3591612" y="2063769"/>
                </a:moveTo>
                <a:lnTo>
                  <a:pt x="3591385" y="2063992"/>
                </a:lnTo>
                <a:lnTo>
                  <a:pt x="3591154" y="2065704"/>
                </a:lnTo>
                <a:lnTo>
                  <a:pt x="3591196" y="2068419"/>
                </a:lnTo>
                <a:lnTo>
                  <a:pt x="3592547" y="2070075"/>
                </a:lnTo>
                <a:lnTo>
                  <a:pt x="3592721" y="2070164"/>
                </a:lnTo>
                <a:lnTo>
                  <a:pt x="3591387" y="2068554"/>
                </a:lnTo>
                <a:lnTo>
                  <a:pt x="3591344" y="2065815"/>
                </a:lnTo>
                <a:lnTo>
                  <a:pt x="3591619" y="2063777"/>
                </a:lnTo>
                <a:close/>
                <a:moveTo>
                  <a:pt x="1039680" y="2035005"/>
                </a:moveTo>
                <a:lnTo>
                  <a:pt x="1039684" y="2035050"/>
                </a:lnTo>
                <a:lnTo>
                  <a:pt x="1043590" y="2038382"/>
                </a:lnTo>
                <a:lnTo>
                  <a:pt x="1049186" y="2039061"/>
                </a:lnTo>
                <a:lnTo>
                  <a:pt x="1056428" y="2042965"/>
                </a:lnTo>
                <a:lnTo>
                  <a:pt x="1058265" y="2042752"/>
                </a:lnTo>
                <a:lnTo>
                  <a:pt x="1059068" y="2042264"/>
                </a:lnTo>
                <a:lnTo>
                  <a:pt x="1059923" y="2042981"/>
                </a:lnTo>
                <a:lnTo>
                  <a:pt x="1059912" y="2042913"/>
                </a:lnTo>
                <a:lnTo>
                  <a:pt x="1059025" y="2042170"/>
                </a:lnTo>
                <a:lnTo>
                  <a:pt x="1058222" y="2042658"/>
                </a:lnTo>
                <a:lnTo>
                  <a:pt x="1056385" y="2042871"/>
                </a:lnTo>
                <a:lnTo>
                  <a:pt x="1049143" y="2038967"/>
                </a:lnTo>
                <a:lnTo>
                  <a:pt x="1043548" y="2038287"/>
                </a:lnTo>
                <a:close/>
                <a:moveTo>
                  <a:pt x="2356836" y="2031266"/>
                </a:moveTo>
                <a:lnTo>
                  <a:pt x="2356835" y="2031270"/>
                </a:lnTo>
                <a:lnTo>
                  <a:pt x="2358778" y="2035303"/>
                </a:lnTo>
                <a:lnTo>
                  <a:pt x="2361100" y="2038507"/>
                </a:lnTo>
                <a:lnTo>
                  <a:pt x="2363444" y="2038697"/>
                </a:lnTo>
                <a:lnTo>
                  <a:pt x="2365493" y="2038549"/>
                </a:lnTo>
                <a:lnTo>
                  <a:pt x="2366780" y="2040459"/>
                </a:lnTo>
                <a:lnTo>
                  <a:pt x="2367857" y="2041585"/>
                </a:lnTo>
                <a:lnTo>
                  <a:pt x="2367857" y="2063571"/>
                </a:lnTo>
                <a:lnTo>
                  <a:pt x="2367858" y="2063569"/>
                </a:lnTo>
                <a:lnTo>
                  <a:pt x="2367858" y="2041580"/>
                </a:lnTo>
                <a:lnTo>
                  <a:pt x="2366781" y="2040455"/>
                </a:lnTo>
                <a:lnTo>
                  <a:pt x="2365493" y="2038544"/>
                </a:lnTo>
                <a:lnTo>
                  <a:pt x="2363445" y="2038692"/>
                </a:lnTo>
                <a:lnTo>
                  <a:pt x="2361101" y="2038502"/>
                </a:lnTo>
                <a:lnTo>
                  <a:pt x="2358778" y="2035299"/>
                </a:lnTo>
                <a:close/>
                <a:moveTo>
                  <a:pt x="1037500" y="2028990"/>
                </a:moveTo>
                <a:lnTo>
                  <a:pt x="1037509" y="2029021"/>
                </a:lnTo>
                <a:lnTo>
                  <a:pt x="1039348" y="2031176"/>
                </a:lnTo>
                <a:lnTo>
                  <a:pt x="1039346" y="2031155"/>
                </a:lnTo>
                <a:close/>
                <a:moveTo>
                  <a:pt x="991879" y="2003322"/>
                </a:moveTo>
                <a:lnTo>
                  <a:pt x="991859" y="2003342"/>
                </a:lnTo>
                <a:lnTo>
                  <a:pt x="992789" y="2004381"/>
                </a:lnTo>
                <a:lnTo>
                  <a:pt x="995639" y="2005717"/>
                </a:lnTo>
                <a:lnTo>
                  <a:pt x="998574" y="2006396"/>
                </a:lnTo>
                <a:lnTo>
                  <a:pt x="1000960" y="2006036"/>
                </a:lnTo>
                <a:lnTo>
                  <a:pt x="1003958" y="2008964"/>
                </a:lnTo>
                <a:lnTo>
                  <a:pt x="1007189" y="2012657"/>
                </a:lnTo>
                <a:lnTo>
                  <a:pt x="1010609" y="2014590"/>
                </a:lnTo>
                <a:lnTo>
                  <a:pt x="1015550" y="2016266"/>
                </a:lnTo>
                <a:lnTo>
                  <a:pt x="1019858" y="2016456"/>
                </a:lnTo>
                <a:lnTo>
                  <a:pt x="1023531" y="2015797"/>
                </a:lnTo>
                <a:lnTo>
                  <a:pt x="1028705" y="2016540"/>
                </a:lnTo>
                <a:lnTo>
                  <a:pt x="1034181" y="2019578"/>
                </a:lnTo>
                <a:lnTo>
                  <a:pt x="1034152" y="2019503"/>
                </a:lnTo>
                <a:lnTo>
                  <a:pt x="1028641" y="2016446"/>
                </a:lnTo>
                <a:lnTo>
                  <a:pt x="1023468" y="2015704"/>
                </a:lnTo>
                <a:lnTo>
                  <a:pt x="1019794" y="2016364"/>
                </a:lnTo>
                <a:lnTo>
                  <a:pt x="1015486" y="2016174"/>
                </a:lnTo>
                <a:lnTo>
                  <a:pt x="1010546" y="2014476"/>
                </a:lnTo>
                <a:lnTo>
                  <a:pt x="1007125" y="2012565"/>
                </a:lnTo>
                <a:lnTo>
                  <a:pt x="1003895" y="2008872"/>
                </a:lnTo>
                <a:lnTo>
                  <a:pt x="1000896" y="2005944"/>
                </a:lnTo>
                <a:lnTo>
                  <a:pt x="998510" y="2006305"/>
                </a:lnTo>
                <a:lnTo>
                  <a:pt x="995596" y="2005604"/>
                </a:lnTo>
                <a:lnTo>
                  <a:pt x="992725" y="2004267"/>
                </a:lnTo>
                <a:close/>
                <a:moveTo>
                  <a:pt x="1544091" y="2000878"/>
                </a:moveTo>
                <a:lnTo>
                  <a:pt x="1543585" y="2002679"/>
                </a:lnTo>
                <a:lnTo>
                  <a:pt x="1543585" y="2002680"/>
                </a:lnTo>
                <a:close/>
                <a:moveTo>
                  <a:pt x="3063837" y="1995739"/>
                </a:moveTo>
                <a:lnTo>
                  <a:pt x="3060671" y="2006454"/>
                </a:lnTo>
                <a:lnTo>
                  <a:pt x="3060671" y="2006455"/>
                </a:lnTo>
                <a:lnTo>
                  <a:pt x="3063838" y="1995740"/>
                </a:lnTo>
                <a:close/>
                <a:moveTo>
                  <a:pt x="1595169" y="1992642"/>
                </a:moveTo>
                <a:lnTo>
                  <a:pt x="1595167" y="1992645"/>
                </a:lnTo>
                <a:lnTo>
                  <a:pt x="1596413" y="1997253"/>
                </a:lnTo>
                <a:lnTo>
                  <a:pt x="1598820" y="1998948"/>
                </a:lnTo>
                <a:lnTo>
                  <a:pt x="1604986" y="2008202"/>
                </a:lnTo>
                <a:lnTo>
                  <a:pt x="1607031" y="2016025"/>
                </a:lnTo>
                <a:lnTo>
                  <a:pt x="1607034" y="2016024"/>
                </a:lnTo>
                <a:lnTo>
                  <a:pt x="1604986" y="2008192"/>
                </a:lnTo>
                <a:lnTo>
                  <a:pt x="1598820" y="1998940"/>
                </a:lnTo>
                <a:lnTo>
                  <a:pt x="1596413" y="1997242"/>
                </a:lnTo>
                <a:close/>
                <a:moveTo>
                  <a:pt x="1310626" y="1992430"/>
                </a:moveTo>
                <a:lnTo>
                  <a:pt x="1309466" y="1994888"/>
                </a:lnTo>
                <a:lnTo>
                  <a:pt x="1309468" y="1994952"/>
                </a:lnTo>
                <a:lnTo>
                  <a:pt x="1310627" y="1992453"/>
                </a:lnTo>
                <a:close/>
                <a:moveTo>
                  <a:pt x="1533301" y="1980669"/>
                </a:moveTo>
                <a:lnTo>
                  <a:pt x="1532838" y="1982896"/>
                </a:lnTo>
                <a:lnTo>
                  <a:pt x="1533302" y="1980671"/>
                </a:lnTo>
                <a:close/>
                <a:moveTo>
                  <a:pt x="1592401" y="1974457"/>
                </a:moveTo>
                <a:lnTo>
                  <a:pt x="1595442" y="1981355"/>
                </a:lnTo>
                <a:lnTo>
                  <a:pt x="1595949" y="1987595"/>
                </a:lnTo>
                <a:lnTo>
                  <a:pt x="1596664" y="1989627"/>
                </a:lnTo>
                <a:lnTo>
                  <a:pt x="1596667" y="1989622"/>
                </a:lnTo>
                <a:lnTo>
                  <a:pt x="1595949" y="1987585"/>
                </a:lnTo>
                <a:lnTo>
                  <a:pt x="1595442" y="1981345"/>
                </a:lnTo>
                <a:lnTo>
                  <a:pt x="1592406" y="1974457"/>
                </a:lnTo>
                <a:close/>
                <a:moveTo>
                  <a:pt x="2102847" y="1974261"/>
                </a:moveTo>
                <a:lnTo>
                  <a:pt x="2102808" y="1974289"/>
                </a:lnTo>
                <a:lnTo>
                  <a:pt x="2104199" y="1976446"/>
                </a:lnTo>
                <a:lnTo>
                  <a:pt x="2105254" y="1979206"/>
                </a:lnTo>
                <a:lnTo>
                  <a:pt x="2106437" y="1980479"/>
                </a:lnTo>
                <a:lnTo>
                  <a:pt x="2106512" y="1980492"/>
                </a:lnTo>
                <a:lnTo>
                  <a:pt x="2105339" y="1979229"/>
                </a:lnTo>
                <a:lnTo>
                  <a:pt x="2104283" y="1976469"/>
                </a:lnTo>
                <a:close/>
                <a:moveTo>
                  <a:pt x="1536785" y="1971989"/>
                </a:moveTo>
                <a:lnTo>
                  <a:pt x="1536026" y="1973771"/>
                </a:lnTo>
                <a:lnTo>
                  <a:pt x="1533555" y="1975213"/>
                </a:lnTo>
                <a:lnTo>
                  <a:pt x="1532669" y="1977654"/>
                </a:lnTo>
                <a:lnTo>
                  <a:pt x="1532669" y="1977655"/>
                </a:lnTo>
                <a:lnTo>
                  <a:pt x="1533554" y="1975218"/>
                </a:lnTo>
                <a:lnTo>
                  <a:pt x="1536025" y="1973775"/>
                </a:lnTo>
                <a:lnTo>
                  <a:pt x="1536785" y="1971991"/>
                </a:lnTo>
                <a:close/>
                <a:moveTo>
                  <a:pt x="2130275" y="1970291"/>
                </a:moveTo>
                <a:lnTo>
                  <a:pt x="2130264" y="1970293"/>
                </a:lnTo>
                <a:lnTo>
                  <a:pt x="2137961" y="1974706"/>
                </a:lnTo>
                <a:lnTo>
                  <a:pt x="2144422" y="1981053"/>
                </a:lnTo>
                <a:lnTo>
                  <a:pt x="2150799" y="1987337"/>
                </a:lnTo>
                <a:lnTo>
                  <a:pt x="2154030" y="1989565"/>
                </a:lnTo>
                <a:lnTo>
                  <a:pt x="2155444" y="1992027"/>
                </a:lnTo>
                <a:lnTo>
                  <a:pt x="2158231" y="2003467"/>
                </a:lnTo>
                <a:lnTo>
                  <a:pt x="2159836" y="2006311"/>
                </a:lnTo>
                <a:lnTo>
                  <a:pt x="2159903" y="2006340"/>
                </a:lnTo>
                <a:lnTo>
                  <a:pt x="2158337" y="2003528"/>
                </a:lnTo>
                <a:lnTo>
                  <a:pt x="2155550" y="1992067"/>
                </a:lnTo>
                <a:lnTo>
                  <a:pt x="2154135" y="1989605"/>
                </a:lnTo>
                <a:lnTo>
                  <a:pt x="2150904" y="1987377"/>
                </a:lnTo>
                <a:lnTo>
                  <a:pt x="2144528" y="1981095"/>
                </a:lnTo>
                <a:lnTo>
                  <a:pt x="2138067" y="1974748"/>
                </a:lnTo>
                <a:close/>
                <a:moveTo>
                  <a:pt x="1321460" y="1968032"/>
                </a:moveTo>
                <a:lnTo>
                  <a:pt x="1313921" y="1977485"/>
                </a:lnTo>
                <a:lnTo>
                  <a:pt x="1309951" y="1985443"/>
                </a:lnTo>
                <a:lnTo>
                  <a:pt x="1309952" y="1985450"/>
                </a:lnTo>
                <a:lnTo>
                  <a:pt x="1313900" y="1977531"/>
                </a:lnTo>
                <a:close/>
                <a:moveTo>
                  <a:pt x="842176" y="1952975"/>
                </a:moveTo>
                <a:lnTo>
                  <a:pt x="840024" y="1955224"/>
                </a:lnTo>
                <a:lnTo>
                  <a:pt x="834007" y="1960105"/>
                </a:lnTo>
                <a:lnTo>
                  <a:pt x="829006" y="1966478"/>
                </a:lnTo>
                <a:lnTo>
                  <a:pt x="833986" y="1960148"/>
                </a:lnTo>
                <a:lnTo>
                  <a:pt x="840003" y="1955265"/>
                </a:lnTo>
                <a:close/>
                <a:moveTo>
                  <a:pt x="1003400" y="1949421"/>
                </a:moveTo>
                <a:lnTo>
                  <a:pt x="1003409" y="1949453"/>
                </a:lnTo>
                <a:lnTo>
                  <a:pt x="1005345" y="1955335"/>
                </a:lnTo>
                <a:close/>
                <a:moveTo>
                  <a:pt x="856005" y="1942556"/>
                </a:moveTo>
                <a:lnTo>
                  <a:pt x="849864" y="1946353"/>
                </a:lnTo>
                <a:lnTo>
                  <a:pt x="846294" y="1949085"/>
                </a:lnTo>
                <a:lnTo>
                  <a:pt x="849843" y="1946395"/>
                </a:lnTo>
                <a:close/>
                <a:moveTo>
                  <a:pt x="998875" y="1940620"/>
                </a:moveTo>
                <a:lnTo>
                  <a:pt x="998787" y="1940688"/>
                </a:lnTo>
                <a:lnTo>
                  <a:pt x="999947" y="1941387"/>
                </a:lnTo>
                <a:lnTo>
                  <a:pt x="1001712" y="1943205"/>
                </a:lnTo>
                <a:lnTo>
                  <a:pt x="1001678" y="1943079"/>
                </a:lnTo>
                <a:lnTo>
                  <a:pt x="999904" y="1941252"/>
                </a:lnTo>
                <a:close/>
                <a:moveTo>
                  <a:pt x="984385" y="1937903"/>
                </a:moveTo>
                <a:lnTo>
                  <a:pt x="984384" y="1937905"/>
                </a:lnTo>
                <a:lnTo>
                  <a:pt x="984194" y="1941598"/>
                </a:lnTo>
                <a:lnTo>
                  <a:pt x="984195" y="1941592"/>
                </a:lnTo>
                <a:close/>
                <a:moveTo>
                  <a:pt x="754109" y="1935975"/>
                </a:moveTo>
                <a:lnTo>
                  <a:pt x="758332" y="1937758"/>
                </a:lnTo>
                <a:lnTo>
                  <a:pt x="760211" y="1939244"/>
                </a:lnTo>
                <a:lnTo>
                  <a:pt x="760908" y="1942065"/>
                </a:lnTo>
                <a:lnTo>
                  <a:pt x="759409" y="1947988"/>
                </a:lnTo>
                <a:lnTo>
                  <a:pt x="758543" y="1949537"/>
                </a:lnTo>
                <a:lnTo>
                  <a:pt x="754595" y="1945695"/>
                </a:lnTo>
                <a:lnTo>
                  <a:pt x="734177" y="1939943"/>
                </a:lnTo>
                <a:lnTo>
                  <a:pt x="739941" y="1936888"/>
                </a:lnTo>
                <a:close/>
                <a:moveTo>
                  <a:pt x="946505" y="1935868"/>
                </a:moveTo>
                <a:lnTo>
                  <a:pt x="945597" y="1939897"/>
                </a:lnTo>
                <a:lnTo>
                  <a:pt x="943972" y="1943590"/>
                </a:lnTo>
                <a:lnTo>
                  <a:pt x="941121" y="1947599"/>
                </a:lnTo>
                <a:lnTo>
                  <a:pt x="940889" y="1949191"/>
                </a:lnTo>
                <a:lnTo>
                  <a:pt x="940890" y="1949192"/>
                </a:lnTo>
                <a:lnTo>
                  <a:pt x="941121" y="1947608"/>
                </a:lnTo>
                <a:lnTo>
                  <a:pt x="943971" y="1943595"/>
                </a:lnTo>
                <a:lnTo>
                  <a:pt x="945597" y="1939902"/>
                </a:lnTo>
                <a:lnTo>
                  <a:pt x="946505" y="1935870"/>
                </a:lnTo>
                <a:close/>
                <a:moveTo>
                  <a:pt x="2997284" y="1935291"/>
                </a:moveTo>
                <a:lnTo>
                  <a:pt x="2993886" y="1940767"/>
                </a:lnTo>
                <a:lnTo>
                  <a:pt x="2993886" y="1940767"/>
                </a:lnTo>
                <a:lnTo>
                  <a:pt x="2997284" y="1935294"/>
                </a:lnTo>
                <a:close/>
                <a:moveTo>
                  <a:pt x="2423304" y="1934354"/>
                </a:moveTo>
                <a:lnTo>
                  <a:pt x="2422100" y="1937941"/>
                </a:lnTo>
                <a:lnTo>
                  <a:pt x="2418999" y="1942762"/>
                </a:lnTo>
                <a:lnTo>
                  <a:pt x="2419002" y="1942763"/>
                </a:lnTo>
                <a:lnTo>
                  <a:pt x="2422100" y="1937954"/>
                </a:lnTo>
                <a:lnTo>
                  <a:pt x="2423303" y="1934367"/>
                </a:lnTo>
                <a:close/>
                <a:moveTo>
                  <a:pt x="1537546" y="1930558"/>
                </a:moveTo>
                <a:lnTo>
                  <a:pt x="1531317" y="1941381"/>
                </a:lnTo>
                <a:lnTo>
                  <a:pt x="1531254" y="1944479"/>
                </a:lnTo>
                <a:lnTo>
                  <a:pt x="1531254" y="1944480"/>
                </a:lnTo>
                <a:lnTo>
                  <a:pt x="1531317" y="1941386"/>
                </a:lnTo>
                <a:lnTo>
                  <a:pt x="1537546" y="1930560"/>
                </a:lnTo>
                <a:close/>
                <a:moveTo>
                  <a:pt x="870392" y="1928873"/>
                </a:moveTo>
                <a:lnTo>
                  <a:pt x="868170" y="1930053"/>
                </a:lnTo>
                <a:lnTo>
                  <a:pt x="868153" y="1930072"/>
                </a:lnTo>
                <a:close/>
                <a:moveTo>
                  <a:pt x="1347551" y="1909392"/>
                </a:moveTo>
                <a:lnTo>
                  <a:pt x="1346817" y="1911498"/>
                </a:lnTo>
                <a:lnTo>
                  <a:pt x="1343523" y="1912964"/>
                </a:lnTo>
                <a:lnTo>
                  <a:pt x="1336366" y="1918354"/>
                </a:lnTo>
                <a:lnTo>
                  <a:pt x="1335880" y="1920497"/>
                </a:lnTo>
                <a:lnTo>
                  <a:pt x="1333980" y="1925083"/>
                </a:lnTo>
                <a:lnTo>
                  <a:pt x="1332395" y="1927883"/>
                </a:lnTo>
                <a:lnTo>
                  <a:pt x="1330052" y="1933083"/>
                </a:lnTo>
                <a:lnTo>
                  <a:pt x="1326336" y="1946837"/>
                </a:lnTo>
                <a:lnTo>
                  <a:pt x="1324964" y="1958235"/>
                </a:lnTo>
                <a:lnTo>
                  <a:pt x="1324753" y="1961757"/>
                </a:lnTo>
                <a:lnTo>
                  <a:pt x="1323316" y="1964198"/>
                </a:lnTo>
                <a:lnTo>
                  <a:pt x="1322985" y="1964921"/>
                </a:lnTo>
                <a:lnTo>
                  <a:pt x="1323296" y="1964246"/>
                </a:lnTo>
                <a:lnTo>
                  <a:pt x="1324753" y="1961805"/>
                </a:lnTo>
                <a:lnTo>
                  <a:pt x="1324964" y="1958281"/>
                </a:lnTo>
                <a:lnTo>
                  <a:pt x="1326337" y="1946904"/>
                </a:lnTo>
                <a:lnTo>
                  <a:pt x="1330053" y="1933153"/>
                </a:lnTo>
                <a:lnTo>
                  <a:pt x="1332397" y="1927952"/>
                </a:lnTo>
                <a:lnTo>
                  <a:pt x="1333980" y="1925129"/>
                </a:lnTo>
                <a:lnTo>
                  <a:pt x="1335880" y="1920545"/>
                </a:lnTo>
                <a:lnTo>
                  <a:pt x="1336366" y="1918402"/>
                </a:lnTo>
                <a:lnTo>
                  <a:pt x="1343524" y="1912989"/>
                </a:lnTo>
                <a:lnTo>
                  <a:pt x="1346817" y="1911546"/>
                </a:lnTo>
                <a:lnTo>
                  <a:pt x="1347557" y="1909403"/>
                </a:lnTo>
                <a:close/>
                <a:moveTo>
                  <a:pt x="878468" y="1906861"/>
                </a:moveTo>
                <a:lnTo>
                  <a:pt x="875307" y="1910039"/>
                </a:lnTo>
                <a:lnTo>
                  <a:pt x="875299" y="1910067"/>
                </a:lnTo>
                <a:close/>
                <a:moveTo>
                  <a:pt x="886188" y="1904742"/>
                </a:moveTo>
                <a:lnTo>
                  <a:pt x="886054" y="1904880"/>
                </a:lnTo>
                <a:lnTo>
                  <a:pt x="878516" y="1906812"/>
                </a:lnTo>
                <a:lnTo>
                  <a:pt x="878495" y="1906833"/>
                </a:lnTo>
                <a:lnTo>
                  <a:pt x="886034" y="1904901"/>
                </a:lnTo>
                <a:close/>
                <a:moveTo>
                  <a:pt x="1353190" y="1901824"/>
                </a:moveTo>
                <a:lnTo>
                  <a:pt x="1351272" y="1904028"/>
                </a:lnTo>
                <a:lnTo>
                  <a:pt x="1348633" y="1904686"/>
                </a:lnTo>
                <a:lnTo>
                  <a:pt x="1346923" y="1905470"/>
                </a:lnTo>
                <a:lnTo>
                  <a:pt x="1346437" y="1907062"/>
                </a:lnTo>
                <a:lnTo>
                  <a:pt x="1346443" y="1907074"/>
                </a:lnTo>
                <a:lnTo>
                  <a:pt x="1346923" y="1905497"/>
                </a:lnTo>
                <a:lnTo>
                  <a:pt x="1348634" y="1904714"/>
                </a:lnTo>
                <a:lnTo>
                  <a:pt x="1351272" y="1904075"/>
                </a:lnTo>
                <a:lnTo>
                  <a:pt x="1353195" y="1901848"/>
                </a:lnTo>
                <a:close/>
                <a:moveTo>
                  <a:pt x="1012456" y="1899045"/>
                </a:moveTo>
                <a:lnTo>
                  <a:pt x="1012446" y="1899175"/>
                </a:lnTo>
                <a:lnTo>
                  <a:pt x="1014748" y="1901191"/>
                </a:lnTo>
                <a:lnTo>
                  <a:pt x="1019287" y="1903484"/>
                </a:lnTo>
                <a:lnTo>
                  <a:pt x="1022264" y="1904459"/>
                </a:lnTo>
                <a:lnTo>
                  <a:pt x="1024734" y="1904183"/>
                </a:lnTo>
                <a:lnTo>
                  <a:pt x="1026606" y="1905647"/>
                </a:lnTo>
                <a:lnTo>
                  <a:pt x="1026592" y="1905510"/>
                </a:lnTo>
                <a:lnTo>
                  <a:pt x="1024713" y="1904026"/>
                </a:lnTo>
                <a:lnTo>
                  <a:pt x="1022222" y="1904302"/>
                </a:lnTo>
                <a:lnTo>
                  <a:pt x="1019245" y="1903327"/>
                </a:lnTo>
                <a:lnTo>
                  <a:pt x="1014705" y="1901035"/>
                </a:lnTo>
                <a:close/>
                <a:moveTo>
                  <a:pt x="1542444" y="1896130"/>
                </a:moveTo>
                <a:lnTo>
                  <a:pt x="1540037" y="1899165"/>
                </a:lnTo>
                <a:lnTo>
                  <a:pt x="1537187" y="1901798"/>
                </a:lnTo>
                <a:lnTo>
                  <a:pt x="1537186" y="1901801"/>
                </a:lnTo>
                <a:lnTo>
                  <a:pt x="1540037" y="1899169"/>
                </a:lnTo>
                <a:lnTo>
                  <a:pt x="1542444" y="1896135"/>
                </a:lnTo>
                <a:close/>
                <a:moveTo>
                  <a:pt x="892312" y="1885488"/>
                </a:moveTo>
                <a:lnTo>
                  <a:pt x="892178" y="1887158"/>
                </a:lnTo>
                <a:lnTo>
                  <a:pt x="891908" y="1888513"/>
                </a:lnTo>
                <a:lnTo>
                  <a:pt x="892178" y="1887178"/>
                </a:lnTo>
                <a:close/>
                <a:moveTo>
                  <a:pt x="879312" y="1874686"/>
                </a:moveTo>
                <a:lnTo>
                  <a:pt x="871908" y="1882446"/>
                </a:lnTo>
                <a:lnTo>
                  <a:pt x="869015" y="1890193"/>
                </a:lnTo>
                <a:lnTo>
                  <a:pt x="867537" y="1892378"/>
                </a:lnTo>
                <a:lnTo>
                  <a:pt x="866945" y="1894118"/>
                </a:lnTo>
                <a:lnTo>
                  <a:pt x="866958" y="1894125"/>
                </a:lnTo>
                <a:lnTo>
                  <a:pt x="867494" y="1892549"/>
                </a:lnTo>
                <a:lnTo>
                  <a:pt x="868972" y="1890385"/>
                </a:lnTo>
                <a:lnTo>
                  <a:pt x="871864" y="1882638"/>
                </a:lnTo>
                <a:lnTo>
                  <a:pt x="879297" y="1874848"/>
                </a:lnTo>
                <a:close/>
                <a:moveTo>
                  <a:pt x="3522471" y="1869737"/>
                </a:moveTo>
                <a:lnTo>
                  <a:pt x="3522489" y="1873871"/>
                </a:lnTo>
                <a:lnTo>
                  <a:pt x="3522067" y="1879496"/>
                </a:lnTo>
                <a:lnTo>
                  <a:pt x="3520758" y="1881724"/>
                </a:lnTo>
                <a:lnTo>
                  <a:pt x="3517633" y="1884908"/>
                </a:lnTo>
                <a:lnTo>
                  <a:pt x="3513685" y="1887815"/>
                </a:lnTo>
                <a:lnTo>
                  <a:pt x="3503719" y="1888559"/>
                </a:lnTo>
                <a:lnTo>
                  <a:pt x="3495400" y="1888453"/>
                </a:lnTo>
                <a:lnTo>
                  <a:pt x="3489508" y="1887815"/>
                </a:lnTo>
                <a:lnTo>
                  <a:pt x="3481443" y="1887560"/>
                </a:lnTo>
                <a:lnTo>
                  <a:pt x="3473862" y="1888177"/>
                </a:lnTo>
                <a:lnTo>
                  <a:pt x="3471075" y="1890638"/>
                </a:lnTo>
                <a:lnTo>
                  <a:pt x="3466979" y="1899319"/>
                </a:lnTo>
                <a:lnTo>
                  <a:pt x="3461067" y="1911905"/>
                </a:lnTo>
                <a:lnTo>
                  <a:pt x="3457942" y="1917232"/>
                </a:lnTo>
                <a:lnTo>
                  <a:pt x="3457139" y="1920332"/>
                </a:lnTo>
                <a:lnTo>
                  <a:pt x="3457142" y="1920339"/>
                </a:lnTo>
                <a:lnTo>
                  <a:pt x="3457943" y="1917251"/>
                </a:lnTo>
                <a:lnTo>
                  <a:pt x="3461067" y="1911923"/>
                </a:lnTo>
                <a:lnTo>
                  <a:pt x="3466980" y="1899337"/>
                </a:lnTo>
                <a:lnTo>
                  <a:pt x="3471076" y="1890655"/>
                </a:lnTo>
                <a:lnTo>
                  <a:pt x="3473863" y="1888193"/>
                </a:lnTo>
                <a:lnTo>
                  <a:pt x="3481443" y="1887578"/>
                </a:lnTo>
                <a:lnTo>
                  <a:pt x="3489509" y="1887834"/>
                </a:lnTo>
                <a:lnTo>
                  <a:pt x="3495400" y="1888470"/>
                </a:lnTo>
                <a:lnTo>
                  <a:pt x="3503719" y="1888577"/>
                </a:lnTo>
                <a:lnTo>
                  <a:pt x="3513685" y="1887834"/>
                </a:lnTo>
                <a:lnTo>
                  <a:pt x="3517633" y="1884925"/>
                </a:lnTo>
                <a:lnTo>
                  <a:pt x="3520759" y="1881743"/>
                </a:lnTo>
                <a:lnTo>
                  <a:pt x="3522067" y="1879513"/>
                </a:lnTo>
                <a:lnTo>
                  <a:pt x="3522490" y="1873888"/>
                </a:lnTo>
                <a:close/>
                <a:moveTo>
                  <a:pt x="1030513" y="1867101"/>
                </a:moveTo>
                <a:lnTo>
                  <a:pt x="1030520" y="1867275"/>
                </a:lnTo>
                <a:lnTo>
                  <a:pt x="1040423" y="1871221"/>
                </a:lnTo>
                <a:lnTo>
                  <a:pt x="1044245" y="1875870"/>
                </a:lnTo>
                <a:lnTo>
                  <a:pt x="1045894" y="1880577"/>
                </a:lnTo>
                <a:lnTo>
                  <a:pt x="1045892" y="1880531"/>
                </a:lnTo>
                <a:lnTo>
                  <a:pt x="1044203" y="1875713"/>
                </a:lnTo>
                <a:lnTo>
                  <a:pt x="1040380" y="1871065"/>
                </a:lnTo>
                <a:close/>
                <a:moveTo>
                  <a:pt x="2620833" y="1864298"/>
                </a:moveTo>
                <a:lnTo>
                  <a:pt x="2620832" y="1864309"/>
                </a:lnTo>
                <a:lnTo>
                  <a:pt x="2631389" y="1871545"/>
                </a:lnTo>
                <a:lnTo>
                  <a:pt x="2634024" y="1875085"/>
                </a:lnTo>
                <a:lnTo>
                  <a:pt x="2634029" y="1875080"/>
                </a:lnTo>
                <a:lnTo>
                  <a:pt x="2631390" y="1871534"/>
                </a:lnTo>
                <a:close/>
                <a:moveTo>
                  <a:pt x="1530641" y="1863383"/>
                </a:moveTo>
                <a:lnTo>
                  <a:pt x="1528531" y="1865630"/>
                </a:lnTo>
                <a:lnTo>
                  <a:pt x="1523759" y="1868899"/>
                </a:lnTo>
                <a:lnTo>
                  <a:pt x="1523759" y="1868902"/>
                </a:lnTo>
                <a:lnTo>
                  <a:pt x="1528530" y="1865635"/>
                </a:lnTo>
                <a:lnTo>
                  <a:pt x="1530641" y="1863386"/>
                </a:lnTo>
                <a:close/>
                <a:moveTo>
                  <a:pt x="2620392" y="1862096"/>
                </a:moveTo>
                <a:lnTo>
                  <a:pt x="2620388" y="1862103"/>
                </a:lnTo>
                <a:lnTo>
                  <a:pt x="2620978" y="1863331"/>
                </a:lnTo>
                <a:lnTo>
                  <a:pt x="2620979" y="1863320"/>
                </a:lnTo>
                <a:close/>
                <a:moveTo>
                  <a:pt x="1343179" y="1854520"/>
                </a:moveTo>
                <a:lnTo>
                  <a:pt x="1344685" y="1857082"/>
                </a:lnTo>
                <a:lnTo>
                  <a:pt x="1346120" y="1864085"/>
                </a:lnTo>
                <a:lnTo>
                  <a:pt x="1346486" y="1864670"/>
                </a:lnTo>
                <a:lnTo>
                  <a:pt x="1346142" y="1864112"/>
                </a:lnTo>
                <a:lnTo>
                  <a:pt x="1344706" y="1857108"/>
                </a:lnTo>
                <a:close/>
                <a:moveTo>
                  <a:pt x="1529042" y="1854316"/>
                </a:moveTo>
                <a:lnTo>
                  <a:pt x="1528973" y="1856037"/>
                </a:lnTo>
                <a:lnTo>
                  <a:pt x="1528973" y="1856038"/>
                </a:lnTo>
                <a:close/>
                <a:moveTo>
                  <a:pt x="2892029" y="1851581"/>
                </a:moveTo>
                <a:lnTo>
                  <a:pt x="2892029" y="1851587"/>
                </a:lnTo>
                <a:lnTo>
                  <a:pt x="2893612" y="1854898"/>
                </a:lnTo>
                <a:lnTo>
                  <a:pt x="2895892" y="1856255"/>
                </a:lnTo>
                <a:lnTo>
                  <a:pt x="2897327" y="1857889"/>
                </a:lnTo>
                <a:lnTo>
                  <a:pt x="2897328" y="1857883"/>
                </a:lnTo>
                <a:lnTo>
                  <a:pt x="2895892" y="1856249"/>
                </a:lnTo>
                <a:lnTo>
                  <a:pt x="2893612" y="1854891"/>
                </a:lnTo>
                <a:close/>
                <a:moveTo>
                  <a:pt x="1032499" y="1843079"/>
                </a:moveTo>
                <a:lnTo>
                  <a:pt x="1032484" y="1843185"/>
                </a:lnTo>
                <a:lnTo>
                  <a:pt x="1037129" y="1845412"/>
                </a:lnTo>
                <a:lnTo>
                  <a:pt x="1039494" y="1847600"/>
                </a:lnTo>
                <a:lnTo>
                  <a:pt x="1040697" y="1849523"/>
                </a:lnTo>
                <a:lnTo>
                  <a:pt x="1040739" y="1849501"/>
                </a:lnTo>
                <a:lnTo>
                  <a:pt x="1039452" y="1847443"/>
                </a:lnTo>
                <a:lnTo>
                  <a:pt x="1037108" y="1845257"/>
                </a:lnTo>
                <a:close/>
                <a:moveTo>
                  <a:pt x="2962951" y="1840715"/>
                </a:moveTo>
                <a:lnTo>
                  <a:pt x="2962276" y="1843747"/>
                </a:lnTo>
                <a:lnTo>
                  <a:pt x="2957547" y="1851387"/>
                </a:lnTo>
                <a:lnTo>
                  <a:pt x="2956428" y="1854083"/>
                </a:lnTo>
                <a:lnTo>
                  <a:pt x="2956153" y="1859581"/>
                </a:lnTo>
                <a:lnTo>
                  <a:pt x="2955393" y="1861258"/>
                </a:lnTo>
                <a:lnTo>
                  <a:pt x="2941648" y="1865607"/>
                </a:lnTo>
                <a:lnTo>
                  <a:pt x="2936517" y="1868388"/>
                </a:lnTo>
                <a:lnTo>
                  <a:pt x="2933370" y="1872674"/>
                </a:lnTo>
                <a:lnTo>
                  <a:pt x="2932611" y="1874503"/>
                </a:lnTo>
                <a:lnTo>
                  <a:pt x="2926719" y="1872972"/>
                </a:lnTo>
                <a:lnTo>
                  <a:pt x="2919245" y="1871870"/>
                </a:lnTo>
                <a:lnTo>
                  <a:pt x="2904866" y="1870512"/>
                </a:lnTo>
                <a:lnTo>
                  <a:pt x="2899187" y="1868517"/>
                </a:lnTo>
                <a:lnTo>
                  <a:pt x="2896463" y="1865525"/>
                </a:lnTo>
                <a:lnTo>
                  <a:pt x="2896463" y="1865531"/>
                </a:lnTo>
                <a:lnTo>
                  <a:pt x="2899187" y="1868523"/>
                </a:lnTo>
                <a:lnTo>
                  <a:pt x="2904866" y="1870519"/>
                </a:lnTo>
                <a:lnTo>
                  <a:pt x="2919245" y="1871876"/>
                </a:lnTo>
                <a:lnTo>
                  <a:pt x="2926719" y="1872978"/>
                </a:lnTo>
                <a:lnTo>
                  <a:pt x="2932611" y="1874507"/>
                </a:lnTo>
                <a:lnTo>
                  <a:pt x="2933370" y="1872683"/>
                </a:lnTo>
                <a:lnTo>
                  <a:pt x="2936516" y="1868396"/>
                </a:lnTo>
                <a:lnTo>
                  <a:pt x="2941647" y="1865615"/>
                </a:lnTo>
                <a:lnTo>
                  <a:pt x="2955393" y="1861266"/>
                </a:lnTo>
                <a:lnTo>
                  <a:pt x="2956153" y="1859590"/>
                </a:lnTo>
                <a:lnTo>
                  <a:pt x="2956428" y="1854091"/>
                </a:lnTo>
                <a:lnTo>
                  <a:pt x="2957546" y="1851395"/>
                </a:lnTo>
                <a:lnTo>
                  <a:pt x="2962276" y="1843756"/>
                </a:lnTo>
                <a:lnTo>
                  <a:pt x="2962951" y="1840719"/>
                </a:lnTo>
                <a:close/>
                <a:moveTo>
                  <a:pt x="868372" y="1838760"/>
                </a:moveTo>
                <a:lnTo>
                  <a:pt x="866417" y="1842649"/>
                </a:lnTo>
                <a:lnTo>
                  <a:pt x="864707" y="1846977"/>
                </a:lnTo>
                <a:lnTo>
                  <a:pt x="864713" y="1847027"/>
                </a:lnTo>
                <a:lnTo>
                  <a:pt x="866354" y="1842841"/>
                </a:lnTo>
                <a:lnTo>
                  <a:pt x="868360" y="1838829"/>
                </a:lnTo>
                <a:close/>
                <a:moveTo>
                  <a:pt x="733821" y="1838687"/>
                </a:moveTo>
                <a:lnTo>
                  <a:pt x="733775" y="1838701"/>
                </a:lnTo>
                <a:lnTo>
                  <a:pt x="731412" y="1845680"/>
                </a:lnTo>
                <a:lnTo>
                  <a:pt x="731495" y="1845557"/>
                </a:lnTo>
                <a:close/>
                <a:moveTo>
                  <a:pt x="1343202" y="1837556"/>
                </a:moveTo>
                <a:lnTo>
                  <a:pt x="1342320" y="1841374"/>
                </a:lnTo>
                <a:lnTo>
                  <a:pt x="1338920" y="1847911"/>
                </a:lnTo>
                <a:lnTo>
                  <a:pt x="1338900" y="1851775"/>
                </a:lnTo>
                <a:lnTo>
                  <a:pt x="1338921" y="1847938"/>
                </a:lnTo>
                <a:lnTo>
                  <a:pt x="1342320" y="1841380"/>
                </a:lnTo>
                <a:lnTo>
                  <a:pt x="1343207" y="1837560"/>
                </a:lnTo>
                <a:close/>
                <a:moveTo>
                  <a:pt x="1533027" y="1833013"/>
                </a:moveTo>
                <a:lnTo>
                  <a:pt x="1531148" y="1841224"/>
                </a:lnTo>
                <a:lnTo>
                  <a:pt x="1529311" y="1847569"/>
                </a:lnTo>
                <a:lnTo>
                  <a:pt x="1529311" y="1847571"/>
                </a:lnTo>
                <a:lnTo>
                  <a:pt x="1531148" y="1841228"/>
                </a:lnTo>
                <a:lnTo>
                  <a:pt x="1533027" y="1833015"/>
                </a:lnTo>
                <a:close/>
                <a:moveTo>
                  <a:pt x="1342507" y="1828591"/>
                </a:moveTo>
                <a:lnTo>
                  <a:pt x="1341348" y="1833397"/>
                </a:lnTo>
                <a:lnTo>
                  <a:pt x="1341350" y="1833421"/>
                </a:lnTo>
                <a:lnTo>
                  <a:pt x="1342510" y="1828606"/>
                </a:lnTo>
                <a:close/>
                <a:moveTo>
                  <a:pt x="1517211" y="1824775"/>
                </a:moveTo>
                <a:lnTo>
                  <a:pt x="1515502" y="1826706"/>
                </a:lnTo>
                <a:lnTo>
                  <a:pt x="1515504" y="1826710"/>
                </a:lnTo>
                <a:lnTo>
                  <a:pt x="1517212" y="1824778"/>
                </a:lnTo>
                <a:close/>
                <a:moveTo>
                  <a:pt x="1019495" y="1824702"/>
                </a:moveTo>
                <a:lnTo>
                  <a:pt x="1019499" y="1824783"/>
                </a:lnTo>
                <a:lnTo>
                  <a:pt x="1022370" y="1828669"/>
                </a:lnTo>
                <a:lnTo>
                  <a:pt x="1025791" y="1830664"/>
                </a:lnTo>
                <a:lnTo>
                  <a:pt x="1029844" y="1830282"/>
                </a:lnTo>
                <a:lnTo>
                  <a:pt x="1033745" y="1829564"/>
                </a:lnTo>
                <a:lnTo>
                  <a:pt x="1033750" y="1829423"/>
                </a:lnTo>
                <a:lnTo>
                  <a:pt x="1029802" y="1830146"/>
                </a:lnTo>
                <a:lnTo>
                  <a:pt x="1025748" y="1830528"/>
                </a:lnTo>
                <a:lnTo>
                  <a:pt x="1022327" y="1828553"/>
                </a:lnTo>
                <a:close/>
                <a:moveTo>
                  <a:pt x="2970319" y="1822146"/>
                </a:moveTo>
                <a:lnTo>
                  <a:pt x="2970237" y="1822863"/>
                </a:lnTo>
                <a:lnTo>
                  <a:pt x="2968928" y="1825175"/>
                </a:lnTo>
                <a:lnTo>
                  <a:pt x="2965169" y="1828954"/>
                </a:lnTo>
                <a:lnTo>
                  <a:pt x="2963797" y="1831140"/>
                </a:lnTo>
                <a:lnTo>
                  <a:pt x="2963163" y="1834218"/>
                </a:lnTo>
                <a:lnTo>
                  <a:pt x="2963110" y="1835844"/>
                </a:lnTo>
                <a:lnTo>
                  <a:pt x="2963163" y="1834224"/>
                </a:lnTo>
                <a:lnTo>
                  <a:pt x="2963796" y="1831148"/>
                </a:lnTo>
                <a:lnTo>
                  <a:pt x="2965169" y="1828963"/>
                </a:lnTo>
                <a:lnTo>
                  <a:pt x="2968927" y="1825184"/>
                </a:lnTo>
                <a:lnTo>
                  <a:pt x="2970236" y="1822871"/>
                </a:lnTo>
                <a:close/>
                <a:moveTo>
                  <a:pt x="752007" y="1820770"/>
                </a:moveTo>
                <a:lnTo>
                  <a:pt x="751976" y="1820810"/>
                </a:lnTo>
                <a:lnTo>
                  <a:pt x="750052" y="1825412"/>
                </a:lnTo>
                <a:lnTo>
                  <a:pt x="750118" y="1825310"/>
                </a:lnTo>
                <a:close/>
                <a:moveTo>
                  <a:pt x="3218946" y="1818850"/>
                </a:moveTo>
                <a:lnTo>
                  <a:pt x="3216159" y="1821545"/>
                </a:lnTo>
                <a:lnTo>
                  <a:pt x="3210648" y="1826959"/>
                </a:lnTo>
                <a:lnTo>
                  <a:pt x="3210057" y="1831161"/>
                </a:lnTo>
                <a:lnTo>
                  <a:pt x="3210058" y="1831165"/>
                </a:lnTo>
                <a:lnTo>
                  <a:pt x="3210647" y="1826972"/>
                </a:lnTo>
                <a:lnTo>
                  <a:pt x="3216158" y="1821558"/>
                </a:lnTo>
                <a:lnTo>
                  <a:pt x="3218946" y="1818863"/>
                </a:lnTo>
                <a:close/>
                <a:moveTo>
                  <a:pt x="1521981" y="1818265"/>
                </a:moveTo>
                <a:lnTo>
                  <a:pt x="1521077" y="1819322"/>
                </a:lnTo>
                <a:lnTo>
                  <a:pt x="1518015" y="1820276"/>
                </a:lnTo>
                <a:lnTo>
                  <a:pt x="1516579" y="1822377"/>
                </a:lnTo>
                <a:lnTo>
                  <a:pt x="1516580" y="1822380"/>
                </a:lnTo>
                <a:lnTo>
                  <a:pt x="1518014" y="1820280"/>
                </a:lnTo>
                <a:lnTo>
                  <a:pt x="1521076" y="1819326"/>
                </a:lnTo>
                <a:lnTo>
                  <a:pt x="1521984" y="1818266"/>
                </a:lnTo>
                <a:close/>
                <a:moveTo>
                  <a:pt x="1325847" y="1815652"/>
                </a:moveTo>
                <a:lnTo>
                  <a:pt x="1326991" y="1817859"/>
                </a:lnTo>
                <a:lnTo>
                  <a:pt x="1328525" y="1820371"/>
                </a:lnTo>
                <a:lnTo>
                  <a:pt x="1326991" y="1817848"/>
                </a:lnTo>
                <a:close/>
                <a:moveTo>
                  <a:pt x="755700" y="1814173"/>
                </a:moveTo>
                <a:lnTo>
                  <a:pt x="755629" y="1814249"/>
                </a:lnTo>
                <a:lnTo>
                  <a:pt x="754842" y="1816417"/>
                </a:lnTo>
                <a:lnTo>
                  <a:pt x="754911" y="1816287"/>
                </a:lnTo>
                <a:close/>
                <a:moveTo>
                  <a:pt x="1520865" y="1813256"/>
                </a:moveTo>
                <a:lnTo>
                  <a:pt x="1520147" y="1814252"/>
                </a:lnTo>
                <a:lnTo>
                  <a:pt x="1518860" y="1814167"/>
                </a:lnTo>
                <a:lnTo>
                  <a:pt x="1517656" y="1814444"/>
                </a:lnTo>
                <a:lnTo>
                  <a:pt x="1517360" y="1815823"/>
                </a:lnTo>
                <a:lnTo>
                  <a:pt x="1517361" y="1815825"/>
                </a:lnTo>
                <a:lnTo>
                  <a:pt x="1517656" y="1814449"/>
                </a:lnTo>
                <a:lnTo>
                  <a:pt x="1518859" y="1814172"/>
                </a:lnTo>
                <a:lnTo>
                  <a:pt x="1520147" y="1814257"/>
                </a:lnTo>
                <a:lnTo>
                  <a:pt x="1520865" y="1813260"/>
                </a:lnTo>
                <a:close/>
                <a:moveTo>
                  <a:pt x="3510222" y="1811452"/>
                </a:moveTo>
                <a:lnTo>
                  <a:pt x="3509644" y="1814025"/>
                </a:lnTo>
                <a:lnTo>
                  <a:pt x="3510222" y="1811453"/>
                </a:lnTo>
                <a:close/>
                <a:moveTo>
                  <a:pt x="1338731" y="1806662"/>
                </a:moveTo>
                <a:lnTo>
                  <a:pt x="1336915" y="1809738"/>
                </a:lnTo>
                <a:lnTo>
                  <a:pt x="1336918" y="1809755"/>
                </a:lnTo>
                <a:lnTo>
                  <a:pt x="1338731" y="1806681"/>
                </a:lnTo>
                <a:close/>
                <a:moveTo>
                  <a:pt x="3514094" y="1803621"/>
                </a:moveTo>
                <a:lnTo>
                  <a:pt x="3514043" y="1803790"/>
                </a:lnTo>
                <a:lnTo>
                  <a:pt x="3514044" y="1803788"/>
                </a:lnTo>
                <a:close/>
                <a:moveTo>
                  <a:pt x="760930" y="1802736"/>
                </a:moveTo>
                <a:lnTo>
                  <a:pt x="760865" y="1802767"/>
                </a:lnTo>
                <a:lnTo>
                  <a:pt x="759514" y="1807267"/>
                </a:lnTo>
                <a:lnTo>
                  <a:pt x="757567" y="1812117"/>
                </a:lnTo>
                <a:lnTo>
                  <a:pt x="757635" y="1812043"/>
                </a:lnTo>
                <a:lnTo>
                  <a:pt x="759620" y="1807099"/>
                </a:lnTo>
                <a:close/>
                <a:moveTo>
                  <a:pt x="1522209" y="1801960"/>
                </a:moveTo>
                <a:lnTo>
                  <a:pt x="1522005" y="1803832"/>
                </a:lnTo>
                <a:lnTo>
                  <a:pt x="1521776" y="1804989"/>
                </a:lnTo>
                <a:lnTo>
                  <a:pt x="1522005" y="1803835"/>
                </a:lnTo>
                <a:close/>
                <a:moveTo>
                  <a:pt x="3255959" y="1799220"/>
                </a:moveTo>
                <a:lnTo>
                  <a:pt x="3253194" y="1803591"/>
                </a:lnTo>
                <a:lnTo>
                  <a:pt x="3248211" y="1808386"/>
                </a:lnTo>
                <a:lnTo>
                  <a:pt x="3234528" y="1811422"/>
                </a:lnTo>
                <a:lnTo>
                  <a:pt x="3227414" y="1814011"/>
                </a:lnTo>
                <a:lnTo>
                  <a:pt x="3220129" y="1817896"/>
                </a:lnTo>
                <a:lnTo>
                  <a:pt x="3218946" y="1818872"/>
                </a:lnTo>
                <a:lnTo>
                  <a:pt x="3218946" y="1818884"/>
                </a:lnTo>
                <a:lnTo>
                  <a:pt x="3220128" y="1817909"/>
                </a:lnTo>
                <a:lnTo>
                  <a:pt x="3227413" y="1814024"/>
                </a:lnTo>
                <a:lnTo>
                  <a:pt x="3234528" y="1811435"/>
                </a:lnTo>
                <a:lnTo>
                  <a:pt x="3248211" y="1808399"/>
                </a:lnTo>
                <a:lnTo>
                  <a:pt x="3253193" y="1803604"/>
                </a:lnTo>
                <a:lnTo>
                  <a:pt x="3255959" y="1799231"/>
                </a:lnTo>
                <a:close/>
                <a:moveTo>
                  <a:pt x="3513263" y="1798039"/>
                </a:moveTo>
                <a:lnTo>
                  <a:pt x="3513263" y="1798042"/>
                </a:lnTo>
                <a:lnTo>
                  <a:pt x="3513473" y="1799825"/>
                </a:lnTo>
                <a:lnTo>
                  <a:pt x="3513917" y="1801013"/>
                </a:lnTo>
                <a:lnTo>
                  <a:pt x="3514276" y="1802392"/>
                </a:lnTo>
                <a:lnTo>
                  <a:pt x="3514276" y="1802796"/>
                </a:lnTo>
                <a:lnTo>
                  <a:pt x="3514233" y="1803151"/>
                </a:lnTo>
                <a:lnTo>
                  <a:pt x="3514234" y="1803150"/>
                </a:lnTo>
                <a:lnTo>
                  <a:pt x="3514277" y="1802789"/>
                </a:lnTo>
                <a:lnTo>
                  <a:pt x="3514277" y="1802385"/>
                </a:lnTo>
                <a:lnTo>
                  <a:pt x="3513917" y="1801007"/>
                </a:lnTo>
                <a:lnTo>
                  <a:pt x="3513474" y="1799818"/>
                </a:lnTo>
                <a:close/>
                <a:moveTo>
                  <a:pt x="795852" y="1794894"/>
                </a:moveTo>
                <a:lnTo>
                  <a:pt x="795184" y="1798965"/>
                </a:lnTo>
                <a:lnTo>
                  <a:pt x="795261" y="1798948"/>
                </a:lnTo>
                <a:lnTo>
                  <a:pt x="795930" y="1794894"/>
                </a:lnTo>
                <a:close/>
                <a:moveTo>
                  <a:pt x="2429354" y="1794029"/>
                </a:moveTo>
                <a:lnTo>
                  <a:pt x="2422607" y="1796867"/>
                </a:lnTo>
                <a:lnTo>
                  <a:pt x="2409516" y="1797229"/>
                </a:lnTo>
                <a:lnTo>
                  <a:pt x="2401999" y="1795596"/>
                </a:lnTo>
                <a:lnTo>
                  <a:pt x="2398410" y="1795509"/>
                </a:lnTo>
                <a:lnTo>
                  <a:pt x="2394800" y="1796527"/>
                </a:lnTo>
                <a:lnTo>
                  <a:pt x="2380822" y="1797990"/>
                </a:lnTo>
                <a:lnTo>
                  <a:pt x="2366717" y="1797312"/>
                </a:lnTo>
                <a:lnTo>
                  <a:pt x="2353647" y="1795380"/>
                </a:lnTo>
                <a:lnTo>
                  <a:pt x="2345708" y="1795697"/>
                </a:lnTo>
                <a:lnTo>
                  <a:pt x="2339585" y="1800389"/>
                </a:lnTo>
                <a:lnTo>
                  <a:pt x="2334601" y="1807435"/>
                </a:lnTo>
                <a:lnTo>
                  <a:pt x="2329956" y="1813017"/>
                </a:lnTo>
                <a:lnTo>
                  <a:pt x="2329958" y="1813025"/>
                </a:lnTo>
                <a:lnTo>
                  <a:pt x="2334601" y="1807447"/>
                </a:lnTo>
                <a:lnTo>
                  <a:pt x="2339585" y="1800399"/>
                </a:lnTo>
                <a:lnTo>
                  <a:pt x="2345708" y="1795709"/>
                </a:lnTo>
                <a:lnTo>
                  <a:pt x="2353647" y="1795391"/>
                </a:lnTo>
                <a:lnTo>
                  <a:pt x="2366717" y="1797323"/>
                </a:lnTo>
                <a:lnTo>
                  <a:pt x="2380822" y="1798003"/>
                </a:lnTo>
                <a:lnTo>
                  <a:pt x="2394799" y="1796540"/>
                </a:lnTo>
                <a:lnTo>
                  <a:pt x="2398410" y="1795521"/>
                </a:lnTo>
                <a:lnTo>
                  <a:pt x="2401999" y="1795606"/>
                </a:lnTo>
                <a:lnTo>
                  <a:pt x="2409516" y="1797240"/>
                </a:lnTo>
                <a:lnTo>
                  <a:pt x="2422607" y="1796879"/>
                </a:lnTo>
                <a:lnTo>
                  <a:pt x="2429364" y="1794035"/>
                </a:lnTo>
                <a:close/>
                <a:moveTo>
                  <a:pt x="2984087" y="1787570"/>
                </a:moveTo>
                <a:lnTo>
                  <a:pt x="2983307" y="1791152"/>
                </a:lnTo>
                <a:lnTo>
                  <a:pt x="2980984" y="1795165"/>
                </a:lnTo>
                <a:lnTo>
                  <a:pt x="2972327" y="1804121"/>
                </a:lnTo>
                <a:lnTo>
                  <a:pt x="2970406" y="1808025"/>
                </a:lnTo>
                <a:lnTo>
                  <a:pt x="2970406" y="1808032"/>
                </a:lnTo>
                <a:lnTo>
                  <a:pt x="2972326" y="1804130"/>
                </a:lnTo>
                <a:lnTo>
                  <a:pt x="2980983" y="1795173"/>
                </a:lnTo>
                <a:lnTo>
                  <a:pt x="2983306" y="1791161"/>
                </a:lnTo>
                <a:lnTo>
                  <a:pt x="2984087" y="1787574"/>
                </a:lnTo>
                <a:close/>
                <a:moveTo>
                  <a:pt x="1076808" y="1781144"/>
                </a:moveTo>
                <a:lnTo>
                  <a:pt x="1080582" y="1782245"/>
                </a:lnTo>
                <a:lnTo>
                  <a:pt x="1084447" y="1785790"/>
                </a:lnTo>
                <a:lnTo>
                  <a:pt x="1085798" y="1785872"/>
                </a:lnTo>
                <a:lnTo>
                  <a:pt x="1085802" y="1785871"/>
                </a:lnTo>
                <a:lnTo>
                  <a:pt x="1084510" y="1785790"/>
                </a:lnTo>
                <a:lnTo>
                  <a:pt x="1080668" y="1782247"/>
                </a:lnTo>
                <a:close/>
                <a:moveTo>
                  <a:pt x="1337756" y="1780180"/>
                </a:moveTo>
                <a:lnTo>
                  <a:pt x="1336450" y="1782912"/>
                </a:lnTo>
                <a:lnTo>
                  <a:pt x="1336451" y="1782929"/>
                </a:lnTo>
                <a:lnTo>
                  <a:pt x="1337759" y="1780192"/>
                </a:lnTo>
                <a:close/>
                <a:moveTo>
                  <a:pt x="3535116" y="1779397"/>
                </a:moveTo>
                <a:lnTo>
                  <a:pt x="3534906" y="1783009"/>
                </a:lnTo>
                <a:lnTo>
                  <a:pt x="3533723" y="1786978"/>
                </a:lnTo>
                <a:lnTo>
                  <a:pt x="3527431" y="1799373"/>
                </a:lnTo>
                <a:lnTo>
                  <a:pt x="3525869" y="1803300"/>
                </a:lnTo>
                <a:lnTo>
                  <a:pt x="3523588" y="1810728"/>
                </a:lnTo>
                <a:lnTo>
                  <a:pt x="3521160" y="1823695"/>
                </a:lnTo>
                <a:lnTo>
                  <a:pt x="3521075" y="1826815"/>
                </a:lnTo>
                <a:lnTo>
                  <a:pt x="3521012" y="1826815"/>
                </a:lnTo>
                <a:lnTo>
                  <a:pt x="3509990" y="1826773"/>
                </a:lnTo>
                <a:lnTo>
                  <a:pt x="3509800" y="1826710"/>
                </a:lnTo>
                <a:lnTo>
                  <a:pt x="3509631" y="1826520"/>
                </a:lnTo>
                <a:lnTo>
                  <a:pt x="3509462" y="1826243"/>
                </a:lnTo>
                <a:lnTo>
                  <a:pt x="3509272" y="1825839"/>
                </a:lnTo>
                <a:lnTo>
                  <a:pt x="3508850" y="1824142"/>
                </a:lnTo>
                <a:lnTo>
                  <a:pt x="3508617" y="1821489"/>
                </a:lnTo>
                <a:lnTo>
                  <a:pt x="3508617" y="1821490"/>
                </a:lnTo>
                <a:lnTo>
                  <a:pt x="3508850" y="1824144"/>
                </a:lnTo>
                <a:lnTo>
                  <a:pt x="3509271" y="1825842"/>
                </a:lnTo>
                <a:lnTo>
                  <a:pt x="3509461" y="1826245"/>
                </a:lnTo>
                <a:lnTo>
                  <a:pt x="3509630" y="1826522"/>
                </a:lnTo>
                <a:lnTo>
                  <a:pt x="3509799" y="1826712"/>
                </a:lnTo>
                <a:lnTo>
                  <a:pt x="3509989" y="1826775"/>
                </a:lnTo>
                <a:lnTo>
                  <a:pt x="3521011" y="1826818"/>
                </a:lnTo>
                <a:lnTo>
                  <a:pt x="3521075" y="1826818"/>
                </a:lnTo>
                <a:lnTo>
                  <a:pt x="3521011" y="1829259"/>
                </a:lnTo>
                <a:lnTo>
                  <a:pt x="3521158" y="1833290"/>
                </a:lnTo>
                <a:lnTo>
                  <a:pt x="3521012" y="1829274"/>
                </a:lnTo>
                <a:lnTo>
                  <a:pt x="3521075" y="1826834"/>
                </a:lnTo>
                <a:lnTo>
                  <a:pt x="3521160" y="1823715"/>
                </a:lnTo>
                <a:lnTo>
                  <a:pt x="3523588" y="1810746"/>
                </a:lnTo>
                <a:lnTo>
                  <a:pt x="3525869" y="1803318"/>
                </a:lnTo>
                <a:lnTo>
                  <a:pt x="3527431" y="1799391"/>
                </a:lnTo>
                <a:lnTo>
                  <a:pt x="3533723" y="1786997"/>
                </a:lnTo>
                <a:lnTo>
                  <a:pt x="3534905" y="1783027"/>
                </a:lnTo>
                <a:lnTo>
                  <a:pt x="3535116" y="1779398"/>
                </a:lnTo>
                <a:close/>
                <a:moveTo>
                  <a:pt x="1524188" y="1777666"/>
                </a:moveTo>
                <a:lnTo>
                  <a:pt x="1524117" y="1778341"/>
                </a:lnTo>
                <a:lnTo>
                  <a:pt x="1523167" y="1780272"/>
                </a:lnTo>
                <a:lnTo>
                  <a:pt x="1523167" y="1780275"/>
                </a:lnTo>
                <a:lnTo>
                  <a:pt x="1524117" y="1778344"/>
                </a:lnTo>
                <a:close/>
                <a:moveTo>
                  <a:pt x="1195207" y="1777025"/>
                </a:moveTo>
                <a:lnTo>
                  <a:pt x="1199480" y="1779977"/>
                </a:lnTo>
                <a:lnTo>
                  <a:pt x="1202477" y="1786789"/>
                </a:lnTo>
                <a:lnTo>
                  <a:pt x="1205751" y="1791691"/>
                </a:lnTo>
                <a:lnTo>
                  <a:pt x="1207165" y="1798695"/>
                </a:lnTo>
                <a:lnTo>
                  <a:pt x="1212338" y="1802367"/>
                </a:lnTo>
                <a:lnTo>
                  <a:pt x="1216392" y="1804044"/>
                </a:lnTo>
                <a:lnTo>
                  <a:pt x="1221882" y="1809117"/>
                </a:lnTo>
                <a:lnTo>
                  <a:pt x="1227562" y="1811706"/>
                </a:lnTo>
                <a:lnTo>
                  <a:pt x="1233431" y="1811111"/>
                </a:lnTo>
                <a:lnTo>
                  <a:pt x="1236176" y="1813762"/>
                </a:lnTo>
                <a:lnTo>
                  <a:pt x="1240568" y="1815631"/>
                </a:lnTo>
                <a:lnTo>
                  <a:pt x="1244960" y="1815760"/>
                </a:lnTo>
                <a:lnTo>
                  <a:pt x="1248825" y="1809901"/>
                </a:lnTo>
                <a:lnTo>
                  <a:pt x="1253934" y="1807589"/>
                </a:lnTo>
                <a:lnTo>
                  <a:pt x="1266835" y="1802918"/>
                </a:lnTo>
                <a:lnTo>
                  <a:pt x="1271923" y="1800796"/>
                </a:lnTo>
                <a:lnTo>
                  <a:pt x="1277076" y="1799459"/>
                </a:lnTo>
                <a:lnTo>
                  <a:pt x="1289491" y="1799035"/>
                </a:lnTo>
                <a:lnTo>
                  <a:pt x="1301040" y="1800478"/>
                </a:lnTo>
                <a:lnTo>
                  <a:pt x="1306763" y="1801559"/>
                </a:lnTo>
                <a:lnTo>
                  <a:pt x="1309570" y="1800982"/>
                </a:lnTo>
                <a:lnTo>
                  <a:pt x="1306742" y="1801546"/>
                </a:lnTo>
                <a:lnTo>
                  <a:pt x="1301020" y="1800465"/>
                </a:lnTo>
                <a:lnTo>
                  <a:pt x="1289470" y="1799022"/>
                </a:lnTo>
                <a:lnTo>
                  <a:pt x="1277054" y="1799447"/>
                </a:lnTo>
                <a:lnTo>
                  <a:pt x="1271903" y="1800784"/>
                </a:lnTo>
                <a:lnTo>
                  <a:pt x="1266814" y="1802905"/>
                </a:lnTo>
                <a:lnTo>
                  <a:pt x="1253913" y="1807595"/>
                </a:lnTo>
                <a:lnTo>
                  <a:pt x="1248825" y="1809889"/>
                </a:lnTo>
                <a:lnTo>
                  <a:pt x="1244961" y="1815745"/>
                </a:lnTo>
                <a:lnTo>
                  <a:pt x="1240569" y="1815619"/>
                </a:lnTo>
                <a:lnTo>
                  <a:pt x="1236198" y="1813750"/>
                </a:lnTo>
                <a:lnTo>
                  <a:pt x="1233453" y="1811098"/>
                </a:lnTo>
                <a:lnTo>
                  <a:pt x="1227562" y="1811672"/>
                </a:lnTo>
                <a:lnTo>
                  <a:pt x="1221882" y="1809105"/>
                </a:lnTo>
                <a:lnTo>
                  <a:pt x="1216392" y="1804031"/>
                </a:lnTo>
                <a:lnTo>
                  <a:pt x="1212338" y="1802354"/>
                </a:lnTo>
                <a:lnTo>
                  <a:pt x="1207165" y="1798682"/>
                </a:lnTo>
                <a:lnTo>
                  <a:pt x="1205751" y="1791679"/>
                </a:lnTo>
                <a:lnTo>
                  <a:pt x="1202478" y="1786776"/>
                </a:lnTo>
                <a:lnTo>
                  <a:pt x="1199480" y="1779941"/>
                </a:lnTo>
                <a:close/>
                <a:moveTo>
                  <a:pt x="1063998" y="1774051"/>
                </a:moveTo>
                <a:lnTo>
                  <a:pt x="1065296" y="1778871"/>
                </a:lnTo>
                <a:lnTo>
                  <a:pt x="1065356" y="1778882"/>
                </a:lnTo>
                <a:lnTo>
                  <a:pt x="1064071" y="1774054"/>
                </a:lnTo>
                <a:close/>
                <a:moveTo>
                  <a:pt x="1094402" y="1773428"/>
                </a:moveTo>
                <a:lnTo>
                  <a:pt x="1092576" y="1773736"/>
                </a:lnTo>
                <a:lnTo>
                  <a:pt x="1089810" y="1773905"/>
                </a:lnTo>
                <a:lnTo>
                  <a:pt x="1089798" y="1773923"/>
                </a:lnTo>
                <a:lnTo>
                  <a:pt x="1092512" y="1773757"/>
                </a:lnTo>
                <a:close/>
                <a:moveTo>
                  <a:pt x="1101507" y="1773013"/>
                </a:moveTo>
                <a:lnTo>
                  <a:pt x="1097155" y="1773032"/>
                </a:lnTo>
                <a:lnTo>
                  <a:pt x="1101444" y="1773032"/>
                </a:lnTo>
                <a:lnTo>
                  <a:pt x="1104992" y="1773502"/>
                </a:lnTo>
                <a:lnTo>
                  <a:pt x="1105007" y="1773473"/>
                </a:lnTo>
                <a:close/>
                <a:moveTo>
                  <a:pt x="1546922" y="1771243"/>
                </a:moveTo>
                <a:lnTo>
                  <a:pt x="1546921" y="1771252"/>
                </a:lnTo>
                <a:lnTo>
                  <a:pt x="1547913" y="1772865"/>
                </a:lnTo>
                <a:lnTo>
                  <a:pt x="1548631" y="1773356"/>
                </a:lnTo>
                <a:lnTo>
                  <a:pt x="1558470" y="1779935"/>
                </a:lnTo>
                <a:lnTo>
                  <a:pt x="1571371" y="1788574"/>
                </a:lnTo>
                <a:lnTo>
                  <a:pt x="1580493" y="1794666"/>
                </a:lnTo>
                <a:lnTo>
                  <a:pt x="1581252" y="1796723"/>
                </a:lnTo>
                <a:lnTo>
                  <a:pt x="1581400" y="1809501"/>
                </a:lnTo>
                <a:lnTo>
                  <a:pt x="1581506" y="1820474"/>
                </a:lnTo>
                <a:lnTo>
                  <a:pt x="1583385" y="1826735"/>
                </a:lnTo>
                <a:lnTo>
                  <a:pt x="1583786" y="1832827"/>
                </a:lnTo>
                <a:lnTo>
                  <a:pt x="1586088" y="1837410"/>
                </a:lnTo>
                <a:lnTo>
                  <a:pt x="1594491" y="1846262"/>
                </a:lnTo>
                <a:lnTo>
                  <a:pt x="1596497" y="1851481"/>
                </a:lnTo>
                <a:lnTo>
                  <a:pt x="1596729" y="1868206"/>
                </a:lnTo>
                <a:lnTo>
                  <a:pt x="1596877" y="1880879"/>
                </a:lnTo>
                <a:lnTo>
                  <a:pt x="1597954" y="1898134"/>
                </a:lnTo>
                <a:lnTo>
                  <a:pt x="1597954" y="1898124"/>
                </a:lnTo>
                <a:lnTo>
                  <a:pt x="1596878" y="1880869"/>
                </a:lnTo>
                <a:lnTo>
                  <a:pt x="1596730" y="1868198"/>
                </a:lnTo>
                <a:lnTo>
                  <a:pt x="1596498" y="1851473"/>
                </a:lnTo>
                <a:lnTo>
                  <a:pt x="1594492" y="1846252"/>
                </a:lnTo>
                <a:lnTo>
                  <a:pt x="1586088" y="1837400"/>
                </a:lnTo>
                <a:lnTo>
                  <a:pt x="1583787" y="1832817"/>
                </a:lnTo>
                <a:lnTo>
                  <a:pt x="1583386" y="1826725"/>
                </a:lnTo>
                <a:lnTo>
                  <a:pt x="1581507" y="1820464"/>
                </a:lnTo>
                <a:lnTo>
                  <a:pt x="1581401" y="1809491"/>
                </a:lnTo>
                <a:lnTo>
                  <a:pt x="1581253" y="1796715"/>
                </a:lnTo>
                <a:lnTo>
                  <a:pt x="1580493" y="1794656"/>
                </a:lnTo>
                <a:lnTo>
                  <a:pt x="1571371" y="1788564"/>
                </a:lnTo>
                <a:lnTo>
                  <a:pt x="1558470" y="1779925"/>
                </a:lnTo>
                <a:lnTo>
                  <a:pt x="1548631" y="1773345"/>
                </a:lnTo>
                <a:lnTo>
                  <a:pt x="1547913" y="1772855"/>
                </a:lnTo>
                <a:close/>
                <a:moveTo>
                  <a:pt x="1336553" y="1770307"/>
                </a:moveTo>
                <a:lnTo>
                  <a:pt x="1334360" y="1772661"/>
                </a:lnTo>
                <a:lnTo>
                  <a:pt x="1334361" y="1772679"/>
                </a:lnTo>
                <a:lnTo>
                  <a:pt x="1336556" y="1770323"/>
                </a:lnTo>
                <a:close/>
                <a:moveTo>
                  <a:pt x="3030435" y="1769211"/>
                </a:moveTo>
                <a:lnTo>
                  <a:pt x="3000030" y="1775344"/>
                </a:lnTo>
                <a:lnTo>
                  <a:pt x="2995680" y="1774643"/>
                </a:lnTo>
                <a:lnTo>
                  <a:pt x="2989303" y="1775745"/>
                </a:lnTo>
                <a:lnTo>
                  <a:pt x="2987107" y="1776826"/>
                </a:lnTo>
                <a:lnTo>
                  <a:pt x="2984532" y="1780308"/>
                </a:lnTo>
                <a:lnTo>
                  <a:pt x="2984004" y="1783914"/>
                </a:lnTo>
                <a:lnTo>
                  <a:pt x="2984004" y="1783917"/>
                </a:lnTo>
                <a:lnTo>
                  <a:pt x="2984531" y="1780315"/>
                </a:lnTo>
                <a:lnTo>
                  <a:pt x="2987107" y="1776835"/>
                </a:lnTo>
                <a:lnTo>
                  <a:pt x="2989303" y="1775753"/>
                </a:lnTo>
                <a:lnTo>
                  <a:pt x="2995679" y="1774651"/>
                </a:lnTo>
                <a:lnTo>
                  <a:pt x="3000029" y="1775353"/>
                </a:lnTo>
                <a:lnTo>
                  <a:pt x="3030434" y="1769219"/>
                </a:lnTo>
                <a:lnTo>
                  <a:pt x="3034003" y="1770048"/>
                </a:lnTo>
                <a:lnTo>
                  <a:pt x="3035586" y="1773679"/>
                </a:lnTo>
                <a:lnTo>
                  <a:pt x="3035438" y="1779493"/>
                </a:lnTo>
                <a:lnTo>
                  <a:pt x="3035966" y="1782316"/>
                </a:lnTo>
                <a:lnTo>
                  <a:pt x="3037592" y="1784311"/>
                </a:lnTo>
                <a:lnTo>
                  <a:pt x="3042427" y="1787072"/>
                </a:lnTo>
                <a:lnTo>
                  <a:pt x="3045763" y="1791698"/>
                </a:lnTo>
                <a:lnTo>
                  <a:pt x="3047558" y="1793395"/>
                </a:lnTo>
                <a:lnTo>
                  <a:pt x="3052436" y="1796558"/>
                </a:lnTo>
                <a:lnTo>
                  <a:pt x="3075050" y="1822960"/>
                </a:lnTo>
                <a:lnTo>
                  <a:pt x="3081426" y="1825467"/>
                </a:lnTo>
                <a:lnTo>
                  <a:pt x="3087612" y="1824552"/>
                </a:lnTo>
                <a:lnTo>
                  <a:pt x="3099902" y="1819075"/>
                </a:lnTo>
                <a:lnTo>
                  <a:pt x="3106046" y="1817696"/>
                </a:lnTo>
                <a:lnTo>
                  <a:pt x="3149035" y="1819245"/>
                </a:lnTo>
                <a:lnTo>
                  <a:pt x="3153849" y="1818418"/>
                </a:lnTo>
                <a:lnTo>
                  <a:pt x="3154145" y="1818545"/>
                </a:lnTo>
                <a:lnTo>
                  <a:pt x="3160691" y="1831790"/>
                </a:lnTo>
                <a:lnTo>
                  <a:pt x="3163794" y="1834803"/>
                </a:lnTo>
                <a:lnTo>
                  <a:pt x="3210943" y="1834951"/>
                </a:lnTo>
                <a:lnTo>
                  <a:pt x="3210939" y="1834938"/>
                </a:lnTo>
                <a:lnTo>
                  <a:pt x="3163795" y="1834790"/>
                </a:lnTo>
                <a:lnTo>
                  <a:pt x="3160691" y="1831777"/>
                </a:lnTo>
                <a:lnTo>
                  <a:pt x="3154145" y="1818532"/>
                </a:lnTo>
                <a:lnTo>
                  <a:pt x="3153849" y="1818405"/>
                </a:lnTo>
                <a:lnTo>
                  <a:pt x="3149035" y="1819235"/>
                </a:lnTo>
                <a:lnTo>
                  <a:pt x="3106047" y="1817685"/>
                </a:lnTo>
                <a:lnTo>
                  <a:pt x="3099902" y="1819064"/>
                </a:lnTo>
                <a:lnTo>
                  <a:pt x="3087613" y="1824541"/>
                </a:lnTo>
                <a:lnTo>
                  <a:pt x="3081427" y="1825456"/>
                </a:lnTo>
                <a:lnTo>
                  <a:pt x="3075050" y="1822951"/>
                </a:lnTo>
                <a:lnTo>
                  <a:pt x="3052436" y="1796548"/>
                </a:lnTo>
                <a:lnTo>
                  <a:pt x="3047559" y="1793385"/>
                </a:lnTo>
                <a:lnTo>
                  <a:pt x="3045764" y="1791687"/>
                </a:lnTo>
                <a:lnTo>
                  <a:pt x="3042428" y="1787061"/>
                </a:lnTo>
                <a:lnTo>
                  <a:pt x="3037593" y="1784301"/>
                </a:lnTo>
                <a:lnTo>
                  <a:pt x="3035967" y="1782305"/>
                </a:lnTo>
                <a:lnTo>
                  <a:pt x="3035439" y="1779483"/>
                </a:lnTo>
                <a:lnTo>
                  <a:pt x="3035587" y="1773668"/>
                </a:lnTo>
                <a:lnTo>
                  <a:pt x="3034003" y="1770038"/>
                </a:lnTo>
                <a:close/>
                <a:moveTo>
                  <a:pt x="1174377" y="1768865"/>
                </a:moveTo>
                <a:lnTo>
                  <a:pt x="1174374" y="1768875"/>
                </a:lnTo>
                <a:lnTo>
                  <a:pt x="1174374" y="1768876"/>
                </a:lnTo>
                <a:lnTo>
                  <a:pt x="1178069" y="1772866"/>
                </a:lnTo>
                <a:lnTo>
                  <a:pt x="1182757" y="1775605"/>
                </a:lnTo>
                <a:lnTo>
                  <a:pt x="1189872" y="1775264"/>
                </a:lnTo>
                <a:lnTo>
                  <a:pt x="1195020" y="1776898"/>
                </a:lnTo>
                <a:lnTo>
                  <a:pt x="1195003" y="1776886"/>
                </a:lnTo>
                <a:lnTo>
                  <a:pt x="1189851" y="1775252"/>
                </a:lnTo>
                <a:lnTo>
                  <a:pt x="1182735" y="1775592"/>
                </a:lnTo>
                <a:lnTo>
                  <a:pt x="1178069" y="1772853"/>
                </a:lnTo>
                <a:close/>
                <a:moveTo>
                  <a:pt x="1057378" y="1768047"/>
                </a:moveTo>
                <a:lnTo>
                  <a:pt x="1057349" y="1768050"/>
                </a:lnTo>
                <a:lnTo>
                  <a:pt x="1059764" y="1771377"/>
                </a:lnTo>
                <a:lnTo>
                  <a:pt x="1062235" y="1773947"/>
                </a:lnTo>
                <a:lnTo>
                  <a:pt x="1062277" y="1773949"/>
                </a:lnTo>
                <a:lnTo>
                  <a:pt x="1059828" y="1771423"/>
                </a:lnTo>
                <a:close/>
                <a:moveTo>
                  <a:pt x="1172411" y="1768024"/>
                </a:moveTo>
                <a:lnTo>
                  <a:pt x="1164260" y="1768427"/>
                </a:lnTo>
                <a:lnTo>
                  <a:pt x="1155392" y="1771059"/>
                </a:lnTo>
                <a:lnTo>
                  <a:pt x="1155385" y="1771063"/>
                </a:lnTo>
                <a:lnTo>
                  <a:pt x="1164196" y="1768448"/>
                </a:lnTo>
                <a:lnTo>
                  <a:pt x="1172347" y="1768045"/>
                </a:lnTo>
                <a:lnTo>
                  <a:pt x="1174300" y="1768842"/>
                </a:lnTo>
                <a:close/>
                <a:moveTo>
                  <a:pt x="2787975" y="1759926"/>
                </a:moveTo>
                <a:lnTo>
                  <a:pt x="2787974" y="1759927"/>
                </a:lnTo>
                <a:lnTo>
                  <a:pt x="2787974" y="1762157"/>
                </a:lnTo>
                <a:lnTo>
                  <a:pt x="2789136" y="1766740"/>
                </a:lnTo>
                <a:lnTo>
                  <a:pt x="2789116" y="1772180"/>
                </a:lnTo>
                <a:lnTo>
                  <a:pt x="2789137" y="1766729"/>
                </a:lnTo>
                <a:lnTo>
                  <a:pt x="2787975" y="1762144"/>
                </a:lnTo>
                <a:close/>
                <a:moveTo>
                  <a:pt x="4029410" y="1758395"/>
                </a:moveTo>
                <a:lnTo>
                  <a:pt x="4029410" y="1758397"/>
                </a:lnTo>
                <a:lnTo>
                  <a:pt x="4030170" y="1760371"/>
                </a:lnTo>
                <a:lnTo>
                  <a:pt x="4033485" y="1764914"/>
                </a:lnTo>
                <a:lnTo>
                  <a:pt x="4036948" y="1772278"/>
                </a:lnTo>
                <a:lnTo>
                  <a:pt x="4038890" y="1779027"/>
                </a:lnTo>
                <a:lnTo>
                  <a:pt x="4040389" y="1782294"/>
                </a:lnTo>
                <a:lnTo>
                  <a:pt x="4044592" y="1786030"/>
                </a:lnTo>
                <a:lnTo>
                  <a:pt x="4050651" y="1793735"/>
                </a:lnTo>
                <a:lnTo>
                  <a:pt x="4053860" y="1798935"/>
                </a:lnTo>
                <a:lnTo>
                  <a:pt x="4060554" y="1801716"/>
                </a:lnTo>
                <a:lnTo>
                  <a:pt x="4062728" y="1808295"/>
                </a:lnTo>
                <a:lnTo>
                  <a:pt x="4067733" y="1817974"/>
                </a:lnTo>
                <a:lnTo>
                  <a:pt x="4073138" y="1825698"/>
                </a:lnTo>
                <a:lnTo>
                  <a:pt x="4078375" y="1831748"/>
                </a:lnTo>
                <a:lnTo>
                  <a:pt x="4084202" y="1834082"/>
                </a:lnTo>
                <a:lnTo>
                  <a:pt x="4086546" y="1834272"/>
                </a:lnTo>
                <a:lnTo>
                  <a:pt x="4098771" y="1845457"/>
                </a:lnTo>
                <a:lnTo>
                  <a:pt x="4108083" y="1853968"/>
                </a:lnTo>
                <a:lnTo>
                  <a:pt x="4110384" y="1855326"/>
                </a:lnTo>
                <a:lnTo>
                  <a:pt x="4127171" y="1860909"/>
                </a:lnTo>
                <a:lnTo>
                  <a:pt x="4146490" y="1867319"/>
                </a:lnTo>
                <a:lnTo>
                  <a:pt x="4161988" y="1872454"/>
                </a:lnTo>
                <a:lnTo>
                  <a:pt x="4181731" y="1878991"/>
                </a:lnTo>
                <a:lnTo>
                  <a:pt x="4201199" y="1885465"/>
                </a:lnTo>
                <a:lnTo>
                  <a:pt x="4219463" y="1891620"/>
                </a:lnTo>
                <a:lnTo>
                  <a:pt x="4245096" y="1900279"/>
                </a:lnTo>
                <a:lnTo>
                  <a:pt x="4265746" y="1907261"/>
                </a:lnTo>
                <a:lnTo>
                  <a:pt x="4282046" y="1912781"/>
                </a:lnTo>
                <a:lnTo>
                  <a:pt x="4285510" y="1914499"/>
                </a:lnTo>
                <a:lnTo>
                  <a:pt x="4304914" y="1914499"/>
                </a:lnTo>
                <a:lnTo>
                  <a:pt x="4324614" y="1914499"/>
                </a:lnTo>
                <a:lnTo>
                  <a:pt x="4344772" y="1914499"/>
                </a:lnTo>
                <a:lnTo>
                  <a:pt x="4344778" y="1914494"/>
                </a:lnTo>
                <a:lnTo>
                  <a:pt x="4324614" y="1914494"/>
                </a:lnTo>
                <a:lnTo>
                  <a:pt x="4304914" y="1914494"/>
                </a:lnTo>
                <a:lnTo>
                  <a:pt x="4285509" y="1914494"/>
                </a:lnTo>
                <a:lnTo>
                  <a:pt x="4282046" y="1912775"/>
                </a:lnTo>
                <a:lnTo>
                  <a:pt x="4265746" y="1907258"/>
                </a:lnTo>
                <a:lnTo>
                  <a:pt x="4245095" y="1900275"/>
                </a:lnTo>
                <a:lnTo>
                  <a:pt x="4219463" y="1891616"/>
                </a:lnTo>
                <a:lnTo>
                  <a:pt x="4201199" y="1885461"/>
                </a:lnTo>
                <a:lnTo>
                  <a:pt x="4181730" y="1878987"/>
                </a:lnTo>
                <a:lnTo>
                  <a:pt x="4161988" y="1872450"/>
                </a:lnTo>
                <a:lnTo>
                  <a:pt x="4146490" y="1867313"/>
                </a:lnTo>
                <a:lnTo>
                  <a:pt x="4127171" y="1860905"/>
                </a:lnTo>
                <a:lnTo>
                  <a:pt x="4110384" y="1855322"/>
                </a:lnTo>
                <a:lnTo>
                  <a:pt x="4108083" y="1853965"/>
                </a:lnTo>
                <a:lnTo>
                  <a:pt x="4098771" y="1845453"/>
                </a:lnTo>
                <a:lnTo>
                  <a:pt x="4086546" y="1834269"/>
                </a:lnTo>
                <a:lnTo>
                  <a:pt x="4084202" y="1834078"/>
                </a:lnTo>
                <a:lnTo>
                  <a:pt x="4078375" y="1831744"/>
                </a:lnTo>
                <a:lnTo>
                  <a:pt x="4073138" y="1825694"/>
                </a:lnTo>
                <a:lnTo>
                  <a:pt x="4067733" y="1817968"/>
                </a:lnTo>
                <a:lnTo>
                  <a:pt x="4062728" y="1808292"/>
                </a:lnTo>
                <a:lnTo>
                  <a:pt x="4060553" y="1801710"/>
                </a:lnTo>
                <a:lnTo>
                  <a:pt x="4053860" y="1798931"/>
                </a:lnTo>
                <a:lnTo>
                  <a:pt x="4050651" y="1793731"/>
                </a:lnTo>
                <a:lnTo>
                  <a:pt x="4044592" y="1786026"/>
                </a:lnTo>
                <a:lnTo>
                  <a:pt x="4040389" y="1782291"/>
                </a:lnTo>
                <a:lnTo>
                  <a:pt x="4038890" y="1779022"/>
                </a:lnTo>
                <a:lnTo>
                  <a:pt x="4036948" y="1772275"/>
                </a:lnTo>
                <a:lnTo>
                  <a:pt x="4033484" y="1764909"/>
                </a:lnTo>
                <a:lnTo>
                  <a:pt x="4030170" y="1760366"/>
                </a:lnTo>
                <a:close/>
                <a:moveTo>
                  <a:pt x="1107378" y="1754994"/>
                </a:moveTo>
                <a:lnTo>
                  <a:pt x="1107337" y="1755036"/>
                </a:lnTo>
                <a:lnTo>
                  <a:pt x="1112614" y="1759241"/>
                </a:lnTo>
                <a:lnTo>
                  <a:pt x="1117470" y="1760769"/>
                </a:lnTo>
                <a:lnTo>
                  <a:pt x="1120955" y="1760896"/>
                </a:lnTo>
                <a:lnTo>
                  <a:pt x="1121006" y="1760853"/>
                </a:lnTo>
                <a:lnTo>
                  <a:pt x="1117533" y="1760748"/>
                </a:lnTo>
                <a:lnTo>
                  <a:pt x="1112677" y="1759219"/>
                </a:lnTo>
                <a:close/>
                <a:moveTo>
                  <a:pt x="1130667" y="1750940"/>
                </a:moveTo>
                <a:lnTo>
                  <a:pt x="1130603" y="1750959"/>
                </a:lnTo>
                <a:lnTo>
                  <a:pt x="1130603" y="1750959"/>
                </a:lnTo>
                <a:lnTo>
                  <a:pt x="1130490" y="1750993"/>
                </a:lnTo>
                <a:lnTo>
                  <a:pt x="1124459" y="1752809"/>
                </a:lnTo>
                <a:lnTo>
                  <a:pt x="1122200" y="1753276"/>
                </a:lnTo>
                <a:lnTo>
                  <a:pt x="1122181" y="1753287"/>
                </a:lnTo>
                <a:lnTo>
                  <a:pt x="1124417" y="1752828"/>
                </a:lnTo>
                <a:lnTo>
                  <a:pt x="1130490" y="1750993"/>
                </a:lnTo>
                <a:lnTo>
                  <a:pt x="1130603" y="1750959"/>
                </a:lnTo>
                <a:lnTo>
                  <a:pt x="1131237" y="1751320"/>
                </a:lnTo>
                <a:lnTo>
                  <a:pt x="1132398" y="1758579"/>
                </a:lnTo>
                <a:lnTo>
                  <a:pt x="1131871" y="1760955"/>
                </a:lnTo>
                <a:lnTo>
                  <a:pt x="1133179" y="1765882"/>
                </a:lnTo>
                <a:lnTo>
                  <a:pt x="1134784" y="1770444"/>
                </a:lnTo>
                <a:lnTo>
                  <a:pt x="1134657" y="1772312"/>
                </a:lnTo>
                <a:lnTo>
                  <a:pt x="1133327" y="1775135"/>
                </a:lnTo>
                <a:lnTo>
                  <a:pt x="1131765" y="1777724"/>
                </a:lnTo>
                <a:lnTo>
                  <a:pt x="1131934" y="1778784"/>
                </a:lnTo>
                <a:lnTo>
                  <a:pt x="1134405" y="1780545"/>
                </a:lnTo>
                <a:lnTo>
                  <a:pt x="1139133" y="1782371"/>
                </a:lnTo>
                <a:lnTo>
                  <a:pt x="1144032" y="1782796"/>
                </a:lnTo>
                <a:lnTo>
                  <a:pt x="1144057" y="1782772"/>
                </a:lnTo>
                <a:lnTo>
                  <a:pt x="1139197" y="1782350"/>
                </a:lnTo>
                <a:lnTo>
                  <a:pt x="1134468" y="1780525"/>
                </a:lnTo>
                <a:lnTo>
                  <a:pt x="1131997" y="1778765"/>
                </a:lnTo>
                <a:lnTo>
                  <a:pt x="1131850" y="1777705"/>
                </a:lnTo>
                <a:lnTo>
                  <a:pt x="1133391" y="1775116"/>
                </a:lnTo>
                <a:lnTo>
                  <a:pt x="1134721" y="1772293"/>
                </a:lnTo>
                <a:lnTo>
                  <a:pt x="1134847" y="1770425"/>
                </a:lnTo>
                <a:lnTo>
                  <a:pt x="1133243" y="1765841"/>
                </a:lnTo>
                <a:lnTo>
                  <a:pt x="1131934" y="1760917"/>
                </a:lnTo>
                <a:lnTo>
                  <a:pt x="1132461" y="1758560"/>
                </a:lnTo>
                <a:lnTo>
                  <a:pt x="1131300" y="1751301"/>
                </a:lnTo>
                <a:close/>
                <a:moveTo>
                  <a:pt x="1008413" y="1749390"/>
                </a:moveTo>
                <a:lnTo>
                  <a:pt x="1008413" y="1749396"/>
                </a:lnTo>
                <a:lnTo>
                  <a:pt x="1009743" y="1757333"/>
                </a:lnTo>
                <a:lnTo>
                  <a:pt x="1011834" y="1765273"/>
                </a:lnTo>
                <a:lnTo>
                  <a:pt x="1013903" y="1768158"/>
                </a:lnTo>
                <a:lnTo>
                  <a:pt x="1027184" y="1775141"/>
                </a:lnTo>
                <a:lnTo>
                  <a:pt x="1028472" y="1777751"/>
                </a:lnTo>
                <a:lnTo>
                  <a:pt x="1029126" y="1780700"/>
                </a:lnTo>
                <a:lnTo>
                  <a:pt x="1029127" y="1780694"/>
                </a:lnTo>
                <a:lnTo>
                  <a:pt x="1028472" y="1777745"/>
                </a:lnTo>
                <a:lnTo>
                  <a:pt x="1027184" y="1775134"/>
                </a:lnTo>
                <a:lnTo>
                  <a:pt x="1013903" y="1768151"/>
                </a:lnTo>
                <a:lnTo>
                  <a:pt x="1011834" y="1765264"/>
                </a:lnTo>
                <a:lnTo>
                  <a:pt x="1009743" y="1757328"/>
                </a:lnTo>
                <a:close/>
                <a:moveTo>
                  <a:pt x="3464994" y="1748910"/>
                </a:moveTo>
                <a:lnTo>
                  <a:pt x="3464967" y="1749133"/>
                </a:lnTo>
                <a:lnTo>
                  <a:pt x="3464910" y="1749612"/>
                </a:lnTo>
                <a:lnTo>
                  <a:pt x="3465543" y="1750100"/>
                </a:lnTo>
                <a:lnTo>
                  <a:pt x="3478571" y="1754937"/>
                </a:lnTo>
                <a:lnTo>
                  <a:pt x="3479205" y="1755235"/>
                </a:lnTo>
                <a:lnTo>
                  <a:pt x="3479711" y="1755617"/>
                </a:lnTo>
                <a:lnTo>
                  <a:pt x="3484398" y="1761369"/>
                </a:lnTo>
                <a:lnTo>
                  <a:pt x="3510053" y="1782529"/>
                </a:lnTo>
                <a:lnTo>
                  <a:pt x="3510940" y="1783589"/>
                </a:lnTo>
                <a:lnTo>
                  <a:pt x="3513601" y="1790232"/>
                </a:lnTo>
                <a:lnTo>
                  <a:pt x="3513895" y="1791250"/>
                </a:lnTo>
                <a:lnTo>
                  <a:pt x="3513980" y="1792821"/>
                </a:lnTo>
                <a:lnTo>
                  <a:pt x="3513917" y="1794051"/>
                </a:lnTo>
                <a:lnTo>
                  <a:pt x="3513917" y="1794045"/>
                </a:lnTo>
                <a:lnTo>
                  <a:pt x="3513981" y="1792816"/>
                </a:lnTo>
                <a:lnTo>
                  <a:pt x="3513896" y="1791246"/>
                </a:lnTo>
                <a:lnTo>
                  <a:pt x="3513601" y="1790226"/>
                </a:lnTo>
                <a:lnTo>
                  <a:pt x="3510940" y="1783583"/>
                </a:lnTo>
                <a:lnTo>
                  <a:pt x="3510054" y="1782523"/>
                </a:lnTo>
                <a:lnTo>
                  <a:pt x="3484399" y="1761364"/>
                </a:lnTo>
                <a:lnTo>
                  <a:pt x="3479712" y="1755613"/>
                </a:lnTo>
                <a:lnTo>
                  <a:pt x="3479205" y="1755228"/>
                </a:lnTo>
                <a:lnTo>
                  <a:pt x="3478572" y="1754931"/>
                </a:lnTo>
                <a:lnTo>
                  <a:pt x="3465544" y="1750093"/>
                </a:lnTo>
                <a:lnTo>
                  <a:pt x="3464911" y="1749606"/>
                </a:lnTo>
                <a:lnTo>
                  <a:pt x="3464967" y="1749133"/>
                </a:lnTo>
                <a:lnTo>
                  <a:pt x="3464994" y="1748911"/>
                </a:lnTo>
                <a:close/>
                <a:moveTo>
                  <a:pt x="3550340" y="1741514"/>
                </a:moveTo>
                <a:lnTo>
                  <a:pt x="3546560" y="1743765"/>
                </a:lnTo>
                <a:lnTo>
                  <a:pt x="3542021" y="1747097"/>
                </a:lnTo>
                <a:lnTo>
                  <a:pt x="3536827" y="1754865"/>
                </a:lnTo>
                <a:lnTo>
                  <a:pt x="3532794" y="1762718"/>
                </a:lnTo>
                <a:lnTo>
                  <a:pt x="3532796" y="1762732"/>
                </a:lnTo>
                <a:lnTo>
                  <a:pt x="3536827" y="1754884"/>
                </a:lnTo>
                <a:lnTo>
                  <a:pt x="3542021" y="1747116"/>
                </a:lnTo>
                <a:lnTo>
                  <a:pt x="3546560" y="1743784"/>
                </a:lnTo>
                <a:lnTo>
                  <a:pt x="3550340" y="1741536"/>
                </a:lnTo>
                <a:lnTo>
                  <a:pt x="3552114" y="1742490"/>
                </a:lnTo>
                <a:lnTo>
                  <a:pt x="3556463" y="1746074"/>
                </a:lnTo>
                <a:lnTo>
                  <a:pt x="3562164" y="1749620"/>
                </a:lnTo>
                <a:lnTo>
                  <a:pt x="3564824" y="1748834"/>
                </a:lnTo>
                <a:lnTo>
                  <a:pt x="3568730" y="1745735"/>
                </a:lnTo>
                <a:lnTo>
                  <a:pt x="3571645" y="1742466"/>
                </a:lnTo>
                <a:lnTo>
                  <a:pt x="3571644" y="1742449"/>
                </a:lnTo>
                <a:lnTo>
                  <a:pt x="3568731" y="1745716"/>
                </a:lnTo>
                <a:lnTo>
                  <a:pt x="3564824" y="1748816"/>
                </a:lnTo>
                <a:lnTo>
                  <a:pt x="3562164" y="1749601"/>
                </a:lnTo>
                <a:lnTo>
                  <a:pt x="3556463" y="1746056"/>
                </a:lnTo>
                <a:lnTo>
                  <a:pt x="3552114" y="1742471"/>
                </a:lnTo>
                <a:close/>
                <a:moveTo>
                  <a:pt x="1500870" y="1740861"/>
                </a:moveTo>
                <a:lnTo>
                  <a:pt x="1498083" y="1746314"/>
                </a:lnTo>
                <a:lnTo>
                  <a:pt x="1496330" y="1751451"/>
                </a:lnTo>
                <a:lnTo>
                  <a:pt x="1496330" y="1751453"/>
                </a:lnTo>
                <a:lnTo>
                  <a:pt x="1498082" y="1746318"/>
                </a:lnTo>
                <a:lnTo>
                  <a:pt x="1500869" y="1740864"/>
                </a:lnTo>
                <a:close/>
                <a:moveTo>
                  <a:pt x="2856326" y="1739139"/>
                </a:moveTo>
                <a:lnTo>
                  <a:pt x="2856324" y="1739143"/>
                </a:lnTo>
                <a:lnTo>
                  <a:pt x="2860504" y="1746633"/>
                </a:lnTo>
                <a:lnTo>
                  <a:pt x="2862510" y="1749266"/>
                </a:lnTo>
                <a:lnTo>
                  <a:pt x="2879782" y="1766966"/>
                </a:lnTo>
                <a:lnTo>
                  <a:pt x="2883118" y="1771168"/>
                </a:lnTo>
                <a:lnTo>
                  <a:pt x="2891669" y="1784010"/>
                </a:lnTo>
                <a:lnTo>
                  <a:pt x="2896906" y="1792669"/>
                </a:lnTo>
                <a:lnTo>
                  <a:pt x="2902924" y="1805127"/>
                </a:lnTo>
                <a:lnTo>
                  <a:pt x="2903493" y="1811894"/>
                </a:lnTo>
                <a:lnTo>
                  <a:pt x="2903494" y="1811892"/>
                </a:lnTo>
                <a:lnTo>
                  <a:pt x="2902924" y="1805122"/>
                </a:lnTo>
                <a:lnTo>
                  <a:pt x="2896906" y="1792662"/>
                </a:lnTo>
                <a:lnTo>
                  <a:pt x="2891669" y="1784003"/>
                </a:lnTo>
                <a:lnTo>
                  <a:pt x="2883118" y="1771163"/>
                </a:lnTo>
                <a:lnTo>
                  <a:pt x="2879782" y="1766960"/>
                </a:lnTo>
                <a:lnTo>
                  <a:pt x="2862510" y="1749259"/>
                </a:lnTo>
                <a:lnTo>
                  <a:pt x="2860504" y="1746628"/>
                </a:lnTo>
                <a:close/>
                <a:moveTo>
                  <a:pt x="1502241" y="1733032"/>
                </a:moveTo>
                <a:lnTo>
                  <a:pt x="1501029" y="1739955"/>
                </a:lnTo>
                <a:lnTo>
                  <a:pt x="1502242" y="1733033"/>
                </a:lnTo>
                <a:close/>
                <a:moveTo>
                  <a:pt x="1176340" y="1731752"/>
                </a:moveTo>
                <a:lnTo>
                  <a:pt x="1176338" y="1731753"/>
                </a:lnTo>
                <a:lnTo>
                  <a:pt x="1177625" y="1738462"/>
                </a:lnTo>
                <a:lnTo>
                  <a:pt x="1178301" y="1748067"/>
                </a:lnTo>
                <a:lnTo>
                  <a:pt x="1178301" y="1748063"/>
                </a:lnTo>
                <a:lnTo>
                  <a:pt x="1177626" y="1738449"/>
                </a:lnTo>
                <a:close/>
                <a:moveTo>
                  <a:pt x="999503" y="1731392"/>
                </a:moveTo>
                <a:lnTo>
                  <a:pt x="994224" y="1734491"/>
                </a:lnTo>
                <a:lnTo>
                  <a:pt x="991690" y="1735088"/>
                </a:lnTo>
                <a:lnTo>
                  <a:pt x="989325" y="1734874"/>
                </a:lnTo>
                <a:lnTo>
                  <a:pt x="988102" y="1733730"/>
                </a:lnTo>
                <a:lnTo>
                  <a:pt x="988101" y="1733736"/>
                </a:lnTo>
                <a:lnTo>
                  <a:pt x="989325" y="1734880"/>
                </a:lnTo>
                <a:lnTo>
                  <a:pt x="991690" y="1735093"/>
                </a:lnTo>
                <a:lnTo>
                  <a:pt x="994224" y="1734498"/>
                </a:lnTo>
                <a:lnTo>
                  <a:pt x="999503" y="1731398"/>
                </a:lnTo>
                <a:lnTo>
                  <a:pt x="1003641" y="1732500"/>
                </a:lnTo>
                <a:lnTo>
                  <a:pt x="1007632" y="1734878"/>
                </a:lnTo>
                <a:lnTo>
                  <a:pt x="1009088" y="1737339"/>
                </a:lnTo>
                <a:lnTo>
                  <a:pt x="1009468" y="1740562"/>
                </a:lnTo>
                <a:lnTo>
                  <a:pt x="1009469" y="1740560"/>
                </a:lnTo>
                <a:lnTo>
                  <a:pt x="1009088" y="1737334"/>
                </a:lnTo>
                <a:lnTo>
                  <a:pt x="1007632" y="1734872"/>
                </a:lnTo>
                <a:lnTo>
                  <a:pt x="1003641" y="1732495"/>
                </a:lnTo>
                <a:close/>
                <a:moveTo>
                  <a:pt x="3423143" y="1727428"/>
                </a:moveTo>
                <a:lnTo>
                  <a:pt x="3422871" y="1728928"/>
                </a:lnTo>
                <a:lnTo>
                  <a:pt x="3421900" y="1730818"/>
                </a:lnTo>
                <a:lnTo>
                  <a:pt x="3393966" y="1754631"/>
                </a:lnTo>
                <a:lnTo>
                  <a:pt x="3393184" y="1755754"/>
                </a:lnTo>
                <a:lnTo>
                  <a:pt x="3389298" y="1765689"/>
                </a:lnTo>
                <a:lnTo>
                  <a:pt x="3385604" y="1771440"/>
                </a:lnTo>
                <a:lnTo>
                  <a:pt x="3383978" y="1773096"/>
                </a:lnTo>
                <a:lnTo>
                  <a:pt x="3377496" y="1781180"/>
                </a:lnTo>
                <a:lnTo>
                  <a:pt x="3352010" y="1806546"/>
                </a:lnTo>
                <a:lnTo>
                  <a:pt x="3347830" y="1808243"/>
                </a:lnTo>
                <a:lnTo>
                  <a:pt x="3335139" y="1808942"/>
                </a:lnTo>
                <a:lnTo>
                  <a:pt x="3328426" y="1809132"/>
                </a:lnTo>
                <a:lnTo>
                  <a:pt x="3327665" y="1809324"/>
                </a:lnTo>
                <a:lnTo>
                  <a:pt x="3326526" y="1809746"/>
                </a:lnTo>
                <a:lnTo>
                  <a:pt x="3325829" y="1810408"/>
                </a:lnTo>
                <a:lnTo>
                  <a:pt x="3325005" y="1810895"/>
                </a:lnTo>
                <a:lnTo>
                  <a:pt x="3324181" y="1810639"/>
                </a:lnTo>
                <a:lnTo>
                  <a:pt x="3323231" y="1809938"/>
                </a:lnTo>
                <a:lnTo>
                  <a:pt x="3307564" y="1795739"/>
                </a:lnTo>
                <a:lnTo>
                  <a:pt x="3279608" y="1777804"/>
                </a:lnTo>
                <a:lnTo>
                  <a:pt x="3276927" y="1779438"/>
                </a:lnTo>
                <a:lnTo>
                  <a:pt x="3261112" y="1787164"/>
                </a:lnTo>
                <a:lnTo>
                  <a:pt x="3257860" y="1789159"/>
                </a:lnTo>
                <a:lnTo>
                  <a:pt x="3256045" y="1790580"/>
                </a:lnTo>
                <a:lnTo>
                  <a:pt x="3256045" y="1790593"/>
                </a:lnTo>
                <a:lnTo>
                  <a:pt x="3257859" y="1789172"/>
                </a:lnTo>
                <a:lnTo>
                  <a:pt x="3261112" y="1787177"/>
                </a:lnTo>
                <a:lnTo>
                  <a:pt x="3276926" y="1779451"/>
                </a:lnTo>
                <a:lnTo>
                  <a:pt x="3279608" y="1777817"/>
                </a:lnTo>
                <a:lnTo>
                  <a:pt x="3307563" y="1795752"/>
                </a:lnTo>
                <a:lnTo>
                  <a:pt x="3323230" y="1809949"/>
                </a:lnTo>
                <a:lnTo>
                  <a:pt x="3324181" y="1810648"/>
                </a:lnTo>
                <a:lnTo>
                  <a:pt x="3325004" y="1810903"/>
                </a:lnTo>
                <a:lnTo>
                  <a:pt x="3325828" y="1810416"/>
                </a:lnTo>
                <a:lnTo>
                  <a:pt x="3326525" y="1809756"/>
                </a:lnTo>
                <a:lnTo>
                  <a:pt x="3327664" y="1809332"/>
                </a:lnTo>
                <a:lnTo>
                  <a:pt x="3328425" y="1809142"/>
                </a:lnTo>
                <a:lnTo>
                  <a:pt x="3335139" y="1808952"/>
                </a:lnTo>
                <a:lnTo>
                  <a:pt x="3347829" y="1808251"/>
                </a:lnTo>
                <a:lnTo>
                  <a:pt x="3352010" y="1806554"/>
                </a:lnTo>
                <a:lnTo>
                  <a:pt x="3377495" y="1781191"/>
                </a:lnTo>
                <a:lnTo>
                  <a:pt x="3383977" y="1773107"/>
                </a:lnTo>
                <a:lnTo>
                  <a:pt x="3385603" y="1771451"/>
                </a:lnTo>
                <a:lnTo>
                  <a:pt x="3389298" y="1765699"/>
                </a:lnTo>
                <a:lnTo>
                  <a:pt x="3393183" y="1755764"/>
                </a:lnTo>
                <a:lnTo>
                  <a:pt x="3393965" y="1754641"/>
                </a:lnTo>
                <a:lnTo>
                  <a:pt x="3421899" y="1730828"/>
                </a:lnTo>
                <a:lnTo>
                  <a:pt x="3422871" y="1728939"/>
                </a:lnTo>
                <a:lnTo>
                  <a:pt x="3423145" y="1727431"/>
                </a:lnTo>
                <a:close/>
                <a:moveTo>
                  <a:pt x="3573882" y="1724562"/>
                </a:moveTo>
                <a:lnTo>
                  <a:pt x="3571264" y="1736591"/>
                </a:lnTo>
                <a:lnTo>
                  <a:pt x="3571265" y="1736606"/>
                </a:lnTo>
                <a:lnTo>
                  <a:pt x="3573883" y="1724575"/>
                </a:lnTo>
                <a:close/>
                <a:moveTo>
                  <a:pt x="1483936" y="1724230"/>
                </a:moveTo>
                <a:lnTo>
                  <a:pt x="1483155" y="1727117"/>
                </a:lnTo>
                <a:lnTo>
                  <a:pt x="1481191" y="1728986"/>
                </a:lnTo>
                <a:lnTo>
                  <a:pt x="1478235" y="1729112"/>
                </a:lnTo>
                <a:lnTo>
                  <a:pt x="1476187" y="1728667"/>
                </a:lnTo>
                <a:lnTo>
                  <a:pt x="1474814" y="1730896"/>
                </a:lnTo>
                <a:lnTo>
                  <a:pt x="1472534" y="1733846"/>
                </a:lnTo>
                <a:lnTo>
                  <a:pt x="1469367" y="1735267"/>
                </a:lnTo>
                <a:lnTo>
                  <a:pt x="1466263" y="1737091"/>
                </a:lnTo>
                <a:lnTo>
                  <a:pt x="1464511" y="1738683"/>
                </a:lnTo>
                <a:lnTo>
                  <a:pt x="1463244" y="1738704"/>
                </a:lnTo>
                <a:lnTo>
                  <a:pt x="1460119" y="1734969"/>
                </a:lnTo>
                <a:lnTo>
                  <a:pt x="1455959" y="1734587"/>
                </a:lnTo>
                <a:lnTo>
                  <a:pt x="1448189" y="1735203"/>
                </a:lnTo>
                <a:lnTo>
                  <a:pt x="1444684" y="1734186"/>
                </a:lnTo>
                <a:lnTo>
                  <a:pt x="1439912" y="1733698"/>
                </a:lnTo>
                <a:lnTo>
                  <a:pt x="1428637" y="1734463"/>
                </a:lnTo>
                <a:lnTo>
                  <a:pt x="1410626" y="1732934"/>
                </a:lnTo>
                <a:lnTo>
                  <a:pt x="1407670" y="1733761"/>
                </a:lnTo>
                <a:lnTo>
                  <a:pt x="1406888" y="1734441"/>
                </a:lnTo>
                <a:lnTo>
                  <a:pt x="1389047" y="1734610"/>
                </a:lnTo>
                <a:lnTo>
                  <a:pt x="1369431" y="1734800"/>
                </a:lnTo>
                <a:lnTo>
                  <a:pt x="1353005" y="1734969"/>
                </a:lnTo>
                <a:lnTo>
                  <a:pt x="1338625" y="1735117"/>
                </a:lnTo>
                <a:lnTo>
                  <a:pt x="1338604" y="1734480"/>
                </a:lnTo>
                <a:lnTo>
                  <a:pt x="1333980" y="1734395"/>
                </a:lnTo>
                <a:lnTo>
                  <a:pt x="1333473" y="1735647"/>
                </a:lnTo>
                <a:lnTo>
                  <a:pt x="1329398" y="1750675"/>
                </a:lnTo>
                <a:lnTo>
                  <a:pt x="1328954" y="1758846"/>
                </a:lnTo>
                <a:lnTo>
                  <a:pt x="1328955" y="1758848"/>
                </a:lnTo>
                <a:lnTo>
                  <a:pt x="1329398" y="1750693"/>
                </a:lnTo>
                <a:lnTo>
                  <a:pt x="1333473" y="1735666"/>
                </a:lnTo>
                <a:lnTo>
                  <a:pt x="1333980" y="1734413"/>
                </a:lnTo>
                <a:lnTo>
                  <a:pt x="1338604" y="1734498"/>
                </a:lnTo>
                <a:lnTo>
                  <a:pt x="1338625" y="1735135"/>
                </a:lnTo>
                <a:lnTo>
                  <a:pt x="1353005" y="1734987"/>
                </a:lnTo>
                <a:lnTo>
                  <a:pt x="1369431" y="1734819"/>
                </a:lnTo>
                <a:lnTo>
                  <a:pt x="1389047" y="1734629"/>
                </a:lnTo>
                <a:lnTo>
                  <a:pt x="1406889" y="1734460"/>
                </a:lnTo>
                <a:lnTo>
                  <a:pt x="1407670" y="1733780"/>
                </a:lnTo>
                <a:lnTo>
                  <a:pt x="1410626" y="1732952"/>
                </a:lnTo>
                <a:lnTo>
                  <a:pt x="1428637" y="1734481"/>
                </a:lnTo>
                <a:lnTo>
                  <a:pt x="1439912" y="1733719"/>
                </a:lnTo>
                <a:lnTo>
                  <a:pt x="1444684" y="1734207"/>
                </a:lnTo>
                <a:lnTo>
                  <a:pt x="1448189" y="1735224"/>
                </a:lnTo>
                <a:lnTo>
                  <a:pt x="1455959" y="1734608"/>
                </a:lnTo>
                <a:lnTo>
                  <a:pt x="1460119" y="1734990"/>
                </a:lnTo>
                <a:lnTo>
                  <a:pt x="1463244" y="1738725"/>
                </a:lnTo>
                <a:lnTo>
                  <a:pt x="1464511" y="1738704"/>
                </a:lnTo>
                <a:lnTo>
                  <a:pt x="1466263" y="1737112"/>
                </a:lnTo>
                <a:lnTo>
                  <a:pt x="1469367" y="1735288"/>
                </a:lnTo>
                <a:lnTo>
                  <a:pt x="1472534" y="1733867"/>
                </a:lnTo>
                <a:lnTo>
                  <a:pt x="1474814" y="1730917"/>
                </a:lnTo>
                <a:lnTo>
                  <a:pt x="1476187" y="1728689"/>
                </a:lnTo>
                <a:lnTo>
                  <a:pt x="1478235" y="1729134"/>
                </a:lnTo>
                <a:lnTo>
                  <a:pt x="1481191" y="1729009"/>
                </a:lnTo>
                <a:lnTo>
                  <a:pt x="1483155" y="1727140"/>
                </a:lnTo>
                <a:lnTo>
                  <a:pt x="1483936" y="1724253"/>
                </a:lnTo>
                <a:lnTo>
                  <a:pt x="1497618" y="1727319"/>
                </a:lnTo>
                <a:lnTo>
                  <a:pt x="1497624" y="1727325"/>
                </a:lnTo>
                <a:lnTo>
                  <a:pt x="1511110" y="1730104"/>
                </a:lnTo>
                <a:lnTo>
                  <a:pt x="1530366" y="1734794"/>
                </a:lnTo>
                <a:lnTo>
                  <a:pt x="1530768" y="1735621"/>
                </a:lnTo>
                <a:lnTo>
                  <a:pt x="1530895" y="1737022"/>
                </a:lnTo>
                <a:lnTo>
                  <a:pt x="1534230" y="1736979"/>
                </a:lnTo>
                <a:lnTo>
                  <a:pt x="1539784" y="1735324"/>
                </a:lnTo>
                <a:lnTo>
                  <a:pt x="1555047" y="1734705"/>
                </a:lnTo>
                <a:lnTo>
                  <a:pt x="1555049" y="1734694"/>
                </a:lnTo>
                <a:lnTo>
                  <a:pt x="1556465" y="1734716"/>
                </a:lnTo>
                <a:lnTo>
                  <a:pt x="1558449" y="1732615"/>
                </a:lnTo>
                <a:lnTo>
                  <a:pt x="1560054" y="1729516"/>
                </a:lnTo>
                <a:lnTo>
                  <a:pt x="1561764" y="1730195"/>
                </a:lnTo>
                <a:lnTo>
                  <a:pt x="1564636" y="1730790"/>
                </a:lnTo>
                <a:lnTo>
                  <a:pt x="1565945" y="1729688"/>
                </a:lnTo>
                <a:lnTo>
                  <a:pt x="1565945" y="1729686"/>
                </a:lnTo>
                <a:lnTo>
                  <a:pt x="1564636" y="1730788"/>
                </a:lnTo>
                <a:lnTo>
                  <a:pt x="1561765" y="1730193"/>
                </a:lnTo>
                <a:lnTo>
                  <a:pt x="1560054" y="1729514"/>
                </a:lnTo>
                <a:lnTo>
                  <a:pt x="1558449" y="1732613"/>
                </a:lnTo>
                <a:lnTo>
                  <a:pt x="1556465" y="1734714"/>
                </a:lnTo>
                <a:lnTo>
                  <a:pt x="1555050" y="1734693"/>
                </a:lnTo>
                <a:lnTo>
                  <a:pt x="1539784" y="1735310"/>
                </a:lnTo>
                <a:lnTo>
                  <a:pt x="1534231" y="1736965"/>
                </a:lnTo>
                <a:lnTo>
                  <a:pt x="1530895" y="1737007"/>
                </a:lnTo>
                <a:lnTo>
                  <a:pt x="1530768" y="1735607"/>
                </a:lnTo>
                <a:lnTo>
                  <a:pt x="1530367" y="1734779"/>
                </a:lnTo>
                <a:lnTo>
                  <a:pt x="1511110" y="1730090"/>
                </a:lnTo>
                <a:lnTo>
                  <a:pt x="1497618" y="1727309"/>
                </a:lnTo>
                <a:close/>
                <a:moveTo>
                  <a:pt x="557236" y="1722696"/>
                </a:moveTo>
                <a:lnTo>
                  <a:pt x="558925" y="1724586"/>
                </a:lnTo>
                <a:lnTo>
                  <a:pt x="559158" y="1725368"/>
                </a:lnTo>
                <a:lnTo>
                  <a:pt x="559727" y="1729336"/>
                </a:lnTo>
                <a:lnTo>
                  <a:pt x="559179" y="1731013"/>
                </a:lnTo>
                <a:lnTo>
                  <a:pt x="555694" y="1730757"/>
                </a:lnTo>
                <a:lnTo>
                  <a:pt x="556476" y="1729059"/>
                </a:lnTo>
                <a:lnTo>
                  <a:pt x="555715" y="1728571"/>
                </a:lnTo>
                <a:lnTo>
                  <a:pt x="556708" y="1723479"/>
                </a:lnTo>
                <a:close/>
                <a:moveTo>
                  <a:pt x="548389" y="1722335"/>
                </a:moveTo>
                <a:lnTo>
                  <a:pt x="549592" y="1722442"/>
                </a:lnTo>
                <a:lnTo>
                  <a:pt x="550458" y="1727237"/>
                </a:lnTo>
                <a:lnTo>
                  <a:pt x="549318" y="1729254"/>
                </a:lnTo>
                <a:lnTo>
                  <a:pt x="546784" y="1730740"/>
                </a:lnTo>
                <a:lnTo>
                  <a:pt x="546784" y="1730736"/>
                </a:lnTo>
                <a:lnTo>
                  <a:pt x="542033" y="1731627"/>
                </a:lnTo>
                <a:lnTo>
                  <a:pt x="539879" y="1728635"/>
                </a:lnTo>
                <a:lnTo>
                  <a:pt x="539562" y="1727469"/>
                </a:lnTo>
                <a:lnTo>
                  <a:pt x="542033" y="1726473"/>
                </a:lnTo>
                <a:lnTo>
                  <a:pt x="543153" y="1726431"/>
                </a:lnTo>
                <a:lnTo>
                  <a:pt x="545032" y="1724243"/>
                </a:lnTo>
                <a:lnTo>
                  <a:pt x="547354" y="1722801"/>
                </a:lnTo>
                <a:close/>
                <a:moveTo>
                  <a:pt x="1569577" y="1721602"/>
                </a:moveTo>
                <a:lnTo>
                  <a:pt x="1568985" y="1723768"/>
                </a:lnTo>
                <a:lnTo>
                  <a:pt x="1566726" y="1724870"/>
                </a:lnTo>
                <a:lnTo>
                  <a:pt x="1565776" y="1727290"/>
                </a:lnTo>
                <a:lnTo>
                  <a:pt x="1565776" y="1727292"/>
                </a:lnTo>
                <a:lnTo>
                  <a:pt x="1566726" y="1724872"/>
                </a:lnTo>
                <a:lnTo>
                  <a:pt x="1568985" y="1723770"/>
                </a:lnTo>
                <a:lnTo>
                  <a:pt x="1569577" y="1721604"/>
                </a:lnTo>
                <a:close/>
                <a:moveTo>
                  <a:pt x="3977270" y="1718621"/>
                </a:moveTo>
                <a:lnTo>
                  <a:pt x="3977594" y="1722969"/>
                </a:lnTo>
                <a:lnTo>
                  <a:pt x="3977891" y="1726792"/>
                </a:lnTo>
                <a:lnTo>
                  <a:pt x="3977594" y="1722966"/>
                </a:lnTo>
                <a:close/>
                <a:moveTo>
                  <a:pt x="570285" y="1716114"/>
                </a:moveTo>
                <a:lnTo>
                  <a:pt x="572988" y="1716433"/>
                </a:lnTo>
                <a:lnTo>
                  <a:pt x="573790" y="1717028"/>
                </a:lnTo>
                <a:lnTo>
                  <a:pt x="573261" y="1718747"/>
                </a:lnTo>
                <a:lnTo>
                  <a:pt x="572080" y="1720168"/>
                </a:lnTo>
                <a:lnTo>
                  <a:pt x="569841" y="1721314"/>
                </a:lnTo>
                <a:lnTo>
                  <a:pt x="569841" y="1723796"/>
                </a:lnTo>
                <a:lnTo>
                  <a:pt x="567329" y="1723329"/>
                </a:lnTo>
                <a:lnTo>
                  <a:pt x="566589" y="1722588"/>
                </a:lnTo>
                <a:lnTo>
                  <a:pt x="568089" y="1718109"/>
                </a:lnTo>
                <a:close/>
                <a:moveTo>
                  <a:pt x="1584146" y="1709675"/>
                </a:moveTo>
                <a:lnTo>
                  <a:pt x="1584145" y="1709676"/>
                </a:lnTo>
                <a:lnTo>
                  <a:pt x="1583981" y="1709858"/>
                </a:lnTo>
                <a:lnTo>
                  <a:pt x="1582562" y="1711435"/>
                </a:lnTo>
                <a:lnTo>
                  <a:pt x="1579733" y="1716485"/>
                </a:lnTo>
                <a:lnTo>
                  <a:pt x="1577559" y="1717759"/>
                </a:lnTo>
                <a:lnTo>
                  <a:pt x="1574856" y="1718544"/>
                </a:lnTo>
                <a:lnTo>
                  <a:pt x="1571519" y="1718439"/>
                </a:lnTo>
                <a:lnTo>
                  <a:pt x="1569577" y="1719097"/>
                </a:lnTo>
                <a:lnTo>
                  <a:pt x="1569577" y="1719100"/>
                </a:lnTo>
                <a:lnTo>
                  <a:pt x="1571519" y="1718441"/>
                </a:lnTo>
                <a:lnTo>
                  <a:pt x="1574856" y="1718546"/>
                </a:lnTo>
                <a:lnTo>
                  <a:pt x="1577558" y="1717761"/>
                </a:lnTo>
                <a:lnTo>
                  <a:pt x="1579732" y="1716488"/>
                </a:lnTo>
                <a:lnTo>
                  <a:pt x="1582562" y="1711437"/>
                </a:lnTo>
                <a:lnTo>
                  <a:pt x="1583981" y="1709858"/>
                </a:lnTo>
                <a:close/>
                <a:moveTo>
                  <a:pt x="2397774" y="1701640"/>
                </a:moveTo>
                <a:lnTo>
                  <a:pt x="2393849" y="1712077"/>
                </a:lnTo>
                <a:lnTo>
                  <a:pt x="2392667" y="1718465"/>
                </a:lnTo>
                <a:lnTo>
                  <a:pt x="2392667" y="1718474"/>
                </a:lnTo>
                <a:lnTo>
                  <a:pt x="2393849" y="1712087"/>
                </a:lnTo>
                <a:lnTo>
                  <a:pt x="2397776" y="1701646"/>
                </a:lnTo>
                <a:close/>
                <a:moveTo>
                  <a:pt x="3461532" y="1698604"/>
                </a:moveTo>
                <a:lnTo>
                  <a:pt x="3461532" y="1698609"/>
                </a:lnTo>
                <a:lnTo>
                  <a:pt x="3467401" y="1743349"/>
                </a:lnTo>
                <a:lnTo>
                  <a:pt x="3467402" y="1743343"/>
                </a:lnTo>
                <a:close/>
                <a:moveTo>
                  <a:pt x="555652" y="1698177"/>
                </a:moveTo>
                <a:lnTo>
                  <a:pt x="558566" y="1698730"/>
                </a:lnTo>
                <a:lnTo>
                  <a:pt x="559369" y="1706201"/>
                </a:lnTo>
                <a:lnTo>
                  <a:pt x="556581" y="1708090"/>
                </a:lnTo>
                <a:lnTo>
                  <a:pt x="553710" y="1707197"/>
                </a:lnTo>
                <a:lnTo>
                  <a:pt x="552168" y="1705499"/>
                </a:lnTo>
                <a:lnTo>
                  <a:pt x="552401" y="1702466"/>
                </a:lnTo>
                <a:close/>
                <a:moveTo>
                  <a:pt x="3461553" y="1697738"/>
                </a:moveTo>
                <a:lnTo>
                  <a:pt x="3461552" y="1697740"/>
                </a:lnTo>
                <a:lnTo>
                  <a:pt x="3461535" y="1698459"/>
                </a:lnTo>
                <a:close/>
                <a:moveTo>
                  <a:pt x="584221" y="1696119"/>
                </a:moveTo>
                <a:lnTo>
                  <a:pt x="584115" y="1700025"/>
                </a:lnTo>
                <a:lnTo>
                  <a:pt x="581645" y="1700852"/>
                </a:lnTo>
                <a:lnTo>
                  <a:pt x="580018" y="1701891"/>
                </a:lnTo>
                <a:lnTo>
                  <a:pt x="580018" y="1701894"/>
                </a:lnTo>
                <a:lnTo>
                  <a:pt x="579470" y="1703293"/>
                </a:lnTo>
                <a:lnTo>
                  <a:pt x="576091" y="1702104"/>
                </a:lnTo>
                <a:lnTo>
                  <a:pt x="581011" y="1697010"/>
                </a:lnTo>
                <a:close/>
                <a:moveTo>
                  <a:pt x="978895" y="1693657"/>
                </a:moveTo>
                <a:lnTo>
                  <a:pt x="978895" y="1693662"/>
                </a:lnTo>
                <a:lnTo>
                  <a:pt x="981429" y="1695190"/>
                </a:lnTo>
                <a:lnTo>
                  <a:pt x="984173" y="1695829"/>
                </a:lnTo>
                <a:lnTo>
                  <a:pt x="985462" y="1697017"/>
                </a:lnTo>
                <a:lnTo>
                  <a:pt x="988207" y="1703235"/>
                </a:lnTo>
                <a:lnTo>
                  <a:pt x="990803" y="1705041"/>
                </a:lnTo>
                <a:lnTo>
                  <a:pt x="993907" y="1705465"/>
                </a:lnTo>
                <a:lnTo>
                  <a:pt x="999735" y="1709435"/>
                </a:lnTo>
                <a:lnTo>
                  <a:pt x="1003472" y="1711005"/>
                </a:lnTo>
                <a:lnTo>
                  <a:pt x="1004001" y="1712194"/>
                </a:lnTo>
                <a:lnTo>
                  <a:pt x="1004001" y="1712188"/>
                </a:lnTo>
                <a:lnTo>
                  <a:pt x="1003472" y="1711000"/>
                </a:lnTo>
                <a:lnTo>
                  <a:pt x="999735" y="1709429"/>
                </a:lnTo>
                <a:lnTo>
                  <a:pt x="993907" y="1705459"/>
                </a:lnTo>
                <a:lnTo>
                  <a:pt x="990804" y="1705035"/>
                </a:lnTo>
                <a:lnTo>
                  <a:pt x="988207" y="1703230"/>
                </a:lnTo>
                <a:lnTo>
                  <a:pt x="985462" y="1697011"/>
                </a:lnTo>
                <a:lnTo>
                  <a:pt x="984173" y="1695822"/>
                </a:lnTo>
                <a:lnTo>
                  <a:pt x="981429" y="1695185"/>
                </a:lnTo>
                <a:close/>
                <a:moveTo>
                  <a:pt x="2395749" y="1690582"/>
                </a:moveTo>
                <a:lnTo>
                  <a:pt x="2395179" y="1695521"/>
                </a:lnTo>
                <a:lnTo>
                  <a:pt x="2395180" y="1695524"/>
                </a:lnTo>
                <a:lnTo>
                  <a:pt x="2395750" y="1690588"/>
                </a:lnTo>
                <a:close/>
                <a:moveTo>
                  <a:pt x="1187487" y="1688388"/>
                </a:moveTo>
                <a:lnTo>
                  <a:pt x="1187486" y="1688392"/>
                </a:lnTo>
                <a:lnTo>
                  <a:pt x="1188183" y="1693063"/>
                </a:lnTo>
                <a:lnTo>
                  <a:pt x="1189387" y="1696883"/>
                </a:lnTo>
                <a:lnTo>
                  <a:pt x="1190886" y="1699492"/>
                </a:lnTo>
                <a:lnTo>
                  <a:pt x="1191793" y="1702779"/>
                </a:lnTo>
                <a:lnTo>
                  <a:pt x="1191794" y="1702772"/>
                </a:lnTo>
                <a:lnTo>
                  <a:pt x="1190886" y="1699480"/>
                </a:lnTo>
                <a:lnTo>
                  <a:pt x="1189387" y="1696870"/>
                </a:lnTo>
                <a:lnTo>
                  <a:pt x="1188183" y="1693050"/>
                </a:lnTo>
                <a:close/>
                <a:moveTo>
                  <a:pt x="552253" y="1680749"/>
                </a:moveTo>
                <a:lnTo>
                  <a:pt x="554364" y="1681047"/>
                </a:lnTo>
                <a:lnTo>
                  <a:pt x="554364" y="1681051"/>
                </a:lnTo>
                <a:lnTo>
                  <a:pt x="551281" y="1688458"/>
                </a:lnTo>
                <a:lnTo>
                  <a:pt x="547481" y="1687628"/>
                </a:lnTo>
                <a:lnTo>
                  <a:pt x="544820" y="1683213"/>
                </a:lnTo>
                <a:lnTo>
                  <a:pt x="544525" y="1681344"/>
                </a:lnTo>
                <a:close/>
                <a:moveTo>
                  <a:pt x="1643264" y="1680138"/>
                </a:moveTo>
                <a:lnTo>
                  <a:pt x="1641726" y="1683568"/>
                </a:lnTo>
                <a:lnTo>
                  <a:pt x="1637228" y="1692567"/>
                </a:lnTo>
                <a:lnTo>
                  <a:pt x="1633870" y="1696325"/>
                </a:lnTo>
                <a:lnTo>
                  <a:pt x="1619027" y="1709060"/>
                </a:lnTo>
                <a:lnTo>
                  <a:pt x="1611764" y="1707552"/>
                </a:lnTo>
                <a:lnTo>
                  <a:pt x="1596498" y="1710120"/>
                </a:lnTo>
                <a:lnTo>
                  <a:pt x="1594217" y="1707191"/>
                </a:lnTo>
                <a:lnTo>
                  <a:pt x="1590649" y="1706809"/>
                </a:lnTo>
                <a:lnTo>
                  <a:pt x="1586237" y="1707320"/>
                </a:lnTo>
                <a:lnTo>
                  <a:pt x="1584632" y="1708422"/>
                </a:lnTo>
                <a:lnTo>
                  <a:pt x="1584631" y="1708424"/>
                </a:lnTo>
                <a:lnTo>
                  <a:pt x="1584631" y="1708424"/>
                </a:lnTo>
                <a:lnTo>
                  <a:pt x="1584447" y="1708899"/>
                </a:lnTo>
                <a:lnTo>
                  <a:pt x="1584631" y="1708424"/>
                </a:lnTo>
                <a:lnTo>
                  <a:pt x="1586236" y="1707321"/>
                </a:lnTo>
                <a:lnTo>
                  <a:pt x="1590649" y="1706811"/>
                </a:lnTo>
                <a:lnTo>
                  <a:pt x="1594217" y="1707193"/>
                </a:lnTo>
                <a:lnTo>
                  <a:pt x="1596498" y="1710122"/>
                </a:lnTo>
                <a:lnTo>
                  <a:pt x="1611764" y="1707554"/>
                </a:lnTo>
                <a:lnTo>
                  <a:pt x="1619027" y="1709062"/>
                </a:lnTo>
                <a:lnTo>
                  <a:pt x="1633870" y="1696327"/>
                </a:lnTo>
                <a:lnTo>
                  <a:pt x="1637228" y="1692569"/>
                </a:lnTo>
                <a:lnTo>
                  <a:pt x="1641726" y="1683570"/>
                </a:lnTo>
                <a:close/>
                <a:moveTo>
                  <a:pt x="3465206" y="1677446"/>
                </a:moveTo>
                <a:lnTo>
                  <a:pt x="3465205" y="1677449"/>
                </a:lnTo>
                <a:lnTo>
                  <a:pt x="3465269" y="1684452"/>
                </a:lnTo>
                <a:lnTo>
                  <a:pt x="3464445" y="1692472"/>
                </a:lnTo>
                <a:lnTo>
                  <a:pt x="3464446" y="1692469"/>
                </a:lnTo>
                <a:lnTo>
                  <a:pt x="3465270" y="1684446"/>
                </a:lnTo>
                <a:close/>
                <a:moveTo>
                  <a:pt x="3441643" y="1672575"/>
                </a:moveTo>
                <a:lnTo>
                  <a:pt x="3441600" y="1673320"/>
                </a:lnTo>
                <a:lnTo>
                  <a:pt x="3402221" y="1673489"/>
                </a:lnTo>
                <a:lnTo>
                  <a:pt x="3402229" y="1673498"/>
                </a:lnTo>
                <a:lnTo>
                  <a:pt x="3441600" y="1673330"/>
                </a:lnTo>
                <a:close/>
                <a:moveTo>
                  <a:pt x="1641726" y="1662497"/>
                </a:moveTo>
                <a:lnTo>
                  <a:pt x="1641726" y="1662503"/>
                </a:lnTo>
                <a:lnTo>
                  <a:pt x="1644659" y="1673938"/>
                </a:lnTo>
                <a:lnTo>
                  <a:pt x="1644660" y="1673936"/>
                </a:lnTo>
                <a:close/>
                <a:moveTo>
                  <a:pt x="3440713" y="1660398"/>
                </a:moveTo>
                <a:lnTo>
                  <a:pt x="3440544" y="1660654"/>
                </a:lnTo>
                <a:lnTo>
                  <a:pt x="3440544" y="1660659"/>
                </a:lnTo>
                <a:lnTo>
                  <a:pt x="3440712" y="1660405"/>
                </a:lnTo>
                <a:lnTo>
                  <a:pt x="3469006" y="1660766"/>
                </a:lnTo>
                <a:lnTo>
                  <a:pt x="3468817" y="1663244"/>
                </a:lnTo>
                <a:lnTo>
                  <a:pt x="3469007" y="1660759"/>
                </a:lnTo>
                <a:close/>
                <a:moveTo>
                  <a:pt x="677825" y="1659453"/>
                </a:moveTo>
                <a:lnTo>
                  <a:pt x="675203" y="1660866"/>
                </a:lnTo>
                <a:lnTo>
                  <a:pt x="675201" y="1660941"/>
                </a:lnTo>
                <a:lnTo>
                  <a:pt x="675203" y="1660882"/>
                </a:lnTo>
                <a:close/>
                <a:moveTo>
                  <a:pt x="948721" y="1654308"/>
                </a:moveTo>
                <a:lnTo>
                  <a:pt x="948195" y="1656788"/>
                </a:lnTo>
                <a:lnTo>
                  <a:pt x="947139" y="1658443"/>
                </a:lnTo>
                <a:lnTo>
                  <a:pt x="944372" y="1658633"/>
                </a:lnTo>
                <a:lnTo>
                  <a:pt x="939516" y="1660054"/>
                </a:lnTo>
                <a:lnTo>
                  <a:pt x="933541" y="1662856"/>
                </a:lnTo>
                <a:lnTo>
                  <a:pt x="929360" y="1665255"/>
                </a:lnTo>
                <a:lnTo>
                  <a:pt x="926002" y="1671326"/>
                </a:lnTo>
                <a:lnTo>
                  <a:pt x="923680" y="1672090"/>
                </a:lnTo>
                <a:lnTo>
                  <a:pt x="919732" y="1671326"/>
                </a:lnTo>
                <a:lnTo>
                  <a:pt x="908477" y="1666847"/>
                </a:lnTo>
                <a:lnTo>
                  <a:pt x="899208" y="1663154"/>
                </a:lnTo>
                <a:lnTo>
                  <a:pt x="892810" y="1661032"/>
                </a:lnTo>
                <a:lnTo>
                  <a:pt x="888968" y="1662390"/>
                </a:lnTo>
                <a:lnTo>
                  <a:pt x="887004" y="1663048"/>
                </a:lnTo>
                <a:lnTo>
                  <a:pt x="881493" y="1665510"/>
                </a:lnTo>
                <a:lnTo>
                  <a:pt x="874166" y="1674489"/>
                </a:lnTo>
                <a:lnTo>
                  <a:pt x="872414" y="1677459"/>
                </a:lnTo>
                <a:lnTo>
                  <a:pt x="870957" y="1678414"/>
                </a:lnTo>
                <a:lnTo>
                  <a:pt x="868972" y="1679984"/>
                </a:lnTo>
                <a:lnTo>
                  <a:pt x="867072" y="1680027"/>
                </a:lnTo>
                <a:lnTo>
                  <a:pt x="865551" y="1678967"/>
                </a:lnTo>
                <a:lnTo>
                  <a:pt x="865066" y="1678308"/>
                </a:lnTo>
                <a:lnTo>
                  <a:pt x="861307" y="1671834"/>
                </a:lnTo>
                <a:lnTo>
                  <a:pt x="857190" y="1664704"/>
                </a:lnTo>
                <a:lnTo>
                  <a:pt x="853811" y="1661478"/>
                </a:lnTo>
                <a:lnTo>
                  <a:pt x="849567" y="1661330"/>
                </a:lnTo>
                <a:lnTo>
                  <a:pt x="845957" y="1663558"/>
                </a:lnTo>
                <a:lnTo>
                  <a:pt x="842178" y="1668143"/>
                </a:lnTo>
                <a:lnTo>
                  <a:pt x="837427" y="1672387"/>
                </a:lnTo>
                <a:lnTo>
                  <a:pt x="834407" y="1673661"/>
                </a:lnTo>
                <a:lnTo>
                  <a:pt x="831768" y="1672959"/>
                </a:lnTo>
                <a:lnTo>
                  <a:pt x="825286" y="1667612"/>
                </a:lnTo>
                <a:lnTo>
                  <a:pt x="820662" y="1663789"/>
                </a:lnTo>
                <a:lnTo>
                  <a:pt x="820093" y="1661882"/>
                </a:lnTo>
                <a:lnTo>
                  <a:pt x="820091" y="1661884"/>
                </a:lnTo>
                <a:lnTo>
                  <a:pt x="820662" y="1663796"/>
                </a:lnTo>
                <a:lnTo>
                  <a:pt x="825286" y="1667615"/>
                </a:lnTo>
                <a:lnTo>
                  <a:pt x="831768" y="1672963"/>
                </a:lnTo>
                <a:lnTo>
                  <a:pt x="834407" y="1673665"/>
                </a:lnTo>
                <a:lnTo>
                  <a:pt x="837427" y="1672391"/>
                </a:lnTo>
                <a:lnTo>
                  <a:pt x="842178" y="1668147"/>
                </a:lnTo>
                <a:lnTo>
                  <a:pt x="845957" y="1663561"/>
                </a:lnTo>
                <a:lnTo>
                  <a:pt x="849567" y="1661333"/>
                </a:lnTo>
                <a:lnTo>
                  <a:pt x="853811" y="1661481"/>
                </a:lnTo>
                <a:lnTo>
                  <a:pt x="857190" y="1664708"/>
                </a:lnTo>
                <a:lnTo>
                  <a:pt x="861307" y="1671838"/>
                </a:lnTo>
                <a:lnTo>
                  <a:pt x="865065" y="1678312"/>
                </a:lnTo>
                <a:lnTo>
                  <a:pt x="865551" y="1678970"/>
                </a:lnTo>
                <a:lnTo>
                  <a:pt x="867071" y="1680030"/>
                </a:lnTo>
                <a:lnTo>
                  <a:pt x="868972" y="1679988"/>
                </a:lnTo>
                <a:lnTo>
                  <a:pt x="870957" y="1678417"/>
                </a:lnTo>
                <a:lnTo>
                  <a:pt x="872414" y="1677463"/>
                </a:lnTo>
                <a:lnTo>
                  <a:pt x="874166" y="1674492"/>
                </a:lnTo>
                <a:lnTo>
                  <a:pt x="881493" y="1665514"/>
                </a:lnTo>
                <a:lnTo>
                  <a:pt x="887004" y="1663052"/>
                </a:lnTo>
                <a:lnTo>
                  <a:pt x="888968" y="1662393"/>
                </a:lnTo>
                <a:lnTo>
                  <a:pt x="892810" y="1661036"/>
                </a:lnTo>
                <a:lnTo>
                  <a:pt x="899208" y="1663157"/>
                </a:lnTo>
                <a:lnTo>
                  <a:pt x="908477" y="1666850"/>
                </a:lnTo>
                <a:lnTo>
                  <a:pt x="919732" y="1671329"/>
                </a:lnTo>
                <a:lnTo>
                  <a:pt x="923680" y="1672093"/>
                </a:lnTo>
                <a:lnTo>
                  <a:pt x="926002" y="1671329"/>
                </a:lnTo>
                <a:lnTo>
                  <a:pt x="929360" y="1665259"/>
                </a:lnTo>
                <a:lnTo>
                  <a:pt x="933541" y="1662862"/>
                </a:lnTo>
                <a:lnTo>
                  <a:pt x="939516" y="1660060"/>
                </a:lnTo>
                <a:lnTo>
                  <a:pt x="944372" y="1658639"/>
                </a:lnTo>
                <a:lnTo>
                  <a:pt x="947139" y="1658449"/>
                </a:lnTo>
                <a:lnTo>
                  <a:pt x="948194" y="1656794"/>
                </a:lnTo>
                <a:lnTo>
                  <a:pt x="948722" y="1654310"/>
                </a:lnTo>
                <a:close/>
                <a:moveTo>
                  <a:pt x="689655" y="1654122"/>
                </a:moveTo>
                <a:lnTo>
                  <a:pt x="689393" y="1654966"/>
                </a:lnTo>
                <a:lnTo>
                  <a:pt x="688062" y="1656898"/>
                </a:lnTo>
                <a:lnTo>
                  <a:pt x="686766" y="1657729"/>
                </a:lnTo>
                <a:lnTo>
                  <a:pt x="688062" y="1656914"/>
                </a:lnTo>
                <a:lnTo>
                  <a:pt x="689393" y="1654982"/>
                </a:lnTo>
                <a:close/>
                <a:moveTo>
                  <a:pt x="2345830" y="1651715"/>
                </a:moveTo>
                <a:lnTo>
                  <a:pt x="2347502" y="1652333"/>
                </a:lnTo>
                <a:lnTo>
                  <a:pt x="2355949" y="1653095"/>
                </a:lnTo>
                <a:lnTo>
                  <a:pt x="2362053" y="1655859"/>
                </a:lnTo>
                <a:lnTo>
                  <a:pt x="2362051" y="1655855"/>
                </a:lnTo>
                <a:lnTo>
                  <a:pt x="2355906" y="1653074"/>
                </a:lnTo>
                <a:lnTo>
                  <a:pt x="2347461" y="1652310"/>
                </a:lnTo>
                <a:close/>
                <a:moveTo>
                  <a:pt x="797183" y="1649488"/>
                </a:moveTo>
                <a:lnTo>
                  <a:pt x="801975" y="1650443"/>
                </a:lnTo>
                <a:lnTo>
                  <a:pt x="801976" y="1650443"/>
                </a:lnTo>
                <a:close/>
                <a:moveTo>
                  <a:pt x="2828495" y="1645857"/>
                </a:moveTo>
                <a:lnTo>
                  <a:pt x="2828493" y="1645866"/>
                </a:lnTo>
                <a:lnTo>
                  <a:pt x="2831154" y="1655033"/>
                </a:lnTo>
                <a:lnTo>
                  <a:pt x="2833519" y="1666091"/>
                </a:lnTo>
                <a:lnTo>
                  <a:pt x="2833350" y="1669806"/>
                </a:lnTo>
                <a:lnTo>
                  <a:pt x="2834385" y="1671205"/>
                </a:lnTo>
                <a:lnTo>
                  <a:pt x="2838798" y="1671927"/>
                </a:lnTo>
                <a:lnTo>
                  <a:pt x="2839790" y="1674518"/>
                </a:lnTo>
                <a:lnTo>
                  <a:pt x="2839123" y="1683383"/>
                </a:lnTo>
                <a:lnTo>
                  <a:pt x="2838333" y="1693894"/>
                </a:lnTo>
                <a:lnTo>
                  <a:pt x="2840381" y="1699307"/>
                </a:lnTo>
                <a:lnTo>
                  <a:pt x="2843338" y="1703170"/>
                </a:lnTo>
                <a:lnTo>
                  <a:pt x="2846673" y="1705187"/>
                </a:lnTo>
                <a:lnTo>
                  <a:pt x="2850052" y="1707776"/>
                </a:lnTo>
                <a:lnTo>
                  <a:pt x="2851783" y="1709560"/>
                </a:lnTo>
                <a:lnTo>
                  <a:pt x="2855668" y="1709984"/>
                </a:lnTo>
                <a:lnTo>
                  <a:pt x="2860039" y="1713508"/>
                </a:lnTo>
                <a:lnTo>
                  <a:pt x="2861222" y="1718198"/>
                </a:lnTo>
                <a:lnTo>
                  <a:pt x="2860926" y="1722730"/>
                </a:lnTo>
                <a:lnTo>
                  <a:pt x="2860927" y="1722729"/>
                </a:lnTo>
                <a:lnTo>
                  <a:pt x="2861223" y="1718187"/>
                </a:lnTo>
                <a:lnTo>
                  <a:pt x="2860040" y="1713498"/>
                </a:lnTo>
                <a:lnTo>
                  <a:pt x="2855669" y="1709974"/>
                </a:lnTo>
                <a:lnTo>
                  <a:pt x="2851784" y="1709549"/>
                </a:lnTo>
                <a:lnTo>
                  <a:pt x="2850052" y="1707765"/>
                </a:lnTo>
                <a:lnTo>
                  <a:pt x="2846674" y="1705174"/>
                </a:lnTo>
                <a:lnTo>
                  <a:pt x="2843338" y="1703159"/>
                </a:lnTo>
                <a:lnTo>
                  <a:pt x="2840382" y="1699296"/>
                </a:lnTo>
                <a:lnTo>
                  <a:pt x="2838334" y="1693884"/>
                </a:lnTo>
                <a:lnTo>
                  <a:pt x="2839123" y="1683383"/>
                </a:lnTo>
                <a:lnTo>
                  <a:pt x="2839790" y="1674518"/>
                </a:lnTo>
                <a:lnTo>
                  <a:pt x="2839790" y="1674518"/>
                </a:lnTo>
                <a:lnTo>
                  <a:pt x="2839791" y="1674505"/>
                </a:lnTo>
                <a:lnTo>
                  <a:pt x="2838799" y="1671916"/>
                </a:lnTo>
                <a:lnTo>
                  <a:pt x="2834386" y="1671194"/>
                </a:lnTo>
                <a:lnTo>
                  <a:pt x="2833351" y="1669795"/>
                </a:lnTo>
                <a:lnTo>
                  <a:pt x="2833520" y="1666081"/>
                </a:lnTo>
                <a:lnTo>
                  <a:pt x="2831155" y="1655023"/>
                </a:lnTo>
                <a:close/>
                <a:moveTo>
                  <a:pt x="1633596" y="1645696"/>
                </a:moveTo>
                <a:lnTo>
                  <a:pt x="1633322" y="1648040"/>
                </a:lnTo>
                <a:lnTo>
                  <a:pt x="1632287" y="1648931"/>
                </a:lnTo>
                <a:lnTo>
                  <a:pt x="1626692" y="1650054"/>
                </a:lnTo>
                <a:lnTo>
                  <a:pt x="1624264" y="1650946"/>
                </a:lnTo>
                <a:lnTo>
                  <a:pt x="1623672" y="1652219"/>
                </a:lnTo>
                <a:lnTo>
                  <a:pt x="1623674" y="1652226"/>
                </a:lnTo>
                <a:lnTo>
                  <a:pt x="1624264" y="1650955"/>
                </a:lnTo>
                <a:lnTo>
                  <a:pt x="1626692" y="1650065"/>
                </a:lnTo>
                <a:lnTo>
                  <a:pt x="1632287" y="1648941"/>
                </a:lnTo>
                <a:lnTo>
                  <a:pt x="1633322" y="1648051"/>
                </a:lnTo>
                <a:close/>
                <a:moveTo>
                  <a:pt x="950580" y="1644201"/>
                </a:moveTo>
                <a:lnTo>
                  <a:pt x="946737" y="1644881"/>
                </a:lnTo>
                <a:lnTo>
                  <a:pt x="944943" y="1645775"/>
                </a:lnTo>
                <a:lnTo>
                  <a:pt x="944943" y="1645778"/>
                </a:lnTo>
                <a:lnTo>
                  <a:pt x="946737" y="1644888"/>
                </a:lnTo>
                <a:lnTo>
                  <a:pt x="950580" y="1644207"/>
                </a:lnTo>
                <a:lnTo>
                  <a:pt x="955584" y="1644676"/>
                </a:lnTo>
                <a:lnTo>
                  <a:pt x="961222" y="1646671"/>
                </a:lnTo>
                <a:lnTo>
                  <a:pt x="965804" y="1649536"/>
                </a:lnTo>
                <a:lnTo>
                  <a:pt x="968422" y="1652953"/>
                </a:lnTo>
                <a:lnTo>
                  <a:pt x="971272" y="1660254"/>
                </a:lnTo>
                <a:lnTo>
                  <a:pt x="973468" y="1667344"/>
                </a:lnTo>
                <a:lnTo>
                  <a:pt x="979127" y="1678593"/>
                </a:lnTo>
                <a:lnTo>
                  <a:pt x="979127" y="1678586"/>
                </a:lnTo>
                <a:lnTo>
                  <a:pt x="973468" y="1667337"/>
                </a:lnTo>
                <a:lnTo>
                  <a:pt x="971272" y="1660249"/>
                </a:lnTo>
                <a:lnTo>
                  <a:pt x="968423" y="1652947"/>
                </a:lnTo>
                <a:lnTo>
                  <a:pt x="965804" y="1649531"/>
                </a:lnTo>
                <a:lnTo>
                  <a:pt x="961222" y="1646666"/>
                </a:lnTo>
                <a:lnTo>
                  <a:pt x="955584" y="1644670"/>
                </a:lnTo>
                <a:close/>
                <a:moveTo>
                  <a:pt x="4015051" y="1643755"/>
                </a:moveTo>
                <a:lnTo>
                  <a:pt x="4014693" y="1643994"/>
                </a:lnTo>
                <a:lnTo>
                  <a:pt x="4013424" y="1645209"/>
                </a:lnTo>
                <a:lnTo>
                  <a:pt x="4014734" y="1643969"/>
                </a:lnTo>
                <a:close/>
                <a:moveTo>
                  <a:pt x="823259" y="1641675"/>
                </a:moveTo>
                <a:lnTo>
                  <a:pt x="823260" y="1641680"/>
                </a:lnTo>
                <a:lnTo>
                  <a:pt x="827186" y="1644882"/>
                </a:lnTo>
                <a:lnTo>
                  <a:pt x="827186" y="1644879"/>
                </a:lnTo>
                <a:close/>
                <a:moveTo>
                  <a:pt x="687914" y="1637981"/>
                </a:moveTo>
                <a:lnTo>
                  <a:pt x="687914" y="1637986"/>
                </a:lnTo>
                <a:lnTo>
                  <a:pt x="691419" y="1644925"/>
                </a:lnTo>
                <a:lnTo>
                  <a:pt x="691419" y="1644922"/>
                </a:lnTo>
                <a:close/>
                <a:moveTo>
                  <a:pt x="727777" y="1636649"/>
                </a:moveTo>
                <a:lnTo>
                  <a:pt x="727526" y="1638703"/>
                </a:lnTo>
                <a:lnTo>
                  <a:pt x="726596" y="1641421"/>
                </a:lnTo>
                <a:lnTo>
                  <a:pt x="726597" y="1641422"/>
                </a:lnTo>
                <a:lnTo>
                  <a:pt x="727526" y="1638709"/>
                </a:lnTo>
                <a:lnTo>
                  <a:pt x="727779" y="1636650"/>
                </a:lnTo>
                <a:close/>
                <a:moveTo>
                  <a:pt x="4041804" y="1636182"/>
                </a:moveTo>
                <a:lnTo>
                  <a:pt x="4039397" y="1639429"/>
                </a:lnTo>
                <a:lnTo>
                  <a:pt x="4035956" y="1648302"/>
                </a:lnTo>
                <a:lnTo>
                  <a:pt x="4032211" y="1650866"/>
                </a:lnTo>
                <a:lnTo>
                  <a:pt x="4032217" y="1650865"/>
                </a:lnTo>
                <a:lnTo>
                  <a:pt x="4035997" y="1648298"/>
                </a:lnTo>
                <a:lnTo>
                  <a:pt x="4039417" y="1639426"/>
                </a:lnTo>
                <a:lnTo>
                  <a:pt x="4041821" y="1636184"/>
                </a:lnTo>
                <a:close/>
                <a:moveTo>
                  <a:pt x="1236182" y="1633185"/>
                </a:moveTo>
                <a:lnTo>
                  <a:pt x="1236176" y="1633188"/>
                </a:lnTo>
                <a:lnTo>
                  <a:pt x="1237402" y="1635714"/>
                </a:lnTo>
                <a:lnTo>
                  <a:pt x="1239661" y="1638685"/>
                </a:lnTo>
                <a:lnTo>
                  <a:pt x="1239682" y="1644043"/>
                </a:lnTo>
                <a:lnTo>
                  <a:pt x="1239682" y="1644042"/>
                </a:lnTo>
                <a:lnTo>
                  <a:pt x="1239661" y="1638672"/>
                </a:lnTo>
                <a:lnTo>
                  <a:pt x="1237402" y="1635701"/>
                </a:lnTo>
                <a:close/>
                <a:moveTo>
                  <a:pt x="687213" y="1633079"/>
                </a:moveTo>
                <a:lnTo>
                  <a:pt x="688104" y="1633085"/>
                </a:lnTo>
                <a:lnTo>
                  <a:pt x="688104" y="1633082"/>
                </a:lnTo>
                <a:close/>
                <a:moveTo>
                  <a:pt x="4053742" y="1632223"/>
                </a:moveTo>
                <a:lnTo>
                  <a:pt x="4050102" y="1633783"/>
                </a:lnTo>
                <a:lnTo>
                  <a:pt x="4042851" y="1636262"/>
                </a:lnTo>
                <a:lnTo>
                  <a:pt x="4042859" y="1636263"/>
                </a:lnTo>
                <a:lnTo>
                  <a:pt x="4050122" y="1633779"/>
                </a:lnTo>
                <a:close/>
                <a:moveTo>
                  <a:pt x="4674060" y="1630534"/>
                </a:moveTo>
                <a:lnTo>
                  <a:pt x="4680204" y="1631044"/>
                </a:lnTo>
                <a:lnTo>
                  <a:pt x="4687574" y="1635333"/>
                </a:lnTo>
                <a:lnTo>
                  <a:pt x="4691247" y="1636055"/>
                </a:lnTo>
                <a:lnTo>
                  <a:pt x="4696801" y="1633954"/>
                </a:lnTo>
                <a:lnTo>
                  <a:pt x="4712721" y="1633678"/>
                </a:lnTo>
                <a:lnTo>
                  <a:pt x="4731915" y="1640426"/>
                </a:lnTo>
                <a:lnTo>
                  <a:pt x="4728283" y="1642187"/>
                </a:lnTo>
                <a:lnTo>
                  <a:pt x="4726129" y="1644628"/>
                </a:lnTo>
                <a:lnTo>
                  <a:pt x="4717704" y="1646858"/>
                </a:lnTo>
                <a:lnTo>
                  <a:pt x="4709301" y="1652056"/>
                </a:lnTo>
                <a:lnTo>
                  <a:pt x="4684976" y="1654583"/>
                </a:lnTo>
                <a:lnTo>
                  <a:pt x="4677839" y="1653183"/>
                </a:lnTo>
                <a:lnTo>
                  <a:pt x="4671970" y="1648152"/>
                </a:lnTo>
                <a:lnTo>
                  <a:pt x="4661096" y="1641614"/>
                </a:lnTo>
                <a:lnTo>
                  <a:pt x="4665382" y="1637434"/>
                </a:lnTo>
                <a:lnTo>
                  <a:pt x="4666311" y="1635523"/>
                </a:lnTo>
                <a:lnTo>
                  <a:pt x="4667916" y="1633697"/>
                </a:lnTo>
                <a:close/>
                <a:moveTo>
                  <a:pt x="2795008" y="1625989"/>
                </a:moveTo>
                <a:lnTo>
                  <a:pt x="2795006" y="1625997"/>
                </a:lnTo>
                <a:lnTo>
                  <a:pt x="2796062" y="1629012"/>
                </a:lnTo>
                <a:lnTo>
                  <a:pt x="2798152" y="1631537"/>
                </a:lnTo>
                <a:lnTo>
                  <a:pt x="2801086" y="1632832"/>
                </a:lnTo>
                <a:lnTo>
                  <a:pt x="2805395" y="1633214"/>
                </a:lnTo>
                <a:lnTo>
                  <a:pt x="2812531" y="1631835"/>
                </a:lnTo>
                <a:lnTo>
                  <a:pt x="2819182" y="1630922"/>
                </a:lnTo>
                <a:lnTo>
                  <a:pt x="2826234" y="1633893"/>
                </a:lnTo>
                <a:lnTo>
                  <a:pt x="2829907" y="1640809"/>
                </a:lnTo>
                <a:lnTo>
                  <a:pt x="2829909" y="1640802"/>
                </a:lnTo>
                <a:lnTo>
                  <a:pt x="2826235" y="1633882"/>
                </a:lnTo>
                <a:lnTo>
                  <a:pt x="2819183" y="1630912"/>
                </a:lnTo>
                <a:lnTo>
                  <a:pt x="2812532" y="1631824"/>
                </a:lnTo>
                <a:lnTo>
                  <a:pt x="2805395" y="1633203"/>
                </a:lnTo>
                <a:lnTo>
                  <a:pt x="2801087" y="1632821"/>
                </a:lnTo>
                <a:lnTo>
                  <a:pt x="2798153" y="1631527"/>
                </a:lnTo>
                <a:lnTo>
                  <a:pt x="2796063" y="1629001"/>
                </a:lnTo>
                <a:close/>
                <a:moveTo>
                  <a:pt x="3642991" y="1625105"/>
                </a:moveTo>
                <a:lnTo>
                  <a:pt x="3642379" y="1628029"/>
                </a:lnTo>
                <a:lnTo>
                  <a:pt x="3641344" y="1629898"/>
                </a:lnTo>
                <a:lnTo>
                  <a:pt x="3634229" y="1631108"/>
                </a:lnTo>
                <a:lnTo>
                  <a:pt x="3624326" y="1632424"/>
                </a:lnTo>
                <a:lnTo>
                  <a:pt x="3619005" y="1633866"/>
                </a:lnTo>
                <a:lnTo>
                  <a:pt x="3615437" y="1636114"/>
                </a:lnTo>
                <a:lnTo>
                  <a:pt x="3611045" y="1641357"/>
                </a:lnTo>
                <a:lnTo>
                  <a:pt x="3602346" y="1655704"/>
                </a:lnTo>
                <a:lnTo>
                  <a:pt x="3597806" y="1664493"/>
                </a:lnTo>
                <a:lnTo>
                  <a:pt x="3590669" y="1676504"/>
                </a:lnTo>
                <a:lnTo>
                  <a:pt x="3582371" y="1684995"/>
                </a:lnTo>
                <a:lnTo>
                  <a:pt x="3580618" y="1689133"/>
                </a:lnTo>
                <a:lnTo>
                  <a:pt x="3579246" y="1696817"/>
                </a:lnTo>
                <a:lnTo>
                  <a:pt x="3576184" y="1708976"/>
                </a:lnTo>
                <a:lnTo>
                  <a:pt x="3573377" y="1717596"/>
                </a:lnTo>
                <a:lnTo>
                  <a:pt x="3573378" y="1717608"/>
                </a:lnTo>
                <a:lnTo>
                  <a:pt x="3576184" y="1708998"/>
                </a:lnTo>
                <a:lnTo>
                  <a:pt x="3579246" y="1696835"/>
                </a:lnTo>
                <a:lnTo>
                  <a:pt x="3580618" y="1689152"/>
                </a:lnTo>
                <a:lnTo>
                  <a:pt x="3582371" y="1685013"/>
                </a:lnTo>
                <a:lnTo>
                  <a:pt x="3590669" y="1676523"/>
                </a:lnTo>
                <a:lnTo>
                  <a:pt x="3597805" y="1664511"/>
                </a:lnTo>
                <a:lnTo>
                  <a:pt x="3602345" y="1655723"/>
                </a:lnTo>
                <a:lnTo>
                  <a:pt x="3611045" y="1641376"/>
                </a:lnTo>
                <a:lnTo>
                  <a:pt x="3615437" y="1636133"/>
                </a:lnTo>
                <a:lnTo>
                  <a:pt x="3619005" y="1633884"/>
                </a:lnTo>
                <a:lnTo>
                  <a:pt x="3624326" y="1632442"/>
                </a:lnTo>
                <a:lnTo>
                  <a:pt x="3634228" y="1631127"/>
                </a:lnTo>
                <a:lnTo>
                  <a:pt x="3641344" y="1629917"/>
                </a:lnTo>
                <a:lnTo>
                  <a:pt x="3642379" y="1628049"/>
                </a:lnTo>
                <a:lnTo>
                  <a:pt x="3642991" y="1625120"/>
                </a:lnTo>
                <a:close/>
                <a:moveTo>
                  <a:pt x="2234612" y="1608388"/>
                </a:moveTo>
                <a:lnTo>
                  <a:pt x="2231721" y="1608798"/>
                </a:lnTo>
                <a:lnTo>
                  <a:pt x="2231752" y="1608801"/>
                </a:lnTo>
                <a:close/>
                <a:moveTo>
                  <a:pt x="1926834" y="1608021"/>
                </a:moveTo>
                <a:lnTo>
                  <a:pt x="1926752" y="1608042"/>
                </a:lnTo>
                <a:lnTo>
                  <a:pt x="1922782" y="1611522"/>
                </a:lnTo>
                <a:lnTo>
                  <a:pt x="1919847" y="1613262"/>
                </a:lnTo>
                <a:lnTo>
                  <a:pt x="1916848" y="1613554"/>
                </a:lnTo>
                <a:lnTo>
                  <a:pt x="1916870" y="1613558"/>
                </a:lnTo>
                <a:lnTo>
                  <a:pt x="1919953" y="1613261"/>
                </a:lnTo>
                <a:lnTo>
                  <a:pt x="1922866" y="1611499"/>
                </a:lnTo>
                <a:close/>
                <a:moveTo>
                  <a:pt x="1245174" y="1606059"/>
                </a:moveTo>
                <a:lnTo>
                  <a:pt x="1245171" y="1606062"/>
                </a:lnTo>
                <a:lnTo>
                  <a:pt x="1246270" y="1610095"/>
                </a:lnTo>
                <a:lnTo>
                  <a:pt x="1249204" y="1614787"/>
                </a:lnTo>
                <a:lnTo>
                  <a:pt x="1251295" y="1620601"/>
                </a:lnTo>
                <a:lnTo>
                  <a:pt x="1251295" y="1620589"/>
                </a:lnTo>
                <a:lnTo>
                  <a:pt x="1249205" y="1614774"/>
                </a:lnTo>
                <a:lnTo>
                  <a:pt x="1246270" y="1610083"/>
                </a:lnTo>
                <a:close/>
                <a:moveTo>
                  <a:pt x="2107944" y="1596206"/>
                </a:moveTo>
                <a:lnTo>
                  <a:pt x="2107873" y="1596220"/>
                </a:lnTo>
                <a:lnTo>
                  <a:pt x="2105213" y="1596879"/>
                </a:lnTo>
                <a:lnTo>
                  <a:pt x="2096935" y="1600765"/>
                </a:lnTo>
                <a:lnTo>
                  <a:pt x="2090073" y="1605072"/>
                </a:lnTo>
                <a:lnTo>
                  <a:pt x="2071540" y="1624763"/>
                </a:lnTo>
                <a:lnTo>
                  <a:pt x="2071619" y="1624765"/>
                </a:lnTo>
                <a:lnTo>
                  <a:pt x="2090179" y="1605049"/>
                </a:lnTo>
                <a:lnTo>
                  <a:pt x="2097041" y="1600742"/>
                </a:lnTo>
                <a:lnTo>
                  <a:pt x="2105318" y="1596856"/>
                </a:lnTo>
                <a:close/>
                <a:moveTo>
                  <a:pt x="1963238" y="1592762"/>
                </a:moveTo>
                <a:lnTo>
                  <a:pt x="1937738" y="1606743"/>
                </a:lnTo>
                <a:lnTo>
                  <a:pt x="1937795" y="1606746"/>
                </a:lnTo>
                <a:lnTo>
                  <a:pt x="1963242" y="1592762"/>
                </a:lnTo>
                <a:close/>
                <a:moveTo>
                  <a:pt x="2818953" y="1592139"/>
                </a:moveTo>
                <a:lnTo>
                  <a:pt x="2818886" y="1593237"/>
                </a:lnTo>
                <a:lnTo>
                  <a:pt x="2818887" y="1593237"/>
                </a:lnTo>
                <a:close/>
                <a:moveTo>
                  <a:pt x="1560265" y="1591100"/>
                </a:moveTo>
                <a:lnTo>
                  <a:pt x="1559569" y="1593563"/>
                </a:lnTo>
                <a:lnTo>
                  <a:pt x="1559358" y="1602944"/>
                </a:lnTo>
                <a:lnTo>
                  <a:pt x="1559358" y="1602946"/>
                </a:lnTo>
                <a:lnTo>
                  <a:pt x="1559569" y="1593575"/>
                </a:lnTo>
                <a:lnTo>
                  <a:pt x="1560265" y="1591113"/>
                </a:lnTo>
                <a:lnTo>
                  <a:pt x="1565502" y="1592576"/>
                </a:lnTo>
                <a:lnTo>
                  <a:pt x="1571076" y="1593256"/>
                </a:lnTo>
                <a:lnTo>
                  <a:pt x="1572871" y="1591559"/>
                </a:lnTo>
                <a:lnTo>
                  <a:pt x="1572864" y="1591553"/>
                </a:lnTo>
                <a:lnTo>
                  <a:pt x="1571076" y="1593244"/>
                </a:lnTo>
                <a:lnTo>
                  <a:pt x="1565502" y="1592564"/>
                </a:lnTo>
                <a:close/>
                <a:moveTo>
                  <a:pt x="796803" y="1588571"/>
                </a:moveTo>
                <a:lnTo>
                  <a:pt x="796803" y="1588575"/>
                </a:lnTo>
                <a:lnTo>
                  <a:pt x="797837" y="1591123"/>
                </a:lnTo>
                <a:lnTo>
                  <a:pt x="800561" y="1594094"/>
                </a:lnTo>
                <a:lnTo>
                  <a:pt x="802250" y="1593393"/>
                </a:lnTo>
                <a:lnTo>
                  <a:pt x="804087" y="1590974"/>
                </a:lnTo>
                <a:lnTo>
                  <a:pt x="804911" y="1589297"/>
                </a:lnTo>
                <a:lnTo>
                  <a:pt x="809893" y="1590040"/>
                </a:lnTo>
                <a:lnTo>
                  <a:pt x="812216" y="1590805"/>
                </a:lnTo>
                <a:lnTo>
                  <a:pt x="815405" y="1595665"/>
                </a:lnTo>
                <a:lnTo>
                  <a:pt x="816566" y="1598891"/>
                </a:lnTo>
                <a:lnTo>
                  <a:pt x="817326" y="1602945"/>
                </a:lnTo>
                <a:lnTo>
                  <a:pt x="820641" y="1607996"/>
                </a:lnTo>
                <a:lnTo>
                  <a:pt x="823533" y="1611562"/>
                </a:lnTo>
                <a:lnTo>
                  <a:pt x="824125" y="1613790"/>
                </a:lnTo>
                <a:lnTo>
                  <a:pt x="826700" y="1616804"/>
                </a:lnTo>
                <a:lnTo>
                  <a:pt x="826701" y="1616799"/>
                </a:lnTo>
                <a:lnTo>
                  <a:pt x="824125" y="1613784"/>
                </a:lnTo>
                <a:lnTo>
                  <a:pt x="823533" y="1611556"/>
                </a:lnTo>
                <a:lnTo>
                  <a:pt x="820641" y="1607990"/>
                </a:lnTo>
                <a:lnTo>
                  <a:pt x="817326" y="1602939"/>
                </a:lnTo>
                <a:lnTo>
                  <a:pt x="816566" y="1598886"/>
                </a:lnTo>
                <a:lnTo>
                  <a:pt x="815405" y="1595659"/>
                </a:lnTo>
                <a:lnTo>
                  <a:pt x="812216" y="1590798"/>
                </a:lnTo>
                <a:lnTo>
                  <a:pt x="809893" y="1590034"/>
                </a:lnTo>
                <a:lnTo>
                  <a:pt x="804910" y="1589291"/>
                </a:lnTo>
                <a:lnTo>
                  <a:pt x="804087" y="1590967"/>
                </a:lnTo>
                <a:lnTo>
                  <a:pt x="802249" y="1593387"/>
                </a:lnTo>
                <a:lnTo>
                  <a:pt x="800561" y="1594088"/>
                </a:lnTo>
                <a:lnTo>
                  <a:pt x="797837" y="1591117"/>
                </a:lnTo>
                <a:close/>
                <a:moveTo>
                  <a:pt x="2264461" y="1585975"/>
                </a:moveTo>
                <a:lnTo>
                  <a:pt x="2264438" y="1585986"/>
                </a:lnTo>
                <a:lnTo>
                  <a:pt x="2257808" y="1590146"/>
                </a:lnTo>
                <a:lnTo>
                  <a:pt x="2251580" y="1593436"/>
                </a:lnTo>
                <a:lnTo>
                  <a:pt x="2243007" y="1601480"/>
                </a:lnTo>
                <a:lnTo>
                  <a:pt x="2240226" y="1607578"/>
                </a:lnTo>
                <a:lnTo>
                  <a:pt x="2240282" y="1607570"/>
                </a:lnTo>
                <a:lnTo>
                  <a:pt x="2243070" y="1601457"/>
                </a:lnTo>
                <a:lnTo>
                  <a:pt x="2251642" y="1593413"/>
                </a:lnTo>
                <a:lnTo>
                  <a:pt x="2257871" y="1590144"/>
                </a:lnTo>
                <a:close/>
                <a:moveTo>
                  <a:pt x="3952747" y="1582871"/>
                </a:moveTo>
                <a:lnTo>
                  <a:pt x="3952764" y="1582888"/>
                </a:lnTo>
                <a:lnTo>
                  <a:pt x="3957852" y="1586607"/>
                </a:lnTo>
                <a:close/>
                <a:moveTo>
                  <a:pt x="1307904" y="1578170"/>
                </a:moveTo>
                <a:lnTo>
                  <a:pt x="1307903" y="1578174"/>
                </a:lnTo>
                <a:lnTo>
                  <a:pt x="1308093" y="1588905"/>
                </a:lnTo>
                <a:lnTo>
                  <a:pt x="1308093" y="1588904"/>
                </a:lnTo>
                <a:close/>
                <a:moveTo>
                  <a:pt x="2311874" y="1575911"/>
                </a:moveTo>
                <a:lnTo>
                  <a:pt x="2317288" y="1583524"/>
                </a:lnTo>
                <a:lnTo>
                  <a:pt x="2327295" y="1597595"/>
                </a:lnTo>
                <a:lnTo>
                  <a:pt x="2335087" y="1608526"/>
                </a:lnTo>
                <a:lnTo>
                  <a:pt x="2336390" y="1614994"/>
                </a:lnTo>
                <a:lnTo>
                  <a:pt x="2335090" y="1608516"/>
                </a:lnTo>
                <a:lnTo>
                  <a:pt x="2335087" y="1608516"/>
                </a:lnTo>
                <a:lnTo>
                  <a:pt x="2327295" y="1597584"/>
                </a:lnTo>
                <a:lnTo>
                  <a:pt x="2317288" y="1583512"/>
                </a:lnTo>
                <a:close/>
                <a:moveTo>
                  <a:pt x="787385" y="1574776"/>
                </a:moveTo>
                <a:lnTo>
                  <a:pt x="787385" y="1574780"/>
                </a:lnTo>
                <a:lnTo>
                  <a:pt x="793129" y="1582208"/>
                </a:lnTo>
                <a:lnTo>
                  <a:pt x="796824" y="1586262"/>
                </a:lnTo>
                <a:lnTo>
                  <a:pt x="796824" y="1586257"/>
                </a:lnTo>
                <a:lnTo>
                  <a:pt x="793128" y="1582203"/>
                </a:lnTo>
                <a:close/>
                <a:moveTo>
                  <a:pt x="1871875" y="1572344"/>
                </a:moveTo>
                <a:lnTo>
                  <a:pt x="1868218" y="1572910"/>
                </a:lnTo>
                <a:lnTo>
                  <a:pt x="1868243" y="1572917"/>
                </a:lnTo>
                <a:lnTo>
                  <a:pt x="1871901" y="1572351"/>
                </a:lnTo>
                <a:close/>
                <a:moveTo>
                  <a:pt x="2294443" y="1571483"/>
                </a:moveTo>
                <a:lnTo>
                  <a:pt x="2291233" y="1572467"/>
                </a:lnTo>
                <a:lnTo>
                  <a:pt x="2283525" y="1578431"/>
                </a:lnTo>
                <a:lnTo>
                  <a:pt x="2280044" y="1579382"/>
                </a:lnTo>
                <a:lnTo>
                  <a:pt x="2283568" y="1578427"/>
                </a:lnTo>
                <a:lnTo>
                  <a:pt x="2291274" y="1572465"/>
                </a:lnTo>
                <a:close/>
                <a:moveTo>
                  <a:pt x="1771885" y="1570603"/>
                </a:moveTo>
                <a:lnTo>
                  <a:pt x="1771876" y="1570606"/>
                </a:lnTo>
                <a:lnTo>
                  <a:pt x="1763684" y="1573896"/>
                </a:lnTo>
                <a:lnTo>
                  <a:pt x="1753063" y="1582832"/>
                </a:lnTo>
                <a:lnTo>
                  <a:pt x="1750023" y="1583976"/>
                </a:lnTo>
                <a:lnTo>
                  <a:pt x="1747446" y="1585462"/>
                </a:lnTo>
                <a:lnTo>
                  <a:pt x="1743900" y="1609913"/>
                </a:lnTo>
                <a:lnTo>
                  <a:pt x="1741007" y="1617256"/>
                </a:lnTo>
                <a:lnTo>
                  <a:pt x="1735622" y="1626957"/>
                </a:lnTo>
                <a:lnTo>
                  <a:pt x="1725044" y="1636210"/>
                </a:lnTo>
                <a:lnTo>
                  <a:pt x="1717780" y="1641814"/>
                </a:lnTo>
                <a:lnTo>
                  <a:pt x="1717611" y="1649367"/>
                </a:lnTo>
                <a:lnTo>
                  <a:pt x="1717041" y="1661722"/>
                </a:lnTo>
                <a:lnTo>
                  <a:pt x="1716936" y="1670189"/>
                </a:lnTo>
                <a:lnTo>
                  <a:pt x="1717421" y="1675708"/>
                </a:lnTo>
                <a:lnTo>
                  <a:pt x="1716197" y="1678339"/>
                </a:lnTo>
                <a:lnTo>
                  <a:pt x="1715711" y="1680738"/>
                </a:lnTo>
                <a:lnTo>
                  <a:pt x="1716091" y="1684326"/>
                </a:lnTo>
                <a:lnTo>
                  <a:pt x="1717822" y="1686044"/>
                </a:lnTo>
                <a:lnTo>
                  <a:pt x="1718837" y="1688293"/>
                </a:lnTo>
                <a:lnTo>
                  <a:pt x="1718160" y="1690119"/>
                </a:lnTo>
                <a:lnTo>
                  <a:pt x="1714739" y="1692284"/>
                </a:lnTo>
                <a:lnTo>
                  <a:pt x="1714738" y="1692281"/>
                </a:lnTo>
                <a:lnTo>
                  <a:pt x="1712290" y="1696163"/>
                </a:lnTo>
                <a:lnTo>
                  <a:pt x="1708532" y="1704184"/>
                </a:lnTo>
                <a:lnTo>
                  <a:pt x="1708363" y="1710447"/>
                </a:lnTo>
                <a:lnTo>
                  <a:pt x="1717316" y="1723648"/>
                </a:lnTo>
                <a:lnTo>
                  <a:pt x="1718351" y="1724984"/>
                </a:lnTo>
                <a:lnTo>
                  <a:pt x="1720652" y="1727043"/>
                </a:lnTo>
                <a:lnTo>
                  <a:pt x="1721897" y="1729505"/>
                </a:lnTo>
                <a:lnTo>
                  <a:pt x="1722975" y="1735999"/>
                </a:lnTo>
                <a:lnTo>
                  <a:pt x="1723587" y="1743322"/>
                </a:lnTo>
                <a:lnTo>
                  <a:pt x="1724305" y="1748246"/>
                </a:lnTo>
                <a:lnTo>
                  <a:pt x="1728633" y="1755166"/>
                </a:lnTo>
                <a:lnTo>
                  <a:pt x="1728908" y="1757944"/>
                </a:lnTo>
                <a:lnTo>
                  <a:pt x="1725909" y="1768282"/>
                </a:lnTo>
                <a:lnTo>
                  <a:pt x="1725192" y="1769384"/>
                </a:lnTo>
                <a:lnTo>
                  <a:pt x="1724410" y="1769661"/>
                </a:lnTo>
                <a:lnTo>
                  <a:pt x="1719765" y="1768767"/>
                </a:lnTo>
                <a:lnTo>
                  <a:pt x="1717780" y="1769890"/>
                </a:lnTo>
                <a:lnTo>
                  <a:pt x="1715247" y="1773391"/>
                </a:lnTo>
                <a:lnTo>
                  <a:pt x="1713705" y="1776894"/>
                </a:lnTo>
                <a:lnTo>
                  <a:pt x="1713621" y="1778358"/>
                </a:lnTo>
                <a:lnTo>
                  <a:pt x="1717738" y="1784852"/>
                </a:lnTo>
                <a:lnTo>
                  <a:pt x="1715141" y="1794212"/>
                </a:lnTo>
                <a:lnTo>
                  <a:pt x="1712480" y="1800049"/>
                </a:lnTo>
                <a:lnTo>
                  <a:pt x="1707708" y="1803381"/>
                </a:lnTo>
                <a:lnTo>
                  <a:pt x="1703443" y="1804164"/>
                </a:lnTo>
                <a:lnTo>
                  <a:pt x="1700467" y="1805735"/>
                </a:lnTo>
                <a:lnTo>
                  <a:pt x="1698734" y="1807794"/>
                </a:lnTo>
                <a:lnTo>
                  <a:pt x="1698988" y="1814479"/>
                </a:lnTo>
                <a:lnTo>
                  <a:pt x="1692696" y="1820570"/>
                </a:lnTo>
                <a:lnTo>
                  <a:pt x="1689212" y="1824837"/>
                </a:lnTo>
                <a:lnTo>
                  <a:pt x="1687523" y="1827404"/>
                </a:lnTo>
                <a:lnTo>
                  <a:pt x="1688241" y="1835258"/>
                </a:lnTo>
                <a:lnTo>
                  <a:pt x="1686003" y="1843196"/>
                </a:lnTo>
                <a:lnTo>
                  <a:pt x="1682118" y="1849457"/>
                </a:lnTo>
                <a:lnTo>
                  <a:pt x="1673448" y="1850810"/>
                </a:lnTo>
                <a:lnTo>
                  <a:pt x="1673544" y="1850800"/>
                </a:lnTo>
                <a:lnTo>
                  <a:pt x="1682244" y="1849463"/>
                </a:lnTo>
                <a:lnTo>
                  <a:pt x="1686129" y="1843203"/>
                </a:lnTo>
                <a:lnTo>
                  <a:pt x="1688367" y="1835263"/>
                </a:lnTo>
                <a:lnTo>
                  <a:pt x="1687649" y="1827411"/>
                </a:lnTo>
                <a:lnTo>
                  <a:pt x="1689338" y="1824822"/>
                </a:lnTo>
                <a:lnTo>
                  <a:pt x="1692823" y="1820555"/>
                </a:lnTo>
                <a:lnTo>
                  <a:pt x="1699115" y="1814463"/>
                </a:lnTo>
                <a:lnTo>
                  <a:pt x="1698861" y="1807779"/>
                </a:lnTo>
                <a:lnTo>
                  <a:pt x="1700592" y="1805720"/>
                </a:lnTo>
                <a:lnTo>
                  <a:pt x="1703570" y="1804170"/>
                </a:lnTo>
                <a:lnTo>
                  <a:pt x="1707835" y="1803386"/>
                </a:lnTo>
                <a:lnTo>
                  <a:pt x="1712607" y="1800055"/>
                </a:lnTo>
                <a:lnTo>
                  <a:pt x="1715247" y="1794217"/>
                </a:lnTo>
                <a:lnTo>
                  <a:pt x="1717844" y="1784880"/>
                </a:lnTo>
                <a:lnTo>
                  <a:pt x="1713748" y="1778364"/>
                </a:lnTo>
                <a:lnTo>
                  <a:pt x="1713810" y="1776922"/>
                </a:lnTo>
                <a:lnTo>
                  <a:pt x="1715373" y="1773419"/>
                </a:lnTo>
                <a:lnTo>
                  <a:pt x="1717886" y="1769916"/>
                </a:lnTo>
                <a:lnTo>
                  <a:pt x="1719871" y="1768793"/>
                </a:lnTo>
                <a:lnTo>
                  <a:pt x="1724516" y="1769684"/>
                </a:lnTo>
                <a:lnTo>
                  <a:pt x="1725318" y="1769386"/>
                </a:lnTo>
                <a:lnTo>
                  <a:pt x="1726036" y="1768284"/>
                </a:lnTo>
                <a:lnTo>
                  <a:pt x="1729034" y="1757948"/>
                </a:lnTo>
                <a:lnTo>
                  <a:pt x="1728760" y="1755167"/>
                </a:lnTo>
                <a:lnTo>
                  <a:pt x="1724431" y="1748248"/>
                </a:lnTo>
                <a:lnTo>
                  <a:pt x="1723713" y="1743324"/>
                </a:lnTo>
                <a:lnTo>
                  <a:pt x="1723079" y="1736001"/>
                </a:lnTo>
                <a:lnTo>
                  <a:pt x="1722024" y="1729509"/>
                </a:lnTo>
                <a:lnTo>
                  <a:pt x="1720778" y="1727047"/>
                </a:lnTo>
                <a:lnTo>
                  <a:pt x="1718476" y="1724988"/>
                </a:lnTo>
                <a:lnTo>
                  <a:pt x="1717442" y="1723652"/>
                </a:lnTo>
                <a:lnTo>
                  <a:pt x="1708490" y="1710449"/>
                </a:lnTo>
                <a:lnTo>
                  <a:pt x="1708638" y="1704188"/>
                </a:lnTo>
                <a:lnTo>
                  <a:pt x="1712396" y="1696186"/>
                </a:lnTo>
                <a:lnTo>
                  <a:pt x="1714845" y="1692303"/>
                </a:lnTo>
                <a:lnTo>
                  <a:pt x="1718265" y="1690138"/>
                </a:lnTo>
                <a:lnTo>
                  <a:pt x="1718941" y="1688291"/>
                </a:lnTo>
                <a:lnTo>
                  <a:pt x="1717928" y="1686040"/>
                </a:lnTo>
                <a:lnTo>
                  <a:pt x="1716196" y="1684343"/>
                </a:lnTo>
                <a:lnTo>
                  <a:pt x="1715796" y="1680734"/>
                </a:lnTo>
                <a:lnTo>
                  <a:pt x="1716281" y="1678336"/>
                </a:lnTo>
                <a:lnTo>
                  <a:pt x="1717506" y="1675705"/>
                </a:lnTo>
                <a:lnTo>
                  <a:pt x="1717020" y="1670185"/>
                </a:lnTo>
                <a:lnTo>
                  <a:pt x="1717125" y="1661718"/>
                </a:lnTo>
                <a:lnTo>
                  <a:pt x="1717696" y="1649367"/>
                </a:lnTo>
                <a:lnTo>
                  <a:pt x="1717865" y="1641809"/>
                </a:lnTo>
                <a:lnTo>
                  <a:pt x="1725127" y="1636206"/>
                </a:lnTo>
                <a:lnTo>
                  <a:pt x="1735707" y="1626932"/>
                </a:lnTo>
                <a:lnTo>
                  <a:pt x="1741090" y="1617232"/>
                </a:lnTo>
                <a:lnTo>
                  <a:pt x="1743983" y="1609888"/>
                </a:lnTo>
                <a:lnTo>
                  <a:pt x="1747530" y="1585437"/>
                </a:lnTo>
                <a:lnTo>
                  <a:pt x="1750106" y="1583952"/>
                </a:lnTo>
                <a:lnTo>
                  <a:pt x="1753147" y="1582806"/>
                </a:lnTo>
                <a:lnTo>
                  <a:pt x="1763767" y="1573892"/>
                </a:lnTo>
                <a:close/>
                <a:moveTo>
                  <a:pt x="1787501" y="1567061"/>
                </a:moveTo>
                <a:lnTo>
                  <a:pt x="1778126" y="1568674"/>
                </a:lnTo>
                <a:lnTo>
                  <a:pt x="1773468" y="1570114"/>
                </a:lnTo>
                <a:lnTo>
                  <a:pt x="1778189" y="1568670"/>
                </a:lnTo>
                <a:lnTo>
                  <a:pt x="1787538" y="1567066"/>
                </a:lnTo>
                <a:close/>
                <a:moveTo>
                  <a:pt x="4036800" y="1566483"/>
                </a:moveTo>
                <a:lnTo>
                  <a:pt x="4037559" y="1566673"/>
                </a:lnTo>
                <a:lnTo>
                  <a:pt x="4035300" y="1570450"/>
                </a:lnTo>
                <a:lnTo>
                  <a:pt x="4031373" y="1572319"/>
                </a:lnTo>
                <a:lnTo>
                  <a:pt x="4034055" y="1567479"/>
                </a:lnTo>
                <a:close/>
                <a:moveTo>
                  <a:pt x="1328301" y="1565391"/>
                </a:moveTo>
                <a:lnTo>
                  <a:pt x="1328299" y="1565395"/>
                </a:lnTo>
                <a:lnTo>
                  <a:pt x="1328743" y="1568474"/>
                </a:lnTo>
                <a:lnTo>
                  <a:pt x="1328827" y="1571943"/>
                </a:lnTo>
                <a:lnTo>
                  <a:pt x="1328743" y="1568464"/>
                </a:lnTo>
                <a:close/>
                <a:moveTo>
                  <a:pt x="2811666" y="1564615"/>
                </a:moveTo>
                <a:lnTo>
                  <a:pt x="2811666" y="1564616"/>
                </a:lnTo>
                <a:lnTo>
                  <a:pt x="2811729" y="1568862"/>
                </a:lnTo>
                <a:lnTo>
                  <a:pt x="2814411" y="1575186"/>
                </a:lnTo>
                <a:lnTo>
                  <a:pt x="2817345" y="1580556"/>
                </a:lnTo>
                <a:lnTo>
                  <a:pt x="2818464" y="1584610"/>
                </a:lnTo>
                <a:lnTo>
                  <a:pt x="2819140" y="1589043"/>
                </a:lnTo>
                <a:lnTo>
                  <a:pt x="2819140" y="1589035"/>
                </a:lnTo>
                <a:lnTo>
                  <a:pt x="2818464" y="1584599"/>
                </a:lnTo>
                <a:lnTo>
                  <a:pt x="2817346" y="1580545"/>
                </a:lnTo>
                <a:lnTo>
                  <a:pt x="2814412" y="1575175"/>
                </a:lnTo>
                <a:lnTo>
                  <a:pt x="2811729" y="1568852"/>
                </a:lnTo>
                <a:close/>
                <a:moveTo>
                  <a:pt x="3661465" y="1562044"/>
                </a:moveTo>
                <a:lnTo>
                  <a:pt x="3658131" y="1575201"/>
                </a:lnTo>
                <a:lnTo>
                  <a:pt x="3655491" y="1581293"/>
                </a:lnTo>
                <a:lnTo>
                  <a:pt x="3653147" y="1584880"/>
                </a:lnTo>
                <a:lnTo>
                  <a:pt x="3651184" y="1588615"/>
                </a:lnTo>
                <a:lnTo>
                  <a:pt x="3647552" y="1596807"/>
                </a:lnTo>
                <a:lnTo>
                  <a:pt x="3644469" y="1607611"/>
                </a:lnTo>
                <a:lnTo>
                  <a:pt x="3643097" y="1618670"/>
                </a:lnTo>
                <a:lnTo>
                  <a:pt x="3643097" y="1618683"/>
                </a:lnTo>
                <a:lnTo>
                  <a:pt x="3644469" y="1607631"/>
                </a:lnTo>
                <a:lnTo>
                  <a:pt x="3647551" y="1596827"/>
                </a:lnTo>
                <a:lnTo>
                  <a:pt x="3651184" y="1588634"/>
                </a:lnTo>
                <a:lnTo>
                  <a:pt x="3653147" y="1584898"/>
                </a:lnTo>
                <a:lnTo>
                  <a:pt x="3655491" y="1581311"/>
                </a:lnTo>
                <a:lnTo>
                  <a:pt x="3658131" y="1575219"/>
                </a:lnTo>
                <a:lnTo>
                  <a:pt x="3661466" y="1562061"/>
                </a:lnTo>
                <a:close/>
                <a:moveTo>
                  <a:pt x="1827133" y="1560161"/>
                </a:moveTo>
                <a:lnTo>
                  <a:pt x="1822614" y="1561012"/>
                </a:lnTo>
                <a:lnTo>
                  <a:pt x="1819405" y="1562369"/>
                </a:lnTo>
                <a:lnTo>
                  <a:pt x="1812311" y="1567209"/>
                </a:lnTo>
                <a:lnTo>
                  <a:pt x="1803949" y="1568102"/>
                </a:lnTo>
                <a:lnTo>
                  <a:pt x="1796791" y="1567845"/>
                </a:lnTo>
                <a:lnTo>
                  <a:pt x="1804033" y="1568119"/>
                </a:lnTo>
                <a:lnTo>
                  <a:pt x="1812395" y="1567228"/>
                </a:lnTo>
                <a:lnTo>
                  <a:pt x="1819489" y="1562368"/>
                </a:lnTo>
                <a:lnTo>
                  <a:pt x="1822699" y="1561010"/>
                </a:lnTo>
                <a:lnTo>
                  <a:pt x="1827164" y="1560171"/>
                </a:lnTo>
                <a:close/>
                <a:moveTo>
                  <a:pt x="789392" y="1553956"/>
                </a:moveTo>
                <a:lnTo>
                  <a:pt x="789392" y="1553959"/>
                </a:lnTo>
                <a:lnTo>
                  <a:pt x="791292" y="1556633"/>
                </a:lnTo>
                <a:lnTo>
                  <a:pt x="792896" y="1560029"/>
                </a:lnTo>
                <a:lnTo>
                  <a:pt x="792897" y="1560023"/>
                </a:lnTo>
                <a:lnTo>
                  <a:pt x="791291" y="1556626"/>
                </a:lnTo>
                <a:close/>
                <a:moveTo>
                  <a:pt x="4035680" y="1548290"/>
                </a:moveTo>
                <a:lnTo>
                  <a:pt x="4037834" y="1551664"/>
                </a:lnTo>
                <a:lnTo>
                  <a:pt x="4037180" y="1554149"/>
                </a:lnTo>
                <a:lnTo>
                  <a:pt x="4036398" y="1555444"/>
                </a:lnTo>
                <a:lnTo>
                  <a:pt x="4035322" y="1555167"/>
                </a:lnTo>
                <a:lnTo>
                  <a:pt x="4031648" y="1551919"/>
                </a:lnTo>
                <a:close/>
                <a:moveTo>
                  <a:pt x="789791" y="1545768"/>
                </a:moveTo>
                <a:lnTo>
                  <a:pt x="789919" y="1548035"/>
                </a:lnTo>
                <a:lnTo>
                  <a:pt x="789919" y="1548033"/>
                </a:lnTo>
                <a:close/>
                <a:moveTo>
                  <a:pt x="3903061" y="1538665"/>
                </a:moveTo>
                <a:lnTo>
                  <a:pt x="3903081" y="1538679"/>
                </a:lnTo>
                <a:lnTo>
                  <a:pt x="3917586" y="1543595"/>
                </a:lnTo>
                <a:lnTo>
                  <a:pt x="3917565" y="1543581"/>
                </a:lnTo>
                <a:close/>
                <a:moveTo>
                  <a:pt x="1524347" y="1537413"/>
                </a:moveTo>
                <a:lnTo>
                  <a:pt x="1522702" y="1543920"/>
                </a:lnTo>
                <a:lnTo>
                  <a:pt x="1522704" y="1543926"/>
                </a:lnTo>
                <a:lnTo>
                  <a:pt x="1524349" y="1537416"/>
                </a:lnTo>
                <a:close/>
                <a:moveTo>
                  <a:pt x="3890007" y="1529651"/>
                </a:moveTo>
                <a:lnTo>
                  <a:pt x="3892925" y="1531781"/>
                </a:lnTo>
                <a:lnTo>
                  <a:pt x="3897687" y="1535015"/>
                </a:lnTo>
                <a:lnTo>
                  <a:pt x="3892904" y="1531760"/>
                </a:lnTo>
                <a:close/>
                <a:moveTo>
                  <a:pt x="3709376" y="1524671"/>
                </a:moveTo>
                <a:lnTo>
                  <a:pt x="3705110" y="1525140"/>
                </a:lnTo>
                <a:lnTo>
                  <a:pt x="3702006" y="1527581"/>
                </a:lnTo>
                <a:lnTo>
                  <a:pt x="3700043" y="1531996"/>
                </a:lnTo>
                <a:lnTo>
                  <a:pt x="3697910" y="1534711"/>
                </a:lnTo>
                <a:lnTo>
                  <a:pt x="3695609" y="1535771"/>
                </a:lnTo>
                <a:lnTo>
                  <a:pt x="3690647" y="1535239"/>
                </a:lnTo>
                <a:lnTo>
                  <a:pt x="3683024" y="1533138"/>
                </a:lnTo>
                <a:lnTo>
                  <a:pt x="3675149" y="1533584"/>
                </a:lnTo>
                <a:lnTo>
                  <a:pt x="3667041" y="1536599"/>
                </a:lnTo>
                <a:lnTo>
                  <a:pt x="3666043" y="1536677"/>
                </a:lnTo>
                <a:lnTo>
                  <a:pt x="3666048" y="1536722"/>
                </a:lnTo>
                <a:lnTo>
                  <a:pt x="3661276" y="1553109"/>
                </a:lnTo>
                <a:lnTo>
                  <a:pt x="3661276" y="1553124"/>
                </a:lnTo>
                <a:lnTo>
                  <a:pt x="3666048" y="1536740"/>
                </a:lnTo>
                <a:lnTo>
                  <a:pt x="3667104" y="1536656"/>
                </a:lnTo>
                <a:lnTo>
                  <a:pt x="3675212" y="1533643"/>
                </a:lnTo>
                <a:lnTo>
                  <a:pt x="3683088" y="1533197"/>
                </a:lnTo>
                <a:lnTo>
                  <a:pt x="3690710" y="1535298"/>
                </a:lnTo>
                <a:lnTo>
                  <a:pt x="3695672" y="1535830"/>
                </a:lnTo>
                <a:lnTo>
                  <a:pt x="3697995" y="1534770"/>
                </a:lnTo>
                <a:lnTo>
                  <a:pt x="3700127" y="1532053"/>
                </a:lnTo>
                <a:lnTo>
                  <a:pt x="3702091" y="1527640"/>
                </a:lnTo>
                <a:lnTo>
                  <a:pt x="3705216" y="1525199"/>
                </a:lnTo>
                <a:lnTo>
                  <a:pt x="3709449" y="1524736"/>
                </a:lnTo>
                <a:close/>
                <a:moveTo>
                  <a:pt x="777061" y="1524411"/>
                </a:moveTo>
                <a:lnTo>
                  <a:pt x="777061" y="1524413"/>
                </a:lnTo>
                <a:lnTo>
                  <a:pt x="780207" y="1529424"/>
                </a:lnTo>
                <a:lnTo>
                  <a:pt x="783902" y="1532672"/>
                </a:lnTo>
                <a:lnTo>
                  <a:pt x="786541" y="1535685"/>
                </a:lnTo>
                <a:lnTo>
                  <a:pt x="789454" y="1539801"/>
                </a:lnTo>
                <a:lnTo>
                  <a:pt x="789454" y="1539796"/>
                </a:lnTo>
                <a:lnTo>
                  <a:pt x="786540" y="1535678"/>
                </a:lnTo>
                <a:lnTo>
                  <a:pt x="783902" y="1532666"/>
                </a:lnTo>
                <a:lnTo>
                  <a:pt x="780206" y="1529419"/>
                </a:lnTo>
                <a:close/>
                <a:moveTo>
                  <a:pt x="3844214" y="1519597"/>
                </a:moveTo>
                <a:lnTo>
                  <a:pt x="3839125" y="1521126"/>
                </a:lnTo>
                <a:lnTo>
                  <a:pt x="3828694" y="1523673"/>
                </a:lnTo>
                <a:lnTo>
                  <a:pt x="3824461" y="1523127"/>
                </a:lnTo>
                <a:lnTo>
                  <a:pt x="3824472" y="1523142"/>
                </a:lnTo>
                <a:lnTo>
                  <a:pt x="3828758" y="1523696"/>
                </a:lnTo>
                <a:lnTo>
                  <a:pt x="3839167" y="1521169"/>
                </a:lnTo>
                <a:lnTo>
                  <a:pt x="3844277" y="1519639"/>
                </a:lnTo>
                <a:lnTo>
                  <a:pt x="3848584" y="1520891"/>
                </a:lnTo>
                <a:lnTo>
                  <a:pt x="3854095" y="1521933"/>
                </a:lnTo>
                <a:lnTo>
                  <a:pt x="3857558" y="1521933"/>
                </a:lnTo>
                <a:lnTo>
                  <a:pt x="3865792" y="1525518"/>
                </a:lnTo>
                <a:lnTo>
                  <a:pt x="3875674" y="1524374"/>
                </a:lnTo>
                <a:lnTo>
                  <a:pt x="3880341" y="1524564"/>
                </a:lnTo>
                <a:lnTo>
                  <a:pt x="3885110" y="1526085"/>
                </a:lnTo>
                <a:lnTo>
                  <a:pt x="3885092" y="1526071"/>
                </a:lnTo>
                <a:lnTo>
                  <a:pt x="3880299" y="1524543"/>
                </a:lnTo>
                <a:lnTo>
                  <a:pt x="3875653" y="1524353"/>
                </a:lnTo>
                <a:lnTo>
                  <a:pt x="3865750" y="1525476"/>
                </a:lnTo>
                <a:lnTo>
                  <a:pt x="3857516" y="1521910"/>
                </a:lnTo>
                <a:lnTo>
                  <a:pt x="3854053" y="1521910"/>
                </a:lnTo>
                <a:lnTo>
                  <a:pt x="3848542" y="1520871"/>
                </a:lnTo>
                <a:close/>
                <a:moveTo>
                  <a:pt x="2827969" y="1518791"/>
                </a:moveTo>
                <a:lnTo>
                  <a:pt x="2827966" y="1518794"/>
                </a:lnTo>
                <a:lnTo>
                  <a:pt x="2829043" y="1521617"/>
                </a:lnTo>
                <a:lnTo>
                  <a:pt x="2830541" y="1525481"/>
                </a:lnTo>
                <a:lnTo>
                  <a:pt x="2831386" y="1531530"/>
                </a:lnTo>
                <a:lnTo>
                  <a:pt x="2831978" y="1535073"/>
                </a:lnTo>
                <a:lnTo>
                  <a:pt x="2834891" y="1537959"/>
                </a:lnTo>
                <a:lnTo>
                  <a:pt x="2836664" y="1540018"/>
                </a:lnTo>
                <a:lnTo>
                  <a:pt x="2837275" y="1542536"/>
                </a:lnTo>
                <a:lnTo>
                  <a:pt x="2837278" y="1542532"/>
                </a:lnTo>
                <a:lnTo>
                  <a:pt x="2836665" y="1540007"/>
                </a:lnTo>
                <a:lnTo>
                  <a:pt x="2834892" y="1537949"/>
                </a:lnTo>
                <a:lnTo>
                  <a:pt x="2831978" y="1535062"/>
                </a:lnTo>
                <a:lnTo>
                  <a:pt x="2831387" y="1531517"/>
                </a:lnTo>
                <a:lnTo>
                  <a:pt x="2830542" y="1525469"/>
                </a:lnTo>
                <a:lnTo>
                  <a:pt x="2829044" y="1521606"/>
                </a:lnTo>
                <a:close/>
                <a:moveTo>
                  <a:pt x="3814083" y="1514036"/>
                </a:moveTo>
                <a:lnTo>
                  <a:pt x="3812415" y="1516561"/>
                </a:lnTo>
                <a:lnTo>
                  <a:pt x="3801520" y="1522950"/>
                </a:lnTo>
                <a:lnTo>
                  <a:pt x="3783317" y="1526492"/>
                </a:lnTo>
                <a:lnTo>
                  <a:pt x="3783382" y="1526495"/>
                </a:lnTo>
                <a:lnTo>
                  <a:pt x="3801604" y="1522950"/>
                </a:lnTo>
                <a:lnTo>
                  <a:pt x="3812499" y="1516561"/>
                </a:lnTo>
                <a:lnTo>
                  <a:pt x="3814145" y="1514036"/>
                </a:lnTo>
                <a:close/>
                <a:moveTo>
                  <a:pt x="3757577" y="1509466"/>
                </a:moveTo>
                <a:lnTo>
                  <a:pt x="3757622" y="1509490"/>
                </a:lnTo>
                <a:lnTo>
                  <a:pt x="3761909" y="1510784"/>
                </a:lnTo>
                <a:lnTo>
                  <a:pt x="3763942" y="1510950"/>
                </a:lnTo>
                <a:lnTo>
                  <a:pt x="3763894" y="1510917"/>
                </a:lnTo>
                <a:lnTo>
                  <a:pt x="3761803" y="1510748"/>
                </a:lnTo>
                <a:close/>
                <a:moveTo>
                  <a:pt x="2845597" y="1500369"/>
                </a:moveTo>
                <a:lnTo>
                  <a:pt x="2845786" y="1504225"/>
                </a:lnTo>
                <a:lnTo>
                  <a:pt x="2845787" y="1504222"/>
                </a:lnTo>
                <a:close/>
                <a:moveTo>
                  <a:pt x="3746516" y="1500284"/>
                </a:moveTo>
                <a:lnTo>
                  <a:pt x="3742737" y="1509093"/>
                </a:lnTo>
                <a:lnTo>
                  <a:pt x="3736107" y="1524458"/>
                </a:lnTo>
                <a:lnTo>
                  <a:pt x="3732560" y="1532695"/>
                </a:lnTo>
                <a:lnTo>
                  <a:pt x="3727978" y="1543286"/>
                </a:lnTo>
                <a:lnTo>
                  <a:pt x="3726541" y="1543605"/>
                </a:lnTo>
                <a:lnTo>
                  <a:pt x="3724273" y="1542866"/>
                </a:lnTo>
                <a:lnTo>
                  <a:pt x="3724282" y="1542879"/>
                </a:lnTo>
                <a:lnTo>
                  <a:pt x="3726626" y="1543662"/>
                </a:lnTo>
                <a:lnTo>
                  <a:pt x="3728082" y="1543321"/>
                </a:lnTo>
                <a:lnTo>
                  <a:pt x="3732643" y="1532730"/>
                </a:lnTo>
                <a:lnTo>
                  <a:pt x="3736212" y="1524517"/>
                </a:lnTo>
                <a:lnTo>
                  <a:pt x="3742842" y="1509149"/>
                </a:lnTo>
                <a:lnTo>
                  <a:pt x="3746615" y="1500357"/>
                </a:lnTo>
                <a:close/>
                <a:moveTo>
                  <a:pt x="56272" y="1488907"/>
                </a:moveTo>
                <a:lnTo>
                  <a:pt x="59987" y="1490051"/>
                </a:lnTo>
                <a:lnTo>
                  <a:pt x="61971" y="1495571"/>
                </a:lnTo>
                <a:lnTo>
                  <a:pt x="61234" y="1500070"/>
                </a:lnTo>
                <a:lnTo>
                  <a:pt x="56630" y="1502406"/>
                </a:lnTo>
                <a:lnTo>
                  <a:pt x="53400" y="1501388"/>
                </a:lnTo>
                <a:lnTo>
                  <a:pt x="50339" y="1498968"/>
                </a:lnTo>
                <a:lnTo>
                  <a:pt x="48860" y="1495465"/>
                </a:lnTo>
                <a:lnTo>
                  <a:pt x="50063" y="1492453"/>
                </a:lnTo>
                <a:close/>
                <a:moveTo>
                  <a:pt x="126308" y="1471463"/>
                </a:moveTo>
                <a:lnTo>
                  <a:pt x="130615" y="1471824"/>
                </a:lnTo>
                <a:lnTo>
                  <a:pt x="131713" y="1474857"/>
                </a:lnTo>
                <a:lnTo>
                  <a:pt x="131925" y="1481097"/>
                </a:lnTo>
                <a:lnTo>
                  <a:pt x="127956" y="1482879"/>
                </a:lnTo>
                <a:lnTo>
                  <a:pt x="126308" y="1483114"/>
                </a:lnTo>
                <a:lnTo>
                  <a:pt x="123838" y="1480354"/>
                </a:lnTo>
                <a:lnTo>
                  <a:pt x="124387" y="1476534"/>
                </a:lnTo>
                <a:lnTo>
                  <a:pt x="124114" y="1475538"/>
                </a:lnTo>
                <a:close/>
                <a:moveTo>
                  <a:pt x="94425" y="1471143"/>
                </a:moveTo>
                <a:lnTo>
                  <a:pt x="96854" y="1471866"/>
                </a:lnTo>
                <a:lnTo>
                  <a:pt x="97256" y="1474644"/>
                </a:lnTo>
                <a:lnTo>
                  <a:pt x="104392" y="1481437"/>
                </a:lnTo>
                <a:lnTo>
                  <a:pt x="107030" y="1482753"/>
                </a:lnTo>
                <a:lnTo>
                  <a:pt x="112415" y="1490775"/>
                </a:lnTo>
                <a:lnTo>
                  <a:pt x="108846" y="1496398"/>
                </a:lnTo>
                <a:lnTo>
                  <a:pt x="100992" y="1495953"/>
                </a:lnTo>
                <a:lnTo>
                  <a:pt x="96960" y="1493639"/>
                </a:lnTo>
                <a:lnTo>
                  <a:pt x="92229" y="1486572"/>
                </a:lnTo>
                <a:lnTo>
                  <a:pt x="92377" y="1481097"/>
                </a:lnTo>
                <a:lnTo>
                  <a:pt x="94045" y="1476342"/>
                </a:lnTo>
                <a:lnTo>
                  <a:pt x="93750" y="1472225"/>
                </a:lnTo>
                <a:close/>
                <a:moveTo>
                  <a:pt x="869609" y="1465135"/>
                </a:moveTo>
                <a:lnTo>
                  <a:pt x="867916" y="1465327"/>
                </a:lnTo>
                <a:lnTo>
                  <a:pt x="867907" y="1465335"/>
                </a:lnTo>
                <a:close/>
                <a:moveTo>
                  <a:pt x="4026242" y="1464752"/>
                </a:moveTo>
                <a:lnTo>
                  <a:pt x="4027551" y="1468722"/>
                </a:lnTo>
                <a:lnTo>
                  <a:pt x="4026707" y="1470907"/>
                </a:lnTo>
                <a:lnTo>
                  <a:pt x="4025503" y="1472669"/>
                </a:lnTo>
                <a:lnTo>
                  <a:pt x="4025503" y="1472671"/>
                </a:lnTo>
                <a:lnTo>
                  <a:pt x="4023646" y="1474028"/>
                </a:lnTo>
                <a:lnTo>
                  <a:pt x="4023075" y="1471650"/>
                </a:lnTo>
                <a:lnTo>
                  <a:pt x="4024299" y="1466302"/>
                </a:lnTo>
                <a:close/>
                <a:moveTo>
                  <a:pt x="880804" y="1464307"/>
                </a:moveTo>
                <a:lnTo>
                  <a:pt x="884703" y="1464409"/>
                </a:lnTo>
                <a:lnTo>
                  <a:pt x="893571" y="1465745"/>
                </a:lnTo>
                <a:lnTo>
                  <a:pt x="897625" y="1466976"/>
                </a:lnTo>
                <a:lnTo>
                  <a:pt x="901425" y="1467719"/>
                </a:lnTo>
                <a:lnTo>
                  <a:pt x="901498" y="1467724"/>
                </a:lnTo>
                <a:lnTo>
                  <a:pt x="897709" y="1466962"/>
                </a:lnTo>
                <a:lnTo>
                  <a:pt x="893677" y="1465730"/>
                </a:lnTo>
                <a:lnTo>
                  <a:pt x="884808" y="1464394"/>
                </a:lnTo>
                <a:close/>
                <a:moveTo>
                  <a:pt x="941881" y="1463156"/>
                </a:moveTo>
                <a:lnTo>
                  <a:pt x="934196" y="1464436"/>
                </a:lnTo>
                <a:lnTo>
                  <a:pt x="934182" y="1464439"/>
                </a:lnTo>
                <a:lnTo>
                  <a:pt x="941881" y="1463157"/>
                </a:lnTo>
                <a:close/>
                <a:moveTo>
                  <a:pt x="2860695" y="1458555"/>
                </a:moveTo>
                <a:lnTo>
                  <a:pt x="2860694" y="1458557"/>
                </a:lnTo>
                <a:lnTo>
                  <a:pt x="2862805" y="1472182"/>
                </a:lnTo>
                <a:lnTo>
                  <a:pt x="2862806" y="1472172"/>
                </a:lnTo>
                <a:close/>
                <a:moveTo>
                  <a:pt x="820176" y="1452166"/>
                </a:moveTo>
                <a:lnTo>
                  <a:pt x="820125" y="1452202"/>
                </a:lnTo>
                <a:lnTo>
                  <a:pt x="822879" y="1452884"/>
                </a:lnTo>
                <a:lnTo>
                  <a:pt x="828179" y="1458338"/>
                </a:lnTo>
                <a:lnTo>
                  <a:pt x="839813" y="1469269"/>
                </a:lnTo>
                <a:lnTo>
                  <a:pt x="849420" y="1477589"/>
                </a:lnTo>
                <a:lnTo>
                  <a:pt x="852925" y="1482003"/>
                </a:lnTo>
                <a:lnTo>
                  <a:pt x="856028" y="1482046"/>
                </a:lnTo>
                <a:lnTo>
                  <a:pt x="856038" y="1482028"/>
                </a:lnTo>
                <a:lnTo>
                  <a:pt x="853031" y="1481987"/>
                </a:lnTo>
                <a:lnTo>
                  <a:pt x="849525" y="1477574"/>
                </a:lnTo>
                <a:lnTo>
                  <a:pt x="839919" y="1469252"/>
                </a:lnTo>
                <a:lnTo>
                  <a:pt x="828284" y="1458300"/>
                </a:lnTo>
                <a:lnTo>
                  <a:pt x="822984" y="1452868"/>
                </a:lnTo>
                <a:close/>
                <a:moveTo>
                  <a:pt x="946069" y="1450137"/>
                </a:moveTo>
                <a:lnTo>
                  <a:pt x="945640" y="1450260"/>
                </a:lnTo>
                <a:lnTo>
                  <a:pt x="945634" y="1450266"/>
                </a:lnTo>
                <a:close/>
                <a:moveTo>
                  <a:pt x="947709" y="1449665"/>
                </a:moveTo>
                <a:lnTo>
                  <a:pt x="947605" y="1449695"/>
                </a:lnTo>
                <a:lnTo>
                  <a:pt x="948490" y="1459018"/>
                </a:lnTo>
                <a:lnTo>
                  <a:pt x="950960" y="1460418"/>
                </a:lnTo>
                <a:lnTo>
                  <a:pt x="957886" y="1460821"/>
                </a:lnTo>
                <a:lnTo>
                  <a:pt x="969140" y="1460821"/>
                </a:lnTo>
                <a:lnTo>
                  <a:pt x="981218" y="1460821"/>
                </a:lnTo>
                <a:lnTo>
                  <a:pt x="993295" y="1460821"/>
                </a:lnTo>
                <a:lnTo>
                  <a:pt x="1005394" y="1460821"/>
                </a:lnTo>
                <a:lnTo>
                  <a:pt x="1017472" y="1460821"/>
                </a:lnTo>
                <a:lnTo>
                  <a:pt x="1029549" y="1460821"/>
                </a:lnTo>
                <a:lnTo>
                  <a:pt x="1041648" y="1460821"/>
                </a:lnTo>
                <a:lnTo>
                  <a:pt x="1053725" y="1460821"/>
                </a:lnTo>
                <a:lnTo>
                  <a:pt x="1065824" y="1460821"/>
                </a:lnTo>
                <a:lnTo>
                  <a:pt x="1077902" y="1460821"/>
                </a:lnTo>
                <a:lnTo>
                  <a:pt x="1089979" y="1460821"/>
                </a:lnTo>
                <a:lnTo>
                  <a:pt x="1102056" y="1460821"/>
                </a:lnTo>
                <a:lnTo>
                  <a:pt x="1114156" y="1460821"/>
                </a:lnTo>
                <a:lnTo>
                  <a:pt x="1126232" y="1460821"/>
                </a:lnTo>
                <a:lnTo>
                  <a:pt x="1138332" y="1460821"/>
                </a:lnTo>
                <a:lnTo>
                  <a:pt x="1150410" y="1460821"/>
                </a:lnTo>
                <a:lnTo>
                  <a:pt x="1162508" y="1460821"/>
                </a:lnTo>
                <a:lnTo>
                  <a:pt x="1175029" y="1460821"/>
                </a:lnTo>
                <a:lnTo>
                  <a:pt x="1175032" y="1460807"/>
                </a:lnTo>
                <a:lnTo>
                  <a:pt x="1162571" y="1460807"/>
                </a:lnTo>
                <a:lnTo>
                  <a:pt x="1150472" y="1460807"/>
                </a:lnTo>
                <a:lnTo>
                  <a:pt x="1138395" y="1460807"/>
                </a:lnTo>
                <a:lnTo>
                  <a:pt x="1126317" y="1460807"/>
                </a:lnTo>
                <a:lnTo>
                  <a:pt x="1114239" y="1460807"/>
                </a:lnTo>
                <a:lnTo>
                  <a:pt x="1102141" y="1460807"/>
                </a:lnTo>
                <a:lnTo>
                  <a:pt x="1090063" y="1460807"/>
                </a:lnTo>
                <a:lnTo>
                  <a:pt x="1077986" y="1460807"/>
                </a:lnTo>
                <a:lnTo>
                  <a:pt x="1065908" y="1460807"/>
                </a:lnTo>
                <a:lnTo>
                  <a:pt x="1053830" y="1460807"/>
                </a:lnTo>
                <a:lnTo>
                  <a:pt x="1041732" y="1460807"/>
                </a:lnTo>
                <a:lnTo>
                  <a:pt x="1029654" y="1460807"/>
                </a:lnTo>
                <a:lnTo>
                  <a:pt x="1017577" y="1460807"/>
                </a:lnTo>
                <a:lnTo>
                  <a:pt x="1005499" y="1460807"/>
                </a:lnTo>
                <a:lnTo>
                  <a:pt x="993400" y="1460807"/>
                </a:lnTo>
                <a:lnTo>
                  <a:pt x="981323" y="1460807"/>
                </a:lnTo>
                <a:lnTo>
                  <a:pt x="969245" y="1460807"/>
                </a:lnTo>
                <a:lnTo>
                  <a:pt x="957991" y="1460807"/>
                </a:lnTo>
                <a:lnTo>
                  <a:pt x="951066" y="1460382"/>
                </a:lnTo>
                <a:lnTo>
                  <a:pt x="948595" y="1458983"/>
                </a:lnTo>
                <a:close/>
                <a:moveTo>
                  <a:pt x="3869446" y="1436632"/>
                </a:moveTo>
                <a:lnTo>
                  <a:pt x="3874534" y="1437481"/>
                </a:lnTo>
                <a:lnTo>
                  <a:pt x="3877744" y="1439753"/>
                </a:lnTo>
                <a:lnTo>
                  <a:pt x="3879855" y="1442405"/>
                </a:lnTo>
                <a:lnTo>
                  <a:pt x="3880362" y="1448540"/>
                </a:lnTo>
                <a:lnTo>
                  <a:pt x="3880362" y="1448539"/>
                </a:lnTo>
                <a:lnTo>
                  <a:pt x="3882811" y="1451807"/>
                </a:lnTo>
                <a:lnTo>
                  <a:pt x="3884521" y="1451488"/>
                </a:lnTo>
                <a:lnTo>
                  <a:pt x="3885872" y="1450408"/>
                </a:lnTo>
                <a:lnTo>
                  <a:pt x="3886823" y="1448093"/>
                </a:lnTo>
                <a:lnTo>
                  <a:pt x="3896177" y="1452656"/>
                </a:lnTo>
                <a:lnTo>
                  <a:pt x="3895649" y="1455692"/>
                </a:lnTo>
                <a:lnTo>
                  <a:pt x="3890054" y="1455840"/>
                </a:lnTo>
                <a:lnTo>
                  <a:pt x="3883613" y="1454546"/>
                </a:lnTo>
                <a:lnTo>
                  <a:pt x="3877638" y="1454991"/>
                </a:lnTo>
                <a:lnTo>
                  <a:pt x="3870522" y="1453676"/>
                </a:lnTo>
                <a:lnTo>
                  <a:pt x="3868875" y="1448517"/>
                </a:lnTo>
                <a:lnTo>
                  <a:pt x="3873415" y="1451001"/>
                </a:lnTo>
                <a:lnTo>
                  <a:pt x="3875759" y="1450384"/>
                </a:lnTo>
                <a:lnTo>
                  <a:pt x="3876181" y="1449725"/>
                </a:lnTo>
                <a:lnTo>
                  <a:pt x="3872971" y="1446243"/>
                </a:lnTo>
                <a:lnTo>
                  <a:pt x="3868453" y="1445546"/>
                </a:lnTo>
                <a:lnTo>
                  <a:pt x="3868770" y="1442808"/>
                </a:lnTo>
                <a:lnTo>
                  <a:pt x="3870797" y="1441727"/>
                </a:lnTo>
                <a:lnTo>
                  <a:pt x="3872043" y="1440391"/>
                </a:lnTo>
                <a:close/>
                <a:moveTo>
                  <a:pt x="3874872" y="1423410"/>
                </a:moveTo>
                <a:lnTo>
                  <a:pt x="3876540" y="1424768"/>
                </a:lnTo>
                <a:lnTo>
                  <a:pt x="3878525" y="1430710"/>
                </a:lnTo>
                <a:lnTo>
                  <a:pt x="3872739" y="1428438"/>
                </a:lnTo>
                <a:lnTo>
                  <a:pt x="3871790" y="1427209"/>
                </a:lnTo>
                <a:lnTo>
                  <a:pt x="3874323" y="1424852"/>
                </a:lnTo>
                <a:close/>
                <a:moveTo>
                  <a:pt x="698555" y="1420919"/>
                </a:moveTo>
                <a:lnTo>
                  <a:pt x="698413" y="1420975"/>
                </a:lnTo>
                <a:lnTo>
                  <a:pt x="701280" y="1421527"/>
                </a:lnTo>
                <a:lnTo>
                  <a:pt x="701808" y="1423055"/>
                </a:lnTo>
                <a:lnTo>
                  <a:pt x="702483" y="1423883"/>
                </a:lnTo>
                <a:lnTo>
                  <a:pt x="704426" y="1424244"/>
                </a:lnTo>
                <a:lnTo>
                  <a:pt x="707044" y="1426197"/>
                </a:lnTo>
                <a:lnTo>
                  <a:pt x="710740" y="1431482"/>
                </a:lnTo>
                <a:lnTo>
                  <a:pt x="713738" y="1438847"/>
                </a:lnTo>
                <a:lnTo>
                  <a:pt x="716039" y="1448292"/>
                </a:lnTo>
                <a:lnTo>
                  <a:pt x="719101" y="1453428"/>
                </a:lnTo>
                <a:lnTo>
                  <a:pt x="722880" y="1454257"/>
                </a:lnTo>
                <a:lnTo>
                  <a:pt x="725097" y="1456188"/>
                </a:lnTo>
                <a:lnTo>
                  <a:pt x="725520" y="1458437"/>
                </a:lnTo>
                <a:lnTo>
                  <a:pt x="726639" y="1459968"/>
                </a:lnTo>
                <a:lnTo>
                  <a:pt x="728455" y="1460819"/>
                </a:lnTo>
                <a:lnTo>
                  <a:pt x="731664" y="1460305"/>
                </a:lnTo>
                <a:lnTo>
                  <a:pt x="735423" y="1463489"/>
                </a:lnTo>
                <a:lnTo>
                  <a:pt x="739477" y="1470409"/>
                </a:lnTo>
                <a:lnTo>
                  <a:pt x="740110" y="1473508"/>
                </a:lnTo>
                <a:lnTo>
                  <a:pt x="739477" y="1475185"/>
                </a:lnTo>
                <a:lnTo>
                  <a:pt x="739709" y="1476416"/>
                </a:lnTo>
                <a:lnTo>
                  <a:pt x="742411" y="1477584"/>
                </a:lnTo>
                <a:lnTo>
                  <a:pt x="744945" y="1479832"/>
                </a:lnTo>
                <a:lnTo>
                  <a:pt x="747014" y="1483229"/>
                </a:lnTo>
                <a:lnTo>
                  <a:pt x="751490" y="1486243"/>
                </a:lnTo>
                <a:lnTo>
                  <a:pt x="758374" y="1488895"/>
                </a:lnTo>
                <a:lnTo>
                  <a:pt x="763336" y="1492843"/>
                </a:lnTo>
                <a:lnTo>
                  <a:pt x="766377" y="1498086"/>
                </a:lnTo>
                <a:lnTo>
                  <a:pt x="772669" y="1502501"/>
                </a:lnTo>
                <a:lnTo>
                  <a:pt x="773956" y="1502978"/>
                </a:lnTo>
                <a:lnTo>
                  <a:pt x="779530" y="1512803"/>
                </a:lnTo>
                <a:lnTo>
                  <a:pt x="779531" y="1512799"/>
                </a:lnTo>
                <a:lnTo>
                  <a:pt x="773956" y="1502972"/>
                </a:lnTo>
                <a:lnTo>
                  <a:pt x="784387" y="1506857"/>
                </a:lnTo>
                <a:lnTo>
                  <a:pt x="784442" y="1506806"/>
                </a:lnTo>
                <a:lnTo>
                  <a:pt x="774104" y="1502935"/>
                </a:lnTo>
                <a:lnTo>
                  <a:pt x="772795" y="1502447"/>
                </a:lnTo>
                <a:lnTo>
                  <a:pt x="766503" y="1498031"/>
                </a:lnTo>
                <a:lnTo>
                  <a:pt x="763463" y="1492789"/>
                </a:lnTo>
                <a:lnTo>
                  <a:pt x="758501" y="1488843"/>
                </a:lnTo>
                <a:lnTo>
                  <a:pt x="751617" y="1486188"/>
                </a:lnTo>
                <a:lnTo>
                  <a:pt x="747141" y="1483175"/>
                </a:lnTo>
                <a:lnTo>
                  <a:pt x="745051" y="1479780"/>
                </a:lnTo>
                <a:lnTo>
                  <a:pt x="742517" y="1477530"/>
                </a:lnTo>
                <a:lnTo>
                  <a:pt x="739835" y="1476362"/>
                </a:lnTo>
                <a:lnTo>
                  <a:pt x="739581" y="1475152"/>
                </a:lnTo>
                <a:lnTo>
                  <a:pt x="740215" y="1473475"/>
                </a:lnTo>
                <a:lnTo>
                  <a:pt x="739581" y="1470375"/>
                </a:lnTo>
                <a:lnTo>
                  <a:pt x="735549" y="1463459"/>
                </a:lnTo>
                <a:lnTo>
                  <a:pt x="731791" y="1460275"/>
                </a:lnTo>
                <a:lnTo>
                  <a:pt x="728581" y="1460785"/>
                </a:lnTo>
                <a:lnTo>
                  <a:pt x="726765" y="1459935"/>
                </a:lnTo>
                <a:lnTo>
                  <a:pt x="725667" y="1458406"/>
                </a:lnTo>
                <a:lnTo>
                  <a:pt x="725224" y="1456176"/>
                </a:lnTo>
                <a:lnTo>
                  <a:pt x="723028" y="1454245"/>
                </a:lnTo>
                <a:lnTo>
                  <a:pt x="719227" y="1453393"/>
                </a:lnTo>
                <a:lnTo>
                  <a:pt x="716166" y="1448258"/>
                </a:lnTo>
                <a:lnTo>
                  <a:pt x="713864" y="1438814"/>
                </a:lnTo>
                <a:lnTo>
                  <a:pt x="710866" y="1431449"/>
                </a:lnTo>
                <a:lnTo>
                  <a:pt x="707192" y="1426164"/>
                </a:lnTo>
                <a:lnTo>
                  <a:pt x="704553" y="1424190"/>
                </a:lnTo>
                <a:lnTo>
                  <a:pt x="702610" y="1423828"/>
                </a:lnTo>
                <a:lnTo>
                  <a:pt x="701955" y="1423001"/>
                </a:lnTo>
                <a:lnTo>
                  <a:pt x="701427" y="1421472"/>
                </a:lnTo>
                <a:close/>
                <a:moveTo>
                  <a:pt x="686647" y="1419153"/>
                </a:moveTo>
                <a:lnTo>
                  <a:pt x="686556" y="1419216"/>
                </a:lnTo>
                <a:lnTo>
                  <a:pt x="688970" y="1419445"/>
                </a:lnTo>
                <a:lnTo>
                  <a:pt x="690744" y="1422033"/>
                </a:lnTo>
                <a:lnTo>
                  <a:pt x="694376" y="1422565"/>
                </a:lnTo>
                <a:lnTo>
                  <a:pt x="694515" y="1422510"/>
                </a:lnTo>
                <a:lnTo>
                  <a:pt x="690891" y="1421979"/>
                </a:lnTo>
                <a:lnTo>
                  <a:pt x="689118" y="1419388"/>
                </a:lnTo>
                <a:close/>
                <a:moveTo>
                  <a:pt x="143622" y="1415215"/>
                </a:moveTo>
                <a:lnTo>
                  <a:pt x="148564" y="1416338"/>
                </a:lnTo>
                <a:lnTo>
                  <a:pt x="150444" y="1415935"/>
                </a:lnTo>
                <a:lnTo>
                  <a:pt x="153589" y="1416191"/>
                </a:lnTo>
                <a:lnTo>
                  <a:pt x="156967" y="1419417"/>
                </a:lnTo>
                <a:lnTo>
                  <a:pt x="157601" y="1422856"/>
                </a:lnTo>
                <a:lnTo>
                  <a:pt x="155932" y="1427164"/>
                </a:lnTo>
                <a:lnTo>
                  <a:pt x="149387" y="1430709"/>
                </a:lnTo>
                <a:lnTo>
                  <a:pt x="145608" y="1430284"/>
                </a:lnTo>
                <a:lnTo>
                  <a:pt x="141152" y="1427058"/>
                </a:lnTo>
                <a:lnTo>
                  <a:pt x="143707" y="1420690"/>
                </a:lnTo>
                <a:close/>
                <a:moveTo>
                  <a:pt x="543743" y="1396040"/>
                </a:moveTo>
                <a:lnTo>
                  <a:pt x="539562" y="1397015"/>
                </a:lnTo>
                <a:lnTo>
                  <a:pt x="539545" y="1397038"/>
                </a:lnTo>
                <a:lnTo>
                  <a:pt x="543575" y="1396096"/>
                </a:lnTo>
                <a:lnTo>
                  <a:pt x="546848" y="1396543"/>
                </a:lnTo>
                <a:lnTo>
                  <a:pt x="549170" y="1398368"/>
                </a:lnTo>
                <a:lnTo>
                  <a:pt x="555990" y="1399514"/>
                </a:lnTo>
                <a:lnTo>
                  <a:pt x="567286" y="1399937"/>
                </a:lnTo>
                <a:lnTo>
                  <a:pt x="576029" y="1398600"/>
                </a:lnTo>
                <a:lnTo>
                  <a:pt x="576119" y="1398555"/>
                </a:lnTo>
                <a:lnTo>
                  <a:pt x="567455" y="1399881"/>
                </a:lnTo>
                <a:lnTo>
                  <a:pt x="556138" y="1399455"/>
                </a:lnTo>
                <a:lnTo>
                  <a:pt x="549318" y="1398311"/>
                </a:lnTo>
                <a:lnTo>
                  <a:pt x="546995" y="1396485"/>
                </a:lnTo>
                <a:close/>
                <a:moveTo>
                  <a:pt x="605639" y="1392574"/>
                </a:moveTo>
                <a:lnTo>
                  <a:pt x="600499" y="1393854"/>
                </a:lnTo>
                <a:lnTo>
                  <a:pt x="590470" y="1393875"/>
                </a:lnTo>
                <a:lnTo>
                  <a:pt x="582362" y="1395447"/>
                </a:lnTo>
                <a:lnTo>
                  <a:pt x="582218" y="1395519"/>
                </a:lnTo>
                <a:lnTo>
                  <a:pt x="590302" y="1393953"/>
                </a:lnTo>
                <a:lnTo>
                  <a:pt x="600331" y="1393911"/>
                </a:lnTo>
                <a:lnTo>
                  <a:pt x="605631" y="1392616"/>
                </a:lnTo>
                <a:close/>
                <a:moveTo>
                  <a:pt x="607594" y="1389230"/>
                </a:moveTo>
                <a:lnTo>
                  <a:pt x="607455" y="1389312"/>
                </a:lnTo>
                <a:lnTo>
                  <a:pt x="609537" y="1390305"/>
                </a:lnTo>
                <a:lnTo>
                  <a:pt x="611522" y="1389901"/>
                </a:lnTo>
                <a:lnTo>
                  <a:pt x="611562" y="1389862"/>
                </a:lnTo>
                <a:lnTo>
                  <a:pt x="609684" y="1390248"/>
                </a:lnTo>
                <a:close/>
                <a:moveTo>
                  <a:pt x="57180" y="1388009"/>
                </a:moveTo>
                <a:lnTo>
                  <a:pt x="63430" y="1390046"/>
                </a:lnTo>
                <a:lnTo>
                  <a:pt x="74304" y="1391446"/>
                </a:lnTo>
                <a:lnTo>
                  <a:pt x="74304" y="1391444"/>
                </a:lnTo>
                <a:lnTo>
                  <a:pt x="76753" y="1393250"/>
                </a:lnTo>
                <a:lnTo>
                  <a:pt x="77555" y="1394565"/>
                </a:lnTo>
                <a:lnTo>
                  <a:pt x="73923" y="1395245"/>
                </a:lnTo>
                <a:lnTo>
                  <a:pt x="65097" y="1392868"/>
                </a:lnTo>
                <a:lnTo>
                  <a:pt x="62753" y="1394312"/>
                </a:lnTo>
                <a:lnTo>
                  <a:pt x="60409" y="1399428"/>
                </a:lnTo>
                <a:lnTo>
                  <a:pt x="55912" y="1391681"/>
                </a:lnTo>
                <a:lnTo>
                  <a:pt x="56228" y="1388837"/>
                </a:lnTo>
                <a:close/>
                <a:moveTo>
                  <a:pt x="615344" y="1387892"/>
                </a:moveTo>
                <a:lnTo>
                  <a:pt x="613506" y="1388018"/>
                </a:lnTo>
                <a:lnTo>
                  <a:pt x="613453" y="1388069"/>
                </a:lnTo>
                <a:lnTo>
                  <a:pt x="615217" y="1387969"/>
                </a:lnTo>
                <a:lnTo>
                  <a:pt x="617054" y="1389540"/>
                </a:lnTo>
                <a:lnTo>
                  <a:pt x="625458" y="1390007"/>
                </a:lnTo>
                <a:lnTo>
                  <a:pt x="640449" y="1389390"/>
                </a:lnTo>
                <a:lnTo>
                  <a:pt x="654279" y="1394058"/>
                </a:lnTo>
                <a:lnTo>
                  <a:pt x="666990" y="1404014"/>
                </a:lnTo>
                <a:lnTo>
                  <a:pt x="673557" y="1410656"/>
                </a:lnTo>
                <a:lnTo>
                  <a:pt x="673958" y="1413988"/>
                </a:lnTo>
                <a:lnTo>
                  <a:pt x="676069" y="1417341"/>
                </a:lnTo>
                <a:lnTo>
                  <a:pt x="679870" y="1420716"/>
                </a:lnTo>
                <a:lnTo>
                  <a:pt x="683333" y="1421332"/>
                </a:lnTo>
                <a:lnTo>
                  <a:pt x="683434" y="1421264"/>
                </a:lnTo>
                <a:lnTo>
                  <a:pt x="680018" y="1420660"/>
                </a:lnTo>
                <a:lnTo>
                  <a:pt x="676216" y="1417285"/>
                </a:lnTo>
                <a:lnTo>
                  <a:pt x="674105" y="1413932"/>
                </a:lnTo>
                <a:lnTo>
                  <a:pt x="673704" y="1410600"/>
                </a:lnTo>
                <a:lnTo>
                  <a:pt x="667137" y="1403956"/>
                </a:lnTo>
                <a:lnTo>
                  <a:pt x="654426" y="1393981"/>
                </a:lnTo>
                <a:lnTo>
                  <a:pt x="640575" y="1389313"/>
                </a:lnTo>
                <a:lnTo>
                  <a:pt x="625584" y="1389929"/>
                </a:lnTo>
                <a:lnTo>
                  <a:pt x="617180" y="1389462"/>
                </a:lnTo>
                <a:close/>
                <a:moveTo>
                  <a:pt x="144383" y="1377779"/>
                </a:moveTo>
                <a:lnTo>
                  <a:pt x="144424" y="1384675"/>
                </a:lnTo>
                <a:lnTo>
                  <a:pt x="145374" y="1389197"/>
                </a:lnTo>
                <a:lnTo>
                  <a:pt x="143475" y="1392356"/>
                </a:lnTo>
                <a:lnTo>
                  <a:pt x="141152" y="1387709"/>
                </a:lnTo>
                <a:lnTo>
                  <a:pt x="139885" y="1386607"/>
                </a:lnTo>
                <a:lnTo>
                  <a:pt x="139273" y="1379943"/>
                </a:lnTo>
                <a:lnTo>
                  <a:pt x="142713" y="1377947"/>
                </a:lnTo>
                <a:close/>
                <a:moveTo>
                  <a:pt x="23987" y="1372915"/>
                </a:moveTo>
                <a:lnTo>
                  <a:pt x="26626" y="1377604"/>
                </a:lnTo>
                <a:lnTo>
                  <a:pt x="26923" y="1379343"/>
                </a:lnTo>
                <a:lnTo>
                  <a:pt x="26923" y="1379345"/>
                </a:lnTo>
                <a:lnTo>
                  <a:pt x="22066" y="1380830"/>
                </a:lnTo>
                <a:lnTo>
                  <a:pt x="19047" y="1380640"/>
                </a:lnTo>
                <a:lnTo>
                  <a:pt x="14718" y="1378454"/>
                </a:lnTo>
                <a:lnTo>
                  <a:pt x="16069" y="1376098"/>
                </a:lnTo>
                <a:lnTo>
                  <a:pt x="20756" y="1373467"/>
                </a:lnTo>
                <a:close/>
                <a:moveTo>
                  <a:pt x="3982218" y="1367947"/>
                </a:moveTo>
                <a:lnTo>
                  <a:pt x="3985596" y="1368500"/>
                </a:lnTo>
                <a:lnTo>
                  <a:pt x="3987412" y="1372045"/>
                </a:lnTo>
                <a:lnTo>
                  <a:pt x="3987772" y="1380087"/>
                </a:lnTo>
                <a:lnTo>
                  <a:pt x="3988278" y="1381785"/>
                </a:lnTo>
                <a:lnTo>
                  <a:pt x="3987349" y="1383632"/>
                </a:lnTo>
                <a:lnTo>
                  <a:pt x="3989798" y="1385693"/>
                </a:lnTo>
                <a:lnTo>
                  <a:pt x="3994380" y="1386054"/>
                </a:lnTo>
                <a:lnTo>
                  <a:pt x="3992480" y="1384081"/>
                </a:lnTo>
                <a:lnTo>
                  <a:pt x="3992078" y="1383126"/>
                </a:lnTo>
                <a:lnTo>
                  <a:pt x="3994063" y="1380282"/>
                </a:lnTo>
                <a:lnTo>
                  <a:pt x="4000608" y="1386141"/>
                </a:lnTo>
                <a:lnTo>
                  <a:pt x="4000419" y="1393079"/>
                </a:lnTo>
                <a:lnTo>
                  <a:pt x="3999870" y="1394672"/>
                </a:lnTo>
                <a:lnTo>
                  <a:pt x="3998096" y="1393185"/>
                </a:lnTo>
                <a:lnTo>
                  <a:pt x="3996935" y="1391720"/>
                </a:lnTo>
                <a:lnTo>
                  <a:pt x="3996576" y="1390148"/>
                </a:lnTo>
                <a:lnTo>
                  <a:pt x="3994760" y="1388451"/>
                </a:lnTo>
                <a:lnTo>
                  <a:pt x="3988383" y="1389553"/>
                </a:lnTo>
                <a:lnTo>
                  <a:pt x="3984414" y="1387663"/>
                </a:lnTo>
                <a:lnTo>
                  <a:pt x="3978734" y="1381828"/>
                </a:lnTo>
                <a:lnTo>
                  <a:pt x="3977214" y="1377605"/>
                </a:lnTo>
                <a:lnTo>
                  <a:pt x="3979579" y="1376776"/>
                </a:lnTo>
                <a:lnTo>
                  <a:pt x="3982091" y="1374739"/>
                </a:lnTo>
                <a:lnTo>
                  <a:pt x="3983675" y="1371407"/>
                </a:lnTo>
                <a:close/>
                <a:moveTo>
                  <a:pt x="13514" y="1356107"/>
                </a:moveTo>
                <a:lnTo>
                  <a:pt x="18180" y="1357167"/>
                </a:lnTo>
                <a:lnTo>
                  <a:pt x="21432" y="1362239"/>
                </a:lnTo>
                <a:lnTo>
                  <a:pt x="19214" y="1365040"/>
                </a:lnTo>
                <a:lnTo>
                  <a:pt x="10177" y="1371407"/>
                </a:lnTo>
                <a:lnTo>
                  <a:pt x="10177" y="1371408"/>
                </a:lnTo>
                <a:lnTo>
                  <a:pt x="4414" y="1372682"/>
                </a:lnTo>
                <a:lnTo>
                  <a:pt x="1964" y="1372065"/>
                </a:lnTo>
                <a:lnTo>
                  <a:pt x="1161" y="1367141"/>
                </a:lnTo>
                <a:lnTo>
                  <a:pt x="0" y="1363894"/>
                </a:lnTo>
                <a:lnTo>
                  <a:pt x="275" y="1362452"/>
                </a:lnTo>
                <a:close/>
                <a:moveTo>
                  <a:pt x="4059071" y="1355492"/>
                </a:moveTo>
                <a:lnTo>
                  <a:pt x="4058886" y="1355593"/>
                </a:lnTo>
                <a:lnTo>
                  <a:pt x="4057682" y="1361301"/>
                </a:lnTo>
                <a:lnTo>
                  <a:pt x="4057112" y="1364422"/>
                </a:lnTo>
                <a:lnTo>
                  <a:pt x="4056542" y="1371893"/>
                </a:lnTo>
                <a:lnTo>
                  <a:pt x="4058273" y="1377771"/>
                </a:lnTo>
                <a:lnTo>
                  <a:pt x="4060574" y="1379938"/>
                </a:lnTo>
                <a:lnTo>
                  <a:pt x="4060680" y="1382463"/>
                </a:lnTo>
                <a:lnTo>
                  <a:pt x="4059424" y="1387468"/>
                </a:lnTo>
                <a:lnTo>
                  <a:pt x="4059604" y="1387390"/>
                </a:lnTo>
                <a:lnTo>
                  <a:pt x="4060870" y="1382340"/>
                </a:lnTo>
                <a:lnTo>
                  <a:pt x="4060765" y="1379815"/>
                </a:lnTo>
                <a:lnTo>
                  <a:pt x="4058463" y="1377648"/>
                </a:lnTo>
                <a:lnTo>
                  <a:pt x="4056732" y="1371770"/>
                </a:lnTo>
                <a:lnTo>
                  <a:pt x="4057302" y="1364300"/>
                </a:lnTo>
                <a:lnTo>
                  <a:pt x="4057872" y="1361179"/>
                </a:lnTo>
                <a:close/>
                <a:moveTo>
                  <a:pt x="1752560" y="1351205"/>
                </a:moveTo>
                <a:lnTo>
                  <a:pt x="1752619" y="1368331"/>
                </a:lnTo>
                <a:lnTo>
                  <a:pt x="1750740" y="1370413"/>
                </a:lnTo>
                <a:lnTo>
                  <a:pt x="1750044" y="1380578"/>
                </a:lnTo>
                <a:lnTo>
                  <a:pt x="1749516" y="1393949"/>
                </a:lnTo>
                <a:lnTo>
                  <a:pt x="1745904" y="1407787"/>
                </a:lnTo>
                <a:lnTo>
                  <a:pt x="1739591" y="1417975"/>
                </a:lnTo>
                <a:lnTo>
                  <a:pt x="1737311" y="1427652"/>
                </a:lnTo>
                <a:lnTo>
                  <a:pt x="1735580" y="1433193"/>
                </a:lnTo>
                <a:lnTo>
                  <a:pt x="1733215" y="1436205"/>
                </a:lnTo>
                <a:lnTo>
                  <a:pt x="1732666" y="1439815"/>
                </a:lnTo>
                <a:lnTo>
                  <a:pt x="1731420" y="1444909"/>
                </a:lnTo>
                <a:lnTo>
                  <a:pt x="1729415" y="1448199"/>
                </a:lnTo>
                <a:lnTo>
                  <a:pt x="1727852" y="1449897"/>
                </a:lnTo>
                <a:lnTo>
                  <a:pt x="1721496" y="1451892"/>
                </a:lnTo>
                <a:lnTo>
                  <a:pt x="1710305" y="1461634"/>
                </a:lnTo>
                <a:lnTo>
                  <a:pt x="1709335" y="1469423"/>
                </a:lnTo>
                <a:lnTo>
                  <a:pt x="1696581" y="1467278"/>
                </a:lnTo>
                <a:lnTo>
                  <a:pt x="1683025" y="1465072"/>
                </a:lnTo>
                <a:lnTo>
                  <a:pt x="1681209" y="1465220"/>
                </a:lnTo>
                <a:lnTo>
                  <a:pt x="1680070" y="1466237"/>
                </a:lnTo>
                <a:lnTo>
                  <a:pt x="1679521" y="1470354"/>
                </a:lnTo>
                <a:lnTo>
                  <a:pt x="1661066" y="1471034"/>
                </a:lnTo>
                <a:lnTo>
                  <a:pt x="1645146" y="1471630"/>
                </a:lnTo>
                <a:lnTo>
                  <a:pt x="1625425" y="1472310"/>
                </a:lnTo>
                <a:lnTo>
                  <a:pt x="1611869" y="1472776"/>
                </a:lnTo>
                <a:lnTo>
                  <a:pt x="1594682" y="1473709"/>
                </a:lnTo>
                <a:lnTo>
                  <a:pt x="1578741" y="1474579"/>
                </a:lnTo>
                <a:lnTo>
                  <a:pt x="1568141" y="1483536"/>
                </a:lnTo>
                <a:lnTo>
                  <a:pt x="1558576" y="1492069"/>
                </a:lnTo>
                <a:lnTo>
                  <a:pt x="1557816" y="1492367"/>
                </a:lnTo>
                <a:lnTo>
                  <a:pt x="1544260" y="1494043"/>
                </a:lnTo>
                <a:lnTo>
                  <a:pt x="1527348" y="1492557"/>
                </a:lnTo>
                <a:lnTo>
                  <a:pt x="1518649" y="1492472"/>
                </a:lnTo>
                <a:lnTo>
                  <a:pt x="1515228" y="1493490"/>
                </a:lnTo>
                <a:lnTo>
                  <a:pt x="1514573" y="1496695"/>
                </a:lnTo>
                <a:lnTo>
                  <a:pt x="1513121" y="1496171"/>
                </a:lnTo>
                <a:lnTo>
                  <a:pt x="1514574" y="1496697"/>
                </a:lnTo>
                <a:lnTo>
                  <a:pt x="1513750" y="1499541"/>
                </a:lnTo>
                <a:lnTo>
                  <a:pt x="1513708" y="1504571"/>
                </a:lnTo>
                <a:lnTo>
                  <a:pt x="1512651" y="1512529"/>
                </a:lnTo>
                <a:lnTo>
                  <a:pt x="1511385" y="1522060"/>
                </a:lnTo>
                <a:lnTo>
                  <a:pt x="1511386" y="1522062"/>
                </a:lnTo>
                <a:lnTo>
                  <a:pt x="1512651" y="1512541"/>
                </a:lnTo>
                <a:lnTo>
                  <a:pt x="1513708" y="1504583"/>
                </a:lnTo>
                <a:lnTo>
                  <a:pt x="1513750" y="1499553"/>
                </a:lnTo>
                <a:lnTo>
                  <a:pt x="1514574" y="1496710"/>
                </a:lnTo>
                <a:lnTo>
                  <a:pt x="1515228" y="1493504"/>
                </a:lnTo>
                <a:lnTo>
                  <a:pt x="1518649" y="1492486"/>
                </a:lnTo>
                <a:lnTo>
                  <a:pt x="1527348" y="1492571"/>
                </a:lnTo>
                <a:lnTo>
                  <a:pt x="1544260" y="1494057"/>
                </a:lnTo>
                <a:lnTo>
                  <a:pt x="1557816" y="1492381"/>
                </a:lnTo>
                <a:lnTo>
                  <a:pt x="1558576" y="1492083"/>
                </a:lnTo>
                <a:lnTo>
                  <a:pt x="1568141" y="1483551"/>
                </a:lnTo>
                <a:lnTo>
                  <a:pt x="1578741" y="1474594"/>
                </a:lnTo>
                <a:lnTo>
                  <a:pt x="1594682" y="1473724"/>
                </a:lnTo>
                <a:lnTo>
                  <a:pt x="1611869" y="1472791"/>
                </a:lnTo>
                <a:lnTo>
                  <a:pt x="1625425" y="1472324"/>
                </a:lnTo>
                <a:lnTo>
                  <a:pt x="1645146" y="1471644"/>
                </a:lnTo>
                <a:lnTo>
                  <a:pt x="1661066" y="1471049"/>
                </a:lnTo>
                <a:lnTo>
                  <a:pt x="1679521" y="1470369"/>
                </a:lnTo>
                <a:lnTo>
                  <a:pt x="1680070" y="1466252"/>
                </a:lnTo>
                <a:lnTo>
                  <a:pt x="1681209" y="1465234"/>
                </a:lnTo>
                <a:lnTo>
                  <a:pt x="1683026" y="1465086"/>
                </a:lnTo>
                <a:lnTo>
                  <a:pt x="1696581" y="1467292"/>
                </a:lnTo>
                <a:lnTo>
                  <a:pt x="1709335" y="1469438"/>
                </a:lnTo>
                <a:lnTo>
                  <a:pt x="1710305" y="1461647"/>
                </a:lnTo>
                <a:lnTo>
                  <a:pt x="1721496" y="1451906"/>
                </a:lnTo>
                <a:lnTo>
                  <a:pt x="1727852" y="1449911"/>
                </a:lnTo>
                <a:lnTo>
                  <a:pt x="1729415" y="1448213"/>
                </a:lnTo>
                <a:lnTo>
                  <a:pt x="1731420" y="1444924"/>
                </a:lnTo>
                <a:lnTo>
                  <a:pt x="1732666" y="1439828"/>
                </a:lnTo>
                <a:lnTo>
                  <a:pt x="1733215" y="1436220"/>
                </a:lnTo>
                <a:lnTo>
                  <a:pt x="1735580" y="1433208"/>
                </a:lnTo>
                <a:lnTo>
                  <a:pt x="1737311" y="1427667"/>
                </a:lnTo>
                <a:lnTo>
                  <a:pt x="1739591" y="1417990"/>
                </a:lnTo>
                <a:lnTo>
                  <a:pt x="1745905" y="1407802"/>
                </a:lnTo>
                <a:lnTo>
                  <a:pt x="1749516" y="1393963"/>
                </a:lnTo>
                <a:lnTo>
                  <a:pt x="1750044" y="1380591"/>
                </a:lnTo>
                <a:lnTo>
                  <a:pt x="1750740" y="1370425"/>
                </a:lnTo>
                <a:lnTo>
                  <a:pt x="1752620" y="1368346"/>
                </a:lnTo>
                <a:close/>
                <a:moveTo>
                  <a:pt x="2420566" y="1350247"/>
                </a:moveTo>
                <a:lnTo>
                  <a:pt x="2418659" y="1373765"/>
                </a:lnTo>
                <a:lnTo>
                  <a:pt x="2403119" y="1390744"/>
                </a:lnTo>
                <a:lnTo>
                  <a:pt x="2375543" y="1420798"/>
                </a:lnTo>
                <a:lnTo>
                  <a:pt x="2353098" y="1445207"/>
                </a:lnTo>
                <a:lnTo>
                  <a:pt x="2341844" y="1461528"/>
                </a:lnTo>
                <a:lnTo>
                  <a:pt x="2319864" y="1493342"/>
                </a:lnTo>
                <a:lnTo>
                  <a:pt x="2310108" y="1513888"/>
                </a:lnTo>
                <a:lnTo>
                  <a:pt x="2302466" y="1524606"/>
                </a:lnTo>
                <a:lnTo>
                  <a:pt x="2298602" y="1529169"/>
                </a:lnTo>
                <a:lnTo>
                  <a:pt x="2298604" y="1529175"/>
                </a:lnTo>
                <a:lnTo>
                  <a:pt x="2302465" y="1524614"/>
                </a:lnTo>
                <a:lnTo>
                  <a:pt x="2310108" y="1513897"/>
                </a:lnTo>
                <a:lnTo>
                  <a:pt x="2319864" y="1493352"/>
                </a:lnTo>
                <a:lnTo>
                  <a:pt x="2341844" y="1461537"/>
                </a:lnTo>
                <a:lnTo>
                  <a:pt x="2353098" y="1445216"/>
                </a:lnTo>
                <a:lnTo>
                  <a:pt x="2375543" y="1420807"/>
                </a:lnTo>
                <a:lnTo>
                  <a:pt x="2403119" y="1390755"/>
                </a:lnTo>
                <a:lnTo>
                  <a:pt x="2418659" y="1373774"/>
                </a:lnTo>
                <a:close/>
                <a:moveTo>
                  <a:pt x="4070175" y="1338130"/>
                </a:moveTo>
                <a:lnTo>
                  <a:pt x="4070140" y="1338146"/>
                </a:lnTo>
                <a:lnTo>
                  <a:pt x="4067542" y="1339950"/>
                </a:lnTo>
                <a:lnTo>
                  <a:pt x="4060955" y="1346000"/>
                </a:lnTo>
                <a:lnTo>
                  <a:pt x="4060680" y="1348165"/>
                </a:lnTo>
                <a:lnTo>
                  <a:pt x="4063678" y="1351773"/>
                </a:lnTo>
                <a:lnTo>
                  <a:pt x="4062784" y="1353444"/>
                </a:lnTo>
                <a:lnTo>
                  <a:pt x="4062961" y="1353347"/>
                </a:lnTo>
                <a:lnTo>
                  <a:pt x="4063869" y="1351650"/>
                </a:lnTo>
                <a:lnTo>
                  <a:pt x="4060870" y="1348041"/>
                </a:lnTo>
                <a:lnTo>
                  <a:pt x="4061145" y="1345877"/>
                </a:lnTo>
                <a:lnTo>
                  <a:pt x="4067733" y="1339828"/>
                </a:lnTo>
                <a:close/>
                <a:moveTo>
                  <a:pt x="4356276" y="1296306"/>
                </a:moveTo>
                <a:lnTo>
                  <a:pt x="4356116" y="1296389"/>
                </a:lnTo>
                <a:lnTo>
                  <a:pt x="4347205" y="1307595"/>
                </a:lnTo>
                <a:lnTo>
                  <a:pt x="4342687" y="1313262"/>
                </a:lnTo>
                <a:lnTo>
                  <a:pt x="4334537" y="1323513"/>
                </a:lnTo>
                <a:lnTo>
                  <a:pt x="4328372" y="1331238"/>
                </a:lnTo>
                <a:lnTo>
                  <a:pt x="4321002" y="1340470"/>
                </a:lnTo>
                <a:lnTo>
                  <a:pt x="4317793" y="1348662"/>
                </a:lnTo>
                <a:lnTo>
                  <a:pt x="4312831" y="1361312"/>
                </a:lnTo>
                <a:lnTo>
                  <a:pt x="4308585" y="1364466"/>
                </a:lnTo>
                <a:lnTo>
                  <a:pt x="4308735" y="1364378"/>
                </a:lnTo>
                <a:lnTo>
                  <a:pt x="4313021" y="1361194"/>
                </a:lnTo>
                <a:lnTo>
                  <a:pt x="4317984" y="1348544"/>
                </a:lnTo>
                <a:lnTo>
                  <a:pt x="4321192" y="1340352"/>
                </a:lnTo>
                <a:lnTo>
                  <a:pt x="4328562" y="1331120"/>
                </a:lnTo>
                <a:lnTo>
                  <a:pt x="4334727" y="1323394"/>
                </a:lnTo>
                <a:lnTo>
                  <a:pt x="4342878" y="1313143"/>
                </a:lnTo>
                <a:lnTo>
                  <a:pt x="4347396" y="1307476"/>
                </a:lnTo>
                <a:close/>
                <a:moveTo>
                  <a:pt x="2428818" y="1249681"/>
                </a:moveTo>
                <a:lnTo>
                  <a:pt x="2428329" y="1255429"/>
                </a:lnTo>
                <a:lnTo>
                  <a:pt x="2428070" y="1258509"/>
                </a:lnTo>
                <a:lnTo>
                  <a:pt x="2428330" y="1255418"/>
                </a:lnTo>
                <a:close/>
                <a:moveTo>
                  <a:pt x="1707940" y="1243345"/>
                </a:moveTo>
                <a:lnTo>
                  <a:pt x="1705470" y="1243830"/>
                </a:lnTo>
                <a:lnTo>
                  <a:pt x="1705316" y="1243864"/>
                </a:lnTo>
                <a:lnTo>
                  <a:pt x="1705471" y="1243830"/>
                </a:lnTo>
                <a:close/>
                <a:moveTo>
                  <a:pt x="1694617" y="1217830"/>
                </a:moveTo>
                <a:lnTo>
                  <a:pt x="1694533" y="1220226"/>
                </a:lnTo>
                <a:lnTo>
                  <a:pt x="1692464" y="1221926"/>
                </a:lnTo>
                <a:lnTo>
                  <a:pt x="1690859" y="1224027"/>
                </a:lnTo>
                <a:lnTo>
                  <a:pt x="1689972" y="1226785"/>
                </a:lnTo>
                <a:lnTo>
                  <a:pt x="1687628" y="1230288"/>
                </a:lnTo>
                <a:lnTo>
                  <a:pt x="1685749" y="1234192"/>
                </a:lnTo>
                <a:lnTo>
                  <a:pt x="1685749" y="1234194"/>
                </a:lnTo>
                <a:lnTo>
                  <a:pt x="1687628" y="1230288"/>
                </a:lnTo>
                <a:lnTo>
                  <a:pt x="1689972" y="1226787"/>
                </a:lnTo>
                <a:lnTo>
                  <a:pt x="1690859" y="1224028"/>
                </a:lnTo>
                <a:lnTo>
                  <a:pt x="1692464" y="1221926"/>
                </a:lnTo>
                <a:lnTo>
                  <a:pt x="1694533" y="1220229"/>
                </a:lnTo>
                <a:close/>
                <a:moveTo>
                  <a:pt x="1691514" y="1195204"/>
                </a:moveTo>
                <a:lnTo>
                  <a:pt x="1691472" y="1198515"/>
                </a:lnTo>
                <a:lnTo>
                  <a:pt x="1691408" y="1208428"/>
                </a:lnTo>
                <a:lnTo>
                  <a:pt x="1691472" y="1198516"/>
                </a:lnTo>
                <a:lnTo>
                  <a:pt x="1691514" y="1195206"/>
                </a:lnTo>
                <a:close/>
                <a:moveTo>
                  <a:pt x="533207" y="1189222"/>
                </a:moveTo>
                <a:lnTo>
                  <a:pt x="531434" y="1199260"/>
                </a:lnTo>
                <a:lnTo>
                  <a:pt x="527633" y="1205372"/>
                </a:lnTo>
                <a:lnTo>
                  <a:pt x="525944" y="1203038"/>
                </a:lnTo>
                <a:lnTo>
                  <a:pt x="525290" y="1199025"/>
                </a:lnTo>
                <a:lnTo>
                  <a:pt x="528668" y="1193274"/>
                </a:lnTo>
                <a:lnTo>
                  <a:pt x="530272" y="1190303"/>
                </a:lnTo>
                <a:close/>
                <a:moveTo>
                  <a:pt x="2447625" y="1158940"/>
                </a:moveTo>
                <a:lnTo>
                  <a:pt x="2446784" y="1161650"/>
                </a:lnTo>
                <a:lnTo>
                  <a:pt x="2435952" y="1181876"/>
                </a:lnTo>
                <a:lnTo>
                  <a:pt x="2434115" y="1186821"/>
                </a:lnTo>
                <a:lnTo>
                  <a:pt x="2431961" y="1212524"/>
                </a:lnTo>
                <a:lnTo>
                  <a:pt x="2430626" y="1228428"/>
                </a:lnTo>
                <a:lnTo>
                  <a:pt x="2431961" y="1212535"/>
                </a:lnTo>
                <a:lnTo>
                  <a:pt x="2434115" y="1186832"/>
                </a:lnTo>
                <a:lnTo>
                  <a:pt x="2435952" y="1181887"/>
                </a:lnTo>
                <a:lnTo>
                  <a:pt x="2446783" y="1161659"/>
                </a:lnTo>
                <a:lnTo>
                  <a:pt x="2447628" y="1158943"/>
                </a:lnTo>
                <a:close/>
                <a:moveTo>
                  <a:pt x="4991054" y="1137816"/>
                </a:moveTo>
                <a:lnTo>
                  <a:pt x="4995002" y="1148217"/>
                </a:lnTo>
                <a:lnTo>
                  <a:pt x="4988140" y="1154033"/>
                </a:lnTo>
                <a:lnTo>
                  <a:pt x="4984424" y="1163965"/>
                </a:lnTo>
                <a:lnTo>
                  <a:pt x="4981426" y="1166980"/>
                </a:lnTo>
                <a:lnTo>
                  <a:pt x="4981426" y="1166978"/>
                </a:lnTo>
                <a:lnTo>
                  <a:pt x="4977689" y="1167934"/>
                </a:lnTo>
                <a:lnTo>
                  <a:pt x="4976611" y="1167489"/>
                </a:lnTo>
                <a:lnTo>
                  <a:pt x="4976632" y="1159507"/>
                </a:lnTo>
                <a:lnTo>
                  <a:pt x="4985332" y="1149449"/>
                </a:lnTo>
                <a:close/>
                <a:moveTo>
                  <a:pt x="2426532" y="1120458"/>
                </a:moveTo>
                <a:lnTo>
                  <a:pt x="2422565" y="1125483"/>
                </a:lnTo>
                <a:lnTo>
                  <a:pt x="2422568" y="1125491"/>
                </a:lnTo>
                <a:lnTo>
                  <a:pt x="2426534" y="1120462"/>
                </a:lnTo>
                <a:close/>
                <a:moveTo>
                  <a:pt x="1571181" y="1118688"/>
                </a:moveTo>
                <a:lnTo>
                  <a:pt x="1570674" y="1124438"/>
                </a:lnTo>
                <a:lnTo>
                  <a:pt x="1570674" y="1124441"/>
                </a:lnTo>
                <a:lnTo>
                  <a:pt x="1571181" y="1118689"/>
                </a:lnTo>
                <a:close/>
                <a:moveTo>
                  <a:pt x="3367486" y="1044465"/>
                </a:moveTo>
                <a:lnTo>
                  <a:pt x="3366494" y="1047902"/>
                </a:lnTo>
                <a:lnTo>
                  <a:pt x="3367487" y="1044469"/>
                </a:lnTo>
                <a:close/>
                <a:moveTo>
                  <a:pt x="4793298" y="925827"/>
                </a:moveTo>
                <a:lnTo>
                  <a:pt x="4793295" y="925828"/>
                </a:lnTo>
                <a:lnTo>
                  <a:pt x="4788586" y="929096"/>
                </a:lnTo>
                <a:lnTo>
                  <a:pt x="4789959" y="931134"/>
                </a:lnTo>
                <a:lnTo>
                  <a:pt x="4791584" y="932705"/>
                </a:lnTo>
                <a:lnTo>
                  <a:pt x="4792323" y="937014"/>
                </a:lnTo>
                <a:lnTo>
                  <a:pt x="4790951" y="943127"/>
                </a:lnTo>
                <a:lnTo>
                  <a:pt x="4788459" y="949047"/>
                </a:lnTo>
                <a:lnTo>
                  <a:pt x="4785356" y="956433"/>
                </a:lnTo>
                <a:lnTo>
                  <a:pt x="4781766" y="964902"/>
                </a:lnTo>
                <a:lnTo>
                  <a:pt x="4776846" y="977637"/>
                </a:lnTo>
                <a:lnTo>
                  <a:pt x="4772686" y="987635"/>
                </a:lnTo>
                <a:lnTo>
                  <a:pt x="4772244" y="994828"/>
                </a:lnTo>
                <a:lnTo>
                  <a:pt x="4772349" y="999520"/>
                </a:lnTo>
                <a:lnTo>
                  <a:pt x="4771885" y="1008880"/>
                </a:lnTo>
                <a:lnTo>
                  <a:pt x="4771822" y="1008962"/>
                </a:lnTo>
                <a:lnTo>
                  <a:pt x="4776150" y="1016204"/>
                </a:lnTo>
                <a:lnTo>
                  <a:pt x="4779760" y="1022233"/>
                </a:lnTo>
                <a:lnTo>
                  <a:pt x="4784701" y="1030509"/>
                </a:lnTo>
                <a:lnTo>
                  <a:pt x="4789979" y="1039297"/>
                </a:lnTo>
                <a:lnTo>
                  <a:pt x="4795005" y="1047701"/>
                </a:lnTo>
                <a:lnTo>
                  <a:pt x="4798764" y="1053942"/>
                </a:lnTo>
                <a:lnTo>
                  <a:pt x="4796757" y="1060416"/>
                </a:lnTo>
                <a:lnTo>
                  <a:pt x="4794582" y="1067483"/>
                </a:lnTo>
                <a:lnTo>
                  <a:pt x="4792407" y="1074550"/>
                </a:lnTo>
                <a:lnTo>
                  <a:pt x="4790233" y="1081596"/>
                </a:lnTo>
                <a:lnTo>
                  <a:pt x="4788037" y="1088644"/>
                </a:lnTo>
                <a:lnTo>
                  <a:pt x="4785862" y="1095690"/>
                </a:lnTo>
                <a:lnTo>
                  <a:pt x="4783687" y="1102736"/>
                </a:lnTo>
                <a:lnTo>
                  <a:pt x="4781512" y="1109761"/>
                </a:lnTo>
                <a:lnTo>
                  <a:pt x="4779338" y="1116786"/>
                </a:lnTo>
                <a:lnTo>
                  <a:pt x="4777142" y="1123814"/>
                </a:lnTo>
                <a:lnTo>
                  <a:pt x="4774967" y="1130837"/>
                </a:lnTo>
                <a:lnTo>
                  <a:pt x="4772792" y="1137842"/>
                </a:lnTo>
                <a:lnTo>
                  <a:pt x="4770617" y="1144845"/>
                </a:lnTo>
                <a:lnTo>
                  <a:pt x="4768421" y="1151849"/>
                </a:lnTo>
                <a:lnTo>
                  <a:pt x="4766247" y="1158852"/>
                </a:lnTo>
                <a:lnTo>
                  <a:pt x="4764072" y="1165835"/>
                </a:lnTo>
                <a:lnTo>
                  <a:pt x="4761897" y="1172818"/>
                </a:lnTo>
                <a:lnTo>
                  <a:pt x="4759292" y="1181183"/>
                </a:lnTo>
                <a:lnTo>
                  <a:pt x="4759427" y="1181136"/>
                </a:lnTo>
                <a:lnTo>
                  <a:pt x="4762045" y="1172729"/>
                </a:lnTo>
                <a:lnTo>
                  <a:pt x="4764220" y="1165747"/>
                </a:lnTo>
                <a:lnTo>
                  <a:pt x="4766395" y="1158764"/>
                </a:lnTo>
                <a:lnTo>
                  <a:pt x="4768569" y="1151760"/>
                </a:lnTo>
                <a:lnTo>
                  <a:pt x="4770765" y="1144755"/>
                </a:lnTo>
                <a:lnTo>
                  <a:pt x="4772940" y="1137751"/>
                </a:lnTo>
                <a:lnTo>
                  <a:pt x="4775115" y="1130747"/>
                </a:lnTo>
                <a:lnTo>
                  <a:pt x="4777290" y="1123723"/>
                </a:lnTo>
                <a:lnTo>
                  <a:pt x="4779485" y="1116698"/>
                </a:lnTo>
                <a:lnTo>
                  <a:pt x="4781660" y="1109673"/>
                </a:lnTo>
                <a:lnTo>
                  <a:pt x="4783835" y="1102646"/>
                </a:lnTo>
                <a:lnTo>
                  <a:pt x="4786010" y="1095600"/>
                </a:lnTo>
                <a:lnTo>
                  <a:pt x="4788185" y="1088554"/>
                </a:lnTo>
                <a:lnTo>
                  <a:pt x="4790380" y="1081508"/>
                </a:lnTo>
                <a:lnTo>
                  <a:pt x="4792555" y="1074460"/>
                </a:lnTo>
                <a:lnTo>
                  <a:pt x="4794730" y="1067393"/>
                </a:lnTo>
                <a:lnTo>
                  <a:pt x="4796905" y="1060326"/>
                </a:lnTo>
                <a:lnTo>
                  <a:pt x="4798911" y="1053852"/>
                </a:lnTo>
                <a:lnTo>
                  <a:pt x="4795152" y="1047613"/>
                </a:lnTo>
                <a:lnTo>
                  <a:pt x="4790127" y="1039207"/>
                </a:lnTo>
                <a:lnTo>
                  <a:pt x="4784849" y="1030421"/>
                </a:lnTo>
                <a:lnTo>
                  <a:pt x="4779908" y="1022143"/>
                </a:lnTo>
                <a:lnTo>
                  <a:pt x="4776297" y="1016116"/>
                </a:lnTo>
                <a:lnTo>
                  <a:pt x="4771947" y="1008836"/>
                </a:lnTo>
                <a:lnTo>
                  <a:pt x="4772412" y="999476"/>
                </a:lnTo>
                <a:lnTo>
                  <a:pt x="4772306" y="994784"/>
                </a:lnTo>
                <a:lnTo>
                  <a:pt x="4772750" y="987591"/>
                </a:lnTo>
                <a:lnTo>
                  <a:pt x="4776909" y="977595"/>
                </a:lnTo>
                <a:lnTo>
                  <a:pt x="4781829" y="964858"/>
                </a:lnTo>
                <a:lnTo>
                  <a:pt x="4785418" y="956391"/>
                </a:lnTo>
                <a:lnTo>
                  <a:pt x="4788522" y="949006"/>
                </a:lnTo>
                <a:lnTo>
                  <a:pt x="4791014" y="943083"/>
                </a:lnTo>
                <a:lnTo>
                  <a:pt x="4792386" y="936970"/>
                </a:lnTo>
                <a:lnTo>
                  <a:pt x="4791647" y="932663"/>
                </a:lnTo>
                <a:lnTo>
                  <a:pt x="4790021" y="931092"/>
                </a:lnTo>
                <a:lnTo>
                  <a:pt x="4788649" y="929054"/>
                </a:lnTo>
                <a:close/>
                <a:moveTo>
                  <a:pt x="4691754" y="908419"/>
                </a:moveTo>
                <a:lnTo>
                  <a:pt x="4695302" y="911263"/>
                </a:lnTo>
                <a:lnTo>
                  <a:pt x="4697329" y="913703"/>
                </a:lnTo>
                <a:lnTo>
                  <a:pt x="4697329" y="913708"/>
                </a:lnTo>
                <a:lnTo>
                  <a:pt x="4697350" y="915915"/>
                </a:lnTo>
                <a:lnTo>
                  <a:pt x="4691333" y="915276"/>
                </a:lnTo>
                <a:lnTo>
                  <a:pt x="4689727" y="916421"/>
                </a:lnTo>
                <a:lnTo>
                  <a:pt x="4684786" y="915783"/>
                </a:lnTo>
                <a:lnTo>
                  <a:pt x="4679952" y="914192"/>
                </a:lnTo>
                <a:lnTo>
                  <a:pt x="4683224" y="911539"/>
                </a:lnTo>
                <a:close/>
                <a:moveTo>
                  <a:pt x="4620387" y="900762"/>
                </a:moveTo>
                <a:lnTo>
                  <a:pt x="4622055" y="903627"/>
                </a:lnTo>
                <a:lnTo>
                  <a:pt x="4619648" y="906493"/>
                </a:lnTo>
                <a:lnTo>
                  <a:pt x="4619648" y="906491"/>
                </a:lnTo>
                <a:lnTo>
                  <a:pt x="4618656" y="906958"/>
                </a:lnTo>
                <a:lnTo>
                  <a:pt x="4617600" y="903457"/>
                </a:lnTo>
                <a:lnTo>
                  <a:pt x="4617663" y="902354"/>
                </a:lnTo>
                <a:close/>
                <a:moveTo>
                  <a:pt x="4666775" y="898514"/>
                </a:moveTo>
                <a:lnTo>
                  <a:pt x="4668740" y="901124"/>
                </a:lnTo>
                <a:lnTo>
                  <a:pt x="4666565" y="905220"/>
                </a:lnTo>
                <a:lnTo>
                  <a:pt x="4665023" y="906980"/>
                </a:lnTo>
                <a:lnTo>
                  <a:pt x="4662047" y="908422"/>
                </a:lnTo>
                <a:lnTo>
                  <a:pt x="4657655" y="908784"/>
                </a:lnTo>
                <a:lnTo>
                  <a:pt x="4653684" y="906322"/>
                </a:lnTo>
                <a:lnTo>
                  <a:pt x="4662068" y="903032"/>
                </a:lnTo>
                <a:lnTo>
                  <a:pt x="4664327" y="901548"/>
                </a:lnTo>
                <a:close/>
                <a:moveTo>
                  <a:pt x="4725263" y="892359"/>
                </a:moveTo>
                <a:lnTo>
                  <a:pt x="4726932" y="894650"/>
                </a:lnTo>
                <a:lnTo>
                  <a:pt x="4729212" y="896455"/>
                </a:lnTo>
                <a:lnTo>
                  <a:pt x="4728684" y="897726"/>
                </a:lnTo>
                <a:lnTo>
                  <a:pt x="4727015" y="897620"/>
                </a:lnTo>
                <a:lnTo>
                  <a:pt x="4722835" y="896476"/>
                </a:lnTo>
                <a:lnTo>
                  <a:pt x="4721484" y="894650"/>
                </a:lnTo>
                <a:lnTo>
                  <a:pt x="4724102" y="892464"/>
                </a:lnTo>
                <a:close/>
                <a:moveTo>
                  <a:pt x="4832283" y="870988"/>
                </a:moveTo>
                <a:lnTo>
                  <a:pt x="4832251" y="871006"/>
                </a:lnTo>
                <a:lnTo>
                  <a:pt x="4829253" y="873468"/>
                </a:lnTo>
                <a:lnTo>
                  <a:pt x="4826457" y="876487"/>
                </a:lnTo>
                <a:lnTo>
                  <a:pt x="4826486" y="876478"/>
                </a:lnTo>
                <a:lnTo>
                  <a:pt x="4829316" y="873424"/>
                </a:lnTo>
                <a:close/>
                <a:moveTo>
                  <a:pt x="4820500" y="868148"/>
                </a:moveTo>
                <a:lnTo>
                  <a:pt x="4818969" y="868415"/>
                </a:lnTo>
                <a:lnTo>
                  <a:pt x="4818946" y="868453"/>
                </a:lnTo>
                <a:lnTo>
                  <a:pt x="4820490" y="868183"/>
                </a:lnTo>
                <a:close/>
                <a:moveTo>
                  <a:pt x="4812478" y="863266"/>
                </a:moveTo>
                <a:lnTo>
                  <a:pt x="4812446" y="863282"/>
                </a:lnTo>
                <a:lnTo>
                  <a:pt x="4809595" y="865913"/>
                </a:lnTo>
                <a:lnTo>
                  <a:pt x="4807991" y="868735"/>
                </a:lnTo>
                <a:lnTo>
                  <a:pt x="4807758" y="874403"/>
                </a:lnTo>
                <a:lnTo>
                  <a:pt x="4808497" y="880769"/>
                </a:lnTo>
                <a:lnTo>
                  <a:pt x="4808476" y="883869"/>
                </a:lnTo>
                <a:lnTo>
                  <a:pt x="4806914" y="887710"/>
                </a:lnTo>
                <a:lnTo>
                  <a:pt x="4806364" y="893355"/>
                </a:lnTo>
                <a:lnTo>
                  <a:pt x="4807484" y="897728"/>
                </a:lnTo>
                <a:lnTo>
                  <a:pt x="4808497" y="900338"/>
                </a:lnTo>
                <a:lnTo>
                  <a:pt x="4808603" y="902546"/>
                </a:lnTo>
                <a:lnTo>
                  <a:pt x="4805943" y="909508"/>
                </a:lnTo>
                <a:lnTo>
                  <a:pt x="4808243" y="910824"/>
                </a:lnTo>
                <a:lnTo>
                  <a:pt x="4815866" y="911312"/>
                </a:lnTo>
                <a:lnTo>
                  <a:pt x="4818104" y="916022"/>
                </a:lnTo>
                <a:lnTo>
                  <a:pt x="4819624" y="919249"/>
                </a:lnTo>
                <a:lnTo>
                  <a:pt x="4819209" y="921130"/>
                </a:lnTo>
                <a:lnTo>
                  <a:pt x="4819265" y="921116"/>
                </a:lnTo>
                <a:lnTo>
                  <a:pt x="4819688" y="919204"/>
                </a:lnTo>
                <a:lnTo>
                  <a:pt x="4818168" y="915978"/>
                </a:lnTo>
                <a:lnTo>
                  <a:pt x="4815929" y="911268"/>
                </a:lnTo>
                <a:lnTo>
                  <a:pt x="4808307" y="910780"/>
                </a:lnTo>
                <a:lnTo>
                  <a:pt x="4806005" y="909464"/>
                </a:lnTo>
                <a:lnTo>
                  <a:pt x="4808666" y="902502"/>
                </a:lnTo>
                <a:lnTo>
                  <a:pt x="4808560" y="900296"/>
                </a:lnTo>
                <a:lnTo>
                  <a:pt x="4807547" y="897684"/>
                </a:lnTo>
                <a:lnTo>
                  <a:pt x="4806428" y="893312"/>
                </a:lnTo>
                <a:lnTo>
                  <a:pt x="4806977" y="887667"/>
                </a:lnTo>
                <a:lnTo>
                  <a:pt x="4808539" y="883825"/>
                </a:lnTo>
                <a:lnTo>
                  <a:pt x="4808560" y="880727"/>
                </a:lnTo>
                <a:lnTo>
                  <a:pt x="4807821" y="874359"/>
                </a:lnTo>
                <a:lnTo>
                  <a:pt x="4808053" y="868692"/>
                </a:lnTo>
                <a:lnTo>
                  <a:pt x="4809658" y="865869"/>
                </a:lnTo>
                <a:close/>
                <a:moveTo>
                  <a:pt x="4841065" y="861851"/>
                </a:moveTo>
                <a:lnTo>
                  <a:pt x="4841035" y="861857"/>
                </a:lnTo>
                <a:lnTo>
                  <a:pt x="4838712" y="864595"/>
                </a:lnTo>
                <a:lnTo>
                  <a:pt x="4835996" y="868807"/>
                </a:lnTo>
                <a:lnTo>
                  <a:pt x="4836052" y="868774"/>
                </a:lnTo>
                <a:lnTo>
                  <a:pt x="4838776" y="864551"/>
                </a:lnTo>
                <a:close/>
                <a:moveTo>
                  <a:pt x="1110946" y="860436"/>
                </a:moveTo>
                <a:lnTo>
                  <a:pt x="1110948" y="860451"/>
                </a:lnTo>
                <a:lnTo>
                  <a:pt x="1129126" y="860451"/>
                </a:lnTo>
                <a:lnTo>
                  <a:pt x="1142650" y="860436"/>
                </a:lnTo>
                <a:lnTo>
                  <a:pt x="1129126" y="860436"/>
                </a:lnTo>
                <a:close/>
                <a:moveTo>
                  <a:pt x="4836559" y="840421"/>
                </a:moveTo>
                <a:lnTo>
                  <a:pt x="4837170" y="841882"/>
                </a:lnTo>
                <a:lnTo>
                  <a:pt x="4836812" y="844705"/>
                </a:lnTo>
                <a:lnTo>
                  <a:pt x="4836812" y="844707"/>
                </a:lnTo>
                <a:lnTo>
                  <a:pt x="4834362" y="846469"/>
                </a:lnTo>
                <a:lnTo>
                  <a:pt x="4832611" y="846171"/>
                </a:lnTo>
                <a:lnTo>
                  <a:pt x="4832610" y="846175"/>
                </a:lnTo>
                <a:lnTo>
                  <a:pt x="4834363" y="846472"/>
                </a:lnTo>
                <a:lnTo>
                  <a:pt x="4836812" y="844712"/>
                </a:lnTo>
                <a:lnTo>
                  <a:pt x="4836812" y="844707"/>
                </a:lnTo>
                <a:lnTo>
                  <a:pt x="4837171" y="841884"/>
                </a:lnTo>
                <a:close/>
                <a:moveTo>
                  <a:pt x="4837759" y="817511"/>
                </a:moveTo>
                <a:lnTo>
                  <a:pt x="4836622" y="818986"/>
                </a:lnTo>
                <a:lnTo>
                  <a:pt x="4835040" y="819122"/>
                </a:lnTo>
                <a:lnTo>
                  <a:pt x="4835060" y="819129"/>
                </a:lnTo>
                <a:lnTo>
                  <a:pt x="4836770" y="818981"/>
                </a:lnTo>
                <a:close/>
                <a:moveTo>
                  <a:pt x="3666596" y="814951"/>
                </a:moveTo>
                <a:lnTo>
                  <a:pt x="3667821" y="817794"/>
                </a:lnTo>
                <a:lnTo>
                  <a:pt x="3669891" y="819471"/>
                </a:lnTo>
                <a:lnTo>
                  <a:pt x="3679287" y="823483"/>
                </a:lnTo>
                <a:lnTo>
                  <a:pt x="3689759" y="832229"/>
                </a:lnTo>
                <a:lnTo>
                  <a:pt x="3691554" y="832951"/>
                </a:lnTo>
                <a:lnTo>
                  <a:pt x="3688408" y="835031"/>
                </a:lnTo>
                <a:lnTo>
                  <a:pt x="3686845" y="835031"/>
                </a:lnTo>
                <a:lnTo>
                  <a:pt x="3682686" y="830594"/>
                </a:lnTo>
                <a:lnTo>
                  <a:pt x="3680258" y="827326"/>
                </a:lnTo>
                <a:lnTo>
                  <a:pt x="3677766" y="825118"/>
                </a:lnTo>
                <a:lnTo>
                  <a:pt x="3666406" y="820684"/>
                </a:lnTo>
                <a:lnTo>
                  <a:pt x="3664865" y="817818"/>
                </a:lnTo>
                <a:close/>
                <a:moveTo>
                  <a:pt x="3669510" y="804001"/>
                </a:moveTo>
                <a:lnTo>
                  <a:pt x="3669341" y="807947"/>
                </a:lnTo>
                <a:lnTo>
                  <a:pt x="3670271" y="811938"/>
                </a:lnTo>
                <a:lnTo>
                  <a:pt x="3670250" y="813380"/>
                </a:lnTo>
                <a:lnTo>
                  <a:pt x="3670250" y="813381"/>
                </a:lnTo>
                <a:lnTo>
                  <a:pt x="3669701" y="814273"/>
                </a:lnTo>
                <a:lnTo>
                  <a:pt x="3667209" y="811959"/>
                </a:lnTo>
                <a:lnTo>
                  <a:pt x="3667357" y="806887"/>
                </a:lnTo>
                <a:close/>
                <a:moveTo>
                  <a:pt x="2060049" y="784768"/>
                </a:moveTo>
                <a:lnTo>
                  <a:pt x="2060049" y="784770"/>
                </a:lnTo>
                <a:lnTo>
                  <a:pt x="2061569" y="790055"/>
                </a:lnTo>
                <a:lnTo>
                  <a:pt x="2069444" y="801729"/>
                </a:lnTo>
                <a:lnTo>
                  <a:pt x="2081289" y="819197"/>
                </a:lnTo>
                <a:lnTo>
                  <a:pt x="2094317" y="838384"/>
                </a:lnTo>
                <a:lnTo>
                  <a:pt x="2095394" y="843200"/>
                </a:lnTo>
                <a:lnTo>
                  <a:pt x="2095922" y="856785"/>
                </a:lnTo>
                <a:lnTo>
                  <a:pt x="2101348" y="873827"/>
                </a:lnTo>
                <a:lnTo>
                  <a:pt x="2107219" y="881257"/>
                </a:lnTo>
                <a:lnTo>
                  <a:pt x="2109415" y="886795"/>
                </a:lnTo>
                <a:lnTo>
                  <a:pt x="2113574" y="890765"/>
                </a:lnTo>
                <a:lnTo>
                  <a:pt x="2117712" y="893672"/>
                </a:lnTo>
                <a:lnTo>
                  <a:pt x="2120288" y="894013"/>
                </a:lnTo>
                <a:lnTo>
                  <a:pt x="2134920" y="889386"/>
                </a:lnTo>
                <a:lnTo>
                  <a:pt x="2159941" y="897028"/>
                </a:lnTo>
                <a:lnTo>
                  <a:pt x="2183611" y="904794"/>
                </a:lnTo>
                <a:lnTo>
                  <a:pt x="2185343" y="906322"/>
                </a:lnTo>
                <a:lnTo>
                  <a:pt x="2190516" y="916151"/>
                </a:lnTo>
                <a:lnTo>
                  <a:pt x="2198983" y="932175"/>
                </a:lnTo>
                <a:lnTo>
                  <a:pt x="2205254" y="944972"/>
                </a:lnTo>
                <a:lnTo>
                  <a:pt x="2210870" y="956413"/>
                </a:lnTo>
                <a:lnTo>
                  <a:pt x="2180190" y="976108"/>
                </a:lnTo>
                <a:lnTo>
                  <a:pt x="2149490" y="995762"/>
                </a:lnTo>
                <a:lnTo>
                  <a:pt x="2118810" y="1015373"/>
                </a:lnTo>
                <a:lnTo>
                  <a:pt x="2088131" y="1034920"/>
                </a:lnTo>
                <a:lnTo>
                  <a:pt x="2057451" y="1054447"/>
                </a:lnTo>
                <a:lnTo>
                  <a:pt x="2026750" y="1073930"/>
                </a:lnTo>
                <a:lnTo>
                  <a:pt x="1996071" y="1093372"/>
                </a:lnTo>
                <a:lnTo>
                  <a:pt x="1965392" y="1112750"/>
                </a:lnTo>
                <a:lnTo>
                  <a:pt x="1945037" y="1125592"/>
                </a:lnTo>
                <a:lnTo>
                  <a:pt x="1932093" y="1136926"/>
                </a:lnTo>
                <a:lnTo>
                  <a:pt x="1915857" y="1151081"/>
                </a:lnTo>
                <a:lnTo>
                  <a:pt x="1900528" y="1165132"/>
                </a:lnTo>
                <a:lnTo>
                  <a:pt x="1888471" y="1176190"/>
                </a:lnTo>
                <a:lnTo>
                  <a:pt x="1872846" y="1190453"/>
                </a:lnTo>
                <a:lnTo>
                  <a:pt x="1864970" y="1197647"/>
                </a:lnTo>
                <a:lnTo>
                  <a:pt x="1847551" y="1213544"/>
                </a:lnTo>
                <a:lnTo>
                  <a:pt x="1842314" y="1216367"/>
                </a:lnTo>
                <a:lnTo>
                  <a:pt x="1819236" y="1221057"/>
                </a:lnTo>
                <a:lnTo>
                  <a:pt x="1798058" y="1225345"/>
                </a:lnTo>
                <a:lnTo>
                  <a:pt x="1778506" y="1229314"/>
                </a:lnTo>
                <a:lnTo>
                  <a:pt x="1765141" y="1232030"/>
                </a:lnTo>
                <a:lnTo>
                  <a:pt x="1752197" y="1234642"/>
                </a:lnTo>
                <a:lnTo>
                  <a:pt x="1752197" y="1234654"/>
                </a:lnTo>
                <a:lnTo>
                  <a:pt x="1765141" y="1232044"/>
                </a:lnTo>
                <a:lnTo>
                  <a:pt x="1778506" y="1229327"/>
                </a:lnTo>
                <a:lnTo>
                  <a:pt x="1798058" y="1225357"/>
                </a:lnTo>
                <a:lnTo>
                  <a:pt x="1819236" y="1221070"/>
                </a:lnTo>
                <a:lnTo>
                  <a:pt x="1842315" y="1216381"/>
                </a:lnTo>
                <a:lnTo>
                  <a:pt x="1847551" y="1213558"/>
                </a:lnTo>
                <a:lnTo>
                  <a:pt x="1864971" y="1197661"/>
                </a:lnTo>
                <a:lnTo>
                  <a:pt x="1872846" y="1190466"/>
                </a:lnTo>
                <a:lnTo>
                  <a:pt x="1888471" y="1176202"/>
                </a:lnTo>
                <a:lnTo>
                  <a:pt x="1900528" y="1165144"/>
                </a:lnTo>
                <a:lnTo>
                  <a:pt x="1915857" y="1151095"/>
                </a:lnTo>
                <a:lnTo>
                  <a:pt x="1932094" y="1136937"/>
                </a:lnTo>
                <a:lnTo>
                  <a:pt x="1945037" y="1125603"/>
                </a:lnTo>
                <a:lnTo>
                  <a:pt x="1965392" y="1112763"/>
                </a:lnTo>
                <a:lnTo>
                  <a:pt x="1996071" y="1093387"/>
                </a:lnTo>
                <a:lnTo>
                  <a:pt x="2026751" y="1073944"/>
                </a:lnTo>
                <a:lnTo>
                  <a:pt x="2057451" y="1054459"/>
                </a:lnTo>
                <a:lnTo>
                  <a:pt x="2088131" y="1034935"/>
                </a:lnTo>
                <a:lnTo>
                  <a:pt x="2118811" y="1015387"/>
                </a:lnTo>
                <a:lnTo>
                  <a:pt x="2149490" y="995776"/>
                </a:lnTo>
                <a:lnTo>
                  <a:pt x="2180190" y="976122"/>
                </a:lnTo>
                <a:lnTo>
                  <a:pt x="2210870" y="956425"/>
                </a:lnTo>
                <a:lnTo>
                  <a:pt x="2241740" y="963939"/>
                </a:lnTo>
                <a:lnTo>
                  <a:pt x="2271068" y="971048"/>
                </a:lnTo>
                <a:lnTo>
                  <a:pt x="2300565" y="978203"/>
                </a:lnTo>
                <a:lnTo>
                  <a:pt x="2307512" y="982127"/>
                </a:lnTo>
                <a:lnTo>
                  <a:pt x="2323158" y="996116"/>
                </a:lnTo>
                <a:lnTo>
                  <a:pt x="2343196" y="1013985"/>
                </a:lnTo>
                <a:lnTo>
                  <a:pt x="2344061" y="1014241"/>
                </a:lnTo>
                <a:lnTo>
                  <a:pt x="2344969" y="1014325"/>
                </a:lnTo>
                <a:lnTo>
                  <a:pt x="2364225" y="1003799"/>
                </a:lnTo>
                <a:lnTo>
                  <a:pt x="2389310" y="990067"/>
                </a:lnTo>
                <a:lnTo>
                  <a:pt x="2389310" y="990060"/>
                </a:lnTo>
                <a:lnTo>
                  <a:pt x="2389310" y="990052"/>
                </a:lnTo>
                <a:lnTo>
                  <a:pt x="2389311" y="990060"/>
                </a:lnTo>
                <a:lnTo>
                  <a:pt x="2411142" y="979469"/>
                </a:lnTo>
                <a:lnTo>
                  <a:pt x="2427716" y="971405"/>
                </a:lnTo>
                <a:lnTo>
                  <a:pt x="2448874" y="961110"/>
                </a:lnTo>
                <a:lnTo>
                  <a:pt x="2468468" y="971659"/>
                </a:lnTo>
                <a:lnTo>
                  <a:pt x="2496867" y="986900"/>
                </a:lnTo>
                <a:lnTo>
                  <a:pt x="2525266" y="1002096"/>
                </a:lnTo>
                <a:lnTo>
                  <a:pt x="2553645" y="1017292"/>
                </a:lnTo>
                <a:lnTo>
                  <a:pt x="2582044" y="1032467"/>
                </a:lnTo>
                <a:lnTo>
                  <a:pt x="2610422" y="1047600"/>
                </a:lnTo>
                <a:lnTo>
                  <a:pt x="2638821" y="1062690"/>
                </a:lnTo>
                <a:lnTo>
                  <a:pt x="2667199" y="1077781"/>
                </a:lnTo>
                <a:lnTo>
                  <a:pt x="2695598" y="1092850"/>
                </a:lnTo>
                <a:lnTo>
                  <a:pt x="2723976" y="1107878"/>
                </a:lnTo>
                <a:lnTo>
                  <a:pt x="2752375" y="1122882"/>
                </a:lnTo>
                <a:lnTo>
                  <a:pt x="2780753" y="1137867"/>
                </a:lnTo>
                <a:lnTo>
                  <a:pt x="2809153" y="1152831"/>
                </a:lnTo>
                <a:lnTo>
                  <a:pt x="2837531" y="1167772"/>
                </a:lnTo>
                <a:lnTo>
                  <a:pt x="2865929" y="1182693"/>
                </a:lnTo>
                <a:lnTo>
                  <a:pt x="2894308" y="1197570"/>
                </a:lnTo>
                <a:lnTo>
                  <a:pt x="2922707" y="1212439"/>
                </a:lnTo>
                <a:lnTo>
                  <a:pt x="2922728" y="1240414"/>
                </a:lnTo>
                <a:lnTo>
                  <a:pt x="2922749" y="1268323"/>
                </a:lnTo>
                <a:lnTo>
                  <a:pt x="2922770" y="1296148"/>
                </a:lnTo>
                <a:lnTo>
                  <a:pt x="2922791" y="1323910"/>
                </a:lnTo>
                <a:lnTo>
                  <a:pt x="2922812" y="1351608"/>
                </a:lnTo>
                <a:lnTo>
                  <a:pt x="2922834" y="1379219"/>
                </a:lnTo>
                <a:lnTo>
                  <a:pt x="2922855" y="1406770"/>
                </a:lnTo>
                <a:lnTo>
                  <a:pt x="2922876" y="1434276"/>
                </a:lnTo>
                <a:lnTo>
                  <a:pt x="2922897" y="1443353"/>
                </a:lnTo>
                <a:lnTo>
                  <a:pt x="2922898" y="1443349"/>
                </a:lnTo>
                <a:lnTo>
                  <a:pt x="2922877" y="1434265"/>
                </a:lnTo>
                <a:lnTo>
                  <a:pt x="2922856" y="1406757"/>
                </a:lnTo>
                <a:lnTo>
                  <a:pt x="2922834" y="1379208"/>
                </a:lnTo>
                <a:lnTo>
                  <a:pt x="2922813" y="1351595"/>
                </a:lnTo>
                <a:lnTo>
                  <a:pt x="2922792" y="1323899"/>
                </a:lnTo>
                <a:lnTo>
                  <a:pt x="2922771" y="1296138"/>
                </a:lnTo>
                <a:lnTo>
                  <a:pt x="2922750" y="1268313"/>
                </a:lnTo>
                <a:lnTo>
                  <a:pt x="2922729" y="1240401"/>
                </a:lnTo>
                <a:lnTo>
                  <a:pt x="2922708" y="1212428"/>
                </a:lnTo>
                <a:lnTo>
                  <a:pt x="2922708" y="1212438"/>
                </a:lnTo>
                <a:lnTo>
                  <a:pt x="2894309" y="1197559"/>
                </a:lnTo>
                <a:lnTo>
                  <a:pt x="2865930" y="1182680"/>
                </a:lnTo>
                <a:lnTo>
                  <a:pt x="2837531" y="1167761"/>
                </a:lnTo>
                <a:lnTo>
                  <a:pt x="2809154" y="1152818"/>
                </a:lnTo>
                <a:lnTo>
                  <a:pt x="2780754" y="1137856"/>
                </a:lnTo>
                <a:lnTo>
                  <a:pt x="2752376" y="1122871"/>
                </a:lnTo>
                <a:lnTo>
                  <a:pt x="2723977" y="1107865"/>
                </a:lnTo>
                <a:lnTo>
                  <a:pt x="2695599" y="1092839"/>
                </a:lnTo>
                <a:lnTo>
                  <a:pt x="2667200" y="1077770"/>
                </a:lnTo>
                <a:lnTo>
                  <a:pt x="2638821" y="1062680"/>
                </a:lnTo>
                <a:lnTo>
                  <a:pt x="2610422" y="1047589"/>
                </a:lnTo>
                <a:lnTo>
                  <a:pt x="2582045" y="1032456"/>
                </a:lnTo>
                <a:lnTo>
                  <a:pt x="2553645" y="1017282"/>
                </a:lnTo>
                <a:lnTo>
                  <a:pt x="2525267" y="1002085"/>
                </a:lnTo>
                <a:lnTo>
                  <a:pt x="2496868" y="986887"/>
                </a:lnTo>
                <a:lnTo>
                  <a:pt x="2468469" y="971648"/>
                </a:lnTo>
                <a:lnTo>
                  <a:pt x="2448875" y="961099"/>
                </a:lnTo>
                <a:lnTo>
                  <a:pt x="2427717" y="971393"/>
                </a:lnTo>
                <a:lnTo>
                  <a:pt x="2411143" y="979458"/>
                </a:lnTo>
                <a:lnTo>
                  <a:pt x="2389310" y="990050"/>
                </a:lnTo>
                <a:lnTo>
                  <a:pt x="2364226" y="1003783"/>
                </a:lnTo>
                <a:lnTo>
                  <a:pt x="2344969" y="1014308"/>
                </a:lnTo>
                <a:lnTo>
                  <a:pt x="2344062" y="1014223"/>
                </a:lnTo>
                <a:lnTo>
                  <a:pt x="2343196" y="1013968"/>
                </a:lnTo>
                <a:lnTo>
                  <a:pt x="2323158" y="996099"/>
                </a:lnTo>
                <a:lnTo>
                  <a:pt x="2307512" y="982112"/>
                </a:lnTo>
                <a:lnTo>
                  <a:pt x="2300565" y="978185"/>
                </a:lnTo>
                <a:lnTo>
                  <a:pt x="2271068" y="971034"/>
                </a:lnTo>
                <a:lnTo>
                  <a:pt x="2241740" y="963922"/>
                </a:lnTo>
                <a:lnTo>
                  <a:pt x="2210870" y="956410"/>
                </a:lnTo>
                <a:lnTo>
                  <a:pt x="2205254" y="944970"/>
                </a:lnTo>
                <a:lnTo>
                  <a:pt x="2198983" y="932172"/>
                </a:lnTo>
                <a:lnTo>
                  <a:pt x="2190516" y="916146"/>
                </a:lnTo>
                <a:lnTo>
                  <a:pt x="2185343" y="906319"/>
                </a:lnTo>
                <a:lnTo>
                  <a:pt x="2183611" y="904791"/>
                </a:lnTo>
                <a:lnTo>
                  <a:pt x="2159942" y="897023"/>
                </a:lnTo>
                <a:lnTo>
                  <a:pt x="2134921" y="889384"/>
                </a:lnTo>
                <a:lnTo>
                  <a:pt x="2120288" y="894010"/>
                </a:lnTo>
                <a:lnTo>
                  <a:pt x="2117712" y="893670"/>
                </a:lnTo>
                <a:lnTo>
                  <a:pt x="2113574" y="890762"/>
                </a:lnTo>
                <a:lnTo>
                  <a:pt x="2109415" y="886793"/>
                </a:lnTo>
                <a:lnTo>
                  <a:pt x="2107219" y="881252"/>
                </a:lnTo>
                <a:lnTo>
                  <a:pt x="2101349" y="873824"/>
                </a:lnTo>
                <a:lnTo>
                  <a:pt x="2095922" y="856782"/>
                </a:lnTo>
                <a:lnTo>
                  <a:pt x="2095394" y="843197"/>
                </a:lnTo>
                <a:lnTo>
                  <a:pt x="2094318" y="838381"/>
                </a:lnTo>
                <a:lnTo>
                  <a:pt x="2081290" y="819194"/>
                </a:lnTo>
                <a:lnTo>
                  <a:pt x="2069445" y="801726"/>
                </a:lnTo>
                <a:lnTo>
                  <a:pt x="2061569" y="790052"/>
                </a:lnTo>
                <a:close/>
                <a:moveTo>
                  <a:pt x="4539371" y="784366"/>
                </a:moveTo>
                <a:lnTo>
                  <a:pt x="4546887" y="793748"/>
                </a:lnTo>
                <a:lnTo>
                  <a:pt x="4556009" y="800899"/>
                </a:lnTo>
                <a:lnTo>
                  <a:pt x="4557761" y="808902"/>
                </a:lnTo>
                <a:lnTo>
                  <a:pt x="4555080" y="815418"/>
                </a:lnTo>
                <a:lnTo>
                  <a:pt x="4552589" y="825732"/>
                </a:lnTo>
                <a:lnTo>
                  <a:pt x="4554087" y="830487"/>
                </a:lnTo>
                <a:lnTo>
                  <a:pt x="4554637" y="834605"/>
                </a:lnTo>
                <a:lnTo>
                  <a:pt x="4557107" y="841503"/>
                </a:lnTo>
                <a:lnTo>
                  <a:pt x="4559513" y="850436"/>
                </a:lnTo>
                <a:lnTo>
                  <a:pt x="4559916" y="856657"/>
                </a:lnTo>
                <a:lnTo>
                  <a:pt x="4558627" y="862409"/>
                </a:lnTo>
                <a:lnTo>
                  <a:pt x="4555438" y="867248"/>
                </a:lnTo>
                <a:lnTo>
                  <a:pt x="4549189" y="881764"/>
                </a:lnTo>
                <a:lnTo>
                  <a:pt x="4547331" y="883271"/>
                </a:lnTo>
                <a:lnTo>
                  <a:pt x="4539729" y="885757"/>
                </a:lnTo>
                <a:lnTo>
                  <a:pt x="4534388" y="887093"/>
                </a:lnTo>
                <a:lnTo>
                  <a:pt x="4529383" y="888514"/>
                </a:lnTo>
                <a:lnTo>
                  <a:pt x="4525203" y="888472"/>
                </a:lnTo>
                <a:lnTo>
                  <a:pt x="4521824" y="887919"/>
                </a:lnTo>
                <a:lnTo>
                  <a:pt x="4519586" y="886540"/>
                </a:lnTo>
                <a:lnTo>
                  <a:pt x="4515278" y="881021"/>
                </a:lnTo>
                <a:lnTo>
                  <a:pt x="4512239" y="873869"/>
                </a:lnTo>
                <a:lnTo>
                  <a:pt x="4514118" y="869879"/>
                </a:lnTo>
                <a:lnTo>
                  <a:pt x="4514750" y="867395"/>
                </a:lnTo>
                <a:lnTo>
                  <a:pt x="4510633" y="848507"/>
                </a:lnTo>
                <a:lnTo>
                  <a:pt x="4509303" y="833967"/>
                </a:lnTo>
                <a:lnTo>
                  <a:pt x="4509789" y="830996"/>
                </a:lnTo>
                <a:lnTo>
                  <a:pt x="4512133" y="827559"/>
                </a:lnTo>
                <a:lnTo>
                  <a:pt x="4516060" y="819959"/>
                </a:lnTo>
                <a:lnTo>
                  <a:pt x="4518150" y="812637"/>
                </a:lnTo>
                <a:lnTo>
                  <a:pt x="4524020" y="795699"/>
                </a:lnTo>
                <a:lnTo>
                  <a:pt x="4530248" y="789161"/>
                </a:lnTo>
                <a:close/>
                <a:moveTo>
                  <a:pt x="2060957" y="778275"/>
                </a:moveTo>
                <a:lnTo>
                  <a:pt x="2060956" y="778276"/>
                </a:lnTo>
                <a:lnTo>
                  <a:pt x="2060377" y="782418"/>
                </a:lnTo>
                <a:close/>
                <a:moveTo>
                  <a:pt x="4498006" y="778213"/>
                </a:moveTo>
                <a:lnTo>
                  <a:pt x="4499295" y="778595"/>
                </a:lnTo>
                <a:lnTo>
                  <a:pt x="4497626" y="781397"/>
                </a:lnTo>
                <a:lnTo>
                  <a:pt x="4500709" y="786279"/>
                </a:lnTo>
                <a:lnTo>
                  <a:pt x="4501174" y="794321"/>
                </a:lnTo>
                <a:lnTo>
                  <a:pt x="4500582" y="802174"/>
                </a:lnTo>
                <a:lnTo>
                  <a:pt x="4498661" y="807205"/>
                </a:lnTo>
                <a:lnTo>
                  <a:pt x="4496824" y="805445"/>
                </a:lnTo>
                <a:lnTo>
                  <a:pt x="4492179" y="796741"/>
                </a:lnTo>
                <a:lnTo>
                  <a:pt x="4493572" y="790628"/>
                </a:lnTo>
                <a:lnTo>
                  <a:pt x="4491397" y="781885"/>
                </a:lnTo>
                <a:lnTo>
                  <a:pt x="4492432" y="779380"/>
                </a:lnTo>
                <a:close/>
                <a:moveTo>
                  <a:pt x="987129" y="709231"/>
                </a:moveTo>
                <a:lnTo>
                  <a:pt x="987129" y="709236"/>
                </a:lnTo>
                <a:lnTo>
                  <a:pt x="987151" y="720335"/>
                </a:lnTo>
                <a:lnTo>
                  <a:pt x="987151" y="733515"/>
                </a:lnTo>
                <a:lnTo>
                  <a:pt x="987172" y="746651"/>
                </a:lnTo>
                <a:lnTo>
                  <a:pt x="987193" y="761595"/>
                </a:lnTo>
                <a:lnTo>
                  <a:pt x="987193" y="776451"/>
                </a:lnTo>
                <a:lnTo>
                  <a:pt x="987193" y="787255"/>
                </a:lnTo>
                <a:lnTo>
                  <a:pt x="987193" y="794767"/>
                </a:lnTo>
                <a:lnTo>
                  <a:pt x="975136" y="794767"/>
                </a:lnTo>
                <a:lnTo>
                  <a:pt x="964093" y="794767"/>
                </a:lnTo>
                <a:lnTo>
                  <a:pt x="953050" y="794767"/>
                </a:lnTo>
                <a:lnTo>
                  <a:pt x="942029" y="794767"/>
                </a:lnTo>
                <a:lnTo>
                  <a:pt x="930986" y="794767"/>
                </a:lnTo>
                <a:lnTo>
                  <a:pt x="919943" y="794767"/>
                </a:lnTo>
                <a:lnTo>
                  <a:pt x="908900" y="794767"/>
                </a:lnTo>
                <a:lnTo>
                  <a:pt x="897857" y="794767"/>
                </a:lnTo>
                <a:lnTo>
                  <a:pt x="886814" y="794767"/>
                </a:lnTo>
                <a:lnTo>
                  <a:pt x="875771" y="794767"/>
                </a:lnTo>
                <a:lnTo>
                  <a:pt x="864728" y="794767"/>
                </a:lnTo>
                <a:lnTo>
                  <a:pt x="853685" y="794767"/>
                </a:lnTo>
                <a:lnTo>
                  <a:pt x="842642" y="794767"/>
                </a:lnTo>
                <a:lnTo>
                  <a:pt x="831599" y="794767"/>
                </a:lnTo>
                <a:lnTo>
                  <a:pt x="820556" y="794767"/>
                </a:lnTo>
                <a:lnTo>
                  <a:pt x="809534" y="794767"/>
                </a:lnTo>
                <a:lnTo>
                  <a:pt x="798491" y="794767"/>
                </a:lnTo>
                <a:lnTo>
                  <a:pt x="789623" y="794767"/>
                </a:lnTo>
                <a:lnTo>
                  <a:pt x="789623" y="802641"/>
                </a:lnTo>
                <a:lnTo>
                  <a:pt x="789623" y="811577"/>
                </a:lnTo>
                <a:lnTo>
                  <a:pt x="789623" y="820534"/>
                </a:lnTo>
                <a:lnTo>
                  <a:pt x="789623" y="829469"/>
                </a:lnTo>
                <a:lnTo>
                  <a:pt x="789623" y="838405"/>
                </a:lnTo>
                <a:lnTo>
                  <a:pt x="789623" y="847319"/>
                </a:lnTo>
                <a:lnTo>
                  <a:pt x="789623" y="856234"/>
                </a:lnTo>
                <a:lnTo>
                  <a:pt x="789623" y="865125"/>
                </a:lnTo>
                <a:lnTo>
                  <a:pt x="789623" y="874019"/>
                </a:lnTo>
                <a:lnTo>
                  <a:pt x="789623" y="882892"/>
                </a:lnTo>
                <a:lnTo>
                  <a:pt x="789623" y="891762"/>
                </a:lnTo>
                <a:lnTo>
                  <a:pt x="789623" y="900634"/>
                </a:lnTo>
                <a:lnTo>
                  <a:pt x="789623" y="909464"/>
                </a:lnTo>
                <a:lnTo>
                  <a:pt x="789623" y="918314"/>
                </a:lnTo>
                <a:lnTo>
                  <a:pt x="789623" y="927143"/>
                </a:lnTo>
                <a:lnTo>
                  <a:pt x="789623" y="935974"/>
                </a:lnTo>
                <a:lnTo>
                  <a:pt x="789623" y="944780"/>
                </a:lnTo>
                <a:lnTo>
                  <a:pt x="789623" y="952633"/>
                </a:lnTo>
                <a:lnTo>
                  <a:pt x="789201" y="959660"/>
                </a:lnTo>
                <a:lnTo>
                  <a:pt x="785654" y="961739"/>
                </a:lnTo>
                <a:lnTo>
                  <a:pt x="777186" y="965474"/>
                </a:lnTo>
                <a:lnTo>
                  <a:pt x="768487" y="969315"/>
                </a:lnTo>
                <a:lnTo>
                  <a:pt x="757444" y="971077"/>
                </a:lnTo>
                <a:lnTo>
                  <a:pt x="753813" y="972328"/>
                </a:lnTo>
                <a:lnTo>
                  <a:pt x="746761" y="977379"/>
                </a:lnTo>
                <a:lnTo>
                  <a:pt x="737491" y="984024"/>
                </a:lnTo>
                <a:lnTo>
                  <a:pt x="729468" y="989775"/>
                </a:lnTo>
                <a:lnTo>
                  <a:pt x="724168" y="997246"/>
                </a:lnTo>
                <a:lnTo>
                  <a:pt x="722247" y="1001342"/>
                </a:lnTo>
                <a:lnTo>
                  <a:pt x="721465" y="1005652"/>
                </a:lnTo>
                <a:lnTo>
                  <a:pt x="722078" y="1009769"/>
                </a:lnTo>
                <a:lnTo>
                  <a:pt x="724971" y="1018003"/>
                </a:lnTo>
                <a:lnTo>
                  <a:pt x="725751" y="1022163"/>
                </a:lnTo>
                <a:lnTo>
                  <a:pt x="726195" y="1029402"/>
                </a:lnTo>
                <a:lnTo>
                  <a:pt x="726681" y="1037254"/>
                </a:lnTo>
                <a:lnTo>
                  <a:pt x="727209" y="1045723"/>
                </a:lnTo>
                <a:lnTo>
                  <a:pt x="727737" y="1054190"/>
                </a:lnTo>
                <a:lnTo>
                  <a:pt x="728285" y="1063168"/>
                </a:lnTo>
                <a:lnTo>
                  <a:pt x="728855" y="1072167"/>
                </a:lnTo>
                <a:lnTo>
                  <a:pt x="729426" y="1081187"/>
                </a:lnTo>
                <a:lnTo>
                  <a:pt x="729848" y="1087895"/>
                </a:lnTo>
                <a:lnTo>
                  <a:pt x="730375" y="1096343"/>
                </a:lnTo>
                <a:lnTo>
                  <a:pt x="721402" y="1096364"/>
                </a:lnTo>
                <a:lnTo>
                  <a:pt x="707825" y="1096364"/>
                </a:lnTo>
                <a:lnTo>
                  <a:pt x="694227" y="1096385"/>
                </a:lnTo>
                <a:lnTo>
                  <a:pt x="680629" y="1096405"/>
                </a:lnTo>
                <a:lnTo>
                  <a:pt x="667053" y="1096426"/>
                </a:lnTo>
                <a:lnTo>
                  <a:pt x="653477" y="1096447"/>
                </a:lnTo>
                <a:lnTo>
                  <a:pt x="639879" y="1096470"/>
                </a:lnTo>
                <a:lnTo>
                  <a:pt x="626281" y="1096470"/>
                </a:lnTo>
                <a:lnTo>
                  <a:pt x="612704" y="1096491"/>
                </a:lnTo>
                <a:lnTo>
                  <a:pt x="599106" y="1096510"/>
                </a:lnTo>
                <a:lnTo>
                  <a:pt x="592606" y="1096520"/>
                </a:lnTo>
                <a:lnTo>
                  <a:pt x="599317" y="1096520"/>
                </a:lnTo>
                <a:lnTo>
                  <a:pt x="612915" y="1096499"/>
                </a:lnTo>
                <a:lnTo>
                  <a:pt x="626513" y="1096478"/>
                </a:lnTo>
                <a:lnTo>
                  <a:pt x="640110" y="1096478"/>
                </a:lnTo>
                <a:lnTo>
                  <a:pt x="653708" y="1096457"/>
                </a:lnTo>
                <a:lnTo>
                  <a:pt x="667306" y="1096436"/>
                </a:lnTo>
                <a:lnTo>
                  <a:pt x="680883" y="1096436"/>
                </a:lnTo>
                <a:lnTo>
                  <a:pt x="694481" y="1096415"/>
                </a:lnTo>
                <a:lnTo>
                  <a:pt x="708078" y="1096394"/>
                </a:lnTo>
                <a:lnTo>
                  <a:pt x="721655" y="1096394"/>
                </a:lnTo>
                <a:lnTo>
                  <a:pt x="730629" y="1096394"/>
                </a:lnTo>
                <a:lnTo>
                  <a:pt x="730101" y="1087948"/>
                </a:lnTo>
                <a:lnTo>
                  <a:pt x="729679" y="1081240"/>
                </a:lnTo>
                <a:lnTo>
                  <a:pt x="729109" y="1072219"/>
                </a:lnTo>
                <a:lnTo>
                  <a:pt x="728539" y="1063242"/>
                </a:lnTo>
                <a:lnTo>
                  <a:pt x="727989" y="1054243"/>
                </a:lnTo>
                <a:lnTo>
                  <a:pt x="727462" y="1045776"/>
                </a:lnTo>
                <a:lnTo>
                  <a:pt x="726934" y="1037306"/>
                </a:lnTo>
                <a:lnTo>
                  <a:pt x="726448" y="1029454"/>
                </a:lnTo>
                <a:lnTo>
                  <a:pt x="726005" y="1022237"/>
                </a:lnTo>
                <a:lnTo>
                  <a:pt x="725224" y="1018078"/>
                </a:lnTo>
                <a:lnTo>
                  <a:pt x="722331" y="1009821"/>
                </a:lnTo>
                <a:lnTo>
                  <a:pt x="721719" y="1005725"/>
                </a:lnTo>
                <a:lnTo>
                  <a:pt x="722500" y="1001395"/>
                </a:lnTo>
                <a:lnTo>
                  <a:pt x="724421" y="997320"/>
                </a:lnTo>
                <a:lnTo>
                  <a:pt x="729721" y="989850"/>
                </a:lnTo>
                <a:lnTo>
                  <a:pt x="737745" y="984098"/>
                </a:lnTo>
                <a:lnTo>
                  <a:pt x="746993" y="977455"/>
                </a:lnTo>
                <a:lnTo>
                  <a:pt x="754045" y="972382"/>
                </a:lnTo>
                <a:lnTo>
                  <a:pt x="757656" y="971129"/>
                </a:lnTo>
                <a:lnTo>
                  <a:pt x="768698" y="969368"/>
                </a:lnTo>
                <a:lnTo>
                  <a:pt x="777398" y="965528"/>
                </a:lnTo>
                <a:lnTo>
                  <a:pt x="785865" y="961793"/>
                </a:lnTo>
                <a:lnTo>
                  <a:pt x="789412" y="959712"/>
                </a:lnTo>
                <a:lnTo>
                  <a:pt x="789835" y="952686"/>
                </a:lnTo>
                <a:lnTo>
                  <a:pt x="789835" y="944833"/>
                </a:lnTo>
                <a:lnTo>
                  <a:pt x="789835" y="936026"/>
                </a:lnTo>
                <a:lnTo>
                  <a:pt x="789835" y="927196"/>
                </a:lnTo>
                <a:lnTo>
                  <a:pt x="789835" y="918368"/>
                </a:lnTo>
                <a:lnTo>
                  <a:pt x="789835" y="909517"/>
                </a:lnTo>
                <a:lnTo>
                  <a:pt x="789835" y="900665"/>
                </a:lnTo>
                <a:lnTo>
                  <a:pt x="789835" y="891817"/>
                </a:lnTo>
                <a:lnTo>
                  <a:pt x="789835" y="882944"/>
                </a:lnTo>
                <a:lnTo>
                  <a:pt x="789835" y="874071"/>
                </a:lnTo>
                <a:lnTo>
                  <a:pt x="789835" y="865200"/>
                </a:lnTo>
                <a:lnTo>
                  <a:pt x="789835" y="856308"/>
                </a:lnTo>
                <a:lnTo>
                  <a:pt x="789835" y="847394"/>
                </a:lnTo>
                <a:lnTo>
                  <a:pt x="789835" y="838479"/>
                </a:lnTo>
                <a:lnTo>
                  <a:pt x="789835" y="829543"/>
                </a:lnTo>
                <a:lnTo>
                  <a:pt x="789835" y="820607"/>
                </a:lnTo>
                <a:lnTo>
                  <a:pt x="789835" y="811650"/>
                </a:lnTo>
                <a:lnTo>
                  <a:pt x="789835" y="802694"/>
                </a:lnTo>
                <a:lnTo>
                  <a:pt x="789835" y="794842"/>
                </a:lnTo>
                <a:lnTo>
                  <a:pt x="798703" y="794842"/>
                </a:lnTo>
                <a:lnTo>
                  <a:pt x="809745" y="794842"/>
                </a:lnTo>
                <a:lnTo>
                  <a:pt x="820767" y="794842"/>
                </a:lnTo>
                <a:lnTo>
                  <a:pt x="831810" y="794842"/>
                </a:lnTo>
                <a:lnTo>
                  <a:pt x="842853" y="794842"/>
                </a:lnTo>
                <a:lnTo>
                  <a:pt x="853896" y="794842"/>
                </a:lnTo>
                <a:lnTo>
                  <a:pt x="864939" y="794842"/>
                </a:lnTo>
                <a:lnTo>
                  <a:pt x="875983" y="794842"/>
                </a:lnTo>
                <a:lnTo>
                  <a:pt x="887025" y="794842"/>
                </a:lnTo>
                <a:lnTo>
                  <a:pt x="898068" y="794842"/>
                </a:lnTo>
                <a:lnTo>
                  <a:pt x="909111" y="794842"/>
                </a:lnTo>
                <a:lnTo>
                  <a:pt x="920154" y="794842"/>
                </a:lnTo>
                <a:lnTo>
                  <a:pt x="931197" y="794842"/>
                </a:lnTo>
                <a:lnTo>
                  <a:pt x="942240" y="794842"/>
                </a:lnTo>
                <a:lnTo>
                  <a:pt x="953262" y="794842"/>
                </a:lnTo>
                <a:lnTo>
                  <a:pt x="964304" y="794842"/>
                </a:lnTo>
                <a:lnTo>
                  <a:pt x="975347" y="794842"/>
                </a:lnTo>
                <a:lnTo>
                  <a:pt x="987404" y="794842"/>
                </a:lnTo>
                <a:lnTo>
                  <a:pt x="987404" y="787328"/>
                </a:lnTo>
                <a:lnTo>
                  <a:pt x="987404" y="776524"/>
                </a:lnTo>
                <a:lnTo>
                  <a:pt x="987383" y="761668"/>
                </a:lnTo>
                <a:lnTo>
                  <a:pt x="987383" y="746726"/>
                </a:lnTo>
                <a:lnTo>
                  <a:pt x="987362" y="733567"/>
                </a:lnTo>
                <a:lnTo>
                  <a:pt x="987362" y="720387"/>
                </a:lnTo>
                <a:lnTo>
                  <a:pt x="987341" y="709371"/>
                </a:lnTo>
                <a:close/>
                <a:moveTo>
                  <a:pt x="2079305" y="706241"/>
                </a:moveTo>
                <a:lnTo>
                  <a:pt x="2079305" y="706242"/>
                </a:lnTo>
                <a:lnTo>
                  <a:pt x="2079601" y="713692"/>
                </a:lnTo>
                <a:lnTo>
                  <a:pt x="2082134" y="725301"/>
                </a:lnTo>
                <a:lnTo>
                  <a:pt x="2084626" y="733876"/>
                </a:lnTo>
                <a:lnTo>
                  <a:pt x="2088004" y="738375"/>
                </a:lnTo>
                <a:lnTo>
                  <a:pt x="2087349" y="752785"/>
                </a:lnTo>
                <a:lnTo>
                  <a:pt x="2085935" y="758005"/>
                </a:lnTo>
                <a:lnTo>
                  <a:pt x="2085936" y="758005"/>
                </a:lnTo>
                <a:lnTo>
                  <a:pt x="2087350" y="752783"/>
                </a:lnTo>
                <a:lnTo>
                  <a:pt x="2088005" y="738372"/>
                </a:lnTo>
                <a:lnTo>
                  <a:pt x="2084626" y="733873"/>
                </a:lnTo>
                <a:lnTo>
                  <a:pt x="2082134" y="725298"/>
                </a:lnTo>
                <a:lnTo>
                  <a:pt x="2079601" y="713689"/>
                </a:lnTo>
                <a:close/>
                <a:moveTo>
                  <a:pt x="979170" y="684503"/>
                </a:moveTo>
                <a:lnTo>
                  <a:pt x="979170" y="684506"/>
                </a:lnTo>
                <a:lnTo>
                  <a:pt x="987129" y="684506"/>
                </a:lnTo>
                <a:lnTo>
                  <a:pt x="987129" y="684503"/>
                </a:lnTo>
                <a:close/>
                <a:moveTo>
                  <a:pt x="4312484" y="594773"/>
                </a:moveTo>
                <a:lnTo>
                  <a:pt x="4317688" y="605021"/>
                </a:lnTo>
                <a:lnTo>
                  <a:pt x="4319588" y="612216"/>
                </a:lnTo>
                <a:lnTo>
                  <a:pt x="4321340" y="619220"/>
                </a:lnTo>
                <a:lnTo>
                  <a:pt x="4326576" y="625610"/>
                </a:lnTo>
                <a:lnTo>
                  <a:pt x="4326579" y="625610"/>
                </a:lnTo>
                <a:lnTo>
                  <a:pt x="4321361" y="619244"/>
                </a:lnTo>
                <a:lnTo>
                  <a:pt x="4319609" y="612240"/>
                </a:lnTo>
                <a:lnTo>
                  <a:pt x="4317709" y="605046"/>
                </a:lnTo>
                <a:lnTo>
                  <a:pt x="4312493" y="594774"/>
                </a:lnTo>
                <a:close/>
                <a:moveTo>
                  <a:pt x="1058096" y="567409"/>
                </a:moveTo>
                <a:lnTo>
                  <a:pt x="1049862" y="568577"/>
                </a:lnTo>
                <a:lnTo>
                  <a:pt x="1046272" y="570317"/>
                </a:lnTo>
                <a:lnTo>
                  <a:pt x="1030943" y="582181"/>
                </a:lnTo>
                <a:lnTo>
                  <a:pt x="1027670" y="585068"/>
                </a:lnTo>
                <a:lnTo>
                  <a:pt x="1011897" y="595361"/>
                </a:lnTo>
                <a:lnTo>
                  <a:pt x="1007442" y="598778"/>
                </a:lnTo>
                <a:lnTo>
                  <a:pt x="1003958" y="602152"/>
                </a:lnTo>
                <a:lnTo>
                  <a:pt x="994541" y="609751"/>
                </a:lnTo>
                <a:lnTo>
                  <a:pt x="988524" y="613082"/>
                </a:lnTo>
                <a:lnTo>
                  <a:pt x="987425" y="615057"/>
                </a:lnTo>
                <a:lnTo>
                  <a:pt x="987129" y="619685"/>
                </a:lnTo>
                <a:lnTo>
                  <a:pt x="987129" y="619686"/>
                </a:lnTo>
                <a:lnTo>
                  <a:pt x="987425" y="615060"/>
                </a:lnTo>
                <a:lnTo>
                  <a:pt x="988523" y="613084"/>
                </a:lnTo>
                <a:lnTo>
                  <a:pt x="994541" y="609753"/>
                </a:lnTo>
                <a:lnTo>
                  <a:pt x="1003958" y="602154"/>
                </a:lnTo>
                <a:lnTo>
                  <a:pt x="1007442" y="598779"/>
                </a:lnTo>
                <a:lnTo>
                  <a:pt x="1011897" y="595364"/>
                </a:lnTo>
                <a:lnTo>
                  <a:pt x="1027670" y="585070"/>
                </a:lnTo>
                <a:lnTo>
                  <a:pt x="1030943" y="582185"/>
                </a:lnTo>
                <a:lnTo>
                  <a:pt x="1046272" y="570318"/>
                </a:lnTo>
                <a:lnTo>
                  <a:pt x="1049861" y="568578"/>
                </a:lnTo>
                <a:lnTo>
                  <a:pt x="1058095" y="567410"/>
                </a:lnTo>
                <a:close/>
                <a:moveTo>
                  <a:pt x="1116361" y="539403"/>
                </a:moveTo>
                <a:lnTo>
                  <a:pt x="1116035" y="540731"/>
                </a:lnTo>
                <a:lnTo>
                  <a:pt x="1115866" y="544680"/>
                </a:lnTo>
                <a:lnTo>
                  <a:pt x="1115295" y="549200"/>
                </a:lnTo>
                <a:lnTo>
                  <a:pt x="1112615" y="552999"/>
                </a:lnTo>
                <a:lnTo>
                  <a:pt x="1110713" y="554696"/>
                </a:lnTo>
                <a:lnTo>
                  <a:pt x="1108496" y="555395"/>
                </a:lnTo>
                <a:lnTo>
                  <a:pt x="1101382" y="554377"/>
                </a:lnTo>
                <a:lnTo>
                  <a:pt x="1095426" y="553168"/>
                </a:lnTo>
                <a:lnTo>
                  <a:pt x="1081259" y="551554"/>
                </a:lnTo>
                <a:lnTo>
                  <a:pt x="1078430" y="551936"/>
                </a:lnTo>
                <a:lnTo>
                  <a:pt x="1077374" y="552404"/>
                </a:lnTo>
                <a:lnTo>
                  <a:pt x="1072961" y="554992"/>
                </a:lnTo>
                <a:lnTo>
                  <a:pt x="1066162" y="560425"/>
                </a:lnTo>
                <a:lnTo>
                  <a:pt x="1061538" y="565179"/>
                </a:lnTo>
                <a:lnTo>
                  <a:pt x="1058134" y="567386"/>
                </a:lnTo>
                <a:lnTo>
                  <a:pt x="1061538" y="565182"/>
                </a:lnTo>
                <a:lnTo>
                  <a:pt x="1066162" y="560427"/>
                </a:lnTo>
                <a:lnTo>
                  <a:pt x="1072961" y="554995"/>
                </a:lnTo>
                <a:lnTo>
                  <a:pt x="1077374" y="552406"/>
                </a:lnTo>
                <a:lnTo>
                  <a:pt x="1078429" y="551940"/>
                </a:lnTo>
                <a:lnTo>
                  <a:pt x="1081258" y="551558"/>
                </a:lnTo>
                <a:lnTo>
                  <a:pt x="1095426" y="553171"/>
                </a:lnTo>
                <a:lnTo>
                  <a:pt x="1101381" y="554381"/>
                </a:lnTo>
                <a:lnTo>
                  <a:pt x="1108496" y="555399"/>
                </a:lnTo>
                <a:lnTo>
                  <a:pt x="1110713" y="554700"/>
                </a:lnTo>
                <a:lnTo>
                  <a:pt x="1112614" y="553001"/>
                </a:lnTo>
                <a:lnTo>
                  <a:pt x="1115295" y="549200"/>
                </a:lnTo>
                <a:lnTo>
                  <a:pt x="1115866" y="544681"/>
                </a:lnTo>
                <a:lnTo>
                  <a:pt x="1116035" y="540734"/>
                </a:lnTo>
                <a:close/>
                <a:moveTo>
                  <a:pt x="3577585" y="538575"/>
                </a:moveTo>
                <a:lnTo>
                  <a:pt x="3577134" y="540502"/>
                </a:lnTo>
                <a:lnTo>
                  <a:pt x="3575629" y="548454"/>
                </a:lnTo>
                <a:lnTo>
                  <a:pt x="3577135" y="540499"/>
                </a:lnTo>
                <a:close/>
                <a:moveTo>
                  <a:pt x="3562689" y="536570"/>
                </a:moveTo>
                <a:lnTo>
                  <a:pt x="3563326" y="538805"/>
                </a:lnTo>
                <a:lnTo>
                  <a:pt x="3565498" y="546653"/>
                </a:lnTo>
                <a:lnTo>
                  <a:pt x="3563326" y="538803"/>
                </a:lnTo>
                <a:close/>
                <a:moveTo>
                  <a:pt x="3678317" y="536209"/>
                </a:moveTo>
                <a:lnTo>
                  <a:pt x="3676669" y="537466"/>
                </a:lnTo>
                <a:lnTo>
                  <a:pt x="3676660" y="537481"/>
                </a:lnTo>
                <a:close/>
                <a:moveTo>
                  <a:pt x="3579753" y="527467"/>
                </a:moveTo>
                <a:lnTo>
                  <a:pt x="3579752" y="527470"/>
                </a:lnTo>
                <a:lnTo>
                  <a:pt x="3579282" y="530479"/>
                </a:lnTo>
                <a:close/>
                <a:moveTo>
                  <a:pt x="4357045" y="527365"/>
                </a:moveTo>
                <a:lnTo>
                  <a:pt x="4359579" y="530274"/>
                </a:lnTo>
                <a:lnTo>
                  <a:pt x="4366716" y="540780"/>
                </a:lnTo>
                <a:lnTo>
                  <a:pt x="4366674" y="545066"/>
                </a:lnTo>
                <a:lnTo>
                  <a:pt x="4366251" y="546786"/>
                </a:lnTo>
                <a:lnTo>
                  <a:pt x="4362387" y="551604"/>
                </a:lnTo>
                <a:lnTo>
                  <a:pt x="4362387" y="551601"/>
                </a:lnTo>
                <a:lnTo>
                  <a:pt x="4358987" y="553129"/>
                </a:lnTo>
                <a:lnTo>
                  <a:pt x="4356707" y="552472"/>
                </a:lnTo>
                <a:lnTo>
                  <a:pt x="4354511" y="548800"/>
                </a:lnTo>
                <a:lnTo>
                  <a:pt x="4350901" y="539674"/>
                </a:lnTo>
                <a:lnTo>
                  <a:pt x="4352864" y="536256"/>
                </a:lnTo>
                <a:lnTo>
                  <a:pt x="4352801" y="534794"/>
                </a:lnTo>
                <a:lnTo>
                  <a:pt x="4353202" y="533691"/>
                </a:lnTo>
                <a:lnTo>
                  <a:pt x="4354322" y="532989"/>
                </a:lnTo>
                <a:lnTo>
                  <a:pt x="4355483" y="528681"/>
                </a:lnTo>
                <a:close/>
                <a:moveTo>
                  <a:pt x="4344799" y="527130"/>
                </a:moveTo>
                <a:lnTo>
                  <a:pt x="4344799" y="527134"/>
                </a:lnTo>
                <a:lnTo>
                  <a:pt x="4344798" y="527134"/>
                </a:lnTo>
                <a:close/>
                <a:moveTo>
                  <a:pt x="3723272" y="525190"/>
                </a:moveTo>
                <a:lnTo>
                  <a:pt x="3722023" y="526278"/>
                </a:lnTo>
                <a:lnTo>
                  <a:pt x="3706060" y="529633"/>
                </a:lnTo>
                <a:lnTo>
                  <a:pt x="3689908" y="532986"/>
                </a:lnTo>
                <a:lnTo>
                  <a:pt x="3679730" y="535130"/>
                </a:lnTo>
                <a:lnTo>
                  <a:pt x="3679679" y="535169"/>
                </a:lnTo>
                <a:lnTo>
                  <a:pt x="3689844" y="533049"/>
                </a:lnTo>
                <a:lnTo>
                  <a:pt x="3705997" y="529675"/>
                </a:lnTo>
                <a:lnTo>
                  <a:pt x="3721980" y="526344"/>
                </a:lnTo>
                <a:lnTo>
                  <a:pt x="3723268" y="525199"/>
                </a:lnTo>
                <a:close/>
                <a:moveTo>
                  <a:pt x="2053398" y="518066"/>
                </a:moveTo>
                <a:lnTo>
                  <a:pt x="2058169" y="526386"/>
                </a:lnTo>
                <a:lnTo>
                  <a:pt x="2067375" y="539906"/>
                </a:lnTo>
                <a:lnTo>
                  <a:pt x="2072928" y="550795"/>
                </a:lnTo>
                <a:lnTo>
                  <a:pt x="2074871" y="555528"/>
                </a:lnTo>
                <a:lnTo>
                  <a:pt x="2079199" y="569006"/>
                </a:lnTo>
                <a:lnTo>
                  <a:pt x="2082725" y="582036"/>
                </a:lnTo>
                <a:lnTo>
                  <a:pt x="2083633" y="586261"/>
                </a:lnTo>
                <a:lnTo>
                  <a:pt x="2084921" y="596278"/>
                </a:lnTo>
                <a:lnTo>
                  <a:pt x="2083338" y="623786"/>
                </a:lnTo>
                <a:lnTo>
                  <a:pt x="2085871" y="658573"/>
                </a:lnTo>
                <a:lnTo>
                  <a:pt x="2089292" y="675848"/>
                </a:lnTo>
                <a:lnTo>
                  <a:pt x="2089292" y="675845"/>
                </a:lnTo>
                <a:lnTo>
                  <a:pt x="2085872" y="658569"/>
                </a:lnTo>
                <a:lnTo>
                  <a:pt x="2083338" y="623783"/>
                </a:lnTo>
                <a:lnTo>
                  <a:pt x="2084922" y="596275"/>
                </a:lnTo>
                <a:lnTo>
                  <a:pt x="2083634" y="586258"/>
                </a:lnTo>
                <a:lnTo>
                  <a:pt x="2082726" y="582033"/>
                </a:lnTo>
                <a:lnTo>
                  <a:pt x="2079200" y="569001"/>
                </a:lnTo>
                <a:lnTo>
                  <a:pt x="2074871" y="555523"/>
                </a:lnTo>
                <a:lnTo>
                  <a:pt x="2072928" y="550793"/>
                </a:lnTo>
                <a:lnTo>
                  <a:pt x="2067376" y="539903"/>
                </a:lnTo>
                <a:lnTo>
                  <a:pt x="2058170" y="526384"/>
                </a:lnTo>
                <a:lnTo>
                  <a:pt x="2053399" y="518066"/>
                </a:lnTo>
                <a:close/>
                <a:moveTo>
                  <a:pt x="3583575" y="512568"/>
                </a:moveTo>
                <a:lnTo>
                  <a:pt x="3583575" y="512572"/>
                </a:lnTo>
                <a:lnTo>
                  <a:pt x="3584102" y="516242"/>
                </a:lnTo>
                <a:lnTo>
                  <a:pt x="3580175" y="526378"/>
                </a:lnTo>
                <a:lnTo>
                  <a:pt x="3584102" y="516242"/>
                </a:lnTo>
                <a:lnTo>
                  <a:pt x="3584102" y="516242"/>
                </a:lnTo>
                <a:lnTo>
                  <a:pt x="3584103" y="516241"/>
                </a:lnTo>
                <a:close/>
                <a:moveTo>
                  <a:pt x="3584039" y="497097"/>
                </a:moveTo>
                <a:lnTo>
                  <a:pt x="3584482" y="499602"/>
                </a:lnTo>
                <a:lnTo>
                  <a:pt x="3583839" y="508789"/>
                </a:lnTo>
                <a:lnTo>
                  <a:pt x="3584483" y="499600"/>
                </a:lnTo>
                <a:close/>
                <a:moveTo>
                  <a:pt x="3752233" y="491682"/>
                </a:moveTo>
                <a:lnTo>
                  <a:pt x="3745355" y="495591"/>
                </a:lnTo>
                <a:lnTo>
                  <a:pt x="3733911" y="502085"/>
                </a:lnTo>
                <a:lnTo>
                  <a:pt x="3733898" y="502098"/>
                </a:lnTo>
                <a:lnTo>
                  <a:pt x="3745291" y="495633"/>
                </a:lnTo>
                <a:lnTo>
                  <a:pt x="3752237" y="491686"/>
                </a:lnTo>
                <a:close/>
                <a:moveTo>
                  <a:pt x="2981597" y="472606"/>
                </a:moveTo>
                <a:lnTo>
                  <a:pt x="2980836" y="479356"/>
                </a:lnTo>
                <a:lnTo>
                  <a:pt x="2978577" y="487653"/>
                </a:lnTo>
                <a:lnTo>
                  <a:pt x="2975874" y="494572"/>
                </a:lnTo>
                <a:lnTo>
                  <a:pt x="2966921" y="508771"/>
                </a:lnTo>
                <a:lnTo>
                  <a:pt x="2965549" y="512167"/>
                </a:lnTo>
                <a:lnTo>
                  <a:pt x="2965549" y="512167"/>
                </a:lnTo>
                <a:lnTo>
                  <a:pt x="2966921" y="508773"/>
                </a:lnTo>
                <a:lnTo>
                  <a:pt x="2975874" y="494573"/>
                </a:lnTo>
                <a:lnTo>
                  <a:pt x="2978577" y="487653"/>
                </a:lnTo>
                <a:lnTo>
                  <a:pt x="2980836" y="479357"/>
                </a:lnTo>
                <a:close/>
                <a:moveTo>
                  <a:pt x="1286894" y="452612"/>
                </a:moveTo>
                <a:lnTo>
                  <a:pt x="1286767" y="457108"/>
                </a:lnTo>
                <a:lnTo>
                  <a:pt x="1284403" y="459657"/>
                </a:lnTo>
                <a:lnTo>
                  <a:pt x="1282312" y="460991"/>
                </a:lnTo>
                <a:lnTo>
                  <a:pt x="1272937" y="462182"/>
                </a:lnTo>
                <a:lnTo>
                  <a:pt x="1265527" y="463136"/>
                </a:lnTo>
                <a:lnTo>
                  <a:pt x="1255835" y="470309"/>
                </a:lnTo>
                <a:lnTo>
                  <a:pt x="1245509" y="477951"/>
                </a:lnTo>
                <a:lnTo>
                  <a:pt x="1233305" y="483002"/>
                </a:lnTo>
                <a:lnTo>
                  <a:pt x="1227921" y="484422"/>
                </a:lnTo>
                <a:lnTo>
                  <a:pt x="1218525" y="488052"/>
                </a:lnTo>
                <a:lnTo>
                  <a:pt x="1207271" y="494017"/>
                </a:lnTo>
                <a:lnTo>
                  <a:pt x="1201718" y="503568"/>
                </a:lnTo>
                <a:lnTo>
                  <a:pt x="1194729" y="514563"/>
                </a:lnTo>
                <a:lnTo>
                  <a:pt x="1187993" y="521926"/>
                </a:lnTo>
                <a:lnTo>
                  <a:pt x="1178808" y="528909"/>
                </a:lnTo>
                <a:lnTo>
                  <a:pt x="1170236" y="531561"/>
                </a:lnTo>
                <a:lnTo>
                  <a:pt x="1159468" y="534916"/>
                </a:lnTo>
                <a:lnTo>
                  <a:pt x="1145891" y="537483"/>
                </a:lnTo>
                <a:lnTo>
                  <a:pt x="1136284" y="538335"/>
                </a:lnTo>
                <a:lnTo>
                  <a:pt x="1133412" y="538888"/>
                </a:lnTo>
                <a:lnTo>
                  <a:pt x="1124945" y="539057"/>
                </a:lnTo>
                <a:lnTo>
                  <a:pt x="1120807" y="538525"/>
                </a:lnTo>
                <a:lnTo>
                  <a:pt x="1117702" y="538227"/>
                </a:lnTo>
                <a:lnTo>
                  <a:pt x="1116457" y="539012"/>
                </a:lnTo>
                <a:lnTo>
                  <a:pt x="1116456" y="539015"/>
                </a:lnTo>
                <a:lnTo>
                  <a:pt x="1117702" y="538229"/>
                </a:lnTo>
                <a:lnTo>
                  <a:pt x="1120807" y="538528"/>
                </a:lnTo>
                <a:lnTo>
                  <a:pt x="1124945" y="539059"/>
                </a:lnTo>
                <a:lnTo>
                  <a:pt x="1133412" y="538892"/>
                </a:lnTo>
                <a:lnTo>
                  <a:pt x="1136284" y="538336"/>
                </a:lnTo>
                <a:lnTo>
                  <a:pt x="1145890" y="537487"/>
                </a:lnTo>
                <a:lnTo>
                  <a:pt x="1159467" y="534917"/>
                </a:lnTo>
                <a:lnTo>
                  <a:pt x="1170236" y="531564"/>
                </a:lnTo>
                <a:lnTo>
                  <a:pt x="1178808" y="528912"/>
                </a:lnTo>
                <a:lnTo>
                  <a:pt x="1187993" y="521929"/>
                </a:lnTo>
                <a:lnTo>
                  <a:pt x="1194729" y="514563"/>
                </a:lnTo>
                <a:lnTo>
                  <a:pt x="1201718" y="503569"/>
                </a:lnTo>
                <a:lnTo>
                  <a:pt x="1207271" y="494018"/>
                </a:lnTo>
                <a:lnTo>
                  <a:pt x="1218525" y="488055"/>
                </a:lnTo>
                <a:lnTo>
                  <a:pt x="1227921" y="484425"/>
                </a:lnTo>
                <a:lnTo>
                  <a:pt x="1233305" y="483005"/>
                </a:lnTo>
                <a:lnTo>
                  <a:pt x="1245509" y="477952"/>
                </a:lnTo>
                <a:lnTo>
                  <a:pt x="1255834" y="470313"/>
                </a:lnTo>
                <a:lnTo>
                  <a:pt x="1265526" y="463138"/>
                </a:lnTo>
                <a:lnTo>
                  <a:pt x="1272937" y="462183"/>
                </a:lnTo>
                <a:lnTo>
                  <a:pt x="1282312" y="460995"/>
                </a:lnTo>
                <a:lnTo>
                  <a:pt x="1284403" y="459659"/>
                </a:lnTo>
                <a:lnTo>
                  <a:pt x="1286767" y="457111"/>
                </a:lnTo>
                <a:close/>
                <a:moveTo>
                  <a:pt x="3599453" y="441215"/>
                </a:moveTo>
                <a:lnTo>
                  <a:pt x="3599453" y="441216"/>
                </a:lnTo>
                <a:lnTo>
                  <a:pt x="3599980" y="442319"/>
                </a:lnTo>
                <a:lnTo>
                  <a:pt x="3601753" y="448006"/>
                </a:lnTo>
                <a:lnTo>
                  <a:pt x="3600672" y="451351"/>
                </a:lnTo>
                <a:lnTo>
                  <a:pt x="3601754" y="448005"/>
                </a:lnTo>
                <a:lnTo>
                  <a:pt x="3599981" y="442316"/>
                </a:lnTo>
                <a:close/>
                <a:moveTo>
                  <a:pt x="3600762" y="434635"/>
                </a:moveTo>
                <a:lnTo>
                  <a:pt x="3600762" y="434638"/>
                </a:lnTo>
                <a:lnTo>
                  <a:pt x="3600803" y="434679"/>
                </a:lnTo>
                <a:lnTo>
                  <a:pt x="3600804" y="434676"/>
                </a:lnTo>
                <a:close/>
                <a:moveTo>
                  <a:pt x="1277139" y="432084"/>
                </a:moveTo>
                <a:lnTo>
                  <a:pt x="1275598" y="435777"/>
                </a:lnTo>
                <a:lnTo>
                  <a:pt x="1275239" y="439469"/>
                </a:lnTo>
                <a:lnTo>
                  <a:pt x="1274792" y="441952"/>
                </a:lnTo>
                <a:lnTo>
                  <a:pt x="1275239" y="439473"/>
                </a:lnTo>
                <a:lnTo>
                  <a:pt x="1275598" y="435779"/>
                </a:lnTo>
                <a:lnTo>
                  <a:pt x="1277139" y="432087"/>
                </a:lnTo>
                <a:close/>
                <a:moveTo>
                  <a:pt x="3537206" y="432047"/>
                </a:moveTo>
                <a:lnTo>
                  <a:pt x="3537101" y="436885"/>
                </a:lnTo>
                <a:lnTo>
                  <a:pt x="3537101" y="436883"/>
                </a:lnTo>
                <a:lnTo>
                  <a:pt x="3530999" y="442743"/>
                </a:lnTo>
                <a:lnTo>
                  <a:pt x="3537101" y="436886"/>
                </a:lnTo>
                <a:close/>
                <a:moveTo>
                  <a:pt x="3547510" y="419609"/>
                </a:moveTo>
                <a:lnTo>
                  <a:pt x="3547593" y="420713"/>
                </a:lnTo>
                <a:lnTo>
                  <a:pt x="3547595" y="420711"/>
                </a:lnTo>
                <a:lnTo>
                  <a:pt x="3547511" y="419609"/>
                </a:lnTo>
                <a:close/>
                <a:moveTo>
                  <a:pt x="3718258" y="415281"/>
                </a:moveTo>
                <a:lnTo>
                  <a:pt x="3707011" y="418590"/>
                </a:lnTo>
                <a:lnTo>
                  <a:pt x="3691766" y="423089"/>
                </a:lnTo>
                <a:lnTo>
                  <a:pt x="3691778" y="423103"/>
                </a:lnTo>
                <a:lnTo>
                  <a:pt x="3706904" y="418632"/>
                </a:lnTo>
                <a:close/>
                <a:moveTo>
                  <a:pt x="2112374" y="408245"/>
                </a:moveTo>
                <a:lnTo>
                  <a:pt x="2112328" y="408254"/>
                </a:lnTo>
                <a:lnTo>
                  <a:pt x="2110470" y="409632"/>
                </a:lnTo>
                <a:lnTo>
                  <a:pt x="2105803" y="416594"/>
                </a:lnTo>
                <a:lnTo>
                  <a:pt x="2103650" y="419310"/>
                </a:lnTo>
                <a:lnTo>
                  <a:pt x="2100989" y="425020"/>
                </a:lnTo>
                <a:lnTo>
                  <a:pt x="2104409" y="439793"/>
                </a:lnTo>
                <a:lnTo>
                  <a:pt x="2108591" y="454947"/>
                </a:lnTo>
                <a:lnTo>
                  <a:pt x="2109414" y="461249"/>
                </a:lnTo>
                <a:lnTo>
                  <a:pt x="2109350" y="466492"/>
                </a:lnTo>
                <a:lnTo>
                  <a:pt x="2107007" y="472138"/>
                </a:lnTo>
                <a:lnTo>
                  <a:pt x="2101644" y="480202"/>
                </a:lnTo>
                <a:lnTo>
                  <a:pt x="2097716" y="486124"/>
                </a:lnTo>
                <a:lnTo>
                  <a:pt x="2090179" y="496758"/>
                </a:lnTo>
                <a:lnTo>
                  <a:pt x="2087962" y="499389"/>
                </a:lnTo>
                <a:lnTo>
                  <a:pt x="2082767" y="502488"/>
                </a:lnTo>
                <a:lnTo>
                  <a:pt x="2072738" y="506585"/>
                </a:lnTo>
                <a:lnTo>
                  <a:pt x="2065736" y="510177"/>
                </a:lnTo>
                <a:lnTo>
                  <a:pt x="2065748" y="510233"/>
                </a:lnTo>
                <a:lnTo>
                  <a:pt x="2065749" y="510232"/>
                </a:lnTo>
                <a:lnTo>
                  <a:pt x="2072823" y="506603"/>
                </a:lnTo>
                <a:lnTo>
                  <a:pt x="2082853" y="502486"/>
                </a:lnTo>
                <a:lnTo>
                  <a:pt x="2088047" y="499386"/>
                </a:lnTo>
                <a:lnTo>
                  <a:pt x="2090264" y="496776"/>
                </a:lnTo>
                <a:lnTo>
                  <a:pt x="2097801" y="486122"/>
                </a:lnTo>
                <a:lnTo>
                  <a:pt x="2101729" y="480222"/>
                </a:lnTo>
                <a:lnTo>
                  <a:pt x="2107092" y="472133"/>
                </a:lnTo>
                <a:lnTo>
                  <a:pt x="2109436" y="466490"/>
                </a:lnTo>
                <a:lnTo>
                  <a:pt x="2109499" y="461268"/>
                </a:lnTo>
                <a:lnTo>
                  <a:pt x="2108675" y="454942"/>
                </a:lnTo>
                <a:lnTo>
                  <a:pt x="2104495" y="439788"/>
                </a:lnTo>
                <a:lnTo>
                  <a:pt x="2101075" y="425017"/>
                </a:lnTo>
                <a:lnTo>
                  <a:pt x="2103735" y="419307"/>
                </a:lnTo>
                <a:lnTo>
                  <a:pt x="2105868" y="416589"/>
                </a:lnTo>
                <a:lnTo>
                  <a:pt x="2110534" y="409628"/>
                </a:lnTo>
                <a:close/>
                <a:moveTo>
                  <a:pt x="3587769" y="405095"/>
                </a:moveTo>
                <a:lnTo>
                  <a:pt x="3584799" y="406173"/>
                </a:lnTo>
                <a:lnTo>
                  <a:pt x="3577768" y="410440"/>
                </a:lnTo>
                <a:lnTo>
                  <a:pt x="3572806" y="415384"/>
                </a:lnTo>
                <a:lnTo>
                  <a:pt x="3571518" y="419948"/>
                </a:lnTo>
                <a:lnTo>
                  <a:pt x="3568161" y="429669"/>
                </a:lnTo>
                <a:lnTo>
                  <a:pt x="3568163" y="429678"/>
                </a:lnTo>
                <a:lnTo>
                  <a:pt x="3571518" y="419966"/>
                </a:lnTo>
                <a:lnTo>
                  <a:pt x="3572805" y="415404"/>
                </a:lnTo>
                <a:lnTo>
                  <a:pt x="3577768" y="410479"/>
                </a:lnTo>
                <a:lnTo>
                  <a:pt x="3584799" y="406212"/>
                </a:lnTo>
                <a:lnTo>
                  <a:pt x="3587776" y="405131"/>
                </a:lnTo>
                <a:close/>
                <a:moveTo>
                  <a:pt x="3573648" y="397918"/>
                </a:moveTo>
                <a:lnTo>
                  <a:pt x="3572974" y="398723"/>
                </a:lnTo>
                <a:lnTo>
                  <a:pt x="3572976" y="398730"/>
                </a:lnTo>
                <a:close/>
                <a:moveTo>
                  <a:pt x="1324927" y="395170"/>
                </a:moveTo>
                <a:lnTo>
                  <a:pt x="1324605" y="396428"/>
                </a:lnTo>
                <a:lnTo>
                  <a:pt x="1322873" y="399209"/>
                </a:lnTo>
                <a:lnTo>
                  <a:pt x="1297853" y="408249"/>
                </a:lnTo>
                <a:lnTo>
                  <a:pt x="1288077" y="409502"/>
                </a:lnTo>
                <a:lnTo>
                  <a:pt x="1282418" y="408566"/>
                </a:lnTo>
                <a:lnTo>
                  <a:pt x="1278385" y="409309"/>
                </a:lnTo>
                <a:lnTo>
                  <a:pt x="1274922" y="411241"/>
                </a:lnTo>
                <a:lnTo>
                  <a:pt x="1273802" y="413995"/>
                </a:lnTo>
                <a:lnTo>
                  <a:pt x="1274922" y="411244"/>
                </a:lnTo>
                <a:lnTo>
                  <a:pt x="1278384" y="409313"/>
                </a:lnTo>
                <a:lnTo>
                  <a:pt x="1282418" y="408570"/>
                </a:lnTo>
                <a:lnTo>
                  <a:pt x="1288076" y="409503"/>
                </a:lnTo>
                <a:lnTo>
                  <a:pt x="1297853" y="408250"/>
                </a:lnTo>
                <a:lnTo>
                  <a:pt x="1322873" y="399209"/>
                </a:lnTo>
                <a:lnTo>
                  <a:pt x="1324605" y="396429"/>
                </a:lnTo>
                <a:close/>
                <a:moveTo>
                  <a:pt x="3810484" y="388014"/>
                </a:moveTo>
                <a:lnTo>
                  <a:pt x="3799092" y="391380"/>
                </a:lnTo>
                <a:lnTo>
                  <a:pt x="3775739" y="398299"/>
                </a:lnTo>
                <a:lnTo>
                  <a:pt x="3760093" y="402925"/>
                </a:lnTo>
                <a:lnTo>
                  <a:pt x="3740076" y="408827"/>
                </a:lnTo>
                <a:lnTo>
                  <a:pt x="3727028" y="412693"/>
                </a:lnTo>
                <a:lnTo>
                  <a:pt x="3739991" y="408868"/>
                </a:lnTo>
                <a:lnTo>
                  <a:pt x="3759987" y="402969"/>
                </a:lnTo>
                <a:lnTo>
                  <a:pt x="3775633" y="398341"/>
                </a:lnTo>
                <a:lnTo>
                  <a:pt x="3798985" y="391421"/>
                </a:lnTo>
                <a:lnTo>
                  <a:pt x="3810408" y="388047"/>
                </a:lnTo>
                <a:close/>
                <a:moveTo>
                  <a:pt x="1429037" y="380154"/>
                </a:moveTo>
                <a:lnTo>
                  <a:pt x="1426103" y="381425"/>
                </a:lnTo>
                <a:lnTo>
                  <a:pt x="1414152" y="381001"/>
                </a:lnTo>
                <a:lnTo>
                  <a:pt x="1404778" y="380683"/>
                </a:lnTo>
                <a:lnTo>
                  <a:pt x="1394008" y="380323"/>
                </a:lnTo>
                <a:lnTo>
                  <a:pt x="1404777" y="380683"/>
                </a:lnTo>
                <a:lnTo>
                  <a:pt x="1414152" y="381002"/>
                </a:lnTo>
                <a:lnTo>
                  <a:pt x="1426103" y="381427"/>
                </a:lnTo>
                <a:close/>
                <a:moveTo>
                  <a:pt x="3821371" y="378938"/>
                </a:moveTo>
                <a:lnTo>
                  <a:pt x="3821367" y="378943"/>
                </a:lnTo>
                <a:lnTo>
                  <a:pt x="3821333" y="378974"/>
                </a:lnTo>
                <a:lnTo>
                  <a:pt x="3834479" y="381255"/>
                </a:lnTo>
                <a:lnTo>
                  <a:pt x="3854348" y="384714"/>
                </a:lnTo>
                <a:lnTo>
                  <a:pt x="3873541" y="388024"/>
                </a:lnTo>
                <a:lnTo>
                  <a:pt x="3893769" y="391951"/>
                </a:lnTo>
                <a:lnTo>
                  <a:pt x="3900251" y="395135"/>
                </a:lnTo>
                <a:lnTo>
                  <a:pt x="3919782" y="406850"/>
                </a:lnTo>
                <a:lnTo>
                  <a:pt x="3932472" y="414449"/>
                </a:lnTo>
                <a:lnTo>
                  <a:pt x="3947294" y="423298"/>
                </a:lnTo>
                <a:lnTo>
                  <a:pt x="3965812" y="434358"/>
                </a:lnTo>
                <a:lnTo>
                  <a:pt x="3978523" y="441934"/>
                </a:lnTo>
                <a:lnTo>
                  <a:pt x="3994802" y="451634"/>
                </a:lnTo>
                <a:lnTo>
                  <a:pt x="4007493" y="462691"/>
                </a:lnTo>
                <a:lnTo>
                  <a:pt x="4023560" y="476678"/>
                </a:lnTo>
                <a:lnTo>
                  <a:pt x="4041213" y="492003"/>
                </a:lnTo>
                <a:lnTo>
                  <a:pt x="4055739" y="503888"/>
                </a:lnTo>
                <a:lnTo>
                  <a:pt x="4075756" y="520231"/>
                </a:lnTo>
                <a:lnTo>
                  <a:pt x="4095477" y="536297"/>
                </a:lnTo>
                <a:lnTo>
                  <a:pt x="4114797" y="551981"/>
                </a:lnTo>
                <a:lnTo>
                  <a:pt x="4130253" y="564525"/>
                </a:lnTo>
                <a:lnTo>
                  <a:pt x="4149826" y="580359"/>
                </a:lnTo>
                <a:lnTo>
                  <a:pt x="4151347" y="580955"/>
                </a:lnTo>
                <a:lnTo>
                  <a:pt x="4171131" y="582737"/>
                </a:lnTo>
                <a:lnTo>
                  <a:pt x="4197714" y="585158"/>
                </a:lnTo>
                <a:lnTo>
                  <a:pt x="4224424" y="587576"/>
                </a:lnTo>
                <a:lnTo>
                  <a:pt x="4248537" y="589762"/>
                </a:lnTo>
                <a:lnTo>
                  <a:pt x="4248647" y="589739"/>
                </a:lnTo>
                <a:lnTo>
                  <a:pt x="4224573" y="587555"/>
                </a:lnTo>
                <a:lnTo>
                  <a:pt x="4197863" y="585113"/>
                </a:lnTo>
                <a:lnTo>
                  <a:pt x="4171279" y="582715"/>
                </a:lnTo>
                <a:lnTo>
                  <a:pt x="4151495" y="580909"/>
                </a:lnTo>
                <a:lnTo>
                  <a:pt x="4149975" y="580314"/>
                </a:lnTo>
                <a:lnTo>
                  <a:pt x="4130401" y="564481"/>
                </a:lnTo>
                <a:lnTo>
                  <a:pt x="4114945" y="551938"/>
                </a:lnTo>
                <a:lnTo>
                  <a:pt x="4095625" y="536253"/>
                </a:lnTo>
                <a:lnTo>
                  <a:pt x="4075904" y="520186"/>
                </a:lnTo>
                <a:lnTo>
                  <a:pt x="4055888" y="503865"/>
                </a:lnTo>
                <a:lnTo>
                  <a:pt x="4041339" y="491980"/>
                </a:lnTo>
                <a:lnTo>
                  <a:pt x="4023688" y="476654"/>
                </a:lnTo>
                <a:lnTo>
                  <a:pt x="4007619" y="462668"/>
                </a:lnTo>
                <a:lnTo>
                  <a:pt x="3994930" y="451590"/>
                </a:lnTo>
                <a:lnTo>
                  <a:pt x="3978650" y="441911"/>
                </a:lnTo>
                <a:lnTo>
                  <a:pt x="3965940" y="434314"/>
                </a:lnTo>
                <a:lnTo>
                  <a:pt x="3947401" y="423255"/>
                </a:lnTo>
                <a:lnTo>
                  <a:pt x="3932600" y="414404"/>
                </a:lnTo>
                <a:lnTo>
                  <a:pt x="3919909" y="406806"/>
                </a:lnTo>
                <a:lnTo>
                  <a:pt x="3900378" y="395091"/>
                </a:lnTo>
                <a:lnTo>
                  <a:pt x="3893896" y="391907"/>
                </a:lnTo>
                <a:lnTo>
                  <a:pt x="3873647" y="387979"/>
                </a:lnTo>
                <a:lnTo>
                  <a:pt x="3854454" y="384669"/>
                </a:lnTo>
                <a:lnTo>
                  <a:pt x="3834585" y="381231"/>
                </a:lnTo>
                <a:close/>
                <a:moveTo>
                  <a:pt x="1356594" y="378558"/>
                </a:moveTo>
                <a:lnTo>
                  <a:pt x="1352160" y="378857"/>
                </a:lnTo>
                <a:lnTo>
                  <a:pt x="1340356" y="380936"/>
                </a:lnTo>
                <a:lnTo>
                  <a:pt x="1332016" y="382420"/>
                </a:lnTo>
                <a:lnTo>
                  <a:pt x="1330602" y="382823"/>
                </a:lnTo>
                <a:lnTo>
                  <a:pt x="1330601" y="382824"/>
                </a:lnTo>
                <a:lnTo>
                  <a:pt x="1332016" y="382421"/>
                </a:lnTo>
                <a:lnTo>
                  <a:pt x="1340356" y="380937"/>
                </a:lnTo>
                <a:lnTo>
                  <a:pt x="1352160" y="378857"/>
                </a:lnTo>
                <a:lnTo>
                  <a:pt x="1356594" y="378559"/>
                </a:lnTo>
                <a:lnTo>
                  <a:pt x="1369473" y="379154"/>
                </a:lnTo>
                <a:lnTo>
                  <a:pt x="1378848" y="379599"/>
                </a:lnTo>
                <a:lnTo>
                  <a:pt x="1369473" y="379153"/>
                </a:lnTo>
                <a:close/>
                <a:moveTo>
                  <a:pt x="2016150" y="365861"/>
                </a:moveTo>
                <a:lnTo>
                  <a:pt x="2016214" y="365912"/>
                </a:lnTo>
                <a:lnTo>
                  <a:pt x="2025758" y="372810"/>
                </a:lnTo>
                <a:lnTo>
                  <a:pt x="2036045" y="380222"/>
                </a:lnTo>
                <a:lnTo>
                  <a:pt x="2036041" y="380216"/>
                </a:lnTo>
                <a:lnTo>
                  <a:pt x="2025673" y="372745"/>
                </a:lnTo>
                <a:close/>
                <a:moveTo>
                  <a:pt x="1429146" y="363104"/>
                </a:moveTo>
                <a:lnTo>
                  <a:pt x="1428193" y="364000"/>
                </a:lnTo>
                <a:lnTo>
                  <a:pt x="1427943" y="364896"/>
                </a:lnTo>
                <a:lnTo>
                  <a:pt x="1428193" y="364001"/>
                </a:lnTo>
                <a:close/>
                <a:moveTo>
                  <a:pt x="2181274" y="359866"/>
                </a:moveTo>
                <a:lnTo>
                  <a:pt x="2174721" y="363470"/>
                </a:lnTo>
                <a:lnTo>
                  <a:pt x="2163467" y="369666"/>
                </a:lnTo>
                <a:lnTo>
                  <a:pt x="2153796" y="375547"/>
                </a:lnTo>
                <a:lnTo>
                  <a:pt x="2143197" y="382000"/>
                </a:lnTo>
                <a:lnTo>
                  <a:pt x="2139946" y="386159"/>
                </a:lnTo>
                <a:lnTo>
                  <a:pt x="2134688" y="389364"/>
                </a:lnTo>
                <a:lnTo>
                  <a:pt x="2130296" y="392568"/>
                </a:lnTo>
                <a:lnTo>
                  <a:pt x="2129494" y="395646"/>
                </a:lnTo>
                <a:lnTo>
                  <a:pt x="2126411" y="401440"/>
                </a:lnTo>
                <a:lnTo>
                  <a:pt x="2122399" y="406069"/>
                </a:lnTo>
                <a:lnTo>
                  <a:pt x="2117578" y="407114"/>
                </a:lnTo>
                <a:lnTo>
                  <a:pt x="2122463" y="406064"/>
                </a:lnTo>
                <a:lnTo>
                  <a:pt x="2126475" y="401437"/>
                </a:lnTo>
                <a:lnTo>
                  <a:pt x="2129558" y="395623"/>
                </a:lnTo>
                <a:lnTo>
                  <a:pt x="2130339" y="392565"/>
                </a:lnTo>
                <a:lnTo>
                  <a:pt x="2134731" y="389361"/>
                </a:lnTo>
                <a:lnTo>
                  <a:pt x="2139988" y="386156"/>
                </a:lnTo>
                <a:lnTo>
                  <a:pt x="2143219" y="381995"/>
                </a:lnTo>
                <a:lnTo>
                  <a:pt x="2153818" y="375542"/>
                </a:lnTo>
                <a:lnTo>
                  <a:pt x="2163489" y="369664"/>
                </a:lnTo>
                <a:lnTo>
                  <a:pt x="2174743" y="363467"/>
                </a:lnTo>
                <a:close/>
                <a:moveTo>
                  <a:pt x="3811655" y="354536"/>
                </a:moveTo>
                <a:lnTo>
                  <a:pt x="3815202" y="366230"/>
                </a:lnTo>
                <a:lnTo>
                  <a:pt x="3821051" y="364448"/>
                </a:lnTo>
                <a:lnTo>
                  <a:pt x="3827407" y="363068"/>
                </a:lnTo>
                <a:lnTo>
                  <a:pt x="3830086" y="370578"/>
                </a:lnTo>
                <a:lnTo>
                  <a:pt x="3830088" y="370577"/>
                </a:lnTo>
                <a:lnTo>
                  <a:pt x="3827407" y="363065"/>
                </a:lnTo>
                <a:lnTo>
                  <a:pt x="3821051" y="364442"/>
                </a:lnTo>
                <a:lnTo>
                  <a:pt x="3815202" y="366222"/>
                </a:lnTo>
                <a:lnTo>
                  <a:pt x="3811657" y="354536"/>
                </a:lnTo>
                <a:close/>
                <a:moveTo>
                  <a:pt x="3587164" y="350184"/>
                </a:moveTo>
                <a:lnTo>
                  <a:pt x="3579562" y="355386"/>
                </a:lnTo>
                <a:lnTo>
                  <a:pt x="3576332" y="363958"/>
                </a:lnTo>
                <a:lnTo>
                  <a:pt x="3576330" y="363967"/>
                </a:lnTo>
                <a:lnTo>
                  <a:pt x="3579541" y="355444"/>
                </a:lnTo>
                <a:lnTo>
                  <a:pt x="3587121" y="350246"/>
                </a:lnTo>
                <a:lnTo>
                  <a:pt x="3593688" y="351754"/>
                </a:lnTo>
                <a:lnTo>
                  <a:pt x="3597150" y="352136"/>
                </a:lnTo>
                <a:lnTo>
                  <a:pt x="3598608" y="353153"/>
                </a:lnTo>
                <a:lnTo>
                  <a:pt x="3599558" y="356125"/>
                </a:lnTo>
                <a:lnTo>
                  <a:pt x="3604393" y="359561"/>
                </a:lnTo>
                <a:lnTo>
                  <a:pt x="3608362" y="360008"/>
                </a:lnTo>
                <a:lnTo>
                  <a:pt x="3609587" y="371067"/>
                </a:lnTo>
                <a:lnTo>
                  <a:pt x="3607370" y="380512"/>
                </a:lnTo>
                <a:lnTo>
                  <a:pt x="3607201" y="388704"/>
                </a:lnTo>
                <a:lnTo>
                  <a:pt x="3607201" y="388707"/>
                </a:lnTo>
                <a:lnTo>
                  <a:pt x="3608827" y="404029"/>
                </a:lnTo>
                <a:lnTo>
                  <a:pt x="3607185" y="407054"/>
                </a:lnTo>
                <a:lnTo>
                  <a:pt x="3608849" y="404007"/>
                </a:lnTo>
                <a:lnTo>
                  <a:pt x="3607202" y="388704"/>
                </a:lnTo>
                <a:lnTo>
                  <a:pt x="3607392" y="380427"/>
                </a:lnTo>
                <a:lnTo>
                  <a:pt x="3609609" y="371004"/>
                </a:lnTo>
                <a:lnTo>
                  <a:pt x="3608384" y="359947"/>
                </a:lnTo>
                <a:lnTo>
                  <a:pt x="3608384" y="359948"/>
                </a:lnTo>
                <a:lnTo>
                  <a:pt x="3604414" y="359502"/>
                </a:lnTo>
                <a:lnTo>
                  <a:pt x="3599580" y="356063"/>
                </a:lnTo>
                <a:lnTo>
                  <a:pt x="3598629" y="353093"/>
                </a:lnTo>
                <a:lnTo>
                  <a:pt x="3597172" y="352075"/>
                </a:lnTo>
                <a:lnTo>
                  <a:pt x="3593709" y="351693"/>
                </a:lnTo>
                <a:close/>
                <a:moveTo>
                  <a:pt x="3609551" y="343323"/>
                </a:moveTo>
                <a:lnTo>
                  <a:pt x="3609418" y="344157"/>
                </a:lnTo>
                <a:lnTo>
                  <a:pt x="3608525" y="357805"/>
                </a:lnTo>
                <a:lnTo>
                  <a:pt x="3609419" y="344156"/>
                </a:lnTo>
                <a:close/>
                <a:moveTo>
                  <a:pt x="2180423" y="342561"/>
                </a:moveTo>
                <a:lnTo>
                  <a:pt x="2180423" y="342565"/>
                </a:lnTo>
                <a:lnTo>
                  <a:pt x="2185152" y="350841"/>
                </a:lnTo>
                <a:lnTo>
                  <a:pt x="2185278" y="354470"/>
                </a:lnTo>
                <a:lnTo>
                  <a:pt x="2184896" y="355346"/>
                </a:lnTo>
                <a:lnTo>
                  <a:pt x="2185278" y="354470"/>
                </a:lnTo>
                <a:lnTo>
                  <a:pt x="2185278" y="354470"/>
                </a:lnTo>
                <a:lnTo>
                  <a:pt x="2185279" y="354469"/>
                </a:lnTo>
                <a:lnTo>
                  <a:pt x="2185152" y="350839"/>
                </a:lnTo>
                <a:close/>
                <a:moveTo>
                  <a:pt x="3632391" y="340864"/>
                </a:moveTo>
                <a:lnTo>
                  <a:pt x="3638494" y="350225"/>
                </a:lnTo>
                <a:lnTo>
                  <a:pt x="3647995" y="352943"/>
                </a:lnTo>
                <a:lnTo>
                  <a:pt x="3651368" y="355282"/>
                </a:lnTo>
                <a:lnTo>
                  <a:pt x="3647995" y="352940"/>
                </a:lnTo>
                <a:lnTo>
                  <a:pt x="3638493" y="350223"/>
                </a:lnTo>
                <a:close/>
                <a:moveTo>
                  <a:pt x="3627155" y="311089"/>
                </a:moveTo>
                <a:lnTo>
                  <a:pt x="3627155" y="311090"/>
                </a:lnTo>
                <a:lnTo>
                  <a:pt x="3627366" y="314570"/>
                </a:lnTo>
                <a:lnTo>
                  <a:pt x="3627978" y="317500"/>
                </a:lnTo>
                <a:lnTo>
                  <a:pt x="3629835" y="320915"/>
                </a:lnTo>
                <a:lnTo>
                  <a:pt x="3629836" y="320913"/>
                </a:lnTo>
                <a:lnTo>
                  <a:pt x="3627978" y="317495"/>
                </a:lnTo>
                <a:lnTo>
                  <a:pt x="3627366" y="314566"/>
                </a:lnTo>
                <a:close/>
                <a:moveTo>
                  <a:pt x="3625318" y="297652"/>
                </a:moveTo>
                <a:lnTo>
                  <a:pt x="3625318" y="297654"/>
                </a:lnTo>
                <a:lnTo>
                  <a:pt x="3626605" y="299692"/>
                </a:lnTo>
                <a:lnTo>
                  <a:pt x="3628359" y="303725"/>
                </a:lnTo>
                <a:lnTo>
                  <a:pt x="3629434" y="307754"/>
                </a:lnTo>
                <a:lnTo>
                  <a:pt x="3629435" y="307752"/>
                </a:lnTo>
                <a:lnTo>
                  <a:pt x="3628359" y="303720"/>
                </a:lnTo>
                <a:lnTo>
                  <a:pt x="3626605" y="299687"/>
                </a:lnTo>
                <a:close/>
                <a:moveTo>
                  <a:pt x="3799324" y="290988"/>
                </a:moveTo>
                <a:lnTo>
                  <a:pt x="3784037" y="300603"/>
                </a:lnTo>
                <a:lnTo>
                  <a:pt x="3768559" y="310343"/>
                </a:lnTo>
                <a:lnTo>
                  <a:pt x="3756778" y="317710"/>
                </a:lnTo>
                <a:lnTo>
                  <a:pt x="3738915" y="329361"/>
                </a:lnTo>
                <a:lnTo>
                  <a:pt x="3728442" y="336196"/>
                </a:lnTo>
                <a:lnTo>
                  <a:pt x="3713049" y="346213"/>
                </a:lnTo>
                <a:lnTo>
                  <a:pt x="3699494" y="355021"/>
                </a:lnTo>
                <a:lnTo>
                  <a:pt x="3683467" y="365421"/>
                </a:lnTo>
                <a:lnTo>
                  <a:pt x="3663366" y="362345"/>
                </a:lnTo>
                <a:lnTo>
                  <a:pt x="3657011" y="360539"/>
                </a:lnTo>
                <a:lnTo>
                  <a:pt x="3653959" y="357634"/>
                </a:lnTo>
                <a:lnTo>
                  <a:pt x="3657011" y="360540"/>
                </a:lnTo>
                <a:lnTo>
                  <a:pt x="3663366" y="362345"/>
                </a:lnTo>
                <a:lnTo>
                  <a:pt x="3683468" y="365423"/>
                </a:lnTo>
                <a:lnTo>
                  <a:pt x="3699494" y="355024"/>
                </a:lnTo>
                <a:lnTo>
                  <a:pt x="3713050" y="346216"/>
                </a:lnTo>
                <a:lnTo>
                  <a:pt x="3728442" y="336197"/>
                </a:lnTo>
                <a:lnTo>
                  <a:pt x="3738915" y="329364"/>
                </a:lnTo>
                <a:lnTo>
                  <a:pt x="3756778" y="317710"/>
                </a:lnTo>
                <a:lnTo>
                  <a:pt x="3768560" y="310345"/>
                </a:lnTo>
                <a:lnTo>
                  <a:pt x="3784037" y="300604"/>
                </a:lnTo>
                <a:lnTo>
                  <a:pt x="3799324" y="290990"/>
                </a:lnTo>
                <a:lnTo>
                  <a:pt x="3803568" y="306674"/>
                </a:lnTo>
                <a:lnTo>
                  <a:pt x="3807706" y="321978"/>
                </a:lnTo>
                <a:lnTo>
                  <a:pt x="3811992" y="337766"/>
                </a:lnTo>
                <a:lnTo>
                  <a:pt x="3816171" y="353064"/>
                </a:lnTo>
                <a:lnTo>
                  <a:pt x="3816173" y="353063"/>
                </a:lnTo>
                <a:lnTo>
                  <a:pt x="3811992" y="337761"/>
                </a:lnTo>
                <a:lnTo>
                  <a:pt x="3807706" y="321971"/>
                </a:lnTo>
                <a:lnTo>
                  <a:pt x="3803568" y="306667"/>
                </a:lnTo>
                <a:lnTo>
                  <a:pt x="3799325" y="290988"/>
                </a:lnTo>
                <a:close/>
                <a:moveTo>
                  <a:pt x="3632668" y="279820"/>
                </a:moveTo>
                <a:lnTo>
                  <a:pt x="3630618" y="281878"/>
                </a:lnTo>
                <a:lnTo>
                  <a:pt x="3629921" y="284363"/>
                </a:lnTo>
                <a:lnTo>
                  <a:pt x="3629245" y="284958"/>
                </a:lnTo>
                <a:lnTo>
                  <a:pt x="3629921" y="284364"/>
                </a:lnTo>
                <a:lnTo>
                  <a:pt x="3630618" y="281881"/>
                </a:lnTo>
                <a:close/>
                <a:moveTo>
                  <a:pt x="3631546" y="269972"/>
                </a:moveTo>
                <a:lnTo>
                  <a:pt x="3633299" y="273135"/>
                </a:lnTo>
                <a:lnTo>
                  <a:pt x="3635614" y="274421"/>
                </a:lnTo>
                <a:lnTo>
                  <a:pt x="3633300" y="273135"/>
                </a:lnTo>
                <a:close/>
                <a:moveTo>
                  <a:pt x="3639227" y="259222"/>
                </a:moveTo>
                <a:lnTo>
                  <a:pt x="3636086" y="261673"/>
                </a:lnTo>
                <a:lnTo>
                  <a:pt x="3634144" y="263923"/>
                </a:lnTo>
                <a:lnTo>
                  <a:pt x="3633109" y="265367"/>
                </a:lnTo>
                <a:lnTo>
                  <a:pt x="3631620" y="269755"/>
                </a:lnTo>
                <a:lnTo>
                  <a:pt x="3633110" y="265367"/>
                </a:lnTo>
                <a:lnTo>
                  <a:pt x="3634144" y="263925"/>
                </a:lnTo>
                <a:lnTo>
                  <a:pt x="3636086" y="261674"/>
                </a:lnTo>
                <a:close/>
                <a:moveTo>
                  <a:pt x="3646770" y="257704"/>
                </a:moveTo>
                <a:lnTo>
                  <a:pt x="3643836" y="257725"/>
                </a:lnTo>
                <a:lnTo>
                  <a:pt x="3641650" y="258081"/>
                </a:lnTo>
                <a:lnTo>
                  <a:pt x="3643836" y="257726"/>
                </a:lnTo>
                <a:lnTo>
                  <a:pt x="3646771" y="257705"/>
                </a:lnTo>
                <a:lnTo>
                  <a:pt x="3651754" y="258003"/>
                </a:lnTo>
                <a:lnTo>
                  <a:pt x="3652526" y="258126"/>
                </a:lnTo>
                <a:lnTo>
                  <a:pt x="3651753" y="258002"/>
                </a:lnTo>
                <a:close/>
                <a:moveTo>
                  <a:pt x="2148877" y="253889"/>
                </a:moveTo>
                <a:lnTo>
                  <a:pt x="2154557" y="258876"/>
                </a:lnTo>
                <a:lnTo>
                  <a:pt x="2155486" y="260192"/>
                </a:lnTo>
                <a:lnTo>
                  <a:pt x="2155719" y="261613"/>
                </a:lnTo>
                <a:lnTo>
                  <a:pt x="2153079" y="264394"/>
                </a:lnTo>
                <a:lnTo>
                  <a:pt x="2151010" y="266092"/>
                </a:lnTo>
                <a:lnTo>
                  <a:pt x="2151010" y="266094"/>
                </a:lnTo>
                <a:lnTo>
                  <a:pt x="2149447" y="266433"/>
                </a:lnTo>
                <a:lnTo>
                  <a:pt x="2146576" y="268365"/>
                </a:lnTo>
                <a:lnTo>
                  <a:pt x="2145055" y="268579"/>
                </a:lnTo>
                <a:lnTo>
                  <a:pt x="2140748" y="266391"/>
                </a:lnTo>
                <a:lnTo>
                  <a:pt x="2139101" y="266412"/>
                </a:lnTo>
                <a:lnTo>
                  <a:pt x="2137032" y="264883"/>
                </a:lnTo>
                <a:lnTo>
                  <a:pt x="2137729" y="256564"/>
                </a:lnTo>
                <a:lnTo>
                  <a:pt x="2138404" y="254208"/>
                </a:lnTo>
                <a:close/>
                <a:moveTo>
                  <a:pt x="3651437" y="251595"/>
                </a:moveTo>
                <a:lnTo>
                  <a:pt x="3651436" y="251596"/>
                </a:lnTo>
                <a:lnTo>
                  <a:pt x="3651690" y="253824"/>
                </a:lnTo>
                <a:lnTo>
                  <a:pt x="3656462" y="256604"/>
                </a:lnTo>
                <a:lnTo>
                  <a:pt x="3656609" y="257727"/>
                </a:lnTo>
                <a:lnTo>
                  <a:pt x="3656610" y="257726"/>
                </a:lnTo>
                <a:lnTo>
                  <a:pt x="3656462" y="256603"/>
                </a:lnTo>
                <a:lnTo>
                  <a:pt x="3651690" y="253822"/>
                </a:lnTo>
                <a:close/>
                <a:moveTo>
                  <a:pt x="3654308" y="209424"/>
                </a:moveTo>
                <a:lnTo>
                  <a:pt x="3654519" y="210420"/>
                </a:lnTo>
                <a:lnTo>
                  <a:pt x="3657286" y="210739"/>
                </a:lnTo>
                <a:lnTo>
                  <a:pt x="3661973" y="212820"/>
                </a:lnTo>
                <a:lnTo>
                  <a:pt x="3664844" y="215261"/>
                </a:lnTo>
                <a:lnTo>
                  <a:pt x="3669637" y="230415"/>
                </a:lnTo>
                <a:lnTo>
                  <a:pt x="3669638" y="230413"/>
                </a:lnTo>
                <a:lnTo>
                  <a:pt x="3664845" y="215258"/>
                </a:lnTo>
                <a:lnTo>
                  <a:pt x="3661973" y="212817"/>
                </a:lnTo>
                <a:lnTo>
                  <a:pt x="3657286" y="210738"/>
                </a:lnTo>
                <a:lnTo>
                  <a:pt x="3654519" y="210419"/>
                </a:lnTo>
                <a:close/>
                <a:moveTo>
                  <a:pt x="2168641" y="187308"/>
                </a:moveTo>
                <a:lnTo>
                  <a:pt x="2170203" y="188623"/>
                </a:lnTo>
                <a:lnTo>
                  <a:pt x="2169991" y="192104"/>
                </a:lnTo>
                <a:lnTo>
                  <a:pt x="2160849" y="197304"/>
                </a:lnTo>
                <a:lnTo>
                  <a:pt x="2162601" y="192784"/>
                </a:lnTo>
                <a:close/>
                <a:moveTo>
                  <a:pt x="3945826" y="144035"/>
                </a:moveTo>
                <a:lnTo>
                  <a:pt x="3944085" y="153412"/>
                </a:lnTo>
                <a:lnTo>
                  <a:pt x="3943335" y="167711"/>
                </a:lnTo>
                <a:lnTo>
                  <a:pt x="3944086" y="153407"/>
                </a:lnTo>
                <a:close/>
                <a:moveTo>
                  <a:pt x="3945817" y="96060"/>
                </a:moveTo>
                <a:lnTo>
                  <a:pt x="3945817" y="96064"/>
                </a:lnTo>
                <a:lnTo>
                  <a:pt x="3949047" y="105933"/>
                </a:lnTo>
                <a:lnTo>
                  <a:pt x="3952152" y="115378"/>
                </a:lnTo>
                <a:lnTo>
                  <a:pt x="3952553" y="121617"/>
                </a:lnTo>
                <a:lnTo>
                  <a:pt x="3952553" y="121614"/>
                </a:lnTo>
                <a:lnTo>
                  <a:pt x="3952152" y="115374"/>
                </a:lnTo>
                <a:lnTo>
                  <a:pt x="3949047" y="105929"/>
                </a:lnTo>
                <a:close/>
                <a:moveTo>
                  <a:pt x="1185585" y="89528"/>
                </a:moveTo>
                <a:lnTo>
                  <a:pt x="1185395" y="90525"/>
                </a:lnTo>
                <a:lnTo>
                  <a:pt x="1185501" y="91248"/>
                </a:lnTo>
                <a:lnTo>
                  <a:pt x="1185353" y="93243"/>
                </a:lnTo>
                <a:lnTo>
                  <a:pt x="1184953" y="93200"/>
                </a:lnTo>
                <a:lnTo>
                  <a:pt x="1184277" y="92182"/>
                </a:lnTo>
                <a:lnTo>
                  <a:pt x="1184340" y="90804"/>
                </a:lnTo>
                <a:lnTo>
                  <a:pt x="1184995" y="90443"/>
                </a:lnTo>
                <a:lnTo>
                  <a:pt x="1184551" y="89594"/>
                </a:lnTo>
                <a:close/>
                <a:moveTo>
                  <a:pt x="4036421" y="0"/>
                </a:moveTo>
                <a:lnTo>
                  <a:pt x="4042015" y="2739"/>
                </a:lnTo>
                <a:lnTo>
                  <a:pt x="4046027" y="3502"/>
                </a:lnTo>
                <a:lnTo>
                  <a:pt x="4055254" y="319"/>
                </a:lnTo>
                <a:lnTo>
                  <a:pt x="4060744" y="1997"/>
                </a:lnTo>
                <a:lnTo>
                  <a:pt x="4065368" y="4119"/>
                </a:lnTo>
                <a:lnTo>
                  <a:pt x="4067944" y="4266"/>
                </a:lnTo>
                <a:lnTo>
                  <a:pt x="4080339" y="9487"/>
                </a:lnTo>
                <a:lnTo>
                  <a:pt x="4083442" y="10125"/>
                </a:lnTo>
                <a:lnTo>
                  <a:pt x="4089819" y="10762"/>
                </a:lnTo>
                <a:lnTo>
                  <a:pt x="4099341" y="11060"/>
                </a:lnTo>
                <a:lnTo>
                  <a:pt x="4105486" y="7644"/>
                </a:lnTo>
                <a:lnTo>
                  <a:pt x="4109815" y="4353"/>
                </a:lnTo>
                <a:lnTo>
                  <a:pt x="4112855" y="4438"/>
                </a:lnTo>
                <a:lnTo>
                  <a:pt x="4115811" y="5224"/>
                </a:lnTo>
                <a:lnTo>
                  <a:pt x="4118303" y="6625"/>
                </a:lnTo>
                <a:lnTo>
                  <a:pt x="4120393" y="9086"/>
                </a:lnTo>
                <a:lnTo>
                  <a:pt x="4121385" y="12609"/>
                </a:lnTo>
                <a:lnTo>
                  <a:pt x="4120984" y="23836"/>
                </a:lnTo>
                <a:lnTo>
                  <a:pt x="4121913" y="26786"/>
                </a:lnTo>
                <a:lnTo>
                  <a:pt x="4123603" y="28909"/>
                </a:lnTo>
                <a:lnTo>
                  <a:pt x="4125735" y="29313"/>
                </a:lnTo>
                <a:lnTo>
                  <a:pt x="4128332" y="26872"/>
                </a:lnTo>
                <a:lnTo>
                  <a:pt x="4132850" y="23327"/>
                </a:lnTo>
                <a:lnTo>
                  <a:pt x="4138425" y="19464"/>
                </a:lnTo>
                <a:lnTo>
                  <a:pt x="4142563" y="15920"/>
                </a:lnTo>
                <a:lnTo>
                  <a:pt x="4144949" y="14584"/>
                </a:lnTo>
                <a:lnTo>
                  <a:pt x="4148686" y="14773"/>
                </a:lnTo>
                <a:lnTo>
                  <a:pt x="4152339" y="15389"/>
                </a:lnTo>
                <a:lnTo>
                  <a:pt x="4154387" y="17089"/>
                </a:lnTo>
                <a:lnTo>
                  <a:pt x="4154387" y="17644"/>
                </a:lnTo>
                <a:lnTo>
                  <a:pt x="4156351" y="22928"/>
                </a:lnTo>
                <a:lnTo>
                  <a:pt x="4161229" y="42560"/>
                </a:lnTo>
                <a:lnTo>
                  <a:pt x="4164016" y="45043"/>
                </a:lnTo>
                <a:lnTo>
                  <a:pt x="4167183" y="47123"/>
                </a:lnTo>
                <a:lnTo>
                  <a:pt x="4169421" y="50030"/>
                </a:lnTo>
                <a:lnTo>
                  <a:pt x="4170308" y="52960"/>
                </a:lnTo>
                <a:lnTo>
                  <a:pt x="4170033" y="57502"/>
                </a:lnTo>
                <a:lnTo>
                  <a:pt x="4170139" y="62765"/>
                </a:lnTo>
                <a:lnTo>
                  <a:pt x="4171448" y="66798"/>
                </a:lnTo>
                <a:lnTo>
                  <a:pt x="4173263" y="69855"/>
                </a:lnTo>
                <a:lnTo>
                  <a:pt x="4174953" y="71383"/>
                </a:lnTo>
                <a:lnTo>
                  <a:pt x="4177487" y="71530"/>
                </a:lnTo>
                <a:lnTo>
                  <a:pt x="4180527" y="72274"/>
                </a:lnTo>
                <a:lnTo>
                  <a:pt x="4182575" y="75309"/>
                </a:lnTo>
                <a:lnTo>
                  <a:pt x="4189099" y="97445"/>
                </a:lnTo>
                <a:lnTo>
                  <a:pt x="4189712" y="100332"/>
                </a:lnTo>
                <a:lnTo>
                  <a:pt x="4192457" y="101266"/>
                </a:lnTo>
                <a:lnTo>
                  <a:pt x="4196955" y="100842"/>
                </a:lnTo>
                <a:lnTo>
                  <a:pt x="4201579" y="103133"/>
                </a:lnTo>
                <a:lnTo>
                  <a:pt x="4206520" y="106698"/>
                </a:lnTo>
                <a:lnTo>
                  <a:pt x="4211164" y="113426"/>
                </a:lnTo>
                <a:lnTo>
                  <a:pt x="4214289" y="114508"/>
                </a:lnTo>
                <a:lnTo>
                  <a:pt x="4224087" y="113511"/>
                </a:lnTo>
                <a:lnTo>
                  <a:pt x="4237474" y="114592"/>
                </a:lnTo>
                <a:lnTo>
                  <a:pt x="4243744" y="118052"/>
                </a:lnTo>
                <a:lnTo>
                  <a:pt x="4243111" y="120196"/>
                </a:lnTo>
                <a:lnTo>
                  <a:pt x="4238276" y="122574"/>
                </a:lnTo>
                <a:lnTo>
                  <a:pt x="4229766" y="125374"/>
                </a:lnTo>
                <a:lnTo>
                  <a:pt x="4227255" y="130108"/>
                </a:lnTo>
                <a:lnTo>
                  <a:pt x="4225839" y="136242"/>
                </a:lnTo>
                <a:lnTo>
                  <a:pt x="4226093" y="139680"/>
                </a:lnTo>
                <a:lnTo>
                  <a:pt x="4228183" y="143458"/>
                </a:lnTo>
                <a:lnTo>
                  <a:pt x="4234180" y="150972"/>
                </a:lnTo>
                <a:lnTo>
                  <a:pt x="4234517" y="153688"/>
                </a:lnTo>
                <a:lnTo>
                  <a:pt x="4235595" y="157466"/>
                </a:lnTo>
                <a:lnTo>
                  <a:pt x="4236713" y="160055"/>
                </a:lnTo>
                <a:lnTo>
                  <a:pt x="4235468" y="165043"/>
                </a:lnTo>
                <a:lnTo>
                  <a:pt x="4230020" y="168503"/>
                </a:lnTo>
                <a:lnTo>
                  <a:pt x="4222862" y="172237"/>
                </a:lnTo>
                <a:lnTo>
                  <a:pt x="4208483" y="188878"/>
                </a:lnTo>
                <a:lnTo>
                  <a:pt x="4207406" y="192464"/>
                </a:lnTo>
                <a:lnTo>
                  <a:pt x="4207491" y="202269"/>
                </a:lnTo>
                <a:lnTo>
                  <a:pt x="4206055" y="205071"/>
                </a:lnTo>
                <a:lnTo>
                  <a:pt x="4201515" y="205029"/>
                </a:lnTo>
                <a:lnTo>
                  <a:pt x="4197968" y="204519"/>
                </a:lnTo>
                <a:lnTo>
                  <a:pt x="4197778" y="207935"/>
                </a:lnTo>
                <a:lnTo>
                  <a:pt x="4195519" y="212519"/>
                </a:lnTo>
                <a:lnTo>
                  <a:pt x="4194231" y="216489"/>
                </a:lnTo>
                <a:lnTo>
                  <a:pt x="4199510" y="225849"/>
                </a:lnTo>
                <a:lnTo>
                  <a:pt x="4200460" y="230816"/>
                </a:lnTo>
                <a:lnTo>
                  <a:pt x="4199615" y="235336"/>
                </a:lnTo>
                <a:lnTo>
                  <a:pt x="4194716" y="243104"/>
                </a:lnTo>
                <a:lnTo>
                  <a:pt x="4191823" y="248326"/>
                </a:lnTo>
                <a:lnTo>
                  <a:pt x="4192520" y="249493"/>
                </a:lnTo>
                <a:lnTo>
                  <a:pt x="4196342" y="251573"/>
                </a:lnTo>
                <a:lnTo>
                  <a:pt x="4208209" y="268616"/>
                </a:lnTo>
                <a:lnTo>
                  <a:pt x="4212030" y="274601"/>
                </a:lnTo>
                <a:lnTo>
                  <a:pt x="4217056" y="273030"/>
                </a:lnTo>
                <a:lnTo>
                  <a:pt x="4218935" y="273136"/>
                </a:lnTo>
                <a:lnTo>
                  <a:pt x="4220392" y="274090"/>
                </a:lnTo>
                <a:lnTo>
                  <a:pt x="4221300" y="276106"/>
                </a:lnTo>
                <a:lnTo>
                  <a:pt x="4221300" y="278654"/>
                </a:lnTo>
                <a:lnTo>
                  <a:pt x="4220033" y="282474"/>
                </a:lnTo>
                <a:lnTo>
                  <a:pt x="4226431" y="284024"/>
                </a:lnTo>
                <a:lnTo>
                  <a:pt x="4228732" y="287886"/>
                </a:lnTo>
                <a:lnTo>
                  <a:pt x="4236186" y="301089"/>
                </a:lnTo>
                <a:lnTo>
                  <a:pt x="4235911" y="305014"/>
                </a:lnTo>
                <a:lnTo>
                  <a:pt x="4232343" y="311235"/>
                </a:lnTo>
                <a:lnTo>
                  <a:pt x="4232300" y="315351"/>
                </a:lnTo>
                <a:lnTo>
                  <a:pt x="4233061" y="319045"/>
                </a:lnTo>
                <a:lnTo>
                  <a:pt x="4234222" y="320339"/>
                </a:lnTo>
                <a:lnTo>
                  <a:pt x="4245222" y="320871"/>
                </a:lnTo>
                <a:lnTo>
                  <a:pt x="4249889" y="322355"/>
                </a:lnTo>
                <a:lnTo>
                  <a:pt x="4261312" y="329061"/>
                </a:lnTo>
                <a:lnTo>
                  <a:pt x="4274319" y="339354"/>
                </a:lnTo>
                <a:lnTo>
                  <a:pt x="4284939" y="347782"/>
                </a:lnTo>
                <a:lnTo>
                  <a:pt x="4293998" y="354933"/>
                </a:lnTo>
                <a:lnTo>
                  <a:pt x="4303711" y="354424"/>
                </a:lnTo>
                <a:lnTo>
                  <a:pt x="4306349" y="355719"/>
                </a:lnTo>
                <a:lnTo>
                  <a:pt x="4308799" y="357948"/>
                </a:lnTo>
                <a:lnTo>
                  <a:pt x="4311586" y="363826"/>
                </a:lnTo>
                <a:lnTo>
                  <a:pt x="4317140" y="377093"/>
                </a:lnTo>
                <a:lnTo>
                  <a:pt x="4321868" y="381484"/>
                </a:lnTo>
                <a:lnTo>
                  <a:pt x="4329153" y="392076"/>
                </a:lnTo>
                <a:lnTo>
                  <a:pt x="4335994" y="401989"/>
                </a:lnTo>
                <a:lnTo>
                  <a:pt x="4331497" y="415443"/>
                </a:lnTo>
                <a:lnTo>
                  <a:pt x="4327084" y="429410"/>
                </a:lnTo>
                <a:lnTo>
                  <a:pt x="4327084" y="447367"/>
                </a:lnTo>
                <a:lnTo>
                  <a:pt x="4327084" y="457002"/>
                </a:lnTo>
                <a:lnTo>
                  <a:pt x="4336375" y="457405"/>
                </a:lnTo>
                <a:lnTo>
                  <a:pt x="4346699" y="457871"/>
                </a:lnTo>
                <a:lnTo>
                  <a:pt x="4346784" y="469353"/>
                </a:lnTo>
                <a:lnTo>
                  <a:pt x="4346868" y="480877"/>
                </a:lnTo>
                <a:lnTo>
                  <a:pt x="4346953" y="493993"/>
                </a:lnTo>
                <a:lnTo>
                  <a:pt x="4349994" y="494547"/>
                </a:lnTo>
                <a:lnTo>
                  <a:pt x="4354808" y="497369"/>
                </a:lnTo>
                <a:lnTo>
                  <a:pt x="4356877" y="501616"/>
                </a:lnTo>
                <a:lnTo>
                  <a:pt x="4359453" y="503928"/>
                </a:lnTo>
                <a:lnTo>
                  <a:pt x="4362599" y="504310"/>
                </a:lnTo>
                <a:lnTo>
                  <a:pt x="4365682" y="506390"/>
                </a:lnTo>
                <a:lnTo>
                  <a:pt x="4368744" y="510191"/>
                </a:lnTo>
                <a:lnTo>
                  <a:pt x="4369862" y="513034"/>
                </a:lnTo>
                <a:lnTo>
                  <a:pt x="4369038" y="515009"/>
                </a:lnTo>
                <a:lnTo>
                  <a:pt x="4369693" y="518446"/>
                </a:lnTo>
                <a:lnTo>
                  <a:pt x="4371826" y="523371"/>
                </a:lnTo>
                <a:lnTo>
                  <a:pt x="4374423" y="525685"/>
                </a:lnTo>
                <a:lnTo>
                  <a:pt x="4378456" y="528529"/>
                </a:lnTo>
                <a:lnTo>
                  <a:pt x="4372988" y="530163"/>
                </a:lnTo>
                <a:lnTo>
                  <a:pt x="4367075" y="528912"/>
                </a:lnTo>
                <a:lnTo>
                  <a:pt x="4354470" y="523160"/>
                </a:lnTo>
                <a:lnTo>
                  <a:pt x="4350374" y="522990"/>
                </a:lnTo>
                <a:lnTo>
                  <a:pt x="4345031" y="525177"/>
                </a:lnTo>
                <a:lnTo>
                  <a:pt x="4344799" y="527128"/>
                </a:lnTo>
                <a:lnTo>
                  <a:pt x="4331476" y="520698"/>
                </a:lnTo>
                <a:lnTo>
                  <a:pt x="4326683" y="519404"/>
                </a:lnTo>
                <a:lnTo>
                  <a:pt x="4324951" y="519277"/>
                </a:lnTo>
                <a:lnTo>
                  <a:pt x="4317308" y="519339"/>
                </a:lnTo>
                <a:lnTo>
                  <a:pt x="4306434" y="520508"/>
                </a:lnTo>
                <a:lnTo>
                  <a:pt x="4300036" y="523119"/>
                </a:lnTo>
                <a:lnTo>
                  <a:pt x="4295602" y="525877"/>
                </a:lnTo>
                <a:lnTo>
                  <a:pt x="4293575" y="528595"/>
                </a:lnTo>
                <a:lnTo>
                  <a:pt x="4292857" y="530058"/>
                </a:lnTo>
                <a:lnTo>
                  <a:pt x="4289395" y="538060"/>
                </a:lnTo>
                <a:lnTo>
                  <a:pt x="4285382" y="548311"/>
                </a:lnTo>
                <a:lnTo>
                  <a:pt x="4281224" y="557521"/>
                </a:lnTo>
                <a:lnTo>
                  <a:pt x="4273136" y="570470"/>
                </a:lnTo>
                <a:lnTo>
                  <a:pt x="4268660" y="576434"/>
                </a:lnTo>
                <a:lnTo>
                  <a:pt x="4259052" y="587512"/>
                </a:lnTo>
                <a:lnTo>
                  <a:pt x="4250745" y="589294"/>
                </a:lnTo>
                <a:lnTo>
                  <a:pt x="4259052" y="587533"/>
                </a:lnTo>
                <a:lnTo>
                  <a:pt x="4259052" y="587512"/>
                </a:lnTo>
                <a:lnTo>
                  <a:pt x="4259088" y="587517"/>
                </a:lnTo>
                <a:lnTo>
                  <a:pt x="4268702" y="576455"/>
                </a:lnTo>
                <a:lnTo>
                  <a:pt x="4273178" y="570493"/>
                </a:lnTo>
                <a:lnTo>
                  <a:pt x="4281265" y="557567"/>
                </a:lnTo>
                <a:lnTo>
                  <a:pt x="4285424" y="548334"/>
                </a:lnTo>
                <a:lnTo>
                  <a:pt x="4289436" y="538082"/>
                </a:lnTo>
                <a:lnTo>
                  <a:pt x="4292899" y="530103"/>
                </a:lnTo>
                <a:lnTo>
                  <a:pt x="4293617" y="528639"/>
                </a:lnTo>
                <a:lnTo>
                  <a:pt x="4295622" y="525922"/>
                </a:lnTo>
                <a:lnTo>
                  <a:pt x="4300057" y="523143"/>
                </a:lnTo>
                <a:lnTo>
                  <a:pt x="4306455" y="520531"/>
                </a:lnTo>
                <a:lnTo>
                  <a:pt x="4317329" y="519386"/>
                </a:lnTo>
                <a:lnTo>
                  <a:pt x="4324972" y="519324"/>
                </a:lnTo>
                <a:lnTo>
                  <a:pt x="4326704" y="519450"/>
                </a:lnTo>
                <a:lnTo>
                  <a:pt x="4331518" y="520744"/>
                </a:lnTo>
                <a:lnTo>
                  <a:pt x="4344798" y="527134"/>
                </a:lnTo>
                <a:lnTo>
                  <a:pt x="4344503" y="529654"/>
                </a:lnTo>
                <a:lnTo>
                  <a:pt x="4346404" y="537190"/>
                </a:lnTo>
                <a:lnTo>
                  <a:pt x="4350647" y="545404"/>
                </a:lnTo>
                <a:lnTo>
                  <a:pt x="4354132" y="552046"/>
                </a:lnTo>
                <a:lnTo>
                  <a:pt x="4354575" y="555167"/>
                </a:lnTo>
                <a:lnTo>
                  <a:pt x="4351387" y="554722"/>
                </a:lnTo>
                <a:lnTo>
                  <a:pt x="4348959" y="553470"/>
                </a:lnTo>
                <a:lnTo>
                  <a:pt x="4344292" y="552154"/>
                </a:lnTo>
                <a:lnTo>
                  <a:pt x="4335276" y="560961"/>
                </a:lnTo>
                <a:lnTo>
                  <a:pt x="4329828" y="565758"/>
                </a:lnTo>
                <a:lnTo>
                  <a:pt x="4329680" y="567392"/>
                </a:lnTo>
                <a:lnTo>
                  <a:pt x="4336944" y="569241"/>
                </a:lnTo>
                <a:lnTo>
                  <a:pt x="4342286" y="569198"/>
                </a:lnTo>
                <a:lnTo>
                  <a:pt x="4346002" y="567904"/>
                </a:lnTo>
                <a:lnTo>
                  <a:pt x="4349149" y="569962"/>
                </a:lnTo>
                <a:lnTo>
                  <a:pt x="4351218" y="575397"/>
                </a:lnTo>
                <a:lnTo>
                  <a:pt x="4352042" y="579810"/>
                </a:lnTo>
                <a:lnTo>
                  <a:pt x="4356982" y="595497"/>
                </a:lnTo>
                <a:lnTo>
                  <a:pt x="4361078" y="600781"/>
                </a:lnTo>
                <a:lnTo>
                  <a:pt x="4366188" y="610118"/>
                </a:lnTo>
                <a:lnTo>
                  <a:pt x="4368088" y="614958"/>
                </a:lnTo>
                <a:lnTo>
                  <a:pt x="4369186" y="619012"/>
                </a:lnTo>
                <a:lnTo>
                  <a:pt x="4372311" y="624998"/>
                </a:lnTo>
                <a:lnTo>
                  <a:pt x="4372302" y="624998"/>
                </a:lnTo>
                <a:lnTo>
                  <a:pt x="4375605" y="631320"/>
                </a:lnTo>
                <a:lnTo>
                  <a:pt x="4377062" y="637645"/>
                </a:lnTo>
                <a:lnTo>
                  <a:pt x="4383185" y="652607"/>
                </a:lnTo>
                <a:lnTo>
                  <a:pt x="4391926" y="664259"/>
                </a:lnTo>
                <a:lnTo>
                  <a:pt x="4394016" y="668504"/>
                </a:lnTo>
                <a:lnTo>
                  <a:pt x="4395410" y="674894"/>
                </a:lnTo>
                <a:lnTo>
                  <a:pt x="4393890" y="677271"/>
                </a:lnTo>
                <a:lnTo>
                  <a:pt x="4393299" y="680007"/>
                </a:lnTo>
                <a:lnTo>
                  <a:pt x="4399781" y="686376"/>
                </a:lnTo>
                <a:lnTo>
                  <a:pt x="4410465" y="691766"/>
                </a:lnTo>
                <a:lnTo>
                  <a:pt x="4414645" y="693124"/>
                </a:lnTo>
                <a:lnTo>
                  <a:pt x="4419396" y="695501"/>
                </a:lnTo>
                <a:lnTo>
                  <a:pt x="4415702" y="699173"/>
                </a:lnTo>
                <a:lnTo>
                  <a:pt x="4422015" y="707663"/>
                </a:lnTo>
                <a:lnTo>
                  <a:pt x="4429342" y="716301"/>
                </a:lnTo>
                <a:lnTo>
                  <a:pt x="4437196" y="718254"/>
                </a:lnTo>
                <a:lnTo>
                  <a:pt x="4447795" y="731286"/>
                </a:lnTo>
                <a:lnTo>
                  <a:pt x="4463779" y="739711"/>
                </a:lnTo>
                <a:lnTo>
                  <a:pt x="4473471" y="750747"/>
                </a:lnTo>
                <a:lnTo>
                  <a:pt x="4472564" y="750960"/>
                </a:lnTo>
                <a:lnTo>
                  <a:pt x="4469713" y="749837"/>
                </a:lnTo>
                <a:lnTo>
                  <a:pt x="4466144" y="748331"/>
                </a:lnTo>
                <a:lnTo>
                  <a:pt x="4465068" y="749687"/>
                </a:lnTo>
                <a:lnTo>
                  <a:pt x="4465258" y="754316"/>
                </a:lnTo>
                <a:lnTo>
                  <a:pt x="4466208" y="759749"/>
                </a:lnTo>
                <a:lnTo>
                  <a:pt x="4471148" y="764438"/>
                </a:lnTo>
                <a:lnTo>
                  <a:pt x="4475540" y="767814"/>
                </a:lnTo>
                <a:lnTo>
                  <a:pt x="4477250" y="774201"/>
                </a:lnTo>
                <a:lnTo>
                  <a:pt x="4473788" y="787934"/>
                </a:lnTo>
                <a:lnTo>
                  <a:pt x="4472585" y="787934"/>
                </a:lnTo>
                <a:lnTo>
                  <a:pt x="4470262" y="786746"/>
                </a:lnTo>
                <a:lnTo>
                  <a:pt x="4467792" y="786470"/>
                </a:lnTo>
                <a:lnTo>
                  <a:pt x="4466461" y="787253"/>
                </a:lnTo>
                <a:lnTo>
                  <a:pt x="4469396" y="797121"/>
                </a:lnTo>
                <a:lnTo>
                  <a:pt x="4472331" y="804679"/>
                </a:lnTo>
                <a:lnTo>
                  <a:pt x="4475836" y="810662"/>
                </a:lnTo>
                <a:lnTo>
                  <a:pt x="4478771" y="819406"/>
                </a:lnTo>
                <a:lnTo>
                  <a:pt x="4481284" y="823143"/>
                </a:lnTo>
                <a:lnTo>
                  <a:pt x="4491566" y="832416"/>
                </a:lnTo>
                <a:lnTo>
                  <a:pt x="4494734" y="840164"/>
                </a:lnTo>
                <a:lnTo>
                  <a:pt x="4497668" y="854575"/>
                </a:lnTo>
                <a:lnTo>
                  <a:pt x="4504129" y="862598"/>
                </a:lnTo>
                <a:lnTo>
                  <a:pt x="4507613" y="868774"/>
                </a:lnTo>
                <a:lnTo>
                  <a:pt x="4512280" y="874017"/>
                </a:lnTo>
                <a:lnTo>
                  <a:pt x="4515321" y="881171"/>
                </a:lnTo>
                <a:lnTo>
                  <a:pt x="4519628" y="886666"/>
                </a:lnTo>
                <a:lnTo>
                  <a:pt x="4521866" y="888045"/>
                </a:lnTo>
                <a:lnTo>
                  <a:pt x="4525223" y="888620"/>
                </a:lnTo>
                <a:lnTo>
                  <a:pt x="4529403" y="888641"/>
                </a:lnTo>
                <a:lnTo>
                  <a:pt x="4534408" y="887219"/>
                </a:lnTo>
                <a:lnTo>
                  <a:pt x="4539750" y="885883"/>
                </a:lnTo>
                <a:lnTo>
                  <a:pt x="4543910" y="888664"/>
                </a:lnTo>
                <a:lnTo>
                  <a:pt x="4548217" y="888240"/>
                </a:lnTo>
                <a:lnTo>
                  <a:pt x="4548661" y="890829"/>
                </a:lnTo>
                <a:lnTo>
                  <a:pt x="4545768" y="894352"/>
                </a:lnTo>
                <a:lnTo>
                  <a:pt x="4542220" y="903224"/>
                </a:lnTo>
                <a:lnTo>
                  <a:pt x="4547266" y="904625"/>
                </a:lnTo>
                <a:lnTo>
                  <a:pt x="4552102" y="905326"/>
                </a:lnTo>
                <a:lnTo>
                  <a:pt x="4555523" y="906746"/>
                </a:lnTo>
                <a:lnTo>
                  <a:pt x="4557529" y="906746"/>
                </a:lnTo>
                <a:lnTo>
                  <a:pt x="4557529" y="908594"/>
                </a:lnTo>
                <a:lnTo>
                  <a:pt x="4557761" y="916997"/>
                </a:lnTo>
                <a:lnTo>
                  <a:pt x="4558964" y="920203"/>
                </a:lnTo>
                <a:lnTo>
                  <a:pt x="4561160" y="923047"/>
                </a:lnTo>
                <a:lnTo>
                  <a:pt x="4564412" y="927291"/>
                </a:lnTo>
                <a:lnTo>
                  <a:pt x="4567663" y="931537"/>
                </a:lnTo>
                <a:lnTo>
                  <a:pt x="4570915" y="935782"/>
                </a:lnTo>
                <a:lnTo>
                  <a:pt x="4574166" y="940027"/>
                </a:lnTo>
                <a:lnTo>
                  <a:pt x="4577418" y="944271"/>
                </a:lnTo>
                <a:lnTo>
                  <a:pt x="4580692" y="948515"/>
                </a:lnTo>
                <a:lnTo>
                  <a:pt x="4583943" y="952741"/>
                </a:lnTo>
                <a:lnTo>
                  <a:pt x="4587195" y="956985"/>
                </a:lnTo>
                <a:lnTo>
                  <a:pt x="4590446" y="961207"/>
                </a:lnTo>
                <a:lnTo>
                  <a:pt x="4593698" y="965432"/>
                </a:lnTo>
                <a:lnTo>
                  <a:pt x="4596949" y="969655"/>
                </a:lnTo>
                <a:lnTo>
                  <a:pt x="4600201" y="973878"/>
                </a:lnTo>
                <a:lnTo>
                  <a:pt x="4603452" y="978103"/>
                </a:lnTo>
                <a:lnTo>
                  <a:pt x="4606705" y="982326"/>
                </a:lnTo>
                <a:lnTo>
                  <a:pt x="4609977" y="986549"/>
                </a:lnTo>
                <a:lnTo>
                  <a:pt x="4613229" y="990753"/>
                </a:lnTo>
                <a:lnTo>
                  <a:pt x="4615911" y="994232"/>
                </a:lnTo>
                <a:lnTo>
                  <a:pt x="4620894" y="994892"/>
                </a:lnTo>
                <a:lnTo>
                  <a:pt x="4622477" y="995105"/>
                </a:lnTo>
                <a:lnTo>
                  <a:pt x="4626975" y="995700"/>
                </a:lnTo>
                <a:lnTo>
                  <a:pt x="4633942" y="996615"/>
                </a:lnTo>
                <a:lnTo>
                  <a:pt x="4642980" y="997824"/>
                </a:lnTo>
                <a:lnTo>
                  <a:pt x="4653684" y="999245"/>
                </a:lnTo>
                <a:lnTo>
                  <a:pt x="4665615" y="1000816"/>
                </a:lnTo>
                <a:lnTo>
                  <a:pt x="4678389" y="1002514"/>
                </a:lnTo>
                <a:lnTo>
                  <a:pt x="4691564" y="1004254"/>
                </a:lnTo>
                <a:lnTo>
                  <a:pt x="4704761" y="1005993"/>
                </a:lnTo>
                <a:lnTo>
                  <a:pt x="4717514" y="1007692"/>
                </a:lnTo>
                <a:lnTo>
                  <a:pt x="4729443" y="1009283"/>
                </a:lnTo>
                <a:lnTo>
                  <a:pt x="4740149" y="1010683"/>
                </a:lnTo>
                <a:lnTo>
                  <a:pt x="4749208" y="1011893"/>
                </a:lnTo>
                <a:lnTo>
                  <a:pt x="4756175" y="1012805"/>
                </a:lnTo>
                <a:lnTo>
                  <a:pt x="4760672" y="1013400"/>
                </a:lnTo>
                <a:lnTo>
                  <a:pt x="4762256" y="1013613"/>
                </a:lnTo>
                <a:lnTo>
                  <a:pt x="4766965" y="1014231"/>
                </a:lnTo>
                <a:lnTo>
                  <a:pt x="4767851" y="1014083"/>
                </a:lnTo>
                <a:lnTo>
                  <a:pt x="4767880" y="1014045"/>
                </a:lnTo>
                <a:lnTo>
                  <a:pt x="4767049" y="1014184"/>
                </a:lnTo>
                <a:lnTo>
                  <a:pt x="4762341" y="1013568"/>
                </a:lnTo>
                <a:lnTo>
                  <a:pt x="4760757" y="1013354"/>
                </a:lnTo>
                <a:lnTo>
                  <a:pt x="4756260" y="1012758"/>
                </a:lnTo>
                <a:lnTo>
                  <a:pt x="4749292" y="1011845"/>
                </a:lnTo>
                <a:lnTo>
                  <a:pt x="4740234" y="1010634"/>
                </a:lnTo>
                <a:lnTo>
                  <a:pt x="4729528" y="1009234"/>
                </a:lnTo>
                <a:lnTo>
                  <a:pt x="4717599" y="1007643"/>
                </a:lnTo>
                <a:lnTo>
                  <a:pt x="4704846" y="1005945"/>
                </a:lnTo>
                <a:lnTo>
                  <a:pt x="4691649" y="1004205"/>
                </a:lnTo>
                <a:lnTo>
                  <a:pt x="4678473" y="1002465"/>
                </a:lnTo>
                <a:lnTo>
                  <a:pt x="4665699" y="1000768"/>
                </a:lnTo>
                <a:lnTo>
                  <a:pt x="4653769" y="999196"/>
                </a:lnTo>
                <a:lnTo>
                  <a:pt x="4643064" y="997776"/>
                </a:lnTo>
                <a:lnTo>
                  <a:pt x="4634027" y="996566"/>
                </a:lnTo>
                <a:lnTo>
                  <a:pt x="4627059" y="995651"/>
                </a:lnTo>
                <a:lnTo>
                  <a:pt x="4622562" y="995056"/>
                </a:lnTo>
                <a:lnTo>
                  <a:pt x="4620978" y="994843"/>
                </a:lnTo>
                <a:lnTo>
                  <a:pt x="4615995" y="994184"/>
                </a:lnTo>
                <a:lnTo>
                  <a:pt x="4613313" y="990704"/>
                </a:lnTo>
                <a:lnTo>
                  <a:pt x="4610062" y="986500"/>
                </a:lnTo>
                <a:lnTo>
                  <a:pt x="4606789" y="982278"/>
                </a:lnTo>
                <a:lnTo>
                  <a:pt x="4603538" y="978055"/>
                </a:lnTo>
                <a:lnTo>
                  <a:pt x="4600286" y="973832"/>
                </a:lnTo>
                <a:lnTo>
                  <a:pt x="4597035" y="969606"/>
                </a:lnTo>
                <a:lnTo>
                  <a:pt x="4593783" y="965384"/>
                </a:lnTo>
                <a:lnTo>
                  <a:pt x="4590531" y="961159"/>
                </a:lnTo>
                <a:lnTo>
                  <a:pt x="4587279" y="956936"/>
                </a:lnTo>
                <a:lnTo>
                  <a:pt x="4584027" y="952692"/>
                </a:lnTo>
                <a:lnTo>
                  <a:pt x="4580776" y="948466"/>
                </a:lnTo>
                <a:lnTo>
                  <a:pt x="4577503" y="944223"/>
                </a:lnTo>
                <a:lnTo>
                  <a:pt x="4574252" y="939979"/>
                </a:lnTo>
                <a:lnTo>
                  <a:pt x="4571000" y="935732"/>
                </a:lnTo>
                <a:lnTo>
                  <a:pt x="4567748" y="931488"/>
                </a:lnTo>
                <a:lnTo>
                  <a:pt x="4564497" y="927244"/>
                </a:lnTo>
                <a:lnTo>
                  <a:pt x="4561245" y="922998"/>
                </a:lnTo>
                <a:lnTo>
                  <a:pt x="4559050" y="920154"/>
                </a:lnTo>
                <a:lnTo>
                  <a:pt x="4557845" y="916949"/>
                </a:lnTo>
                <a:lnTo>
                  <a:pt x="4557613" y="908545"/>
                </a:lnTo>
                <a:lnTo>
                  <a:pt x="4557613" y="906698"/>
                </a:lnTo>
                <a:lnTo>
                  <a:pt x="4559809" y="903300"/>
                </a:lnTo>
                <a:lnTo>
                  <a:pt x="4560865" y="905720"/>
                </a:lnTo>
                <a:lnTo>
                  <a:pt x="4563315" y="909010"/>
                </a:lnTo>
                <a:lnTo>
                  <a:pt x="4567474" y="908206"/>
                </a:lnTo>
                <a:lnTo>
                  <a:pt x="4569416" y="908759"/>
                </a:lnTo>
                <a:lnTo>
                  <a:pt x="4570852" y="920412"/>
                </a:lnTo>
                <a:lnTo>
                  <a:pt x="4573914" y="924550"/>
                </a:lnTo>
                <a:lnTo>
                  <a:pt x="4577630" y="926205"/>
                </a:lnTo>
                <a:lnTo>
                  <a:pt x="4590235" y="927120"/>
                </a:lnTo>
                <a:lnTo>
                  <a:pt x="4598069" y="925549"/>
                </a:lnTo>
                <a:lnTo>
                  <a:pt x="4613503" y="917952"/>
                </a:lnTo>
                <a:lnTo>
                  <a:pt x="4621612" y="915213"/>
                </a:lnTo>
                <a:lnTo>
                  <a:pt x="4644036" y="915680"/>
                </a:lnTo>
                <a:lnTo>
                  <a:pt x="4662004" y="918841"/>
                </a:lnTo>
                <a:lnTo>
                  <a:pt x="4689981" y="920710"/>
                </a:lnTo>
                <a:lnTo>
                  <a:pt x="4695407" y="920222"/>
                </a:lnTo>
                <a:lnTo>
                  <a:pt x="4710504" y="914109"/>
                </a:lnTo>
                <a:lnTo>
                  <a:pt x="4719753" y="908718"/>
                </a:lnTo>
                <a:lnTo>
                  <a:pt x="4725263" y="907169"/>
                </a:lnTo>
                <a:lnTo>
                  <a:pt x="4728895" y="901947"/>
                </a:lnTo>
                <a:lnTo>
                  <a:pt x="4731281" y="895156"/>
                </a:lnTo>
                <a:lnTo>
                  <a:pt x="4733414" y="890720"/>
                </a:lnTo>
                <a:lnTo>
                  <a:pt x="4736138" y="888599"/>
                </a:lnTo>
                <a:lnTo>
                  <a:pt x="4738713" y="884818"/>
                </a:lnTo>
                <a:lnTo>
                  <a:pt x="4740803" y="878687"/>
                </a:lnTo>
                <a:lnTo>
                  <a:pt x="4745998" y="872488"/>
                </a:lnTo>
                <a:lnTo>
                  <a:pt x="4766817" y="857397"/>
                </a:lnTo>
                <a:lnTo>
                  <a:pt x="4778979" y="844621"/>
                </a:lnTo>
                <a:lnTo>
                  <a:pt x="4780056" y="840483"/>
                </a:lnTo>
                <a:lnTo>
                  <a:pt x="4786665" y="834285"/>
                </a:lnTo>
                <a:lnTo>
                  <a:pt x="4791965" y="827493"/>
                </a:lnTo>
                <a:lnTo>
                  <a:pt x="4816774" y="808052"/>
                </a:lnTo>
                <a:lnTo>
                  <a:pt x="4821737" y="800008"/>
                </a:lnTo>
                <a:lnTo>
                  <a:pt x="4824671" y="790987"/>
                </a:lnTo>
                <a:lnTo>
                  <a:pt x="4825030" y="790350"/>
                </a:lnTo>
                <a:lnTo>
                  <a:pt x="4827049" y="789988"/>
                </a:lnTo>
                <a:lnTo>
                  <a:pt x="4827015" y="789972"/>
                </a:lnTo>
                <a:lnTo>
                  <a:pt x="4824882" y="790354"/>
                </a:lnTo>
                <a:lnTo>
                  <a:pt x="4829844" y="780826"/>
                </a:lnTo>
                <a:lnTo>
                  <a:pt x="4831808" y="779360"/>
                </a:lnTo>
                <a:lnTo>
                  <a:pt x="4833645" y="779979"/>
                </a:lnTo>
                <a:lnTo>
                  <a:pt x="4838226" y="778959"/>
                </a:lnTo>
                <a:lnTo>
                  <a:pt x="4840634" y="773782"/>
                </a:lnTo>
                <a:lnTo>
                  <a:pt x="4842555" y="770959"/>
                </a:lnTo>
                <a:lnTo>
                  <a:pt x="4844603" y="771298"/>
                </a:lnTo>
                <a:lnTo>
                  <a:pt x="4845596" y="772891"/>
                </a:lnTo>
                <a:lnTo>
                  <a:pt x="4844878" y="780764"/>
                </a:lnTo>
                <a:lnTo>
                  <a:pt x="4844793" y="787323"/>
                </a:lnTo>
                <a:lnTo>
                  <a:pt x="4842259" y="807358"/>
                </a:lnTo>
                <a:lnTo>
                  <a:pt x="4839641" y="810819"/>
                </a:lnTo>
                <a:lnTo>
                  <a:pt x="4838311" y="813620"/>
                </a:lnTo>
                <a:lnTo>
                  <a:pt x="4837784" y="817478"/>
                </a:lnTo>
                <a:lnTo>
                  <a:pt x="4841669" y="822805"/>
                </a:lnTo>
                <a:lnTo>
                  <a:pt x="4842217" y="858907"/>
                </a:lnTo>
                <a:lnTo>
                  <a:pt x="4843094" y="861446"/>
                </a:lnTo>
                <a:lnTo>
                  <a:pt x="4843167" y="861432"/>
                </a:lnTo>
                <a:lnTo>
                  <a:pt x="4849206" y="878582"/>
                </a:lnTo>
                <a:lnTo>
                  <a:pt x="4858159" y="894606"/>
                </a:lnTo>
                <a:lnTo>
                  <a:pt x="4866055" y="903434"/>
                </a:lnTo>
                <a:lnTo>
                  <a:pt x="4874269" y="915406"/>
                </a:lnTo>
                <a:lnTo>
                  <a:pt x="4886747" y="926398"/>
                </a:lnTo>
                <a:lnTo>
                  <a:pt x="4892470" y="930156"/>
                </a:lnTo>
                <a:lnTo>
                  <a:pt x="4915674" y="937861"/>
                </a:lnTo>
                <a:lnTo>
                  <a:pt x="4928365" y="940747"/>
                </a:lnTo>
                <a:lnTo>
                  <a:pt x="4945848" y="943505"/>
                </a:lnTo>
                <a:lnTo>
                  <a:pt x="4957947" y="949491"/>
                </a:lnTo>
                <a:lnTo>
                  <a:pt x="4962000" y="949873"/>
                </a:lnTo>
                <a:lnTo>
                  <a:pt x="4968335" y="948091"/>
                </a:lnTo>
                <a:lnTo>
                  <a:pt x="4972959" y="948239"/>
                </a:lnTo>
                <a:lnTo>
                  <a:pt x="4984530" y="956390"/>
                </a:lnTo>
                <a:lnTo>
                  <a:pt x="4987929" y="964115"/>
                </a:lnTo>
                <a:lnTo>
                  <a:pt x="4992743" y="968190"/>
                </a:lnTo>
                <a:lnTo>
                  <a:pt x="4996987" y="974601"/>
                </a:lnTo>
                <a:lnTo>
                  <a:pt x="4999753" y="981307"/>
                </a:lnTo>
                <a:lnTo>
                  <a:pt x="5009530" y="991516"/>
                </a:lnTo>
                <a:lnTo>
                  <a:pt x="5016413" y="1002998"/>
                </a:lnTo>
                <a:lnTo>
                  <a:pt x="5023422" y="1011487"/>
                </a:lnTo>
                <a:lnTo>
                  <a:pt x="5029694" y="1016773"/>
                </a:lnTo>
                <a:lnTo>
                  <a:pt x="5039195" y="1018853"/>
                </a:lnTo>
                <a:lnTo>
                  <a:pt x="5046754" y="1021230"/>
                </a:lnTo>
                <a:lnTo>
                  <a:pt x="5047599" y="1026895"/>
                </a:lnTo>
                <a:lnTo>
                  <a:pt x="5046818" y="1034281"/>
                </a:lnTo>
                <a:lnTo>
                  <a:pt x="5045382" y="1039737"/>
                </a:lnTo>
                <a:lnTo>
                  <a:pt x="5038330" y="1050350"/>
                </a:lnTo>
                <a:lnTo>
                  <a:pt x="5036640" y="1056887"/>
                </a:lnTo>
                <a:lnTo>
                  <a:pt x="5028659" y="1067668"/>
                </a:lnTo>
                <a:lnTo>
                  <a:pt x="5020002" y="1085729"/>
                </a:lnTo>
                <a:lnTo>
                  <a:pt x="5016033" y="1089762"/>
                </a:lnTo>
                <a:lnTo>
                  <a:pt x="5002076" y="1099059"/>
                </a:lnTo>
                <a:lnTo>
                  <a:pt x="4991814" y="1110243"/>
                </a:lnTo>
                <a:lnTo>
                  <a:pt x="4979652" y="1129643"/>
                </a:lnTo>
                <a:lnTo>
                  <a:pt x="4970404" y="1148830"/>
                </a:lnTo>
                <a:lnTo>
                  <a:pt x="4966857" y="1154964"/>
                </a:lnTo>
                <a:lnTo>
                  <a:pt x="4959403" y="1156237"/>
                </a:lnTo>
                <a:lnTo>
                  <a:pt x="4954526" y="1155705"/>
                </a:lnTo>
                <a:lnTo>
                  <a:pt x="4951148" y="1153901"/>
                </a:lnTo>
                <a:lnTo>
                  <a:pt x="4952478" y="1148659"/>
                </a:lnTo>
                <a:lnTo>
                  <a:pt x="4953280" y="1142823"/>
                </a:lnTo>
                <a:lnTo>
                  <a:pt x="4948783" y="1143440"/>
                </a:lnTo>
                <a:lnTo>
                  <a:pt x="4944834" y="1144649"/>
                </a:lnTo>
                <a:lnTo>
                  <a:pt x="4935607" y="1158975"/>
                </a:lnTo>
                <a:lnTo>
                  <a:pt x="4930540" y="1165257"/>
                </a:lnTo>
                <a:lnTo>
                  <a:pt x="4929462" y="1173217"/>
                </a:lnTo>
                <a:lnTo>
                  <a:pt x="4927013" y="1183489"/>
                </a:lnTo>
                <a:lnTo>
                  <a:pt x="4923403" y="1192934"/>
                </a:lnTo>
                <a:lnTo>
                  <a:pt x="4921798" y="1200871"/>
                </a:lnTo>
                <a:lnTo>
                  <a:pt x="4921862" y="1205370"/>
                </a:lnTo>
                <a:lnTo>
                  <a:pt x="4924564" y="1216343"/>
                </a:lnTo>
                <a:lnTo>
                  <a:pt x="4924754" y="1227573"/>
                </a:lnTo>
                <a:lnTo>
                  <a:pt x="4926317" y="1234300"/>
                </a:lnTo>
                <a:lnTo>
                  <a:pt x="4927583" y="1242365"/>
                </a:lnTo>
                <a:lnTo>
                  <a:pt x="4923255" y="1244849"/>
                </a:lnTo>
                <a:lnTo>
                  <a:pt x="4919539" y="1246080"/>
                </a:lnTo>
                <a:lnTo>
                  <a:pt x="4904843" y="1246970"/>
                </a:lnTo>
                <a:lnTo>
                  <a:pt x="4889957" y="1249559"/>
                </a:lnTo>
                <a:lnTo>
                  <a:pt x="4876951" y="1254229"/>
                </a:lnTo>
                <a:lnTo>
                  <a:pt x="4869180" y="1258877"/>
                </a:lnTo>
                <a:lnTo>
                  <a:pt x="4859067" y="1269254"/>
                </a:lnTo>
                <a:lnTo>
                  <a:pt x="4852880" y="1295553"/>
                </a:lnTo>
                <a:lnTo>
                  <a:pt x="4842977" y="1306632"/>
                </a:lnTo>
                <a:lnTo>
                  <a:pt x="4836263" y="1308944"/>
                </a:lnTo>
                <a:lnTo>
                  <a:pt x="4820110" y="1309920"/>
                </a:lnTo>
                <a:lnTo>
                  <a:pt x="4797369" y="1312977"/>
                </a:lnTo>
                <a:lnTo>
                  <a:pt x="4789389" y="1315629"/>
                </a:lnTo>
                <a:lnTo>
                  <a:pt x="4776128" y="1331631"/>
                </a:lnTo>
                <a:lnTo>
                  <a:pt x="4775094" y="1336663"/>
                </a:lnTo>
                <a:lnTo>
                  <a:pt x="4777649" y="1340293"/>
                </a:lnTo>
                <a:lnTo>
                  <a:pt x="4778493" y="1344304"/>
                </a:lnTo>
                <a:lnTo>
                  <a:pt x="4777290" y="1348061"/>
                </a:lnTo>
                <a:lnTo>
                  <a:pt x="4771272" y="1358183"/>
                </a:lnTo>
                <a:lnTo>
                  <a:pt x="4764769" y="1365527"/>
                </a:lnTo>
                <a:lnTo>
                  <a:pt x="4747454" y="1370135"/>
                </a:lnTo>
                <a:lnTo>
                  <a:pt x="4741099" y="1367396"/>
                </a:lnTo>
                <a:lnTo>
                  <a:pt x="4735293" y="1366016"/>
                </a:lnTo>
                <a:lnTo>
                  <a:pt x="4724059" y="1365870"/>
                </a:lnTo>
                <a:lnTo>
                  <a:pt x="4705774" y="1367609"/>
                </a:lnTo>
                <a:lnTo>
                  <a:pt x="4699039" y="1373041"/>
                </a:lnTo>
                <a:lnTo>
                  <a:pt x="4688418" y="1376885"/>
                </a:lnTo>
                <a:lnTo>
                  <a:pt x="4678621" y="1382805"/>
                </a:lnTo>
                <a:lnTo>
                  <a:pt x="4660124" y="1385056"/>
                </a:lnTo>
                <a:lnTo>
                  <a:pt x="4647435" y="1389830"/>
                </a:lnTo>
                <a:lnTo>
                  <a:pt x="4647435" y="1389832"/>
                </a:lnTo>
                <a:lnTo>
                  <a:pt x="4617557" y="1400826"/>
                </a:lnTo>
                <a:lnTo>
                  <a:pt x="4609682" y="1405708"/>
                </a:lnTo>
                <a:lnTo>
                  <a:pt x="4602524" y="1411735"/>
                </a:lnTo>
                <a:lnTo>
                  <a:pt x="4597160" y="1419269"/>
                </a:lnTo>
                <a:lnTo>
                  <a:pt x="4593402" y="1432491"/>
                </a:lnTo>
                <a:lnTo>
                  <a:pt x="4596253" y="1444569"/>
                </a:lnTo>
                <a:lnTo>
                  <a:pt x="4595978" y="1451043"/>
                </a:lnTo>
                <a:lnTo>
                  <a:pt x="4588271" y="1455329"/>
                </a:lnTo>
                <a:lnTo>
                  <a:pt x="4581072" y="1458408"/>
                </a:lnTo>
                <a:lnTo>
                  <a:pt x="4573069" y="1463118"/>
                </a:lnTo>
                <a:lnTo>
                  <a:pt x="4568212" y="1464286"/>
                </a:lnTo>
                <a:lnTo>
                  <a:pt x="4564243" y="1468023"/>
                </a:lnTo>
                <a:lnTo>
                  <a:pt x="4559619" y="1470633"/>
                </a:lnTo>
                <a:lnTo>
                  <a:pt x="4542960" y="1477423"/>
                </a:lnTo>
                <a:lnTo>
                  <a:pt x="4524759" y="1482666"/>
                </a:lnTo>
                <a:lnTo>
                  <a:pt x="4495832" y="1488950"/>
                </a:lnTo>
                <a:lnTo>
                  <a:pt x="4484662" y="1495761"/>
                </a:lnTo>
                <a:lnTo>
                  <a:pt x="4474506" y="1500432"/>
                </a:lnTo>
                <a:lnTo>
                  <a:pt x="4459071" y="1501832"/>
                </a:lnTo>
                <a:lnTo>
                  <a:pt x="4437872" y="1508305"/>
                </a:lnTo>
                <a:lnTo>
                  <a:pt x="4426090" y="1513482"/>
                </a:lnTo>
                <a:lnTo>
                  <a:pt x="4411458" y="1521910"/>
                </a:lnTo>
                <a:lnTo>
                  <a:pt x="4408228" y="1524562"/>
                </a:lnTo>
                <a:lnTo>
                  <a:pt x="4405652" y="1530761"/>
                </a:lnTo>
                <a:lnTo>
                  <a:pt x="4401154" y="1536109"/>
                </a:lnTo>
                <a:lnTo>
                  <a:pt x="4392349" y="1544873"/>
                </a:lnTo>
                <a:lnTo>
                  <a:pt x="4385740" y="1549374"/>
                </a:lnTo>
                <a:lnTo>
                  <a:pt x="4381327" y="1549608"/>
                </a:lnTo>
                <a:lnTo>
                  <a:pt x="4372754" y="1552070"/>
                </a:lnTo>
                <a:lnTo>
                  <a:pt x="4362599" y="1552581"/>
                </a:lnTo>
                <a:lnTo>
                  <a:pt x="4345538" y="1549504"/>
                </a:lnTo>
                <a:lnTo>
                  <a:pt x="4341146" y="1551648"/>
                </a:lnTo>
                <a:lnTo>
                  <a:pt x="4337535" y="1555064"/>
                </a:lnTo>
                <a:lnTo>
                  <a:pt x="4324381" y="1561070"/>
                </a:lnTo>
                <a:lnTo>
                  <a:pt x="4311016" y="1573062"/>
                </a:lnTo>
                <a:lnTo>
                  <a:pt x="4301239" y="1576246"/>
                </a:lnTo>
                <a:lnTo>
                  <a:pt x="4285424" y="1580002"/>
                </a:lnTo>
                <a:lnTo>
                  <a:pt x="4274360" y="1584989"/>
                </a:lnTo>
                <a:lnTo>
                  <a:pt x="4266928" y="1586985"/>
                </a:lnTo>
                <a:lnTo>
                  <a:pt x="4257363" y="1588024"/>
                </a:lnTo>
                <a:lnTo>
                  <a:pt x="4239648" y="1587513"/>
                </a:lnTo>
                <a:lnTo>
                  <a:pt x="4222862" y="1589318"/>
                </a:lnTo>
                <a:lnTo>
                  <a:pt x="4207300" y="1592695"/>
                </a:lnTo>
                <a:lnTo>
                  <a:pt x="4199995" y="1599081"/>
                </a:lnTo>
                <a:lnTo>
                  <a:pt x="4191654" y="1609206"/>
                </a:lnTo>
                <a:lnTo>
                  <a:pt x="4178035" y="1613386"/>
                </a:lnTo>
                <a:lnTo>
                  <a:pt x="4174826" y="1617016"/>
                </a:lnTo>
                <a:lnTo>
                  <a:pt x="4170624" y="1624465"/>
                </a:lnTo>
                <a:lnTo>
                  <a:pt x="4161819" y="1626397"/>
                </a:lnTo>
                <a:lnTo>
                  <a:pt x="4153838" y="1627649"/>
                </a:lnTo>
                <a:lnTo>
                  <a:pt x="4145687" y="1624403"/>
                </a:lnTo>
                <a:lnTo>
                  <a:pt x="4130316" y="1633401"/>
                </a:lnTo>
                <a:lnTo>
                  <a:pt x="4124510" y="1634888"/>
                </a:lnTo>
                <a:lnTo>
                  <a:pt x="4115684" y="1635249"/>
                </a:lnTo>
                <a:lnTo>
                  <a:pt x="4109412" y="1637138"/>
                </a:lnTo>
                <a:lnTo>
                  <a:pt x="4104915" y="1636606"/>
                </a:lnTo>
                <a:lnTo>
                  <a:pt x="4099320" y="1633084"/>
                </a:lnTo>
                <a:lnTo>
                  <a:pt x="4087411" y="1628817"/>
                </a:lnTo>
                <a:lnTo>
                  <a:pt x="4078712" y="1631598"/>
                </a:lnTo>
                <a:lnTo>
                  <a:pt x="4077973" y="1623086"/>
                </a:lnTo>
                <a:lnTo>
                  <a:pt x="4063552" y="1597067"/>
                </a:lnTo>
                <a:lnTo>
                  <a:pt x="4066550" y="1574377"/>
                </a:lnTo>
                <a:lnTo>
                  <a:pt x="4066550" y="1571172"/>
                </a:lnTo>
                <a:lnTo>
                  <a:pt x="4063679" y="1561026"/>
                </a:lnTo>
                <a:lnTo>
                  <a:pt x="4055085" y="1551753"/>
                </a:lnTo>
                <a:lnTo>
                  <a:pt x="4055339" y="1539994"/>
                </a:lnTo>
                <a:lnTo>
                  <a:pt x="4052467" y="1531589"/>
                </a:lnTo>
                <a:lnTo>
                  <a:pt x="4050186" y="1522929"/>
                </a:lnTo>
                <a:lnTo>
                  <a:pt x="4050926" y="1520639"/>
                </a:lnTo>
                <a:lnTo>
                  <a:pt x="4051052" y="1518559"/>
                </a:lnTo>
                <a:lnTo>
                  <a:pt x="4046660" y="1505208"/>
                </a:lnTo>
                <a:lnTo>
                  <a:pt x="4045203" y="1502511"/>
                </a:lnTo>
                <a:lnTo>
                  <a:pt x="4044654" y="1499710"/>
                </a:lnTo>
                <a:lnTo>
                  <a:pt x="4046090" y="1497567"/>
                </a:lnTo>
                <a:lnTo>
                  <a:pt x="4046048" y="1495083"/>
                </a:lnTo>
                <a:lnTo>
                  <a:pt x="4043725" y="1490987"/>
                </a:lnTo>
                <a:lnTo>
                  <a:pt x="4041255" y="1483177"/>
                </a:lnTo>
                <a:lnTo>
                  <a:pt x="4029536" y="1477043"/>
                </a:lnTo>
                <a:lnTo>
                  <a:pt x="4031922" y="1471292"/>
                </a:lnTo>
                <a:lnTo>
                  <a:pt x="4034203" y="1473308"/>
                </a:lnTo>
                <a:lnTo>
                  <a:pt x="4037285" y="1475027"/>
                </a:lnTo>
                <a:lnTo>
                  <a:pt x="4037918" y="1471313"/>
                </a:lnTo>
                <a:lnTo>
                  <a:pt x="4037961" y="1468532"/>
                </a:lnTo>
                <a:lnTo>
                  <a:pt x="4033062" y="1451149"/>
                </a:lnTo>
                <a:lnTo>
                  <a:pt x="4040326" y="1427931"/>
                </a:lnTo>
                <a:lnTo>
                  <a:pt x="4037940" y="1406981"/>
                </a:lnTo>
                <a:lnTo>
                  <a:pt x="4049026" y="1398514"/>
                </a:lnTo>
                <a:lnTo>
                  <a:pt x="4051812" y="1395966"/>
                </a:lnTo>
                <a:lnTo>
                  <a:pt x="4053416" y="1393738"/>
                </a:lnTo>
                <a:lnTo>
                  <a:pt x="4056006" y="1388993"/>
                </a:lnTo>
                <a:lnTo>
                  <a:pt x="4055845" y="1389063"/>
                </a:lnTo>
                <a:lnTo>
                  <a:pt x="4053226" y="1393861"/>
                </a:lnTo>
                <a:lnTo>
                  <a:pt x="4051622" y="1396088"/>
                </a:lnTo>
                <a:lnTo>
                  <a:pt x="4048835" y="1398634"/>
                </a:lnTo>
                <a:lnTo>
                  <a:pt x="4037749" y="1407104"/>
                </a:lnTo>
                <a:lnTo>
                  <a:pt x="4037200" y="1402179"/>
                </a:lnTo>
                <a:lnTo>
                  <a:pt x="4033674" y="1394878"/>
                </a:lnTo>
                <a:lnTo>
                  <a:pt x="4033421" y="1389722"/>
                </a:lnTo>
                <a:lnTo>
                  <a:pt x="4031774" y="1384542"/>
                </a:lnTo>
                <a:lnTo>
                  <a:pt x="4028733" y="1380552"/>
                </a:lnTo>
                <a:lnTo>
                  <a:pt x="4023117" y="1376393"/>
                </a:lnTo>
                <a:lnTo>
                  <a:pt x="4022610" y="1370746"/>
                </a:lnTo>
                <a:lnTo>
                  <a:pt x="4018514" y="1365166"/>
                </a:lnTo>
                <a:lnTo>
                  <a:pt x="4013088" y="1360664"/>
                </a:lnTo>
                <a:lnTo>
                  <a:pt x="4010069" y="1352345"/>
                </a:lnTo>
                <a:lnTo>
                  <a:pt x="4007788" y="1341288"/>
                </a:lnTo>
                <a:lnTo>
                  <a:pt x="3993472" y="1326726"/>
                </a:lnTo>
                <a:lnTo>
                  <a:pt x="3975567" y="1313273"/>
                </a:lnTo>
                <a:lnTo>
                  <a:pt x="3970119" y="1305694"/>
                </a:lnTo>
                <a:lnTo>
                  <a:pt x="3961209" y="1290222"/>
                </a:lnTo>
                <a:lnTo>
                  <a:pt x="3956711" y="1277975"/>
                </a:lnTo>
                <a:lnTo>
                  <a:pt x="3944739" y="1263862"/>
                </a:lnTo>
                <a:lnTo>
                  <a:pt x="3944233" y="1258427"/>
                </a:lnTo>
                <a:lnTo>
                  <a:pt x="3942459" y="1251806"/>
                </a:lnTo>
                <a:lnTo>
                  <a:pt x="3939693" y="1244420"/>
                </a:lnTo>
                <a:lnTo>
                  <a:pt x="3938026" y="1238605"/>
                </a:lnTo>
                <a:lnTo>
                  <a:pt x="3926011" y="1213008"/>
                </a:lnTo>
                <a:lnTo>
                  <a:pt x="3922126" y="1208932"/>
                </a:lnTo>
                <a:lnTo>
                  <a:pt x="3918790" y="1203202"/>
                </a:lnTo>
                <a:lnTo>
                  <a:pt x="3917924" y="1198766"/>
                </a:lnTo>
                <a:lnTo>
                  <a:pt x="3916868" y="1196346"/>
                </a:lnTo>
                <a:lnTo>
                  <a:pt x="3908381" y="1192144"/>
                </a:lnTo>
                <a:lnTo>
                  <a:pt x="3900462" y="1181363"/>
                </a:lnTo>
                <a:lnTo>
                  <a:pt x="3876666" y="1164172"/>
                </a:lnTo>
                <a:lnTo>
                  <a:pt x="3865011" y="1162453"/>
                </a:lnTo>
                <a:lnTo>
                  <a:pt x="3855784" y="1156298"/>
                </a:lnTo>
                <a:lnTo>
                  <a:pt x="3848985" y="1148253"/>
                </a:lnTo>
                <a:lnTo>
                  <a:pt x="3841742" y="1134372"/>
                </a:lnTo>
                <a:lnTo>
                  <a:pt x="3828989" y="1119345"/>
                </a:lnTo>
                <a:lnTo>
                  <a:pt x="3818179" y="1097994"/>
                </a:lnTo>
                <a:lnTo>
                  <a:pt x="3821578" y="1090205"/>
                </a:lnTo>
                <a:lnTo>
                  <a:pt x="3821366" y="1084730"/>
                </a:lnTo>
                <a:lnTo>
                  <a:pt x="3818031" y="1075496"/>
                </a:lnTo>
                <a:lnTo>
                  <a:pt x="3814421" y="1068366"/>
                </a:lnTo>
                <a:lnTo>
                  <a:pt x="3811929" y="1061616"/>
                </a:lnTo>
                <a:lnTo>
                  <a:pt x="3813892" y="1051915"/>
                </a:lnTo>
                <a:lnTo>
                  <a:pt x="3814652" y="1041050"/>
                </a:lnTo>
                <a:lnTo>
                  <a:pt x="3816785" y="1035275"/>
                </a:lnTo>
                <a:lnTo>
                  <a:pt x="3818327" y="1028931"/>
                </a:lnTo>
                <a:lnTo>
                  <a:pt x="3816321" y="1016154"/>
                </a:lnTo>
                <a:lnTo>
                  <a:pt x="3812731" y="1009298"/>
                </a:lnTo>
                <a:lnTo>
                  <a:pt x="3813090" y="1004735"/>
                </a:lnTo>
                <a:lnTo>
                  <a:pt x="3809015" y="1002505"/>
                </a:lnTo>
                <a:lnTo>
                  <a:pt x="3805721" y="997540"/>
                </a:lnTo>
                <a:lnTo>
                  <a:pt x="3809163" y="997540"/>
                </a:lnTo>
                <a:lnTo>
                  <a:pt x="3802913" y="990641"/>
                </a:lnTo>
                <a:lnTo>
                  <a:pt x="3800611" y="986801"/>
                </a:lnTo>
                <a:lnTo>
                  <a:pt x="3798247" y="977419"/>
                </a:lnTo>
                <a:lnTo>
                  <a:pt x="3795227" y="970245"/>
                </a:lnTo>
                <a:lnTo>
                  <a:pt x="3785535" y="953946"/>
                </a:lnTo>
                <a:lnTo>
                  <a:pt x="3780890" y="943990"/>
                </a:lnTo>
                <a:lnTo>
                  <a:pt x="3770502" y="931109"/>
                </a:lnTo>
                <a:lnTo>
                  <a:pt x="3759226" y="921578"/>
                </a:lnTo>
                <a:lnTo>
                  <a:pt x="3752068" y="917249"/>
                </a:lnTo>
                <a:lnTo>
                  <a:pt x="3748606" y="913300"/>
                </a:lnTo>
                <a:lnTo>
                  <a:pt x="3742757" y="913174"/>
                </a:lnTo>
                <a:lnTo>
                  <a:pt x="3736380" y="907528"/>
                </a:lnTo>
                <a:lnTo>
                  <a:pt x="3731925" y="907315"/>
                </a:lnTo>
                <a:lnTo>
                  <a:pt x="3726288" y="906400"/>
                </a:lnTo>
                <a:lnTo>
                  <a:pt x="3719658" y="895513"/>
                </a:lnTo>
                <a:lnTo>
                  <a:pt x="3714189" y="885304"/>
                </a:lnTo>
                <a:lnTo>
                  <a:pt x="3704856" y="871996"/>
                </a:lnTo>
                <a:lnTo>
                  <a:pt x="3707200" y="868516"/>
                </a:lnTo>
                <a:lnTo>
                  <a:pt x="3709924" y="862849"/>
                </a:lnTo>
                <a:lnTo>
                  <a:pt x="3708573" y="855419"/>
                </a:lnTo>
                <a:lnTo>
                  <a:pt x="3707094" y="850368"/>
                </a:lnTo>
                <a:lnTo>
                  <a:pt x="3702977" y="841159"/>
                </a:lnTo>
                <a:lnTo>
                  <a:pt x="3689443" y="818192"/>
                </a:lnTo>
                <a:lnTo>
                  <a:pt x="3685853" y="814818"/>
                </a:lnTo>
                <a:lnTo>
                  <a:pt x="3680089" y="810935"/>
                </a:lnTo>
                <a:lnTo>
                  <a:pt x="3676542" y="800958"/>
                </a:lnTo>
                <a:lnTo>
                  <a:pt x="3674916" y="792001"/>
                </a:lnTo>
                <a:lnTo>
                  <a:pt x="3665647" y="787652"/>
                </a:lnTo>
                <a:lnTo>
                  <a:pt x="3649705" y="755262"/>
                </a:lnTo>
                <a:lnTo>
                  <a:pt x="3640457" y="743909"/>
                </a:lnTo>
                <a:lnTo>
                  <a:pt x="3636803" y="736267"/>
                </a:lnTo>
                <a:lnTo>
                  <a:pt x="3626120" y="723681"/>
                </a:lnTo>
                <a:lnTo>
                  <a:pt x="3620862" y="711138"/>
                </a:lnTo>
                <a:lnTo>
                  <a:pt x="3610093" y="699549"/>
                </a:lnTo>
                <a:lnTo>
                  <a:pt x="3600762" y="679408"/>
                </a:lnTo>
                <a:lnTo>
                  <a:pt x="3586340" y="659222"/>
                </a:lnTo>
                <a:lnTo>
                  <a:pt x="3580280" y="655721"/>
                </a:lnTo>
                <a:lnTo>
                  <a:pt x="3565415" y="654279"/>
                </a:lnTo>
                <a:lnTo>
                  <a:pt x="3559165" y="652795"/>
                </a:lnTo>
                <a:lnTo>
                  <a:pt x="3553423" y="657231"/>
                </a:lnTo>
                <a:lnTo>
                  <a:pt x="3552916" y="651606"/>
                </a:lnTo>
                <a:lnTo>
                  <a:pt x="3556885" y="643817"/>
                </a:lnTo>
                <a:lnTo>
                  <a:pt x="3562607" y="627432"/>
                </a:lnTo>
                <a:lnTo>
                  <a:pt x="3563747" y="613042"/>
                </a:lnTo>
                <a:lnTo>
                  <a:pt x="3572742" y="570125"/>
                </a:lnTo>
                <a:lnTo>
                  <a:pt x="3585368" y="572333"/>
                </a:lnTo>
                <a:lnTo>
                  <a:pt x="3595757" y="574160"/>
                </a:lnTo>
                <a:lnTo>
                  <a:pt x="3610938" y="576833"/>
                </a:lnTo>
                <a:lnTo>
                  <a:pt x="3626648" y="579593"/>
                </a:lnTo>
                <a:lnTo>
                  <a:pt x="3635833" y="581206"/>
                </a:lnTo>
                <a:lnTo>
                  <a:pt x="3638978" y="580507"/>
                </a:lnTo>
                <a:lnTo>
                  <a:pt x="3651690" y="569979"/>
                </a:lnTo>
                <a:lnTo>
                  <a:pt x="3663134" y="560471"/>
                </a:lnTo>
                <a:lnTo>
                  <a:pt x="3663165" y="560418"/>
                </a:lnTo>
                <a:lnTo>
                  <a:pt x="3651733" y="569917"/>
                </a:lnTo>
                <a:lnTo>
                  <a:pt x="3639021" y="580443"/>
                </a:lnTo>
                <a:lnTo>
                  <a:pt x="3635876" y="581123"/>
                </a:lnTo>
                <a:lnTo>
                  <a:pt x="3626691" y="579511"/>
                </a:lnTo>
                <a:lnTo>
                  <a:pt x="3610982" y="576750"/>
                </a:lnTo>
                <a:lnTo>
                  <a:pt x="3595800" y="574077"/>
                </a:lnTo>
                <a:lnTo>
                  <a:pt x="3585411" y="572272"/>
                </a:lnTo>
                <a:lnTo>
                  <a:pt x="3572806" y="570043"/>
                </a:lnTo>
                <a:lnTo>
                  <a:pt x="3574643" y="561150"/>
                </a:lnTo>
                <a:lnTo>
                  <a:pt x="3574136" y="556334"/>
                </a:lnTo>
                <a:lnTo>
                  <a:pt x="3574136" y="556335"/>
                </a:lnTo>
                <a:lnTo>
                  <a:pt x="3570040" y="561641"/>
                </a:lnTo>
                <a:lnTo>
                  <a:pt x="3566725" y="564719"/>
                </a:lnTo>
                <a:lnTo>
                  <a:pt x="3560096" y="575691"/>
                </a:lnTo>
                <a:lnTo>
                  <a:pt x="3553022" y="610436"/>
                </a:lnTo>
                <a:lnTo>
                  <a:pt x="3542908" y="637453"/>
                </a:lnTo>
                <a:lnTo>
                  <a:pt x="3541768" y="654327"/>
                </a:lnTo>
                <a:lnTo>
                  <a:pt x="3540142" y="660396"/>
                </a:lnTo>
                <a:lnTo>
                  <a:pt x="3535327" y="668929"/>
                </a:lnTo>
                <a:lnTo>
                  <a:pt x="3529500" y="677272"/>
                </a:lnTo>
                <a:lnTo>
                  <a:pt x="3519133" y="672961"/>
                </a:lnTo>
                <a:lnTo>
                  <a:pt x="3502241" y="658275"/>
                </a:lnTo>
                <a:lnTo>
                  <a:pt x="3492401" y="644310"/>
                </a:lnTo>
                <a:lnTo>
                  <a:pt x="3481844" y="635268"/>
                </a:lnTo>
                <a:lnTo>
                  <a:pt x="3471878" y="623276"/>
                </a:lnTo>
                <a:lnTo>
                  <a:pt x="3469154" y="614637"/>
                </a:lnTo>
                <a:lnTo>
                  <a:pt x="3469260" y="609077"/>
                </a:lnTo>
                <a:lnTo>
                  <a:pt x="3464911" y="595514"/>
                </a:lnTo>
                <a:lnTo>
                  <a:pt x="3461680" y="589085"/>
                </a:lnTo>
                <a:lnTo>
                  <a:pt x="3449518" y="574631"/>
                </a:lnTo>
                <a:lnTo>
                  <a:pt x="3446034" y="566906"/>
                </a:lnTo>
                <a:lnTo>
                  <a:pt x="3443373" y="563487"/>
                </a:lnTo>
                <a:lnTo>
                  <a:pt x="3440692" y="558606"/>
                </a:lnTo>
                <a:lnTo>
                  <a:pt x="3436279" y="539738"/>
                </a:lnTo>
                <a:lnTo>
                  <a:pt x="3431465" y="527725"/>
                </a:lnTo>
                <a:lnTo>
                  <a:pt x="3425975" y="531058"/>
                </a:lnTo>
                <a:lnTo>
                  <a:pt x="3426947" y="536108"/>
                </a:lnTo>
                <a:lnTo>
                  <a:pt x="3422153" y="543090"/>
                </a:lnTo>
                <a:lnTo>
                  <a:pt x="3419260" y="551178"/>
                </a:lnTo>
                <a:lnTo>
                  <a:pt x="3421477" y="557778"/>
                </a:lnTo>
                <a:lnTo>
                  <a:pt x="3431423" y="567817"/>
                </a:lnTo>
                <a:lnTo>
                  <a:pt x="3433429" y="572212"/>
                </a:lnTo>
                <a:lnTo>
                  <a:pt x="3435751" y="581698"/>
                </a:lnTo>
                <a:lnTo>
                  <a:pt x="3435371" y="594580"/>
                </a:lnTo>
                <a:lnTo>
                  <a:pt x="3436976" y="598933"/>
                </a:lnTo>
                <a:lnTo>
                  <a:pt x="3444429" y="608483"/>
                </a:lnTo>
                <a:lnTo>
                  <a:pt x="3447090" y="614150"/>
                </a:lnTo>
                <a:lnTo>
                  <a:pt x="3448694" y="619033"/>
                </a:lnTo>
                <a:lnTo>
                  <a:pt x="3451165" y="623447"/>
                </a:lnTo>
                <a:lnTo>
                  <a:pt x="3458555" y="631723"/>
                </a:lnTo>
                <a:lnTo>
                  <a:pt x="3469176" y="647472"/>
                </a:lnTo>
                <a:lnTo>
                  <a:pt x="3479248" y="658084"/>
                </a:lnTo>
                <a:lnTo>
                  <a:pt x="3486532" y="663199"/>
                </a:lnTo>
                <a:lnTo>
                  <a:pt x="3489615" y="668314"/>
                </a:lnTo>
                <a:lnTo>
                  <a:pt x="3490311" y="681494"/>
                </a:lnTo>
                <a:lnTo>
                  <a:pt x="3489763" y="687776"/>
                </a:lnTo>
                <a:lnTo>
                  <a:pt x="3496160" y="699598"/>
                </a:lnTo>
                <a:lnTo>
                  <a:pt x="3498525" y="705563"/>
                </a:lnTo>
                <a:lnTo>
                  <a:pt x="3504690" y="710424"/>
                </a:lnTo>
                <a:lnTo>
                  <a:pt x="3507520" y="715962"/>
                </a:lnTo>
                <a:lnTo>
                  <a:pt x="3510117" y="724982"/>
                </a:lnTo>
                <a:lnTo>
                  <a:pt x="3514023" y="751577"/>
                </a:lnTo>
                <a:lnTo>
                  <a:pt x="3519386" y="758092"/>
                </a:lnTo>
                <a:lnTo>
                  <a:pt x="3535961" y="792878"/>
                </a:lnTo>
                <a:lnTo>
                  <a:pt x="3549939" y="814803"/>
                </a:lnTo>
                <a:lnTo>
                  <a:pt x="3556696" y="831146"/>
                </a:lnTo>
                <a:lnTo>
                  <a:pt x="3567021" y="850968"/>
                </a:lnTo>
                <a:lnTo>
                  <a:pt x="3587228" y="894352"/>
                </a:lnTo>
                <a:lnTo>
                  <a:pt x="3599242" y="907680"/>
                </a:lnTo>
                <a:lnTo>
                  <a:pt x="3604035" y="915174"/>
                </a:lnTo>
                <a:lnTo>
                  <a:pt x="3612734" y="920926"/>
                </a:lnTo>
                <a:lnTo>
                  <a:pt x="3622151" y="929244"/>
                </a:lnTo>
                <a:lnTo>
                  <a:pt x="3613177" y="928435"/>
                </a:lnTo>
                <a:lnTo>
                  <a:pt x="3610897" y="928926"/>
                </a:lnTo>
                <a:lnTo>
                  <a:pt x="3607751" y="930346"/>
                </a:lnTo>
                <a:lnTo>
                  <a:pt x="3606252" y="935397"/>
                </a:lnTo>
                <a:lnTo>
                  <a:pt x="3605597" y="939515"/>
                </a:lnTo>
                <a:lnTo>
                  <a:pt x="3606695" y="961271"/>
                </a:lnTo>
                <a:lnTo>
                  <a:pt x="3609166" y="972350"/>
                </a:lnTo>
                <a:lnTo>
                  <a:pt x="3617062" y="993255"/>
                </a:lnTo>
                <a:lnTo>
                  <a:pt x="3622954" y="999516"/>
                </a:lnTo>
                <a:lnTo>
                  <a:pt x="3625825" y="1003570"/>
                </a:lnTo>
                <a:lnTo>
                  <a:pt x="3629836" y="1006520"/>
                </a:lnTo>
                <a:lnTo>
                  <a:pt x="3648565" y="1013652"/>
                </a:lnTo>
                <a:lnTo>
                  <a:pt x="3659524" y="1028680"/>
                </a:lnTo>
                <a:lnTo>
                  <a:pt x="3684143" y="1047653"/>
                </a:lnTo>
                <a:lnTo>
                  <a:pt x="3686550" y="1052895"/>
                </a:lnTo>
                <a:lnTo>
                  <a:pt x="3686614" y="1054106"/>
                </a:lnTo>
                <a:lnTo>
                  <a:pt x="3667168" y="1054127"/>
                </a:lnTo>
                <a:lnTo>
                  <a:pt x="3647720" y="1054127"/>
                </a:lnTo>
                <a:lnTo>
                  <a:pt x="3628274" y="1054127"/>
                </a:lnTo>
                <a:lnTo>
                  <a:pt x="3608828" y="1054127"/>
                </a:lnTo>
                <a:lnTo>
                  <a:pt x="3589402" y="1054127"/>
                </a:lnTo>
                <a:lnTo>
                  <a:pt x="3569934" y="1054148"/>
                </a:lnTo>
                <a:lnTo>
                  <a:pt x="3550509" y="1054148"/>
                </a:lnTo>
                <a:lnTo>
                  <a:pt x="3531062" y="1054148"/>
                </a:lnTo>
                <a:lnTo>
                  <a:pt x="3511616" y="1054148"/>
                </a:lnTo>
                <a:lnTo>
                  <a:pt x="3492170" y="1054148"/>
                </a:lnTo>
                <a:lnTo>
                  <a:pt x="3472722" y="1054148"/>
                </a:lnTo>
                <a:lnTo>
                  <a:pt x="3453297" y="1054148"/>
                </a:lnTo>
                <a:lnTo>
                  <a:pt x="3433851" y="1054169"/>
                </a:lnTo>
                <a:lnTo>
                  <a:pt x="3414404" y="1054169"/>
                </a:lnTo>
                <a:lnTo>
                  <a:pt x="3394958" y="1054169"/>
                </a:lnTo>
                <a:lnTo>
                  <a:pt x="3375511" y="1054169"/>
                </a:lnTo>
                <a:lnTo>
                  <a:pt x="3364426" y="1054169"/>
                </a:lnTo>
                <a:lnTo>
                  <a:pt x="3364426" y="1054171"/>
                </a:lnTo>
                <a:lnTo>
                  <a:pt x="3375511" y="1054171"/>
                </a:lnTo>
                <a:lnTo>
                  <a:pt x="3394958" y="1054171"/>
                </a:lnTo>
                <a:lnTo>
                  <a:pt x="3414404" y="1054171"/>
                </a:lnTo>
                <a:lnTo>
                  <a:pt x="3433851" y="1054171"/>
                </a:lnTo>
                <a:lnTo>
                  <a:pt x="3453297" y="1054149"/>
                </a:lnTo>
                <a:lnTo>
                  <a:pt x="3472722" y="1054149"/>
                </a:lnTo>
                <a:lnTo>
                  <a:pt x="3492170" y="1054149"/>
                </a:lnTo>
                <a:lnTo>
                  <a:pt x="3511616" y="1054149"/>
                </a:lnTo>
                <a:lnTo>
                  <a:pt x="3531062" y="1054149"/>
                </a:lnTo>
                <a:lnTo>
                  <a:pt x="3550509" y="1054149"/>
                </a:lnTo>
                <a:lnTo>
                  <a:pt x="3569934" y="1054149"/>
                </a:lnTo>
                <a:lnTo>
                  <a:pt x="3589402" y="1054128"/>
                </a:lnTo>
                <a:lnTo>
                  <a:pt x="3608828" y="1054128"/>
                </a:lnTo>
                <a:lnTo>
                  <a:pt x="3628274" y="1054128"/>
                </a:lnTo>
                <a:lnTo>
                  <a:pt x="3647720" y="1054128"/>
                </a:lnTo>
                <a:lnTo>
                  <a:pt x="3667168" y="1054128"/>
                </a:lnTo>
                <a:lnTo>
                  <a:pt x="3686614" y="1054108"/>
                </a:lnTo>
                <a:lnTo>
                  <a:pt x="3687269" y="1068668"/>
                </a:lnTo>
                <a:lnTo>
                  <a:pt x="3689887" y="1080277"/>
                </a:lnTo>
                <a:lnTo>
                  <a:pt x="3699051" y="1096852"/>
                </a:lnTo>
                <a:lnTo>
                  <a:pt x="3706778" y="1105766"/>
                </a:lnTo>
                <a:lnTo>
                  <a:pt x="3709566" y="1110669"/>
                </a:lnTo>
                <a:lnTo>
                  <a:pt x="3709819" y="1112941"/>
                </a:lnTo>
                <a:lnTo>
                  <a:pt x="3709460" y="1115063"/>
                </a:lnTo>
                <a:lnTo>
                  <a:pt x="3707116" y="1112622"/>
                </a:lnTo>
                <a:lnTo>
                  <a:pt x="3703147" y="1110967"/>
                </a:lnTo>
                <a:lnTo>
                  <a:pt x="3702598" y="1118714"/>
                </a:lnTo>
                <a:lnTo>
                  <a:pt x="3703506" y="1124210"/>
                </a:lnTo>
                <a:lnTo>
                  <a:pt x="3704456" y="1134548"/>
                </a:lnTo>
                <a:lnTo>
                  <a:pt x="3707708" y="1145626"/>
                </a:lnTo>
                <a:lnTo>
                  <a:pt x="3705364" y="1155857"/>
                </a:lnTo>
                <a:lnTo>
                  <a:pt x="3705681" y="1173175"/>
                </a:lnTo>
                <a:lnTo>
                  <a:pt x="3709777" y="1193890"/>
                </a:lnTo>
                <a:lnTo>
                  <a:pt x="3708953" y="1207091"/>
                </a:lnTo>
                <a:lnTo>
                  <a:pt x="3715646" y="1237823"/>
                </a:lnTo>
                <a:lnTo>
                  <a:pt x="3722150" y="1254846"/>
                </a:lnTo>
                <a:lnTo>
                  <a:pt x="3725719" y="1259026"/>
                </a:lnTo>
                <a:lnTo>
                  <a:pt x="3729751" y="1261277"/>
                </a:lnTo>
                <a:lnTo>
                  <a:pt x="3737480" y="1262719"/>
                </a:lnTo>
                <a:lnTo>
                  <a:pt x="3748860" y="1271358"/>
                </a:lnTo>
                <a:lnTo>
                  <a:pt x="3757876" y="1280483"/>
                </a:lnTo>
                <a:lnTo>
                  <a:pt x="3761085" y="1285259"/>
                </a:lnTo>
                <a:lnTo>
                  <a:pt x="3765435" y="1290482"/>
                </a:lnTo>
                <a:lnTo>
                  <a:pt x="3768433" y="1289547"/>
                </a:lnTo>
                <a:lnTo>
                  <a:pt x="3770270" y="1288148"/>
                </a:lnTo>
                <a:lnTo>
                  <a:pt x="3773205" y="1292371"/>
                </a:lnTo>
                <a:lnTo>
                  <a:pt x="3787499" y="1301476"/>
                </a:lnTo>
                <a:lnTo>
                  <a:pt x="3789611" y="1305700"/>
                </a:lnTo>
                <a:lnTo>
                  <a:pt x="3789565" y="1305737"/>
                </a:lnTo>
                <a:lnTo>
                  <a:pt x="3807432" y="1341569"/>
                </a:lnTo>
                <a:lnTo>
                  <a:pt x="3814695" y="1362752"/>
                </a:lnTo>
                <a:lnTo>
                  <a:pt x="3821114" y="1384804"/>
                </a:lnTo>
                <a:lnTo>
                  <a:pt x="3825865" y="1417848"/>
                </a:lnTo>
                <a:lnTo>
                  <a:pt x="3830383" y="1434660"/>
                </a:lnTo>
                <a:lnTo>
                  <a:pt x="3837689" y="1442937"/>
                </a:lnTo>
                <a:lnTo>
                  <a:pt x="3842694" y="1458579"/>
                </a:lnTo>
                <a:lnTo>
                  <a:pt x="3846980" y="1459174"/>
                </a:lnTo>
                <a:lnTo>
                  <a:pt x="3850083" y="1463463"/>
                </a:lnTo>
                <a:lnTo>
                  <a:pt x="3855404" y="1478129"/>
                </a:lnTo>
                <a:lnTo>
                  <a:pt x="3859226" y="1483582"/>
                </a:lnTo>
                <a:lnTo>
                  <a:pt x="3861232" y="1478893"/>
                </a:lnTo>
                <a:lnTo>
                  <a:pt x="3860999" y="1476196"/>
                </a:lnTo>
                <a:lnTo>
                  <a:pt x="3859500" y="1471676"/>
                </a:lnTo>
                <a:lnTo>
                  <a:pt x="3860872" y="1465861"/>
                </a:lnTo>
                <a:lnTo>
                  <a:pt x="3863850" y="1462379"/>
                </a:lnTo>
                <a:lnTo>
                  <a:pt x="3870649" y="1467134"/>
                </a:lnTo>
                <a:lnTo>
                  <a:pt x="3874366" y="1470720"/>
                </a:lnTo>
                <a:lnTo>
                  <a:pt x="3875358" y="1477916"/>
                </a:lnTo>
                <a:lnTo>
                  <a:pt x="3876921" y="1481906"/>
                </a:lnTo>
                <a:lnTo>
                  <a:pt x="3884014" y="1490352"/>
                </a:lnTo>
                <a:lnTo>
                  <a:pt x="3890012" y="1492814"/>
                </a:lnTo>
                <a:lnTo>
                  <a:pt x="3897781" y="1493432"/>
                </a:lnTo>
                <a:lnTo>
                  <a:pt x="3904284" y="1495280"/>
                </a:lnTo>
                <a:lnTo>
                  <a:pt x="3909500" y="1498378"/>
                </a:lnTo>
                <a:lnTo>
                  <a:pt x="3919276" y="1506952"/>
                </a:lnTo>
                <a:lnTo>
                  <a:pt x="3941636" y="1514467"/>
                </a:lnTo>
                <a:lnTo>
                  <a:pt x="3959605" y="1537473"/>
                </a:lnTo>
                <a:lnTo>
                  <a:pt x="3970183" y="1553392"/>
                </a:lnTo>
                <a:lnTo>
                  <a:pt x="4004959" y="1577481"/>
                </a:lnTo>
                <a:lnTo>
                  <a:pt x="4010977" y="1589005"/>
                </a:lnTo>
                <a:lnTo>
                  <a:pt x="4014101" y="1600295"/>
                </a:lnTo>
                <a:lnTo>
                  <a:pt x="4021407" y="1599764"/>
                </a:lnTo>
                <a:lnTo>
                  <a:pt x="4033950" y="1612097"/>
                </a:lnTo>
                <a:lnTo>
                  <a:pt x="4037602" y="1621456"/>
                </a:lnTo>
                <a:lnTo>
                  <a:pt x="4047864" y="1624852"/>
                </a:lnTo>
                <a:lnTo>
                  <a:pt x="4049617" y="1619311"/>
                </a:lnTo>
                <a:lnTo>
                  <a:pt x="4054578" y="1623853"/>
                </a:lnTo>
                <a:lnTo>
                  <a:pt x="4056687" y="1630957"/>
                </a:lnTo>
                <a:lnTo>
                  <a:pt x="4056689" y="1630956"/>
                </a:lnTo>
                <a:lnTo>
                  <a:pt x="4057534" y="1633885"/>
                </a:lnTo>
                <a:lnTo>
                  <a:pt x="4067458" y="1645815"/>
                </a:lnTo>
                <a:lnTo>
                  <a:pt x="4070730" y="1651672"/>
                </a:lnTo>
                <a:lnTo>
                  <a:pt x="4074046" y="1662411"/>
                </a:lnTo>
                <a:lnTo>
                  <a:pt x="4072314" y="1668376"/>
                </a:lnTo>
                <a:lnTo>
                  <a:pt x="4069717" y="1672280"/>
                </a:lnTo>
                <a:lnTo>
                  <a:pt x="4065896" y="1675740"/>
                </a:lnTo>
                <a:lnTo>
                  <a:pt x="4052614" y="1684252"/>
                </a:lnTo>
                <a:lnTo>
                  <a:pt x="4037855" y="1689663"/>
                </a:lnTo>
                <a:lnTo>
                  <a:pt x="4028438" y="1700508"/>
                </a:lnTo>
                <a:lnTo>
                  <a:pt x="4021428" y="1699765"/>
                </a:lnTo>
                <a:lnTo>
                  <a:pt x="4022505" y="1703861"/>
                </a:lnTo>
                <a:lnTo>
                  <a:pt x="4025102" y="1704327"/>
                </a:lnTo>
                <a:lnTo>
                  <a:pt x="4029198" y="1703542"/>
                </a:lnTo>
                <a:lnTo>
                  <a:pt x="4037327" y="1700402"/>
                </a:lnTo>
                <a:lnTo>
                  <a:pt x="4044527" y="1698895"/>
                </a:lnTo>
                <a:lnTo>
                  <a:pt x="4052318" y="1698789"/>
                </a:lnTo>
                <a:lnTo>
                  <a:pt x="4059370" y="1700147"/>
                </a:lnTo>
                <a:lnTo>
                  <a:pt x="4064354" y="1704142"/>
                </a:lnTo>
                <a:lnTo>
                  <a:pt x="4059223" y="1712228"/>
                </a:lnTo>
                <a:lnTo>
                  <a:pt x="4052656" y="1722585"/>
                </a:lnTo>
                <a:lnTo>
                  <a:pt x="4045202" y="1734345"/>
                </a:lnTo>
                <a:lnTo>
                  <a:pt x="4040537" y="1734428"/>
                </a:lnTo>
                <a:lnTo>
                  <a:pt x="4036926" y="1733748"/>
                </a:lnTo>
                <a:lnTo>
                  <a:pt x="4034434" y="1731754"/>
                </a:lnTo>
                <a:lnTo>
                  <a:pt x="4029325" y="1729568"/>
                </a:lnTo>
                <a:lnTo>
                  <a:pt x="4023560" y="1729420"/>
                </a:lnTo>
                <a:lnTo>
                  <a:pt x="4018071" y="1731458"/>
                </a:lnTo>
                <a:lnTo>
                  <a:pt x="4008780" y="1733983"/>
                </a:lnTo>
                <a:lnTo>
                  <a:pt x="4000377" y="1734811"/>
                </a:lnTo>
                <a:lnTo>
                  <a:pt x="3993599" y="1736211"/>
                </a:lnTo>
                <a:lnTo>
                  <a:pt x="3988003" y="1737845"/>
                </a:lnTo>
                <a:lnTo>
                  <a:pt x="3982935" y="1736954"/>
                </a:lnTo>
                <a:lnTo>
                  <a:pt x="3978565" y="1735489"/>
                </a:lnTo>
                <a:lnTo>
                  <a:pt x="3978566" y="1735493"/>
                </a:lnTo>
                <a:lnTo>
                  <a:pt x="3982936" y="1736957"/>
                </a:lnTo>
                <a:lnTo>
                  <a:pt x="3988004" y="1737851"/>
                </a:lnTo>
                <a:lnTo>
                  <a:pt x="3993600" y="1736216"/>
                </a:lnTo>
                <a:lnTo>
                  <a:pt x="4000378" y="1734817"/>
                </a:lnTo>
                <a:lnTo>
                  <a:pt x="4008781" y="1733989"/>
                </a:lnTo>
                <a:lnTo>
                  <a:pt x="4018072" y="1731463"/>
                </a:lnTo>
                <a:lnTo>
                  <a:pt x="4023561" y="1729424"/>
                </a:lnTo>
                <a:lnTo>
                  <a:pt x="4029325" y="1729573"/>
                </a:lnTo>
                <a:lnTo>
                  <a:pt x="4034435" y="1731759"/>
                </a:lnTo>
                <a:lnTo>
                  <a:pt x="4036927" y="1733754"/>
                </a:lnTo>
                <a:lnTo>
                  <a:pt x="4040537" y="1734435"/>
                </a:lnTo>
                <a:lnTo>
                  <a:pt x="4045201" y="1734350"/>
                </a:lnTo>
                <a:lnTo>
                  <a:pt x="4045203" y="1734346"/>
                </a:lnTo>
                <a:lnTo>
                  <a:pt x="4052657" y="1722587"/>
                </a:lnTo>
                <a:lnTo>
                  <a:pt x="4059224" y="1712228"/>
                </a:lnTo>
                <a:lnTo>
                  <a:pt x="4064355" y="1704144"/>
                </a:lnTo>
                <a:lnTo>
                  <a:pt x="4075925" y="1713396"/>
                </a:lnTo>
                <a:lnTo>
                  <a:pt x="4087180" y="1732159"/>
                </a:lnTo>
                <a:lnTo>
                  <a:pt x="4100292" y="1747312"/>
                </a:lnTo>
                <a:lnTo>
                  <a:pt x="4118408" y="1761364"/>
                </a:lnTo>
                <a:lnTo>
                  <a:pt x="4125586" y="1766118"/>
                </a:lnTo>
                <a:lnTo>
                  <a:pt x="4131942" y="1768621"/>
                </a:lnTo>
                <a:lnTo>
                  <a:pt x="4164902" y="1768239"/>
                </a:lnTo>
                <a:lnTo>
                  <a:pt x="4188298" y="1755421"/>
                </a:lnTo>
                <a:lnTo>
                  <a:pt x="4209539" y="1746124"/>
                </a:lnTo>
                <a:lnTo>
                  <a:pt x="4216675" y="1744192"/>
                </a:lnTo>
                <a:lnTo>
                  <a:pt x="4229006" y="1746738"/>
                </a:lnTo>
                <a:lnTo>
                  <a:pt x="4242605" y="1747502"/>
                </a:lnTo>
                <a:lnTo>
                  <a:pt x="4254830" y="1750326"/>
                </a:lnTo>
                <a:lnTo>
                  <a:pt x="4261037" y="1749604"/>
                </a:lnTo>
                <a:lnTo>
                  <a:pt x="4285234" y="1738802"/>
                </a:lnTo>
                <a:lnTo>
                  <a:pt x="4300437" y="1728273"/>
                </a:lnTo>
                <a:lnTo>
                  <a:pt x="4310804" y="1723795"/>
                </a:lnTo>
                <a:lnTo>
                  <a:pt x="4314879" y="1723753"/>
                </a:lnTo>
                <a:lnTo>
                  <a:pt x="4329026" y="1727551"/>
                </a:lnTo>
                <a:lnTo>
                  <a:pt x="4347206" y="1725896"/>
                </a:lnTo>
                <a:lnTo>
                  <a:pt x="4372079" y="1716812"/>
                </a:lnTo>
                <a:lnTo>
                  <a:pt x="4379997" y="1714965"/>
                </a:lnTo>
                <a:lnTo>
                  <a:pt x="4386036" y="1714839"/>
                </a:lnTo>
                <a:lnTo>
                  <a:pt x="4399570" y="1718935"/>
                </a:lnTo>
                <a:lnTo>
                  <a:pt x="4401682" y="1718722"/>
                </a:lnTo>
                <a:lnTo>
                  <a:pt x="4409008" y="1717957"/>
                </a:lnTo>
                <a:lnTo>
                  <a:pt x="4428329" y="1713626"/>
                </a:lnTo>
                <a:lnTo>
                  <a:pt x="4443383" y="1707089"/>
                </a:lnTo>
                <a:lnTo>
                  <a:pt x="4471107" y="1702357"/>
                </a:lnTo>
                <a:lnTo>
                  <a:pt x="4492200" y="1690388"/>
                </a:lnTo>
                <a:lnTo>
                  <a:pt x="4495896" y="1684592"/>
                </a:lnTo>
                <a:lnTo>
                  <a:pt x="4502272" y="1677290"/>
                </a:lnTo>
                <a:lnTo>
                  <a:pt x="4511520" y="1674894"/>
                </a:lnTo>
                <a:lnTo>
                  <a:pt x="4535168" y="1683469"/>
                </a:lnTo>
                <a:lnTo>
                  <a:pt x="4538948" y="1684148"/>
                </a:lnTo>
                <a:lnTo>
                  <a:pt x="4537575" y="1689325"/>
                </a:lnTo>
                <a:lnTo>
                  <a:pt x="4536753" y="1694611"/>
                </a:lnTo>
                <a:lnTo>
                  <a:pt x="4531917" y="1703822"/>
                </a:lnTo>
                <a:lnTo>
                  <a:pt x="4528813" y="1714052"/>
                </a:lnTo>
                <a:lnTo>
                  <a:pt x="4531093" y="1729674"/>
                </a:lnTo>
                <a:lnTo>
                  <a:pt x="4532192" y="1754973"/>
                </a:lnTo>
                <a:lnTo>
                  <a:pt x="4531621" y="1758645"/>
                </a:lnTo>
                <a:lnTo>
                  <a:pt x="4530059" y="1762253"/>
                </a:lnTo>
                <a:lnTo>
                  <a:pt x="4529404" y="1765118"/>
                </a:lnTo>
                <a:lnTo>
                  <a:pt x="4526849" y="1766115"/>
                </a:lnTo>
                <a:lnTo>
                  <a:pt x="4525730" y="1767750"/>
                </a:lnTo>
                <a:lnTo>
                  <a:pt x="4527589" y="1768387"/>
                </a:lnTo>
                <a:lnTo>
                  <a:pt x="4534978" y="1765648"/>
                </a:lnTo>
                <a:lnTo>
                  <a:pt x="4534851" y="1762614"/>
                </a:lnTo>
                <a:lnTo>
                  <a:pt x="4535274" y="1761128"/>
                </a:lnTo>
                <a:lnTo>
                  <a:pt x="4541355" y="1764502"/>
                </a:lnTo>
                <a:lnTo>
                  <a:pt x="4545705" y="1765902"/>
                </a:lnTo>
                <a:lnTo>
                  <a:pt x="4546972" y="1769086"/>
                </a:lnTo>
                <a:lnTo>
                  <a:pt x="4546634" y="1771251"/>
                </a:lnTo>
                <a:lnTo>
                  <a:pt x="4539729" y="1770253"/>
                </a:lnTo>
                <a:lnTo>
                  <a:pt x="4536203" y="1768577"/>
                </a:lnTo>
                <a:lnTo>
                  <a:pt x="4525962" y="1771337"/>
                </a:lnTo>
                <a:lnTo>
                  <a:pt x="4519691" y="1774308"/>
                </a:lnTo>
                <a:lnTo>
                  <a:pt x="4517812" y="1779274"/>
                </a:lnTo>
                <a:lnTo>
                  <a:pt x="4516356" y="1799054"/>
                </a:lnTo>
                <a:lnTo>
                  <a:pt x="4513927" y="1811874"/>
                </a:lnTo>
                <a:lnTo>
                  <a:pt x="4513463" y="1828832"/>
                </a:lnTo>
                <a:lnTo>
                  <a:pt x="4505165" y="1840040"/>
                </a:lnTo>
                <a:lnTo>
                  <a:pt x="4502378" y="1847934"/>
                </a:lnTo>
                <a:lnTo>
                  <a:pt x="4490046" y="1863768"/>
                </a:lnTo>
                <a:lnTo>
                  <a:pt x="4483628" y="1877266"/>
                </a:lnTo>
                <a:lnTo>
                  <a:pt x="4481516" y="1883867"/>
                </a:lnTo>
                <a:lnTo>
                  <a:pt x="4470685" y="1902374"/>
                </a:lnTo>
                <a:lnTo>
                  <a:pt x="4455799" y="1916552"/>
                </a:lnTo>
                <a:lnTo>
                  <a:pt x="4450436" y="1934656"/>
                </a:lnTo>
                <a:lnTo>
                  <a:pt x="4445114" y="1946012"/>
                </a:lnTo>
                <a:lnTo>
                  <a:pt x="4439097" y="1956284"/>
                </a:lnTo>
                <a:lnTo>
                  <a:pt x="4425964" y="1974579"/>
                </a:lnTo>
                <a:lnTo>
                  <a:pt x="4419249" y="1987272"/>
                </a:lnTo>
                <a:lnTo>
                  <a:pt x="4410825" y="2009302"/>
                </a:lnTo>
                <a:lnTo>
                  <a:pt x="4408228" y="2023225"/>
                </a:lnTo>
                <a:lnTo>
                  <a:pt x="4384515" y="2063637"/>
                </a:lnTo>
                <a:lnTo>
                  <a:pt x="4359917" y="2095813"/>
                </a:lnTo>
                <a:lnTo>
                  <a:pt x="4344609" y="2122864"/>
                </a:lnTo>
                <a:lnTo>
                  <a:pt x="4317118" y="2154240"/>
                </a:lnTo>
                <a:lnTo>
                  <a:pt x="4279639" y="2194716"/>
                </a:lnTo>
                <a:lnTo>
                  <a:pt x="4230569" y="2242731"/>
                </a:lnTo>
                <a:lnTo>
                  <a:pt x="4217267" y="2252507"/>
                </a:lnTo>
                <a:lnTo>
                  <a:pt x="4163571" y="2282110"/>
                </a:lnTo>
                <a:lnTo>
                  <a:pt x="4128754" y="2306920"/>
                </a:lnTo>
                <a:lnTo>
                  <a:pt x="4110976" y="2323790"/>
                </a:lnTo>
                <a:lnTo>
                  <a:pt x="4092310" y="2338464"/>
                </a:lnTo>
                <a:lnTo>
                  <a:pt x="4077488" y="2352463"/>
                </a:lnTo>
                <a:lnTo>
                  <a:pt x="4032704" y="2399612"/>
                </a:lnTo>
                <a:lnTo>
                  <a:pt x="4028101" y="2404046"/>
                </a:lnTo>
                <a:lnTo>
                  <a:pt x="4023751" y="2408227"/>
                </a:lnTo>
                <a:lnTo>
                  <a:pt x="4018113" y="2416230"/>
                </a:lnTo>
                <a:lnTo>
                  <a:pt x="4014186" y="2419396"/>
                </a:lnTo>
                <a:lnTo>
                  <a:pt x="4003502" y="2432889"/>
                </a:lnTo>
                <a:lnTo>
                  <a:pt x="3996809" y="2439878"/>
                </a:lnTo>
                <a:lnTo>
                  <a:pt x="3989334" y="2446803"/>
                </a:lnTo>
                <a:lnTo>
                  <a:pt x="3986145" y="2451681"/>
                </a:lnTo>
                <a:lnTo>
                  <a:pt x="3983907" y="2457297"/>
                </a:lnTo>
                <a:lnTo>
                  <a:pt x="3981395" y="2460422"/>
                </a:lnTo>
                <a:lnTo>
                  <a:pt x="3974660" y="2473830"/>
                </a:lnTo>
                <a:lnTo>
                  <a:pt x="3968705" y="2482635"/>
                </a:lnTo>
                <a:lnTo>
                  <a:pt x="3962838" y="2489537"/>
                </a:lnTo>
                <a:lnTo>
                  <a:pt x="3962835" y="2489582"/>
                </a:lnTo>
                <a:lnTo>
                  <a:pt x="3954199" y="2499759"/>
                </a:lnTo>
                <a:lnTo>
                  <a:pt x="3947126" y="2504383"/>
                </a:lnTo>
                <a:lnTo>
                  <a:pt x="3937603" y="2506579"/>
                </a:lnTo>
                <a:lnTo>
                  <a:pt x="3934752" y="2506157"/>
                </a:lnTo>
                <a:lnTo>
                  <a:pt x="3931015" y="2504721"/>
                </a:lnTo>
                <a:lnTo>
                  <a:pt x="3929558" y="2507170"/>
                </a:lnTo>
                <a:lnTo>
                  <a:pt x="3928460" y="2510970"/>
                </a:lnTo>
                <a:lnTo>
                  <a:pt x="3926349" y="2510148"/>
                </a:lnTo>
                <a:lnTo>
                  <a:pt x="3924765" y="2509028"/>
                </a:lnTo>
                <a:lnTo>
                  <a:pt x="3925715" y="2515785"/>
                </a:lnTo>
                <a:lnTo>
                  <a:pt x="3926687" y="2519121"/>
                </a:lnTo>
                <a:lnTo>
                  <a:pt x="3925230" y="2523576"/>
                </a:lnTo>
                <a:lnTo>
                  <a:pt x="3920605" y="2527503"/>
                </a:lnTo>
                <a:lnTo>
                  <a:pt x="3920184" y="2530818"/>
                </a:lnTo>
                <a:lnTo>
                  <a:pt x="3910175" y="2539539"/>
                </a:lnTo>
                <a:lnTo>
                  <a:pt x="3895965" y="2540489"/>
                </a:lnTo>
                <a:lnTo>
                  <a:pt x="3888491" y="2544817"/>
                </a:lnTo>
                <a:lnTo>
                  <a:pt x="3885175" y="2548365"/>
                </a:lnTo>
                <a:lnTo>
                  <a:pt x="3882641" y="2556114"/>
                </a:lnTo>
                <a:lnTo>
                  <a:pt x="3883529" y="2567959"/>
                </a:lnTo>
                <a:lnTo>
                  <a:pt x="3879559" y="2577102"/>
                </a:lnTo>
                <a:lnTo>
                  <a:pt x="3878820" y="2581684"/>
                </a:lnTo>
                <a:lnTo>
                  <a:pt x="3871472" y="2587595"/>
                </a:lnTo>
                <a:lnTo>
                  <a:pt x="3868221" y="2593043"/>
                </a:lnTo>
                <a:lnTo>
                  <a:pt x="3865813" y="2598575"/>
                </a:lnTo>
                <a:lnTo>
                  <a:pt x="3863723" y="2601003"/>
                </a:lnTo>
                <a:lnTo>
                  <a:pt x="3861232" y="2613398"/>
                </a:lnTo>
                <a:lnTo>
                  <a:pt x="3857811" y="2620914"/>
                </a:lnTo>
                <a:lnTo>
                  <a:pt x="3856882" y="2623427"/>
                </a:lnTo>
                <a:lnTo>
                  <a:pt x="3856037" y="2625686"/>
                </a:lnTo>
                <a:lnTo>
                  <a:pt x="3853398" y="2630099"/>
                </a:lnTo>
                <a:lnTo>
                  <a:pt x="3851666" y="2633140"/>
                </a:lnTo>
                <a:lnTo>
                  <a:pt x="3850421" y="2635146"/>
                </a:lnTo>
                <a:lnTo>
                  <a:pt x="3841763" y="2654465"/>
                </a:lnTo>
                <a:lnTo>
                  <a:pt x="3835007" y="2663186"/>
                </a:lnTo>
                <a:lnTo>
                  <a:pt x="3829707" y="2662194"/>
                </a:lnTo>
                <a:lnTo>
                  <a:pt x="3826182" y="2665550"/>
                </a:lnTo>
                <a:lnTo>
                  <a:pt x="3825801" y="2667156"/>
                </a:lnTo>
                <a:lnTo>
                  <a:pt x="3824693" y="2666633"/>
                </a:lnTo>
                <a:lnTo>
                  <a:pt x="3825949" y="2667239"/>
                </a:lnTo>
                <a:lnTo>
                  <a:pt x="3824767" y="2672223"/>
                </a:lnTo>
                <a:lnTo>
                  <a:pt x="3820100" y="2684343"/>
                </a:lnTo>
                <a:lnTo>
                  <a:pt x="3819826" y="2689389"/>
                </a:lnTo>
                <a:lnTo>
                  <a:pt x="3818010" y="2695343"/>
                </a:lnTo>
                <a:lnTo>
                  <a:pt x="3816257" y="2699270"/>
                </a:lnTo>
                <a:lnTo>
                  <a:pt x="3811506" y="2716332"/>
                </a:lnTo>
                <a:lnTo>
                  <a:pt x="3807537" y="2722708"/>
                </a:lnTo>
                <a:lnTo>
                  <a:pt x="3802111" y="2737678"/>
                </a:lnTo>
                <a:lnTo>
                  <a:pt x="3801245" y="2749143"/>
                </a:lnTo>
                <a:lnTo>
                  <a:pt x="3804244" y="2757167"/>
                </a:lnTo>
                <a:lnTo>
                  <a:pt x="3805341" y="2764684"/>
                </a:lnTo>
                <a:lnTo>
                  <a:pt x="3811718" y="2772053"/>
                </a:lnTo>
                <a:lnTo>
                  <a:pt x="3816807" y="2774692"/>
                </a:lnTo>
                <a:lnTo>
                  <a:pt x="3820248" y="2778070"/>
                </a:lnTo>
                <a:lnTo>
                  <a:pt x="3826351" y="2785778"/>
                </a:lnTo>
                <a:lnTo>
                  <a:pt x="3829855" y="2793505"/>
                </a:lnTo>
                <a:lnTo>
                  <a:pt x="3840814" y="2797305"/>
                </a:lnTo>
                <a:lnTo>
                  <a:pt x="3845184" y="2805984"/>
                </a:lnTo>
                <a:lnTo>
                  <a:pt x="3843601" y="2811938"/>
                </a:lnTo>
                <a:lnTo>
                  <a:pt x="3838512" y="2816879"/>
                </a:lnTo>
                <a:lnTo>
                  <a:pt x="3833761" y="2824881"/>
                </a:lnTo>
                <a:lnTo>
                  <a:pt x="3829940" y="2835417"/>
                </a:lnTo>
                <a:lnTo>
                  <a:pt x="3829855" y="2851528"/>
                </a:lnTo>
                <a:lnTo>
                  <a:pt x="3832431" y="2849078"/>
                </a:lnTo>
                <a:lnTo>
                  <a:pt x="3838238" y="2853028"/>
                </a:lnTo>
                <a:lnTo>
                  <a:pt x="3838977" y="2864893"/>
                </a:lnTo>
                <a:lnTo>
                  <a:pt x="3833002" y="2878702"/>
                </a:lnTo>
                <a:lnTo>
                  <a:pt x="3831165" y="2885185"/>
                </a:lnTo>
                <a:lnTo>
                  <a:pt x="3830869" y="2890738"/>
                </a:lnTo>
                <a:lnTo>
                  <a:pt x="3835219" y="2907313"/>
                </a:lnTo>
                <a:lnTo>
                  <a:pt x="3841806" y="2915758"/>
                </a:lnTo>
                <a:lnTo>
                  <a:pt x="3841194" y="2918334"/>
                </a:lnTo>
                <a:lnTo>
                  <a:pt x="3839484" y="2920551"/>
                </a:lnTo>
                <a:lnTo>
                  <a:pt x="3850759" y="2935480"/>
                </a:lnTo>
                <a:lnTo>
                  <a:pt x="3849830" y="2948507"/>
                </a:lnTo>
                <a:lnTo>
                  <a:pt x="3854052" y="2958642"/>
                </a:lnTo>
                <a:lnTo>
                  <a:pt x="3855890" y="2967427"/>
                </a:lnTo>
                <a:lnTo>
                  <a:pt x="3858677" y="2974182"/>
                </a:lnTo>
                <a:lnTo>
                  <a:pt x="3859205" y="2978828"/>
                </a:lnTo>
                <a:lnTo>
                  <a:pt x="3855720" y="2983980"/>
                </a:lnTo>
                <a:lnTo>
                  <a:pt x="3863934" y="2985289"/>
                </a:lnTo>
                <a:lnTo>
                  <a:pt x="3868770" y="2989512"/>
                </a:lnTo>
                <a:lnTo>
                  <a:pt x="3871050" y="2993545"/>
                </a:lnTo>
                <a:lnTo>
                  <a:pt x="3876983" y="2993376"/>
                </a:lnTo>
                <a:lnTo>
                  <a:pt x="3880193" y="2996121"/>
                </a:lnTo>
                <a:lnTo>
                  <a:pt x="3884838" y="2998423"/>
                </a:lnTo>
                <a:lnTo>
                  <a:pt x="3895078" y="3005200"/>
                </a:lnTo>
                <a:lnTo>
                  <a:pt x="3897845" y="3008621"/>
                </a:lnTo>
                <a:lnTo>
                  <a:pt x="3898836" y="3010605"/>
                </a:lnTo>
                <a:lnTo>
                  <a:pt x="3899491" y="3011894"/>
                </a:lnTo>
                <a:lnTo>
                  <a:pt x="3892608" y="3017151"/>
                </a:lnTo>
                <a:lnTo>
                  <a:pt x="3881882" y="3025344"/>
                </a:lnTo>
                <a:lnTo>
                  <a:pt x="3871346" y="3033367"/>
                </a:lnTo>
                <a:lnTo>
                  <a:pt x="3869380" y="3034438"/>
                </a:lnTo>
                <a:lnTo>
                  <a:pt x="3871429" y="3033326"/>
                </a:lnTo>
                <a:lnTo>
                  <a:pt x="3881966" y="3025302"/>
                </a:lnTo>
                <a:lnTo>
                  <a:pt x="3892692" y="3017109"/>
                </a:lnTo>
                <a:lnTo>
                  <a:pt x="3899576" y="3011830"/>
                </a:lnTo>
                <a:lnTo>
                  <a:pt x="3902722" y="3018038"/>
                </a:lnTo>
                <a:lnTo>
                  <a:pt x="3908359" y="3023697"/>
                </a:lnTo>
                <a:lnTo>
                  <a:pt x="3905002" y="3026990"/>
                </a:lnTo>
                <a:lnTo>
                  <a:pt x="3900949" y="3029947"/>
                </a:lnTo>
                <a:lnTo>
                  <a:pt x="3907494" y="3033895"/>
                </a:lnTo>
                <a:lnTo>
                  <a:pt x="3902701" y="3039849"/>
                </a:lnTo>
                <a:lnTo>
                  <a:pt x="3902110" y="3043988"/>
                </a:lnTo>
                <a:lnTo>
                  <a:pt x="3903334" y="3045635"/>
                </a:lnTo>
                <a:lnTo>
                  <a:pt x="3904390" y="3048042"/>
                </a:lnTo>
                <a:lnTo>
                  <a:pt x="3901244" y="3054883"/>
                </a:lnTo>
                <a:lnTo>
                  <a:pt x="3897063" y="3060120"/>
                </a:lnTo>
                <a:lnTo>
                  <a:pt x="3895987" y="3064132"/>
                </a:lnTo>
                <a:lnTo>
                  <a:pt x="3899681" y="3071204"/>
                </a:lnTo>
                <a:lnTo>
                  <a:pt x="3897781" y="3083768"/>
                </a:lnTo>
                <a:lnTo>
                  <a:pt x="3901349" y="3095085"/>
                </a:lnTo>
                <a:lnTo>
                  <a:pt x="3902342" y="3100870"/>
                </a:lnTo>
                <a:lnTo>
                  <a:pt x="3903587" y="3104756"/>
                </a:lnTo>
                <a:lnTo>
                  <a:pt x="3901814" y="3111702"/>
                </a:lnTo>
                <a:lnTo>
                  <a:pt x="3902279" y="3123421"/>
                </a:lnTo>
                <a:lnTo>
                  <a:pt x="3903102" y="3128256"/>
                </a:lnTo>
                <a:lnTo>
                  <a:pt x="3900969" y="3134274"/>
                </a:lnTo>
                <a:lnTo>
                  <a:pt x="3904601" y="3136364"/>
                </a:lnTo>
                <a:lnTo>
                  <a:pt x="3906523" y="3142995"/>
                </a:lnTo>
                <a:lnTo>
                  <a:pt x="3906016" y="3150427"/>
                </a:lnTo>
                <a:lnTo>
                  <a:pt x="3904897" y="3154438"/>
                </a:lnTo>
                <a:lnTo>
                  <a:pt x="3898646" y="3159316"/>
                </a:lnTo>
                <a:lnTo>
                  <a:pt x="3897908" y="3161195"/>
                </a:lnTo>
                <a:lnTo>
                  <a:pt x="3897992" y="3164067"/>
                </a:lnTo>
                <a:lnTo>
                  <a:pt x="3905804" y="3164151"/>
                </a:lnTo>
                <a:lnTo>
                  <a:pt x="3906079" y="3168585"/>
                </a:lnTo>
                <a:lnTo>
                  <a:pt x="3905572" y="3172090"/>
                </a:lnTo>
                <a:lnTo>
                  <a:pt x="3905868" y="3178657"/>
                </a:lnTo>
                <a:lnTo>
                  <a:pt x="3904834" y="3182922"/>
                </a:lnTo>
                <a:lnTo>
                  <a:pt x="3906649" y="3187821"/>
                </a:lnTo>
                <a:lnTo>
                  <a:pt x="3904432" y="3193226"/>
                </a:lnTo>
                <a:lnTo>
                  <a:pt x="3905192" y="3197406"/>
                </a:lnTo>
                <a:lnTo>
                  <a:pt x="3905298" y="3202812"/>
                </a:lnTo>
                <a:lnTo>
                  <a:pt x="3907114" y="3216516"/>
                </a:lnTo>
                <a:lnTo>
                  <a:pt x="3907431" y="3233449"/>
                </a:lnTo>
                <a:lnTo>
                  <a:pt x="3907831" y="3236152"/>
                </a:lnTo>
                <a:lnTo>
                  <a:pt x="3910619" y="3238073"/>
                </a:lnTo>
                <a:lnTo>
                  <a:pt x="3914525" y="3239024"/>
                </a:lnTo>
                <a:lnTo>
                  <a:pt x="3914377" y="3243668"/>
                </a:lnTo>
                <a:lnTo>
                  <a:pt x="3910027" y="3249750"/>
                </a:lnTo>
                <a:lnTo>
                  <a:pt x="3909775" y="3253529"/>
                </a:lnTo>
                <a:lnTo>
                  <a:pt x="3910407" y="3258829"/>
                </a:lnTo>
                <a:lnTo>
                  <a:pt x="3915179" y="3251608"/>
                </a:lnTo>
                <a:lnTo>
                  <a:pt x="3918051" y="3251629"/>
                </a:lnTo>
                <a:lnTo>
                  <a:pt x="3920606" y="3254459"/>
                </a:lnTo>
                <a:lnTo>
                  <a:pt x="3920247" y="3258618"/>
                </a:lnTo>
                <a:lnTo>
                  <a:pt x="3921133" y="3260666"/>
                </a:lnTo>
                <a:lnTo>
                  <a:pt x="3920753" y="3264699"/>
                </a:lnTo>
                <a:lnTo>
                  <a:pt x="3922168" y="3269830"/>
                </a:lnTo>
                <a:lnTo>
                  <a:pt x="3921619" y="3274285"/>
                </a:lnTo>
                <a:lnTo>
                  <a:pt x="3918115" y="3277388"/>
                </a:lnTo>
                <a:lnTo>
                  <a:pt x="3913659" y="3282752"/>
                </a:lnTo>
                <a:lnTo>
                  <a:pt x="3912857" y="3287756"/>
                </a:lnTo>
                <a:lnTo>
                  <a:pt x="3913279" y="3291050"/>
                </a:lnTo>
                <a:lnTo>
                  <a:pt x="3910196" y="3292085"/>
                </a:lnTo>
                <a:lnTo>
                  <a:pt x="3908761" y="3294112"/>
                </a:lnTo>
                <a:lnTo>
                  <a:pt x="3910851" y="3298862"/>
                </a:lnTo>
                <a:lnTo>
                  <a:pt x="3910724" y="3303043"/>
                </a:lnTo>
                <a:lnTo>
                  <a:pt x="3905276" y="3316071"/>
                </a:lnTo>
                <a:lnTo>
                  <a:pt x="3890750" y="3333912"/>
                </a:lnTo>
                <a:lnTo>
                  <a:pt x="3884479" y="3340269"/>
                </a:lnTo>
                <a:lnTo>
                  <a:pt x="3878609" y="3347151"/>
                </a:lnTo>
                <a:lnTo>
                  <a:pt x="3878609" y="3350002"/>
                </a:lnTo>
                <a:lnTo>
                  <a:pt x="3878039" y="3352472"/>
                </a:lnTo>
                <a:lnTo>
                  <a:pt x="3871198" y="3362333"/>
                </a:lnTo>
                <a:lnTo>
                  <a:pt x="3863850" y="3363959"/>
                </a:lnTo>
                <a:lnTo>
                  <a:pt x="3859775" y="3366598"/>
                </a:lnTo>
                <a:lnTo>
                  <a:pt x="3862963" y="3375297"/>
                </a:lnTo>
                <a:lnTo>
                  <a:pt x="3858213" y="3377324"/>
                </a:lnTo>
                <a:lnTo>
                  <a:pt x="3849956" y="3384187"/>
                </a:lnTo>
                <a:lnTo>
                  <a:pt x="3827258" y="3397362"/>
                </a:lnTo>
                <a:lnTo>
                  <a:pt x="3823669" y="3400403"/>
                </a:lnTo>
                <a:lnTo>
                  <a:pt x="3817904" y="3408489"/>
                </a:lnTo>
                <a:lnTo>
                  <a:pt x="3810303" y="3410453"/>
                </a:lnTo>
                <a:lnTo>
                  <a:pt x="3806081" y="3412754"/>
                </a:lnTo>
                <a:lnTo>
                  <a:pt x="3798542" y="3413578"/>
                </a:lnTo>
                <a:lnTo>
                  <a:pt x="3795903" y="3412987"/>
                </a:lnTo>
                <a:lnTo>
                  <a:pt x="3793327" y="3413304"/>
                </a:lnTo>
                <a:lnTo>
                  <a:pt x="3791152" y="3415035"/>
                </a:lnTo>
                <a:lnTo>
                  <a:pt x="3776182" y="3420715"/>
                </a:lnTo>
                <a:lnTo>
                  <a:pt x="3762204" y="3425213"/>
                </a:lnTo>
                <a:lnTo>
                  <a:pt x="3758763" y="3427282"/>
                </a:lnTo>
                <a:lnTo>
                  <a:pt x="3756482" y="3430090"/>
                </a:lnTo>
                <a:lnTo>
                  <a:pt x="3744109" y="3434545"/>
                </a:lnTo>
                <a:lnTo>
                  <a:pt x="3724726" y="3445546"/>
                </a:lnTo>
                <a:lnTo>
                  <a:pt x="3708869" y="3456082"/>
                </a:lnTo>
                <a:lnTo>
                  <a:pt x="3697382" y="3466618"/>
                </a:lnTo>
                <a:lnTo>
                  <a:pt x="3694341" y="3468201"/>
                </a:lnTo>
                <a:lnTo>
                  <a:pt x="3690794" y="3471855"/>
                </a:lnTo>
                <a:lnTo>
                  <a:pt x="3689590" y="3477239"/>
                </a:lnTo>
                <a:lnTo>
                  <a:pt x="3688430" y="3480300"/>
                </a:lnTo>
                <a:lnTo>
                  <a:pt x="3679921" y="3491428"/>
                </a:lnTo>
                <a:lnTo>
                  <a:pt x="3667125" y="3504582"/>
                </a:lnTo>
                <a:lnTo>
                  <a:pt x="3664634" y="3508172"/>
                </a:lnTo>
                <a:lnTo>
                  <a:pt x="3659545" y="3515477"/>
                </a:lnTo>
                <a:lnTo>
                  <a:pt x="3659059" y="3520291"/>
                </a:lnTo>
                <a:lnTo>
                  <a:pt x="3654519" y="3521749"/>
                </a:lnTo>
                <a:lnTo>
                  <a:pt x="3650719" y="3517167"/>
                </a:lnTo>
                <a:lnTo>
                  <a:pt x="3649093" y="3526014"/>
                </a:lnTo>
                <a:lnTo>
                  <a:pt x="3645989" y="3526646"/>
                </a:lnTo>
                <a:lnTo>
                  <a:pt x="3642547" y="3524831"/>
                </a:lnTo>
                <a:lnTo>
                  <a:pt x="3633954" y="3529223"/>
                </a:lnTo>
                <a:lnTo>
                  <a:pt x="3626480" y="3534290"/>
                </a:lnTo>
                <a:lnTo>
                  <a:pt x="3614486" y="3544974"/>
                </a:lnTo>
                <a:lnTo>
                  <a:pt x="3597531" y="3565688"/>
                </a:lnTo>
                <a:lnTo>
                  <a:pt x="3572806" y="3585725"/>
                </a:lnTo>
                <a:lnTo>
                  <a:pt x="3569428" y="3586296"/>
                </a:lnTo>
                <a:lnTo>
                  <a:pt x="3567147" y="3586211"/>
                </a:lnTo>
                <a:lnTo>
                  <a:pt x="3559355" y="3579222"/>
                </a:lnTo>
                <a:lnTo>
                  <a:pt x="3555111" y="3578715"/>
                </a:lnTo>
                <a:lnTo>
                  <a:pt x="3558913" y="3582854"/>
                </a:lnTo>
                <a:lnTo>
                  <a:pt x="3561425" y="3586317"/>
                </a:lnTo>
                <a:lnTo>
                  <a:pt x="3560792" y="3593074"/>
                </a:lnTo>
                <a:lnTo>
                  <a:pt x="3561088" y="3603250"/>
                </a:lnTo>
                <a:lnTo>
                  <a:pt x="3558026" y="3623056"/>
                </a:lnTo>
                <a:lnTo>
                  <a:pt x="3558448" y="3627384"/>
                </a:lnTo>
                <a:lnTo>
                  <a:pt x="3561974" y="3633001"/>
                </a:lnTo>
                <a:lnTo>
                  <a:pt x="3568625" y="3639885"/>
                </a:lnTo>
                <a:lnTo>
                  <a:pt x="3574854" y="3648457"/>
                </a:lnTo>
                <a:lnTo>
                  <a:pt x="3582878" y="3673119"/>
                </a:lnTo>
                <a:lnTo>
                  <a:pt x="3583490" y="3685851"/>
                </a:lnTo>
                <a:lnTo>
                  <a:pt x="3591767" y="3702130"/>
                </a:lnTo>
                <a:lnTo>
                  <a:pt x="3592084" y="3709204"/>
                </a:lnTo>
                <a:lnTo>
                  <a:pt x="3595440" y="3726792"/>
                </a:lnTo>
                <a:lnTo>
                  <a:pt x="3595208" y="3741066"/>
                </a:lnTo>
                <a:lnTo>
                  <a:pt x="3594617" y="3749807"/>
                </a:lnTo>
                <a:lnTo>
                  <a:pt x="3598608" y="3753502"/>
                </a:lnTo>
                <a:lnTo>
                  <a:pt x="3600086" y="3750166"/>
                </a:lnTo>
                <a:lnTo>
                  <a:pt x="3599663" y="3744634"/>
                </a:lnTo>
                <a:lnTo>
                  <a:pt x="3600719" y="3735745"/>
                </a:lnTo>
                <a:lnTo>
                  <a:pt x="3602936" y="3731796"/>
                </a:lnTo>
                <a:lnTo>
                  <a:pt x="3605153" y="3732367"/>
                </a:lnTo>
                <a:lnTo>
                  <a:pt x="3605808" y="3736547"/>
                </a:lnTo>
                <a:lnTo>
                  <a:pt x="3607307" y="3740242"/>
                </a:lnTo>
                <a:lnTo>
                  <a:pt x="3607920" y="3743726"/>
                </a:lnTo>
                <a:lnTo>
                  <a:pt x="3608025" y="3748456"/>
                </a:lnTo>
                <a:lnTo>
                  <a:pt x="3604963" y="3766487"/>
                </a:lnTo>
                <a:lnTo>
                  <a:pt x="3605872" y="3773835"/>
                </a:lnTo>
                <a:lnTo>
                  <a:pt x="3609989" y="3786125"/>
                </a:lnTo>
                <a:lnTo>
                  <a:pt x="3605175" y="3800397"/>
                </a:lnTo>
                <a:lnTo>
                  <a:pt x="3598207" y="3834139"/>
                </a:lnTo>
                <a:lnTo>
                  <a:pt x="3597805" y="3840009"/>
                </a:lnTo>
                <a:lnTo>
                  <a:pt x="3599495" y="3842563"/>
                </a:lnTo>
                <a:lnTo>
                  <a:pt x="3603232" y="3843429"/>
                </a:lnTo>
                <a:lnTo>
                  <a:pt x="3604604" y="3839101"/>
                </a:lnTo>
                <a:lnTo>
                  <a:pt x="3606800" y="3839143"/>
                </a:lnTo>
                <a:lnTo>
                  <a:pt x="3607962" y="3841677"/>
                </a:lnTo>
                <a:lnTo>
                  <a:pt x="3604858" y="3857302"/>
                </a:lnTo>
                <a:lnTo>
                  <a:pt x="3601796" y="3864164"/>
                </a:lnTo>
                <a:lnTo>
                  <a:pt x="3590922" y="3880992"/>
                </a:lnTo>
                <a:lnTo>
                  <a:pt x="3585073" y="3888213"/>
                </a:lnTo>
                <a:lnTo>
                  <a:pt x="3575360" y="3895308"/>
                </a:lnTo>
                <a:lnTo>
                  <a:pt x="3552557" y="3906435"/>
                </a:lnTo>
                <a:lnTo>
                  <a:pt x="3506844" y="3922546"/>
                </a:lnTo>
                <a:lnTo>
                  <a:pt x="3488727" y="3930463"/>
                </a:lnTo>
                <a:lnTo>
                  <a:pt x="3477896" y="3935193"/>
                </a:lnTo>
                <a:lnTo>
                  <a:pt x="3455007" y="3950248"/>
                </a:lnTo>
                <a:lnTo>
                  <a:pt x="3444999" y="3960341"/>
                </a:lnTo>
                <a:lnTo>
                  <a:pt x="3440881" y="3971954"/>
                </a:lnTo>
                <a:lnTo>
                  <a:pt x="3436933" y="3977254"/>
                </a:lnTo>
                <a:lnTo>
                  <a:pt x="3433048" y="3984010"/>
                </a:lnTo>
                <a:lnTo>
                  <a:pt x="3436426" y="3989817"/>
                </a:lnTo>
                <a:lnTo>
                  <a:pt x="3439742" y="3994209"/>
                </a:lnTo>
                <a:lnTo>
                  <a:pt x="3443669" y="3997144"/>
                </a:lnTo>
                <a:lnTo>
                  <a:pt x="3445696" y="3999698"/>
                </a:lnTo>
                <a:lnTo>
                  <a:pt x="3448356" y="4001451"/>
                </a:lnTo>
                <a:lnTo>
                  <a:pt x="3451017" y="3992330"/>
                </a:lnTo>
                <a:lnTo>
                  <a:pt x="3452347" y="3989479"/>
                </a:lnTo>
                <a:lnTo>
                  <a:pt x="3454627" y="3989268"/>
                </a:lnTo>
                <a:lnTo>
                  <a:pt x="3453360" y="4000395"/>
                </a:lnTo>
                <a:lnTo>
                  <a:pt x="3450721" y="4038676"/>
                </a:lnTo>
                <a:lnTo>
                  <a:pt x="3450450" y="4040156"/>
                </a:lnTo>
                <a:lnTo>
                  <a:pt x="3450531" y="4040154"/>
                </a:lnTo>
                <a:lnTo>
                  <a:pt x="3448335" y="4055505"/>
                </a:lnTo>
                <a:lnTo>
                  <a:pt x="3439846" y="4079575"/>
                </a:lnTo>
                <a:lnTo>
                  <a:pt x="3436954" y="4090660"/>
                </a:lnTo>
                <a:lnTo>
                  <a:pt x="3429712" y="4130377"/>
                </a:lnTo>
                <a:lnTo>
                  <a:pt x="3420252" y="4150478"/>
                </a:lnTo>
                <a:lnTo>
                  <a:pt x="3414952" y="4158797"/>
                </a:lnTo>
                <a:lnTo>
                  <a:pt x="3399623" y="4173514"/>
                </a:lnTo>
                <a:lnTo>
                  <a:pt x="3395358" y="4176513"/>
                </a:lnTo>
                <a:lnTo>
                  <a:pt x="3391579" y="4178434"/>
                </a:lnTo>
                <a:lnTo>
                  <a:pt x="3384864" y="4180123"/>
                </a:lnTo>
                <a:lnTo>
                  <a:pt x="3358598" y="4210043"/>
                </a:lnTo>
                <a:lnTo>
                  <a:pt x="3348822" y="4224527"/>
                </a:lnTo>
                <a:lnTo>
                  <a:pt x="3340123" y="4245684"/>
                </a:lnTo>
                <a:lnTo>
                  <a:pt x="3331487" y="4257340"/>
                </a:lnTo>
                <a:lnTo>
                  <a:pt x="3318796" y="4282254"/>
                </a:lnTo>
                <a:lnTo>
                  <a:pt x="3307458" y="4301553"/>
                </a:lnTo>
                <a:lnTo>
                  <a:pt x="3296584" y="4319205"/>
                </a:lnTo>
                <a:lnTo>
                  <a:pt x="3277770" y="4343571"/>
                </a:lnTo>
                <a:lnTo>
                  <a:pt x="3269409" y="4350645"/>
                </a:lnTo>
                <a:lnTo>
                  <a:pt x="3263772" y="4353875"/>
                </a:lnTo>
                <a:lnTo>
                  <a:pt x="3248822" y="4368064"/>
                </a:lnTo>
                <a:lnTo>
                  <a:pt x="3227772" y="4390995"/>
                </a:lnTo>
                <a:lnTo>
                  <a:pt x="3211661" y="4411370"/>
                </a:lnTo>
                <a:lnTo>
                  <a:pt x="3187569" y="4434576"/>
                </a:lnTo>
                <a:lnTo>
                  <a:pt x="3173613" y="4444774"/>
                </a:lnTo>
                <a:lnTo>
                  <a:pt x="3152667" y="4464875"/>
                </a:lnTo>
                <a:lnTo>
                  <a:pt x="3146818" y="4467831"/>
                </a:lnTo>
                <a:lnTo>
                  <a:pt x="3123212" y="4486580"/>
                </a:lnTo>
                <a:lnTo>
                  <a:pt x="3106236" y="4498003"/>
                </a:lnTo>
                <a:lnTo>
                  <a:pt x="3078765" y="4511263"/>
                </a:lnTo>
                <a:lnTo>
                  <a:pt x="3067849" y="4514980"/>
                </a:lnTo>
                <a:lnTo>
                  <a:pt x="3041772" y="4511538"/>
                </a:lnTo>
                <a:lnTo>
                  <a:pt x="3030898" y="4513375"/>
                </a:lnTo>
                <a:lnTo>
                  <a:pt x="3021798" y="4521399"/>
                </a:lnTo>
                <a:lnTo>
                  <a:pt x="3020954" y="4532927"/>
                </a:lnTo>
                <a:lnTo>
                  <a:pt x="3017153" y="4534680"/>
                </a:lnTo>
                <a:lnTo>
                  <a:pt x="3011410" y="4534173"/>
                </a:lnTo>
                <a:lnTo>
                  <a:pt x="2993188" y="4529337"/>
                </a:lnTo>
                <a:lnTo>
                  <a:pt x="2983306" y="4530267"/>
                </a:lnTo>
                <a:lnTo>
                  <a:pt x="2977542" y="4536432"/>
                </a:lnTo>
                <a:lnTo>
                  <a:pt x="2972897" y="4544245"/>
                </a:lnTo>
                <a:lnTo>
                  <a:pt x="2959172" y="4544645"/>
                </a:lnTo>
                <a:lnTo>
                  <a:pt x="2934721" y="4536559"/>
                </a:lnTo>
                <a:lnTo>
                  <a:pt x="2905963" y="4531639"/>
                </a:lnTo>
                <a:lnTo>
                  <a:pt x="2899312" y="4531090"/>
                </a:lnTo>
                <a:lnTo>
                  <a:pt x="2885377" y="4537087"/>
                </a:lnTo>
                <a:lnTo>
                  <a:pt x="2880520" y="4537973"/>
                </a:lnTo>
                <a:lnTo>
                  <a:pt x="2860229" y="4536664"/>
                </a:lnTo>
                <a:lnTo>
                  <a:pt x="2848975" y="4532884"/>
                </a:lnTo>
                <a:lnTo>
                  <a:pt x="2838206" y="4532864"/>
                </a:lnTo>
                <a:lnTo>
                  <a:pt x="2829951" y="4535988"/>
                </a:lnTo>
                <a:lnTo>
                  <a:pt x="2819942" y="4537087"/>
                </a:lnTo>
                <a:lnTo>
                  <a:pt x="2792894" y="4558856"/>
                </a:lnTo>
                <a:lnTo>
                  <a:pt x="2778916" y="4558877"/>
                </a:lnTo>
                <a:lnTo>
                  <a:pt x="2766860" y="4561390"/>
                </a:lnTo>
                <a:lnTo>
                  <a:pt x="2760885" y="4561305"/>
                </a:lnTo>
                <a:lnTo>
                  <a:pt x="2749694" y="4558243"/>
                </a:lnTo>
                <a:lnTo>
                  <a:pt x="2745534" y="4558475"/>
                </a:lnTo>
                <a:lnTo>
                  <a:pt x="2739158" y="4559826"/>
                </a:lnTo>
                <a:lnTo>
                  <a:pt x="2732781" y="4563670"/>
                </a:lnTo>
                <a:lnTo>
                  <a:pt x="2718255" y="4565317"/>
                </a:lnTo>
                <a:lnTo>
                  <a:pt x="2712617" y="4568611"/>
                </a:lnTo>
                <a:lnTo>
                  <a:pt x="2688082" y="4588585"/>
                </a:lnTo>
                <a:lnTo>
                  <a:pt x="2682486" y="4587783"/>
                </a:lnTo>
                <a:lnTo>
                  <a:pt x="2677967" y="4586474"/>
                </a:lnTo>
                <a:lnTo>
                  <a:pt x="2665214" y="4586220"/>
                </a:lnTo>
                <a:lnTo>
                  <a:pt x="2650793" y="4575600"/>
                </a:lnTo>
                <a:lnTo>
                  <a:pt x="2645261" y="4576275"/>
                </a:lnTo>
                <a:lnTo>
                  <a:pt x="2646739" y="4573087"/>
                </a:lnTo>
                <a:lnTo>
                  <a:pt x="2647182" y="4567449"/>
                </a:lnTo>
                <a:lnTo>
                  <a:pt x="2644120" y="4563459"/>
                </a:lnTo>
                <a:lnTo>
                  <a:pt x="2642072" y="4561664"/>
                </a:lnTo>
                <a:lnTo>
                  <a:pt x="2636414" y="4562002"/>
                </a:lnTo>
                <a:lnTo>
                  <a:pt x="2633394" y="4557209"/>
                </a:lnTo>
                <a:lnTo>
                  <a:pt x="2624738" y="4556765"/>
                </a:lnTo>
                <a:lnTo>
                  <a:pt x="2621739" y="4557968"/>
                </a:lnTo>
                <a:lnTo>
                  <a:pt x="2617580" y="4558243"/>
                </a:lnTo>
                <a:lnTo>
                  <a:pt x="2617220" y="4553365"/>
                </a:lnTo>
                <a:lnTo>
                  <a:pt x="2617537" y="4550326"/>
                </a:lnTo>
                <a:lnTo>
                  <a:pt x="2617284" y="4545617"/>
                </a:lnTo>
                <a:lnTo>
                  <a:pt x="2616250" y="4539874"/>
                </a:lnTo>
                <a:lnTo>
                  <a:pt x="2612892" y="4538057"/>
                </a:lnTo>
                <a:lnTo>
                  <a:pt x="2610316" y="4537277"/>
                </a:lnTo>
                <a:lnTo>
                  <a:pt x="2604193" y="4537677"/>
                </a:lnTo>
                <a:lnTo>
                  <a:pt x="2599970" y="4538311"/>
                </a:lnTo>
                <a:lnTo>
                  <a:pt x="2597985" y="4539980"/>
                </a:lnTo>
                <a:lnTo>
                  <a:pt x="2595726" y="4544203"/>
                </a:lnTo>
                <a:lnTo>
                  <a:pt x="2595705" y="4557019"/>
                </a:lnTo>
                <a:lnTo>
                  <a:pt x="2592664" y="4553345"/>
                </a:lnTo>
                <a:lnTo>
                  <a:pt x="2589202" y="4545659"/>
                </a:lnTo>
                <a:lnTo>
                  <a:pt x="2588082" y="4537467"/>
                </a:lnTo>
                <a:lnTo>
                  <a:pt x="2589329" y="4527817"/>
                </a:lnTo>
                <a:lnTo>
                  <a:pt x="2595895" y="4524144"/>
                </a:lnTo>
                <a:lnTo>
                  <a:pt x="2595388" y="4517640"/>
                </a:lnTo>
                <a:lnTo>
                  <a:pt x="2593995" y="4511981"/>
                </a:lnTo>
                <a:lnTo>
                  <a:pt x="2586668" y="4497560"/>
                </a:lnTo>
                <a:lnTo>
                  <a:pt x="2583817" y="4490951"/>
                </a:lnTo>
                <a:lnTo>
                  <a:pt x="2577610" y="4486496"/>
                </a:lnTo>
                <a:lnTo>
                  <a:pt x="2572774" y="4475748"/>
                </a:lnTo>
                <a:lnTo>
                  <a:pt x="2567918" y="4471864"/>
                </a:lnTo>
                <a:lnTo>
                  <a:pt x="2565891" y="4464368"/>
                </a:lnTo>
                <a:lnTo>
                  <a:pt x="2561140" y="4458371"/>
                </a:lnTo>
                <a:lnTo>
                  <a:pt x="2559536" y="4448912"/>
                </a:lnTo>
                <a:lnTo>
                  <a:pt x="2562154" y="4443486"/>
                </a:lnTo>
                <a:lnTo>
                  <a:pt x="2566292" y="4440530"/>
                </a:lnTo>
                <a:lnTo>
                  <a:pt x="2570515" y="4445217"/>
                </a:lnTo>
                <a:lnTo>
                  <a:pt x="2575773" y="4443379"/>
                </a:lnTo>
                <a:lnTo>
                  <a:pt x="2583227" y="4436560"/>
                </a:lnTo>
                <a:lnTo>
                  <a:pt x="2587640" y="4426192"/>
                </a:lnTo>
                <a:lnTo>
                  <a:pt x="2587913" y="4409659"/>
                </a:lnTo>
                <a:lnTo>
                  <a:pt x="2586774" y="4399377"/>
                </a:lnTo>
                <a:lnTo>
                  <a:pt x="2580862" y="4372836"/>
                </a:lnTo>
                <a:lnTo>
                  <a:pt x="2578074" y="4366755"/>
                </a:lnTo>
                <a:lnTo>
                  <a:pt x="2564730" y="4347836"/>
                </a:lnTo>
                <a:lnTo>
                  <a:pt x="2549253" y="4322604"/>
                </a:lnTo>
                <a:lnTo>
                  <a:pt x="2529679" y="4283014"/>
                </a:lnTo>
                <a:lnTo>
                  <a:pt x="2520325" y="4259324"/>
                </a:lnTo>
                <a:lnTo>
                  <a:pt x="2506158" y="4211795"/>
                </a:lnTo>
                <a:lnTo>
                  <a:pt x="2493679" y="4185022"/>
                </a:lnTo>
                <a:lnTo>
                  <a:pt x="2478350" y="4160149"/>
                </a:lnTo>
                <a:lnTo>
                  <a:pt x="2476386" y="4158544"/>
                </a:lnTo>
                <a:lnTo>
                  <a:pt x="2478730" y="4155524"/>
                </a:lnTo>
                <a:lnTo>
                  <a:pt x="2486985" y="4149803"/>
                </a:lnTo>
                <a:lnTo>
                  <a:pt x="2490694" y="4148252"/>
                </a:lnTo>
                <a:lnTo>
                  <a:pt x="2490660" y="4148240"/>
                </a:lnTo>
                <a:lnTo>
                  <a:pt x="2486923" y="4149823"/>
                </a:lnTo>
                <a:lnTo>
                  <a:pt x="2478667" y="4155524"/>
                </a:lnTo>
                <a:lnTo>
                  <a:pt x="2476323" y="4158544"/>
                </a:lnTo>
                <a:lnTo>
                  <a:pt x="2469672" y="4153075"/>
                </a:lnTo>
                <a:lnTo>
                  <a:pt x="2450247" y="4132551"/>
                </a:lnTo>
                <a:lnTo>
                  <a:pt x="2443342" y="4127230"/>
                </a:lnTo>
                <a:lnTo>
                  <a:pt x="2433165" y="4114689"/>
                </a:lnTo>
                <a:lnTo>
                  <a:pt x="2410784" y="4075943"/>
                </a:lnTo>
                <a:lnTo>
                  <a:pt x="2407595" y="4068490"/>
                </a:lnTo>
                <a:lnTo>
                  <a:pt x="2403330" y="4049846"/>
                </a:lnTo>
                <a:lnTo>
                  <a:pt x="2398431" y="4036079"/>
                </a:lnTo>
                <a:lnTo>
                  <a:pt x="2397882" y="4028139"/>
                </a:lnTo>
                <a:lnTo>
                  <a:pt x="2400226" y="4023643"/>
                </a:lnTo>
                <a:lnTo>
                  <a:pt x="2398790" y="4017540"/>
                </a:lnTo>
                <a:lnTo>
                  <a:pt x="2396278" y="4012093"/>
                </a:lnTo>
                <a:lnTo>
                  <a:pt x="2388655" y="4004956"/>
                </a:lnTo>
                <a:lnTo>
                  <a:pt x="2386480" y="3981223"/>
                </a:lnTo>
                <a:lnTo>
                  <a:pt x="2381371" y="3965936"/>
                </a:lnTo>
                <a:lnTo>
                  <a:pt x="2382490" y="3953310"/>
                </a:lnTo>
                <a:lnTo>
                  <a:pt x="2380040" y="3941823"/>
                </a:lnTo>
                <a:lnTo>
                  <a:pt x="2379808" y="3934476"/>
                </a:lnTo>
                <a:lnTo>
                  <a:pt x="2380906" y="3920518"/>
                </a:lnTo>
                <a:lnTo>
                  <a:pt x="2376810" y="3904493"/>
                </a:lnTo>
                <a:lnTo>
                  <a:pt x="2368512" y="3888868"/>
                </a:lnTo>
                <a:lnTo>
                  <a:pt x="2361016" y="3866360"/>
                </a:lnTo>
                <a:lnTo>
                  <a:pt x="2359939" y="3856520"/>
                </a:lnTo>
                <a:lnTo>
                  <a:pt x="2360742" y="3830127"/>
                </a:lnTo>
                <a:lnTo>
                  <a:pt x="2359284" y="3819380"/>
                </a:lnTo>
                <a:lnTo>
                  <a:pt x="2359369" y="3806774"/>
                </a:lnTo>
                <a:lnTo>
                  <a:pt x="2356413" y="3793704"/>
                </a:lnTo>
                <a:lnTo>
                  <a:pt x="2355188" y="3786609"/>
                </a:lnTo>
                <a:lnTo>
                  <a:pt x="2357279" y="3780972"/>
                </a:lnTo>
                <a:lnTo>
                  <a:pt x="2358504" y="3782767"/>
                </a:lnTo>
                <a:lnTo>
                  <a:pt x="2360657" y="3783612"/>
                </a:lnTo>
                <a:lnTo>
                  <a:pt x="2362114" y="3776137"/>
                </a:lnTo>
                <a:lnTo>
                  <a:pt x="2362452" y="3769549"/>
                </a:lnTo>
                <a:lnTo>
                  <a:pt x="2358715" y="3753291"/>
                </a:lnTo>
                <a:lnTo>
                  <a:pt x="2350375" y="3736695"/>
                </a:lnTo>
                <a:lnTo>
                  <a:pt x="2329704" y="3709732"/>
                </a:lnTo>
                <a:lnTo>
                  <a:pt x="2324657" y="3699448"/>
                </a:lnTo>
                <a:lnTo>
                  <a:pt x="2321785" y="3690961"/>
                </a:lnTo>
                <a:lnTo>
                  <a:pt x="2298729" y="3655615"/>
                </a:lnTo>
                <a:lnTo>
                  <a:pt x="2288889" y="3630763"/>
                </a:lnTo>
                <a:lnTo>
                  <a:pt x="2282005" y="3609310"/>
                </a:lnTo>
                <a:lnTo>
                  <a:pt x="2274530" y="3599450"/>
                </a:lnTo>
                <a:lnTo>
                  <a:pt x="2239924" y="3530279"/>
                </a:lnTo>
                <a:lnTo>
                  <a:pt x="2232259" y="3519278"/>
                </a:lnTo>
                <a:lnTo>
                  <a:pt x="2218450" y="3506144"/>
                </a:lnTo>
                <a:lnTo>
                  <a:pt x="2215220" y="3501773"/>
                </a:lnTo>
                <a:lnTo>
                  <a:pt x="2209899" y="3489274"/>
                </a:lnTo>
                <a:lnTo>
                  <a:pt x="2199511" y="3472552"/>
                </a:lnTo>
                <a:lnTo>
                  <a:pt x="2196977" y="3456948"/>
                </a:lnTo>
                <a:lnTo>
                  <a:pt x="2196280" y="3439295"/>
                </a:lnTo>
                <a:lnTo>
                  <a:pt x="2197544" y="3425840"/>
                </a:lnTo>
                <a:lnTo>
                  <a:pt x="2197357" y="3425867"/>
                </a:lnTo>
                <a:lnTo>
                  <a:pt x="2199553" y="3402451"/>
                </a:lnTo>
                <a:lnTo>
                  <a:pt x="2201855" y="3392126"/>
                </a:lnTo>
                <a:lnTo>
                  <a:pt x="2201918" y="3379774"/>
                </a:lnTo>
                <a:lnTo>
                  <a:pt x="2200567" y="3347848"/>
                </a:lnTo>
                <a:lnTo>
                  <a:pt x="2198940" y="3343456"/>
                </a:lnTo>
                <a:lnTo>
                  <a:pt x="2197843" y="3338325"/>
                </a:lnTo>
                <a:lnTo>
                  <a:pt x="2203691" y="3334419"/>
                </a:lnTo>
                <a:lnTo>
                  <a:pt x="2206669" y="3331422"/>
                </a:lnTo>
                <a:lnTo>
                  <a:pt x="2210702" y="3326143"/>
                </a:lnTo>
                <a:lnTo>
                  <a:pt x="2213573" y="3318731"/>
                </a:lnTo>
                <a:lnTo>
                  <a:pt x="2216951" y="3302431"/>
                </a:lnTo>
                <a:lnTo>
                  <a:pt x="2229240" y="3265016"/>
                </a:lnTo>
                <a:lnTo>
                  <a:pt x="2235068" y="3228446"/>
                </a:lnTo>
                <a:lnTo>
                  <a:pt x="2242458" y="3211173"/>
                </a:lnTo>
                <a:lnTo>
                  <a:pt x="2245224" y="3191812"/>
                </a:lnTo>
                <a:lnTo>
                  <a:pt x="2265789" y="3166875"/>
                </a:lnTo>
                <a:lnTo>
                  <a:pt x="2270857" y="3151567"/>
                </a:lnTo>
                <a:lnTo>
                  <a:pt x="2281499" y="3144071"/>
                </a:lnTo>
                <a:lnTo>
                  <a:pt x="2296554" y="3136090"/>
                </a:lnTo>
                <a:lnTo>
                  <a:pt x="2307280" y="3121901"/>
                </a:lnTo>
                <a:lnTo>
                  <a:pt x="2312474" y="3112062"/>
                </a:lnTo>
                <a:lnTo>
                  <a:pt x="2318386" y="3093249"/>
                </a:lnTo>
                <a:lnTo>
                  <a:pt x="2318323" y="3073611"/>
                </a:lnTo>
                <a:lnTo>
                  <a:pt x="2322081" y="3047451"/>
                </a:lnTo>
                <a:lnTo>
                  <a:pt x="2321258" y="3039934"/>
                </a:lnTo>
                <a:lnTo>
                  <a:pt x="2315641" y="3029524"/>
                </a:lnTo>
                <a:lnTo>
                  <a:pt x="2314607" y="3022093"/>
                </a:lnTo>
                <a:lnTo>
                  <a:pt x="2309391" y="3014808"/>
                </a:lnTo>
                <a:lnTo>
                  <a:pt x="2303817" y="3009275"/>
                </a:lnTo>
                <a:lnTo>
                  <a:pt x="2301199" y="2999437"/>
                </a:lnTo>
                <a:lnTo>
                  <a:pt x="2291528" y="2983917"/>
                </a:lnTo>
                <a:lnTo>
                  <a:pt x="2288889" y="2973571"/>
                </a:lnTo>
                <a:lnTo>
                  <a:pt x="2284265" y="2966160"/>
                </a:lnTo>
                <a:lnTo>
                  <a:pt x="2283526" y="2956996"/>
                </a:lnTo>
                <a:lnTo>
                  <a:pt x="2281098" y="2947325"/>
                </a:lnTo>
                <a:lnTo>
                  <a:pt x="2276368" y="2937781"/>
                </a:lnTo>
                <a:lnTo>
                  <a:pt x="2271955" y="2926844"/>
                </a:lnTo>
                <a:lnTo>
                  <a:pt x="2271955" y="2923424"/>
                </a:lnTo>
                <a:lnTo>
                  <a:pt x="2274826" y="2919306"/>
                </a:lnTo>
                <a:lnTo>
                  <a:pt x="2277550" y="2917976"/>
                </a:lnTo>
                <a:lnTo>
                  <a:pt x="2276643" y="2920045"/>
                </a:lnTo>
                <a:lnTo>
                  <a:pt x="2274826" y="2922495"/>
                </a:lnTo>
                <a:lnTo>
                  <a:pt x="2275270" y="2924395"/>
                </a:lnTo>
                <a:lnTo>
                  <a:pt x="2293344" y="2905244"/>
                </a:lnTo>
                <a:lnTo>
                  <a:pt x="2294485" y="2901507"/>
                </a:lnTo>
                <a:lnTo>
                  <a:pt x="2293872" y="2897326"/>
                </a:lnTo>
                <a:lnTo>
                  <a:pt x="2293788" y="2892217"/>
                </a:lnTo>
                <a:lnTo>
                  <a:pt x="2294506" y="2886262"/>
                </a:lnTo>
                <a:lnTo>
                  <a:pt x="2277445" y="2851022"/>
                </a:lnTo>
                <a:lnTo>
                  <a:pt x="2263910" y="2818294"/>
                </a:lnTo>
                <a:lnTo>
                  <a:pt x="2261609" y="2801740"/>
                </a:lnTo>
                <a:lnTo>
                  <a:pt x="2243703" y="2780035"/>
                </a:lnTo>
                <a:lnTo>
                  <a:pt x="2236652" y="2765930"/>
                </a:lnTo>
                <a:lnTo>
                  <a:pt x="2232639" y="2756027"/>
                </a:lnTo>
                <a:lnTo>
                  <a:pt x="2229621" y="2752290"/>
                </a:lnTo>
                <a:lnTo>
                  <a:pt x="2230760" y="2750411"/>
                </a:lnTo>
                <a:lnTo>
                  <a:pt x="2235363" y="2749925"/>
                </a:lnTo>
                <a:lnTo>
                  <a:pt x="2245625" y="2747623"/>
                </a:lnTo>
                <a:lnTo>
                  <a:pt x="2259687" y="2745132"/>
                </a:lnTo>
                <a:lnTo>
                  <a:pt x="2272673" y="2739389"/>
                </a:lnTo>
                <a:lnTo>
                  <a:pt x="2276136" y="2736855"/>
                </a:lnTo>
                <a:lnTo>
                  <a:pt x="2282972" y="2736331"/>
                </a:lnTo>
                <a:lnTo>
                  <a:pt x="2282955" y="2736327"/>
                </a:lnTo>
                <a:lnTo>
                  <a:pt x="2276072" y="2736834"/>
                </a:lnTo>
                <a:lnTo>
                  <a:pt x="2272229" y="2735145"/>
                </a:lnTo>
                <a:lnTo>
                  <a:pt x="2263783" y="2736200"/>
                </a:lnTo>
                <a:lnTo>
                  <a:pt x="2259687" y="2737594"/>
                </a:lnTo>
                <a:lnTo>
                  <a:pt x="2253121" y="2742557"/>
                </a:lnTo>
                <a:lnTo>
                  <a:pt x="2243260" y="2745111"/>
                </a:lnTo>
                <a:lnTo>
                  <a:pt x="2239607" y="2744899"/>
                </a:lnTo>
                <a:lnTo>
                  <a:pt x="2237179" y="2744077"/>
                </a:lnTo>
                <a:lnTo>
                  <a:pt x="2231456" y="2738650"/>
                </a:lnTo>
                <a:lnTo>
                  <a:pt x="2227022" y="2733413"/>
                </a:lnTo>
                <a:lnTo>
                  <a:pt x="2225439" y="2730521"/>
                </a:lnTo>
                <a:lnTo>
                  <a:pt x="2225440" y="2730521"/>
                </a:lnTo>
                <a:lnTo>
                  <a:pt x="2224574" y="2728937"/>
                </a:lnTo>
                <a:lnTo>
                  <a:pt x="2221977" y="2723025"/>
                </a:lnTo>
                <a:lnTo>
                  <a:pt x="2223433" y="2717430"/>
                </a:lnTo>
                <a:lnTo>
                  <a:pt x="2224996" y="2713249"/>
                </a:lnTo>
                <a:lnTo>
                  <a:pt x="2223243" y="2704740"/>
                </a:lnTo>
                <a:lnTo>
                  <a:pt x="2219295" y="2697160"/>
                </a:lnTo>
                <a:lnTo>
                  <a:pt x="2215114" y="2687531"/>
                </a:lnTo>
                <a:lnTo>
                  <a:pt x="2213827" y="2685695"/>
                </a:lnTo>
                <a:lnTo>
                  <a:pt x="2213853" y="2685672"/>
                </a:lnTo>
                <a:lnTo>
                  <a:pt x="2212940" y="2684385"/>
                </a:lnTo>
                <a:lnTo>
                  <a:pt x="2210807" y="2682738"/>
                </a:lnTo>
                <a:lnTo>
                  <a:pt x="2206458" y="2677459"/>
                </a:lnTo>
                <a:lnTo>
                  <a:pt x="2202151" y="2670914"/>
                </a:lnTo>
                <a:lnTo>
                  <a:pt x="2201010" y="2667936"/>
                </a:lnTo>
                <a:lnTo>
                  <a:pt x="2199785" y="2666247"/>
                </a:lnTo>
                <a:lnTo>
                  <a:pt x="2199595" y="2659660"/>
                </a:lnTo>
                <a:lnTo>
                  <a:pt x="2193113" y="2651847"/>
                </a:lnTo>
                <a:lnTo>
                  <a:pt x="2176855" y="2637975"/>
                </a:lnTo>
                <a:lnTo>
                  <a:pt x="2175124" y="2633836"/>
                </a:lnTo>
                <a:lnTo>
                  <a:pt x="2161236" y="2621131"/>
                </a:lnTo>
                <a:lnTo>
                  <a:pt x="2161230" y="2621147"/>
                </a:lnTo>
                <a:lnTo>
                  <a:pt x="2155424" y="2615805"/>
                </a:lnTo>
                <a:lnTo>
                  <a:pt x="2150398" y="2606071"/>
                </a:lnTo>
                <a:lnTo>
                  <a:pt x="2144550" y="2600075"/>
                </a:lnTo>
                <a:lnTo>
                  <a:pt x="2132240" y="2590404"/>
                </a:lnTo>
                <a:lnTo>
                  <a:pt x="2128945" y="2583268"/>
                </a:lnTo>
                <a:lnTo>
                  <a:pt x="2114863" y="2567601"/>
                </a:lnTo>
                <a:lnTo>
                  <a:pt x="2094635" y="2551913"/>
                </a:lnTo>
                <a:lnTo>
                  <a:pt x="2080002" y="2538294"/>
                </a:lnTo>
                <a:lnTo>
                  <a:pt x="2077785" y="2535295"/>
                </a:lnTo>
                <a:lnTo>
                  <a:pt x="2080255" y="2535654"/>
                </a:lnTo>
                <a:lnTo>
                  <a:pt x="2094381" y="2542432"/>
                </a:lnTo>
                <a:lnTo>
                  <a:pt x="2096303" y="2541672"/>
                </a:lnTo>
                <a:lnTo>
                  <a:pt x="2097928" y="2540152"/>
                </a:lnTo>
                <a:lnTo>
                  <a:pt x="2091847" y="2536583"/>
                </a:lnTo>
                <a:lnTo>
                  <a:pt x="2086019" y="2533775"/>
                </a:lnTo>
                <a:lnTo>
                  <a:pt x="2080551" y="2532043"/>
                </a:lnTo>
                <a:lnTo>
                  <a:pt x="2075082" y="2532191"/>
                </a:lnTo>
                <a:lnTo>
                  <a:pt x="2072021" y="2529320"/>
                </a:lnTo>
                <a:lnTo>
                  <a:pt x="2070036" y="2524949"/>
                </a:lnTo>
                <a:lnTo>
                  <a:pt x="2069022" y="2521212"/>
                </a:lnTo>
                <a:lnTo>
                  <a:pt x="2066594" y="2517284"/>
                </a:lnTo>
                <a:lnTo>
                  <a:pt x="2058846" y="2509219"/>
                </a:lnTo>
                <a:lnTo>
                  <a:pt x="2056966" y="2506115"/>
                </a:lnTo>
                <a:lnTo>
                  <a:pt x="2052722" y="2501871"/>
                </a:lnTo>
                <a:lnTo>
                  <a:pt x="2055298" y="2501279"/>
                </a:lnTo>
                <a:lnTo>
                  <a:pt x="2063618" y="2505354"/>
                </a:lnTo>
                <a:lnTo>
                  <a:pt x="2064356" y="2503729"/>
                </a:lnTo>
                <a:lnTo>
                  <a:pt x="2063638" y="2501343"/>
                </a:lnTo>
                <a:lnTo>
                  <a:pt x="2055277" y="2497479"/>
                </a:lnTo>
                <a:lnTo>
                  <a:pt x="2050758" y="2497226"/>
                </a:lnTo>
                <a:lnTo>
                  <a:pt x="2049703" y="2494523"/>
                </a:lnTo>
                <a:lnTo>
                  <a:pt x="2050315" y="2491376"/>
                </a:lnTo>
                <a:lnTo>
                  <a:pt x="2044339" y="2479637"/>
                </a:lnTo>
                <a:lnTo>
                  <a:pt x="2038132" y="2470833"/>
                </a:lnTo>
                <a:lnTo>
                  <a:pt x="2037160" y="2466673"/>
                </a:lnTo>
                <a:lnTo>
                  <a:pt x="2053905" y="2485803"/>
                </a:lnTo>
                <a:lnTo>
                  <a:pt x="2056143" y="2486140"/>
                </a:lnTo>
                <a:lnTo>
                  <a:pt x="2059098" y="2485971"/>
                </a:lnTo>
                <a:lnTo>
                  <a:pt x="2066024" y="2483818"/>
                </a:lnTo>
                <a:lnTo>
                  <a:pt x="2064694" y="2481242"/>
                </a:lnTo>
                <a:lnTo>
                  <a:pt x="2061569" y="2478518"/>
                </a:lnTo>
                <a:lnTo>
                  <a:pt x="2058550" y="2479785"/>
                </a:lnTo>
                <a:lnTo>
                  <a:pt x="2054601" y="2480039"/>
                </a:lnTo>
                <a:lnTo>
                  <a:pt x="2052532" y="2478898"/>
                </a:lnTo>
                <a:lnTo>
                  <a:pt x="2051603" y="2476913"/>
                </a:lnTo>
                <a:lnTo>
                  <a:pt x="2055551" y="2467623"/>
                </a:lnTo>
                <a:lnTo>
                  <a:pt x="2053841" y="2468109"/>
                </a:lnTo>
                <a:lnTo>
                  <a:pt x="2052595" y="2469755"/>
                </a:lnTo>
                <a:lnTo>
                  <a:pt x="2050420" y="2470558"/>
                </a:lnTo>
                <a:lnTo>
                  <a:pt x="2047084" y="2471023"/>
                </a:lnTo>
                <a:lnTo>
                  <a:pt x="2038828" y="2466061"/>
                </a:lnTo>
                <a:lnTo>
                  <a:pt x="2031565" y="2452653"/>
                </a:lnTo>
                <a:lnTo>
                  <a:pt x="2029644" y="2449887"/>
                </a:lnTo>
                <a:lnTo>
                  <a:pt x="2027701" y="2445220"/>
                </a:lnTo>
                <a:lnTo>
                  <a:pt x="2025779" y="2443278"/>
                </a:lnTo>
                <a:lnTo>
                  <a:pt x="2017418" y="2424211"/>
                </a:lnTo>
                <a:lnTo>
                  <a:pt x="2020607" y="2425626"/>
                </a:lnTo>
                <a:lnTo>
                  <a:pt x="2024428" y="2431136"/>
                </a:lnTo>
                <a:lnTo>
                  <a:pt x="2031840" y="2429976"/>
                </a:lnTo>
                <a:lnTo>
                  <a:pt x="2034732" y="2426787"/>
                </a:lnTo>
                <a:lnTo>
                  <a:pt x="2037245" y="2426892"/>
                </a:lnTo>
                <a:lnTo>
                  <a:pt x="2039842" y="2426175"/>
                </a:lnTo>
                <a:lnTo>
                  <a:pt x="2043094" y="2423156"/>
                </a:lnTo>
                <a:lnTo>
                  <a:pt x="2052595" y="2410001"/>
                </a:lnTo>
                <a:lnTo>
                  <a:pt x="2055108" y="2392688"/>
                </a:lnTo>
                <a:lnTo>
                  <a:pt x="2054285" y="2382383"/>
                </a:lnTo>
                <a:lnTo>
                  <a:pt x="2052891" y="2372164"/>
                </a:lnTo>
                <a:lnTo>
                  <a:pt x="2056037" y="2368891"/>
                </a:lnTo>
                <a:lnTo>
                  <a:pt x="2057282" y="2371066"/>
                </a:lnTo>
                <a:lnTo>
                  <a:pt x="2057895" y="2374677"/>
                </a:lnTo>
                <a:lnTo>
                  <a:pt x="2059373" y="2377379"/>
                </a:lnTo>
                <a:lnTo>
                  <a:pt x="2062752" y="2379786"/>
                </a:lnTo>
                <a:lnTo>
                  <a:pt x="2069043" y="2380419"/>
                </a:lnTo>
                <a:lnTo>
                  <a:pt x="2078757" y="2384220"/>
                </a:lnTo>
                <a:lnTo>
                  <a:pt x="2082219" y="2386606"/>
                </a:lnTo>
                <a:lnTo>
                  <a:pt x="2083169" y="2381792"/>
                </a:lnTo>
                <a:lnTo>
                  <a:pt x="2094360" y="2377696"/>
                </a:lnTo>
                <a:lnTo>
                  <a:pt x="2090960" y="2376239"/>
                </a:lnTo>
                <a:lnTo>
                  <a:pt x="2081037" y="2377843"/>
                </a:lnTo>
                <a:lnTo>
                  <a:pt x="2067397" y="2371720"/>
                </a:lnTo>
                <a:lnTo>
                  <a:pt x="2062857" y="2367836"/>
                </a:lnTo>
                <a:lnTo>
                  <a:pt x="2058634" y="2360424"/>
                </a:lnTo>
                <a:lnTo>
                  <a:pt x="2054264" y="2356560"/>
                </a:lnTo>
                <a:lnTo>
                  <a:pt x="2054559" y="2353097"/>
                </a:lnTo>
                <a:lnTo>
                  <a:pt x="2064356" y="2349888"/>
                </a:lnTo>
                <a:lnTo>
                  <a:pt x="2066953" y="2350246"/>
                </a:lnTo>
                <a:lnTo>
                  <a:pt x="2067988" y="2354069"/>
                </a:lnTo>
                <a:lnTo>
                  <a:pt x="2070627" y="2355652"/>
                </a:lnTo>
                <a:lnTo>
                  <a:pt x="2071620" y="2355124"/>
                </a:lnTo>
                <a:lnTo>
                  <a:pt x="2072063" y="2351873"/>
                </a:lnTo>
                <a:lnTo>
                  <a:pt x="2072084" y="2343131"/>
                </a:lnTo>
                <a:lnTo>
                  <a:pt x="2069107" y="2330589"/>
                </a:lnTo>
                <a:lnTo>
                  <a:pt x="2070015" y="2328161"/>
                </a:lnTo>
                <a:lnTo>
                  <a:pt x="2070019" y="2328160"/>
                </a:lnTo>
                <a:lnTo>
                  <a:pt x="2070500" y="2326894"/>
                </a:lnTo>
                <a:lnTo>
                  <a:pt x="2065201" y="2323325"/>
                </a:lnTo>
                <a:lnTo>
                  <a:pt x="2061379" y="2322966"/>
                </a:lnTo>
                <a:lnTo>
                  <a:pt x="2057853" y="2321847"/>
                </a:lnTo>
                <a:lnTo>
                  <a:pt x="2060703" y="2312557"/>
                </a:lnTo>
                <a:lnTo>
                  <a:pt x="2064271" y="2304344"/>
                </a:lnTo>
                <a:lnTo>
                  <a:pt x="2069593" y="2298136"/>
                </a:lnTo>
                <a:lnTo>
                  <a:pt x="2072421" y="2296636"/>
                </a:lnTo>
                <a:lnTo>
                  <a:pt x="2073330" y="2293553"/>
                </a:lnTo>
                <a:lnTo>
                  <a:pt x="2077552" y="2283419"/>
                </a:lnTo>
                <a:lnTo>
                  <a:pt x="2082789" y="2275205"/>
                </a:lnTo>
                <a:lnTo>
                  <a:pt x="2081164" y="2266886"/>
                </a:lnTo>
                <a:lnTo>
                  <a:pt x="2082409" y="2252887"/>
                </a:lnTo>
                <a:lnTo>
                  <a:pt x="2083929" y="2253309"/>
                </a:lnTo>
                <a:lnTo>
                  <a:pt x="2084161" y="2254619"/>
                </a:lnTo>
                <a:lnTo>
                  <a:pt x="2084563" y="2256561"/>
                </a:lnTo>
                <a:lnTo>
                  <a:pt x="2086526" y="2258313"/>
                </a:lnTo>
                <a:lnTo>
                  <a:pt x="2093029" y="2260995"/>
                </a:lnTo>
                <a:lnTo>
                  <a:pt x="2112413" y="2260995"/>
                </a:lnTo>
                <a:lnTo>
                  <a:pt x="2123984" y="2260995"/>
                </a:lnTo>
                <a:lnTo>
                  <a:pt x="2141108" y="2260995"/>
                </a:lnTo>
                <a:lnTo>
                  <a:pt x="2159224" y="2260995"/>
                </a:lnTo>
                <a:lnTo>
                  <a:pt x="2173012" y="2260953"/>
                </a:lnTo>
                <a:lnTo>
                  <a:pt x="2173075" y="2274677"/>
                </a:lnTo>
                <a:lnTo>
                  <a:pt x="2173139" y="2286269"/>
                </a:lnTo>
                <a:lnTo>
                  <a:pt x="2173202" y="2298811"/>
                </a:lnTo>
                <a:lnTo>
                  <a:pt x="2173266" y="2311881"/>
                </a:lnTo>
                <a:lnTo>
                  <a:pt x="2173328" y="2322945"/>
                </a:lnTo>
                <a:lnTo>
                  <a:pt x="2173370" y="2330061"/>
                </a:lnTo>
                <a:lnTo>
                  <a:pt x="2173392" y="2330061"/>
                </a:lnTo>
                <a:lnTo>
                  <a:pt x="2173350" y="2322925"/>
                </a:lnTo>
                <a:lnTo>
                  <a:pt x="2173287" y="2311861"/>
                </a:lnTo>
                <a:lnTo>
                  <a:pt x="2173223" y="2298791"/>
                </a:lnTo>
                <a:lnTo>
                  <a:pt x="2173139" y="2286248"/>
                </a:lnTo>
                <a:lnTo>
                  <a:pt x="2173075" y="2274656"/>
                </a:lnTo>
                <a:lnTo>
                  <a:pt x="2173012" y="2260953"/>
                </a:lnTo>
                <a:lnTo>
                  <a:pt x="2173667" y="2257005"/>
                </a:lnTo>
                <a:lnTo>
                  <a:pt x="2174469" y="2255400"/>
                </a:lnTo>
                <a:lnTo>
                  <a:pt x="2173666" y="2257005"/>
                </a:lnTo>
                <a:lnTo>
                  <a:pt x="2173011" y="2260953"/>
                </a:lnTo>
                <a:lnTo>
                  <a:pt x="2159244" y="2260932"/>
                </a:lnTo>
                <a:lnTo>
                  <a:pt x="2141128" y="2260932"/>
                </a:lnTo>
                <a:lnTo>
                  <a:pt x="2124025" y="2260932"/>
                </a:lnTo>
                <a:lnTo>
                  <a:pt x="2112454" y="2260932"/>
                </a:lnTo>
                <a:lnTo>
                  <a:pt x="2093072" y="2260932"/>
                </a:lnTo>
                <a:lnTo>
                  <a:pt x="2086568" y="2258250"/>
                </a:lnTo>
                <a:lnTo>
                  <a:pt x="2084605" y="2256498"/>
                </a:lnTo>
                <a:lnTo>
                  <a:pt x="2084204" y="2254555"/>
                </a:lnTo>
                <a:lnTo>
                  <a:pt x="2083971" y="2253224"/>
                </a:lnTo>
                <a:lnTo>
                  <a:pt x="2082451" y="2252845"/>
                </a:lnTo>
                <a:lnTo>
                  <a:pt x="2083697" y="2238930"/>
                </a:lnTo>
                <a:lnTo>
                  <a:pt x="2086421" y="2227338"/>
                </a:lnTo>
                <a:lnTo>
                  <a:pt x="2087476" y="2216570"/>
                </a:lnTo>
                <a:lnTo>
                  <a:pt x="2091214" y="2206963"/>
                </a:lnTo>
                <a:lnTo>
                  <a:pt x="2089229" y="2197440"/>
                </a:lnTo>
                <a:lnTo>
                  <a:pt x="2086927" y="2193280"/>
                </a:lnTo>
                <a:lnTo>
                  <a:pt x="2074829" y="2179767"/>
                </a:lnTo>
                <a:lnTo>
                  <a:pt x="2080381" y="2174679"/>
                </a:lnTo>
                <a:lnTo>
                  <a:pt x="2073076" y="2175375"/>
                </a:lnTo>
                <a:lnTo>
                  <a:pt x="2071513" y="2170351"/>
                </a:lnTo>
                <a:lnTo>
                  <a:pt x="2067966" y="2164353"/>
                </a:lnTo>
                <a:lnTo>
                  <a:pt x="2070141" y="2163361"/>
                </a:lnTo>
                <a:lnTo>
                  <a:pt x="2072231" y="2160088"/>
                </a:lnTo>
                <a:lnTo>
                  <a:pt x="2078840" y="2161081"/>
                </a:lnTo>
                <a:lnTo>
                  <a:pt x="2078629" y="2159455"/>
                </a:lnTo>
                <a:lnTo>
                  <a:pt x="2072928" y="2154409"/>
                </a:lnTo>
                <a:lnTo>
                  <a:pt x="2073477" y="2151854"/>
                </a:lnTo>
                <a:lnTo>
                  <a:pt x="2075820" y="2149024"/>
                </a:lnTo>
                <a:lnTo>
                  <a:pt x="2074681" y="2147800"/>
                </a:lnTo>
                <a:lnTo>
                  <a:pt x="2070585" y="2150777"/>
                </a:lnTo>
                <a:lnTo>
                  <a:pt x="2067628" y="2150671"/>
                </a:lnTo>
                <a:lnTo>
                  <a:pt x="2065348" y="2148771"/>
                </a:lnTo>
                <a:lnTo>
                  <a:pt x="2063659" y="2148454"/>
                </a:lnTo>
                <a:lnTo>
                  <a:pt x="2064672" y="2152318"/>
                </a:lnTo>
                <a:lnTo>
                  <a:pt x="2062371" y="2155760"/>
                </a:lnTo>
                <a:lnTo>
                  <a:pt x="2060196" y="2156984"/>
                </a:lnTo>
                <a:lnTo>
                  <a:pt x="2056480" y="2156774"/>
                </a:lnTo>
                <a:lnTo>
                  <a:pt x="2053439" y="2155887"/>
                </a:lnTo>
                <a:lnTo>
                  <a:pt x="2052616" y="2153965"/>
                </a:lnTo>
                <a:lnTo>
                  <a:pt x="2049765" y="2152508"/>
                </a:lnTo>
                <a:lnTo>
                  <a:pt x="2041742" y="2149933"/>
                </a:lnTo>
                <a:lnTo>
                  <a:pt x="2035007" y="2146913"/>
                </a:lnTo>
                <a:lnTo>
                  <a:pt x="2033655" y="2138679"/>
                </a:lnTo>
                <a:lnTo>
                  <a:pt x="2030974" y="2135131"/>
                </a:lnTo>
                <a:lnTo>
                  <a:pt x="2029876" y="2131119"/>
                </a:lnTo>
                <a:lnTo>
                  <a:pt x="2029242" y="2126537"/>
                </a:lnTo>
                <a:lnTo>
                  <a:pt x="2030171" y="2119485"/>
                </a:lnTo>
                <a:lnTo>
                  <a:pt x="2028440" y="2118366"/>
                </a:lnTo>
                <a:lnTo>
                  <a:pt x="2026497" y="2117986"/>
                </a:lnTo>
                <a:lnTo>
                  <a:pt x="2023583" y="2118324"/>
                </a:lnTo>
                <a:lnTo>
                  <a:pt x="2020902" y="2117944"/>
                </a:lnTo>
                <a:lnTo>
                  <a:pt x="2017692" y="2114038"/>
                </a:lnTo>
                <a:lnTo>
                  <a:pt x="2014884" y="2112538"/>
                </a:lnTo>
                <a:lnTo>
                  <a:pt x="2016616" y="2119717"/>
                </a:lnTo>
                <a:lnTo>
                  <a:pt x="2014631" y="2121723"/>
                </a:lnTo>
                <a:lnTo>
                  <a:pt x="2009796" y="2121153"/>
                </a:lnTo>
                <a:lnTo>
                  <a:pt x="2007726" y="2118430"/>
                </a:lnTo>
                <a:lnTo>
                  <a:pt x="2007325" y="2116403"/>
                </a:lnTo>
                <a:lnTo>
                  <a:pt x="2009542" y="2107737"/>
                </a:lnTo>
                <a:lnTo>
                  <a:pt x="2008742" y="2107561"/>
                </a:lnTo>
                <a:lnTo>
                  <a:pt x="2008739" y="2107568"/>
                </a:lnTo>
                <a:lnTo>
                  <a:pt x="2008021" y="2107420"/>
                </a:lnTo>
                <a:lnTo>
                  <a:pt x="2006290" y="2109394"/>
                </a:lnTo>
                <a:lnTo>
                  <a:pt x="2001350" y="2108100"/>
                </a:lnTo>
                <a:lnTo>
                  <a:pt x="1999132" y="2104089"/>
                </a:lnTo>
                <a:lnTo>
                  <a:pt x="1996071" y="2103429"/>
                </a:lnTo>
                <a:lnTo>
                  <a:pt x="1990792" y="2097552"/>
                </a:lnTo>
                <a:lnTo>
                  <a:pt x="1989673" y="2098527"/>
                </a:lnTo>
                <a:lnTo>
                  <a:pt x="1995247" y="2113467"/>
                </a:lnTo>
                <a:lnTo>
                  <a:pt x="1993178" y="2119295"/>
                </a:lnTo>
                <a:lnTo>
                  <a:pt x="1977490" y="2119421"/>
                </a:lnTo>
                <a:lnTo>
                  <a:pt x="1963998" y="2121385"/>
                </a:lnTo>
                <a:lnTo>
                  <a:pt x="1954728" y="2121216"/>
                </a:lnTo>
                <a:lnTo>
                  <a:pt x="1950083" y="2119083"/>
                </a:lnTo>
                <a:lnTo>
                  <a:pt x="1948014" y="2113489"/>
                </a:lnTo>
                <a:lnTo>
                  <a:pt x="1947212" y="2114059"/>
                </a:lnTo>
                <a:lnTo>
                  <a:pt x="1946747" y="2117057"/>
                </a:lnTo>
                <a:lnTo>
                  <a:pt x="1943812" y="2119421"/>
                </a:lnTo>
                <a:lnTo>
                  <a:pt x="1933403" y="2119865"/>
                </a:lnTo>
                <a:lnTo>
                  <a:pt x="1928800" y="2116044"/>
                </a:lnTo>
                <a:lnTo>
                  <a:pt x="1925083" y="2111757"/>
                </a:lnTo>
                <a:lnTo>
                  <a:pt x="1921093" y="2109861"/>
                </a:lnTo>
                <a:lnTo>
                  <a:pt x="1921705" y="2111652"/>
                </a:lnTo>
                <a:lnTo>
                  <a:pt x="1926287" y="2115832"/>
                </a:lnTo>
                <a:lnTo>
                  <a:pt x="1925738" y="2121829"/>
                </a:lnTo>
                <a:lnTo>
                  <a:pt x="1917356" y="2128796"/>
                </a:lnTo>
                <a:lnTo>
                  <a:pt x="1912013" y="2129198"/>
                </a:lnTo>
                <a:lnTo>
                  <a:pt x="1908741" y="2126199"/>
                </a:lnTo>
                <a:lnTo>
                  <a:pt x="1907030" y="2121322"/>
                </a:lnTo>
                <a:lnTo>
                  <a:pt x="1906165" y="2114101"/>
                </a:lnTo>
                <a:lnTo>
                  <a:pt x="1903969" y="2109394"/>
                </a:lnTo>
                <a:lnTo>
                  <a:pt x="1902786" y="2109394"/>
                </a:lnTo>
                <a:lnTo>
                  <a:pt x="1903884" y="2113700"/>
                </a:lnTo>
                <a:lnTo>
                  <a:pt x="1904244" y="2117226"/>
                </a:lnTo>
                <a:lnTo>
                  <a:pt x="1904286" y="2124553"/>
                </a:lnTo>
                <a:lnTo>
                  <a:pt x="1908276" y="2130232"/>
                </a:lnTo>
                <a:lnTo>
                  <a:pt x="1902153" y="2132006"/>
                </a:lnTo>
                <a:lnTo>
                  <a:pt x="1899662" y="2132070"/>
                </a:lnTo>
                <a:lnTo>
                  <a:pt x="1894805" y="2132196"/>
                </a:lnTo>
                <a:lnTo>
                  <a:pt x="1893876" y="2130063"/>
                </a:lnTo>
                <a:lnTo>
                  <a:pt x="1892947" y="2125355"/>
                </a:lnTo>
                <a:lnTo>
                  <a:pt x="1891659" y="2124130"/>
                </a:lnTo>
                <a:lnTo>
                  <a:pt x="1890160" y="2132112"/>
                </a:lnTo>
                <a:lnTo>
                  <a:pt x="1886929" y="2132660"/>
                </a:lnTo>
                <a:lnTo>
                  <a:pt x="1884691" y="2132597"/>
                </a:lnTo>
                <a:lnTo>
                  <a:pt x="1875063" y="2134329"/>
                </a:lnTo>
                <a:lnTo>
                  <a:pt x="1872909" y="2133991"/>
                </a:lnTo>
                <a:lnTo>
                  <a:pt x="1872466" y="2132512"/>
                </a:lnTo>
                <a:lnTo>
                  <a:pt x="1873606" y="2130295"/>
                </a:lnTo>
                <a:lnTo>
                  <a:pt x="1873352" y="2126706"/>
                </a:lnTo>
                <a:lnTo>
                  <a:pt x="1870016" y="2129472"/>
                </a:lnTo>
                <a:lnTo>
                  <a:pt x="1869488" y="2135004"/>
                </a:lnTo>
                <a:lnTo>
                  <a:pt x="1867588" y="2135912"/>
                </a:lnTo>
                <a:lnTo>
                  <a:pt x="1861867" y="2135131"/>
                </a:lnTo>
                <a:lnTo>
                  <a:pt x="1855595" y="2132281"/>
                </a:lnTo>
                <a:lnTo>
                  <a:pt x="1851773" y="2129367"/>
                </a:lnTo>
                <a:lnTo>
                  <a:pt x="1845397" y="2125313"/>
                </a:lnTo>
                <a:lnTo>
                  <a:pt x="1832896" y="2113953"/>
                </a:lnTo>
                <a:lnTo>
                  <a:pt x="1830870" y="2108845"/>
                </a:lnTo>
                <a:lnTo>
                  <a:pt x="1827302" y="2102585"/>
                </a:lnTo>
                <a:lnTo>
                  <a:pt x="1824641" y="2096217"/>
                </a:lnTo>
                <a:lnTo>
                  <a:pt x="1820798" y="2085352"/>
                </a:lnTo>
                <a:lnTo>
                  <a:pt x="1821980" y="2084568"/>
                </a:lnTo>
                <a:lnTo>
                  <a:pt x="1824873" y="2085501"/>
                </a:lnTo>
                <a:lnTo>
                  <a:pt x="1826288" y="2083866"/>
                </a:lnTo>
                <a:lnTo>
                  <a:pt x="1821094" y="2082678"/>
                </a:lnTo>
                <a:lnTo>
                  <a:pt x="1820017" y="2081405"/>
                </a:lnTo>
                <a:lnTo>
                  <a:pt x="1819658" y="2077583"/>
                </a:lnTo>
                <a:lnTo>
                  <a:pt x="1819890" y="2072915"/>
                </a:lnTo>
                <a:lnTo>
                  <a:pt x="1824113" y="2071281"/>
                </a:lnTo>
                <a:lnTo>
                  <a:pt x="1827766" y="2070472"/>
                </a:lnTo>
                <a:lnTo>
                  <a:pt x="1829603" y="2067648"/>
                </a:lnTo>
                <a:lnTo>
                  <a:pt x="1830658" y="2064805"/>
                </a:lnTo>
                <a:lnTo>
                  <a:pt x="1820967" y="2069112"/>
                </a:lnTo>
                <a:lnTo>
                  <a:pt x="1811867" y="2064232"/>
                </a:lnTo>
                <a:lnTo>
                  <a:pt x="1809903" y="2061280"/>
                </a:lnTo>
                <a:lnTo>
                  <a:pt x="1810895" y="2059011"/>
                </a:lnTo>
                <a:lnTo>
                  <a:pt x="1815245" y="2058671"/>
                </a:lnTo>
                <a:lnTo>
                  <a:pt x="1821453" y="2058840"/>
                </a:lnTo>
                <a:lnTo>
                  <a:pt x="1825169" y="2056631"/>
                </a:lnTo>
                <a:lnTo>
                  <a:pt x="1822889" y="2055846"/>
                </a:lnTo>
                <a:lnTo>
                  <a:pt x="1818877" y="2055931"/>
                </a:lnTo>
                <a:lnTo>
                  <a:pt x="1817398" y="2054465"/>
                </a:lnTo>
                <a:lnTo>
                  <a:pt x="1817525" y="2050922"/>
                </a:lnTo>
                <a:lnTo>
                  <a:pt x="1816216" y="2051707"/>
                </a:lnTo>
                <a:lnTo>
                  <a:pt x="1814485" y="2054847"/>
                </a:lnTo>
                <a:lnTo>
                  <a:pt x="1808361" y="2057161"/>
                </a:lnTo>
                <a:lnTo>
                  <a:pt x="1804772" y="2054847"/>
                </a:lnTo>
                <a:lnTo>
                  <a:pt x="1804413" y="2049712"/>
                </a:lnTo>
                <a:lnTo>
                  <a:pt x="1803632" y="2047398"/>
                </a:lnTo>
                <a:lnTo>
                  <a:pt x="1800613" y="2045592"/>
                </a:lnTo>
                <a:lnTo>
                  <a:pt x="1789887" y="2031989"/>
                </a:lnTo>
                <a:lnTo>
                  <a:pt x="1776416" y="2020633"/>
                </a:lnTo>
                <a:lnTo>
                  <a:pt x="1764443" y="2012801"/>
                </a:lnTo>
                <a:lnTo>
                  <a:pt x="1746348" y="2009066"/>
                </a:lnTo>
                <a:lnTo>
                  <a:pt x="1708469" y="2009214"/>
                </a:lnTo>
                <a:lnTo>
                  <a:pt x="1706336" y="2008133"/>
                </a:lnTo>
                <a:lnTo>
                  <a:pt x="1708659" y="2006351"/>
                </a:lnTo>
                <a:lnTo>
                  <a:pt x="1711973" y="2005141"/>
                </a:lnTo>
                <a:lnTo>
                  <a:pt x="1724157" y="1998794"/>
                </a:lnTo>
                <a:lnTo>
                  <a:pt x="1722109" y="1997945"/>
                </a:lnTo>
                <a:lnTo>
                  <a:pt x="1709439" y="2001915"/>
                </a:lnTo>
                <a:lnTo>
                  <a:pt x="1705111" y="2002297"/>
                </a:lnTo>
                <a:lnTo>
                  <a:pt x="1699495" y="2009918"/>
                </a:lnTo>
                <a:lnTo>
                  <a:pt x="1666134" y="2011191"/>
                </a:lnTo>
                <a:lnTo>
                  <a:pt x="1662227" y="2011594"/>
                </a:lnTo>
                <a:lnTo>
                  <a:pt x="1662311" y="2008112"/>
                </a:lnTo>
                <a:lnTo>
                  <a:pt x="1663938" y="1998095"/>
                </a:lnTo>
                <a:lnTo>
                  <a:pt x="1665014" y="1994147"/>
                </a:lnTo>
                <a:lnTo>
                  <a:pt x="1666261" y="1991176"/>
                </a:lnTo>
                <a:lnTo>
                  <a:pt x="1664972" y="1987610"/>
                </a:lnTo>
                <a:lnTo>
                  <a:pt x="1663706" y="1982770"/>
                </a:lnTo>
                <a:lnTo>
                  <a:pt x="1663093" y="1975171"/>
                </a:lnTo>
                <a:lnTo>
                  <a:pt x="1664655" y="1972817"/>
                </a:lnTo>
                <a:lnTo>
                  <a:pt x="1665183" y="1969951"/>
                </a:lnTo>
                <a:lnTo>
                  <a:pt x="1664803" y="1965452"/>
                </a:lnTo>
                <a:lnTo>
                  <a:pt x="1664803" y="1950424"/>
                </a:lnTo>
                <a:lnTo>
                  <a:pt x="1665711" y="1948791"/>
                </a:lnTo>
                <a:lnTo>
                  <a:pt x="1666788" y="1947539"/>
                </a:lnTo>
                <a:lnTo>
                  <a:pt x="1666851" y="1945543"/>
                </a:lnTo>
                <a:lnTo>
                  <a:pt x="1664824" y="1941658"/>
                </a:lnTo>
                <a:lnTo>
                  <a:pt x="1662945" y="1937221"/>
                </a:lnTo>
                <a:lnTo>
                  <a:pt x="1663009" y="1930835"/>
                </a:lnTo>
                <a:lnTo>
                  <a:pt x="1662248" y="1924659"/>
                </a:lnTo>
                <a:lnTo>
                  <a:pt x="1660961" y="1921835"/>
                </a:lnTo>
                <a:lnTo>
                  <a:pt x="1661932" y="1911308"/>
                </a:lnTo>
                <a:lnTo>
                  <a:pt x="1662480" y="1897980"/>
                </a:lnTo>
                <a:lnTo>
                  <a:pt x="1661974" y="1892057"/>
                </a:lnTo>
                <a:lnTo>
                  <a:pt x="1663199" y="1887877"/>
                </a:lnTo>
                <a:lnTo>
                  <a:pt x="1663853" y="1877583"/>
                </a:lnTo>
                <a:lnTo>
                  <a:pt x="1663748" y="1867501"/>
                </a:lnTo>
                <a:lnTo>
                  <a:pt x="1666239" y="1851566"/>
                </a:lnTo>
                <a:lnTo>
                  <a:pt x="1666113" y="1851579"/>
                </a:lnTo>
                <a:lnTo>
                  <a:pt x="1663621" y="1867518"/>
                </a:lnTo>
                <a:lnTo>
                  <a:pt x="1663748" y="1877601"/>
                </a:lnTo>
                <a:lnTo>
                  <a:pt x="1663072" y="1887894"/>
                </a:lnTo>
                <a:lnTo>
                  <a:pt x="1661869" y="1892096"/>
                </a:lnTo>
                <a:lnTo>
                  <a:pt x="1662376" y="1897997"/>
                </a:lnTo>
                <a:lnTo>
                  <a:pt x="1661827" y="1911345"/>
                </a:lnTo>
                <a:lnTo>
                  <a:pt x="1660855" y="1921852"/>
                </a:lnTo>
                <a:lnTo>
                  <a:pt x="1662143" y="1924675"/>
                </a:lnTo>
                <a:lnTo>
                  <a:pt x="1662882" y="1930851"/>
                </a:lnTo>
                <a:lnTo>
                  <a:pt x="1662840" y="1937241"/>
                </a:lnTo>
                <a:lnTo>
                  <a:pt x="1664698" y="1941675"/>
                </a:lnTo>
                <a:lnTo>
                  <a:pt x="1666725" y="1945560"/>
                </a:lnTo>
                <a:lnTo>
                  <a:pt x="1666662" y="1947555"/>
                </a:lnTo>
                <a:lnTo>
                  <a:pt x="1665585" y="1948807"/>
                </a:lnTo>
                <a:lnTo>
                  <a:pt x="1664676" y="1950442"/>
                </a:lnTo>
                <a:lnTo>
                  <a:pt x="1664676" y="1965469"/>
                </a:lnTo>
                <a:lnTo>
                  <a:pt x="1665057" y="1969968"/>
                </a:lnTo>
                <a:lnTo>
                  <a:pt x="1664508" y="1972812"/>
                </a:lnTo>
                <a:lnTo>
                  <a:pt x="1662945" y="1975190"/>
                </a:lnTo>
                <a:lnTo>
                  <a:pt x="1663558" y="1982787"/>
                </a:lnTo>
                <a:lnTo>
                  <a:pt x="1664825" y="1987627"/>
                </a:lnTo>
                <a:lnTo>
                  <a:pt x="1666092" y="1991193"/>
                </a:lnTo>
                <a:lnTo>
                  <a:pt x="1664866" y="1994163"/>
                </a:lnTo>
                <a:lnTo>
                  <a:pt x="1663790" y="1998091"/>
                </a:lnTo>
                <a:lnTo>
                  <a:pt x="1662165" y="2008107"/>
                </a:lnTo>
                <a:lnTo>
                  <a:pt x="1662059" y="2011589"/>
                </a:lnTo>
                <a:lnTo>
                  <a:pt x="1637207" y="2014030"/>
                </a:lnTo>
                <a:lnTo>
                  <a:pt x="1609420" y="2018040"/>
                </a:lnTo>
                <a:lnTo>
                  <a:pt x="1597828" y="2020652"/>
                </a:lnTo>
                <a:lnTo>
                  <a:pt x="1597156" y="2018645"/>
                </a:lnTo>
                <a:lnTo>
                  <a:pt x="1597152" y="2018646"/>
                </a:lnTo>
                <a:lnTo>
                  <a:pt x="1597828" y="2020662"/>
                </a:lnTo>
                <a:lnTo>
                  <a:pt x="1579352" y="2024821"/>
                </a:lnTo>
                <a:lnTo>
                  <a:pt x="1572046" y="2028259"/>
                </a:lnTo>
                <a:lnTo>
                  <a:pt x="1572046" y="2028256"/>
                </a:lnTo>
                <a:lnTo>
                  <a:pt x="1567191" y="2030505"/>
                </a:lnTo>
                <a:lnTo>
                  <a:pt x="1563918" y="2033922"/>
                </a:lnTo>
                <a:lnTo>
                  <a:pt x="1561427" y="2039123"/>
                </a:lnTo>
                <a:lnTo>
                  <a:pt x="1557964" y="2044853"/>
                </a:lnTo>
                <a:lnTo>
                  <a:pt x="1546056" y="2047824"/>
                </a:lnTo>
                <a:lnTo>
                  <a:pt x="1541495" y="2047845"/>
                </a:lnTo>
                <a:lnTo>
                  <a:pt x="1517065" y="2047993"/>
                </a:lnTo>
                <a:lnTo>
                  <a:pt x="1494198" y="2059243"/>
                </a:lnTo>
                <a:lnTo>
                  <a:pt x="1481023" y="2063255"/>
                </a:lnTo>
                <a:lnTo>
                  <a:pt x="1472914" y="2069578"/>
                </a:lnTo>
                <a:lnTo>
                  <a:pt x="1462019" y="2074078"/>
                </a:lnTo>
                <a:lnTo>
                  <a:pt x="1454418" y="2079553"/>
                </a:lnTo>
                <a:lnTo>
                  <a:pt x="1438603" y="2082165"/>
                </a:lnTo>
                <a:lnTo>
                  <a:pt x="1412695" y="2090740"/>
                </a:lnTo>
                <a:lnTo>
                  <a:pt x="1404588" y="2094155"/>
                </a:lnTo>
                <a:lnTo>
                  <a:pt x="1396394" y="2100120"/>
                </a:lnTo>
                <a:lnTo>
                  <a:pt x="1383071" y="2107103"/>
                </a:lnTo>
                <a:lnTo>
                  <a:pt x="1377814" y="2107018"/>
                </a:lnTo>
                <a:lnTo>
                  <a:pt x="1367383" y="2100481"/>
                </a:lnTo>
                <a:lnTo>
                  <a:pt x="1359529" y="2097214"/>
                </a:lnTo>
                <a:lnTo>
                  <a:pt x="1340314" y="2092205"/>
                </a:lnTo>
                <a:lnTo>
                  <a:pt x="1325978" y="2090251"/>
                </a:lnTo>
                <a:lnTo>
                  <a:pt x="1319052" y="2088107"/>
                </a:lnTo>
                <a:lnTo>
                  <a:pt x="1317154" y="2087747"/>
                </a:lnTo>
                <a:lnTo>
                  <a:pt x="1317151" y="2087750"/>
                </a:lnTo>
                <a:lnTo>
                  <a:pt x="1309297" y="2086242"/>
                </a:lnTo>
                <a:lnTo>
                  <a:pt x="1311155" y="2084268"/>
                </a:lnTo>
                <a:lnTo>
                  <a:pt x="1318776" y="2085394"/>
                </a:lnTo>
                <a:lnTo>
                  <a:pt x="1318777" y="2085391"/>
                </a:lnTo>
                <a:lnTo>
                  <a:pt x="1322789" y="2085243"/>
                </a:lnTo>
                <a:lnTo>
                  <a:pt x="1326970" y="2085944"/>
                </a:lnTo>
                <a:lnTo>
                  <a:pt x="1330158" y="2084162"/>
                </a:lnTo>
                <a:lnTo>
                  <a:pt x="1334825" y="2083928"/>
                </a:lnTo>
                <a:lnTo>
                  <a:pt x="1336049" y="2082038"/>
                </a:lnTo>
                <a:lnTo>
                  <a:pt x="1336429" y="2077326"/>
                </a:lnTo>
                <a:lnTo>
                  <a:pt x="1336387" y="2073506"/>
                </a:lnTo>
                <a:lnTo>
                  <a:pt x="1338013" y="2071808"/>
                </a:lnTo>
                <a:lnTo>
                  <a:pt x="1338435" y="2067309"/>
                </a:lnTo>
                <a:lnTo>
                  <a:pt x="1338413" y="2067212"/>
                </a:lnTo>
                <a:lnTo>
                  <a:pt x="1337991" y="2071699"/>
                </a:lnTo>
                <a:lnTo>
                  <a:pt x="1336345" y="2073418"/>
                </a:lnTo>
                <a:lnTo>
                  <a:pt x="1336387" y="2077218"/>
                </a:lnTo>
                <a:lnTo>
                  <a:pt x="1336007" y="2081950"/>
                </a:lnTo>
                <a:lnTo>
                  <a:pt x="1334781" y="2083819"/>
                </a:lnTo>
                <a:lnTo>
                  <a:pt x="1330094" y="2084053"/>
                </a:lnTo>
                <a:lnTo>
                  <a:pt x="1326906" y="2085835"/>
                </a:lnTo>
                <a:lnTo>
                  <a:pt x="1322726" y="2085113"/>
                </a:lnTo>
                <a:lnTo>
                  <a:pt x="1322324" y="2083945"/>
                </a:lnTo>
                <a:lnTo>
                  <a:pt x="1320065" y="2083521"/>
                </a:lnTo>
                <a:lnTo>
                  <a:pt x="1313858" y="2080825"/>
                </a:lnTo>
                <a:lnTo>
                  <a:pt x="1314871" y="2072186"/>
                </a:lnTo>
                <a:lnTo>
                  <a:pt x="1312000" y="2071825"/>
                </a:lnTo>
                <a:lnTo>
                  <a:pt x="1309783" y="2072970"/>
                </a:lnTo>
                <a:lnTo>
                  <a:pt x="1305369" y="2083328"/>
                </a:lnTo>
                <a:lnTo>
                  <a:pt x="1303257" y="2085111"/>
                </a:lnTo>
                <a:lnTo>
                  <a:pt x="1272261" y="2079762"/>
                </a:lnTo>
                <a:lnTo>
                  <a:pt x="1265526" y="2075453"/>
                </a:lnTo>
                <a:lnTo>
                  <a:pt x="1257460" y="2074478"/>
                </a:lnTo>
                <a:lnTo>
                  <a:pt x="1243398" y="2074965"/>
                </a:lnTo>
                <a:lnTo>
                  <a:pt x="1231806" y="2076259"/>
                </a:lnTo>
                <a:lnTo>
                  <a:pt x="1228491" y="2078869"/>
                </a:lnTo>
                <a:lnTo>
                  <a:pt x="1257756" y="2077340"/>
                </a:lnTo>
                <a:lnTo>
                  <a:pt x="1260902" y="2077638"/>
                </a:lnTo>
                <a:lnTo>
                  <a:pt x="1262380" y="2079209"/>
                </a:lnTo>
                <a:lnTo>
                  <a:pt x="1225387" y="2082628"/>
                </a:lnTo>
                <a:lnTo>
                  <a:pt x="1211282" y="2084665"/>
                </a:lnTo>
                <a:lnTo>
                  <a:pt x="1207102" y="2084112"/>
                </a:lnTo>
                <a:lnTo>
                  <a:pt x="1203935" y="2080801"/>
                </a:lnTo>
                <a:lnTo>
                  <a:pt x="1188605" y="2080396"/>
                </a:lnTo>
                <a:lnTo>
                  <a:pt x="1185459" y="2081477"/>
                </a:lnTo>
                <a:lnTo>
                  <a:pt x="1183559" y="2083918"/>
                </a:lnTo>
                <a:lnTo>
                  <a:pt x="1189598" y="2083386"/>
                </a:lnTo>
                <a:lnTo>
                  <a:pt x="1199121" y="2083261"/>
                </a:lnTo>
                <a:lnTo>
                  <a:pt x="1201676" y="2085129"/>
                </a:lnTo>
                <a:lnTo>
                  <a:pt x="1171862" y="2087569"/>
                </a:lnTo>
                <a:lnTo>
                  <a:pt x="1151190" y="2092239"/>
                </a:lnTo>
                <a:lnTo>
                  <a:pt x="1142428" y="2095697"/>
                </a:lnTo>
                <a:lnTo>
                  <a:pt x="1113585" y="2107053"/>
                </a:lnTo>
                <a:lnTo>
                  <a:pt x="1095997" y="2112412"/>
                </a:lnTo>
                <a:lnTo>
                  <a:pt x="1091394" y="2114376"/>
                </a:lnTo>
                <a:lnTo>
                  <a:pt x="1083391" y="2119928"/>
                </a:lnTo>
                <a:lnTo>
                  <a:pt x="1073108" y="2123434"/>
                </a:lnTo>
                <a:lnTo>
                  <a:pt x="1061580" y="2129979"/>
                </a:lnTo>
                <a:lnTo>
                  <a:pt x="1054548" y="2131436"/>
                </a:lnTo>
                <a:lnTo>
                  <a:pt x="1053007" y="2129422"/>
                </a:lnTo>
                <a:lnTo>
                  <a:pt x="1053007" y="2129429"/>
                </a:lnTo>
                <a:lnTo>
                  <a:pt x="1054591" y="2131520"/>
                </a:lnTo>
                <a:lnTo>
                  <a:pt x="1047772" y="2130591"/>
                </a:lnTo>
                <a:lnTo>
                  <a:pt x="1027712" y="2122166"/>
                </a:lnTo>
                <a:lnTo>
                  <a:pt x="1012277" y="2117352"/>
                </a:lnTo>
                <a:lnTo>
                  <a:pt x="960525" y="2089765"/>
                </a:lnTo>
                <a:lnTo>
                  <a:pt x="946168" y="2078685"/>
                </a:lnTo>
                <a:lnTo>
                  <a:pt x="929571" y="2062194"/>
                </a:lnTo>
                <a:lnTo>
                  <a:pt x="892726" y="2028937"/>
                </a:lnTo>
                <a:lnTo>
                  <a:pt x="884323" y="2023609"/>
                </a:lnTo>
                <a:lnTo>
                  <a:pt x="873723" y="2021018"/>
                </a:lnTo>
                <a:lnTo>
                  <a:pt x="867178" y="2018175"/>
                </a:lnTo>
                <a:lnTo>
                  <a:pt x="862554" y="2015098"/>
                </a:lnTo>
                <a:lnTo>
                  <a:pt x="858796" y="2005886"/>
                </a:lnTo>
                <a:lnTo>
                  <a:pt x="849568" y="2000390"/>
                </a:lnTo>
                <a:lnTo>
                  <a:pt x="832571" y="1992579"/>
                </a:lnTo>
                <a:lnTo>
                  <a:pt x="819775" y="1979590"/>
                </a:lnTo>
                <a:lnTo>
                  <a:pt x="822922" y="1976915"/>
                </a:lnTo>
                <a:lnTo>
                  <a:pt x="822926" y="1976907"/>
                </a:lnTo>
                <a:lnTo>
                  <a:pt x="819797" y="1979548"/>
                </a:lnTo>
                <a:lnTo>
                  <a:pt x="817432" y="1977128"/>
                </a:lnTo>
                <a:lnTo>
                  <a:pt x="806431" y="1968701"/>
                </a:lnTo>
                <a:lnTo>
                  <a:pt x="794818" y="1963034"/>
                </a:lnTo>
                <a:lnTo>
                  <a:pt x="770093" y="1953610"/>
                </a:lnTo>
                <a:lnTo>
                  <a:pt x="761858" y="1950958"/>
                </a:lnTo>
                <a:lnTo>
                  <a:pt x="762154" y="1947606"/>
                </a:lnTo>
                <a:lnTo>
                  <a:pt x="764983" y="1941472"/>
                </a:lnTo>
                <a:lnTo>
                  <a:pt x="760380" y="1934276"/>
                </a:lnTo>
                <a:lnTo>
                  <a:pt x="762154" y="1929033"/>
                </a:lnTo>
                <a:lnTo>
                  <a:pt x="760380" y="1929033"/>
                </a:lnTo>
                <a:lnTo>
                  <a:pt x="756833" y="1932175"/>
                </a:lnTo>
                <a:lnTo>
                  <a:pt x="749294" y="1931261"/>
                </a:lnTo>
                <a:lnTo>
                  <a:pt x="744291" y="1926761"/>
                </a:lnTo>
                <a:lnTo>
                  <a:pt x="740215" y="1925106"/>
                </a:lnTo>
                <a:lnTo>
                  <a:pt x="738442" y="1922857"/>
                </a:lnTo>
                <a:lnTo>
                  <a:pt x="735823" y="1910993"/>
                </a:lnTo>
                <a:lnTo>
                  <a:pt x="733944" y="1905600"/>
                </a:lnTo>
                <a:lnTo>
                  <a:pt x="730165" y="1902268"/>
                </a:lnTo>
                <a:lnTo>
                  <a:pt x="722585" y="1901439"/>
                </a:lnTo>
                <a:lnTo>
                  <a:pt x="719460" y="1894201"/>
                </a:lnTo>
                <a:lnTo>
                  <a:pt x="715258" y="1888577"/>
                </a:lnTo>
                <a:lnTo>
                  <a:pt x="715955" y="1885117"/>
                </a:lnTo>
                <a:lnTo>
                  <a:pt x="719376" y="1885307"/>
                </a:lnTo>
                <a:lnTo>
                  <a:pt x="722056" y="1887832"/>
                </a:lnTo>
                <a:lnTo>
                  <a:pt x="726386" y="1888871"/>
                </a:lnTo>
                <a:lnTo>
                  <a:pt x="731770" y="1882779"/>
                </a:lnTo>
                <a:lnTo>
                  <a:pt x="736584" y="1879469"/>
                </a:lnTo>
                <a:lnTo>
                  <a:pt x="737702" y="1876582"/>
                </a:lnTo>
                <a:lnTo>
                  <a:pt x="737112" y="1874991"/>
                </a:lnTo>
                <a:lnTo>
                  <a:pt x="734198" y="1877452"/>
                </a:lnTo>
                <a:lnTo>
                  <a:pt x="726217" y="1876814"/>
                </a:lnTo>
                <a:lnTo>
                  <a:pt x="724231" y="1879023"/>
                </a:lnTo>
                <a:lnTo>
                  <a:pt x="720663" y="1879724"/>
                </a:lnTo>
                <a:lnTo>
                  <a:pt x="717897" y="1872613"/>
                </a:lnTo>
                <a:lnTo>
                  <a:pt x="718024" y="1868411"/>
                </a:lnTo>
                <a:lnTo>
                  <a:pt x="719164" y="1863805"/>
                </a:lnTo>
                <a:lnTo>
                  <a:pt x="727209" y="1862997"/>
                </a:lnTo>
                <a:lnTo>
                  <a:pt x="727906" y="1861513"/>
                </a:lnTo>
                <a:lnTo>
                  <a:pt x="722310" y="1860516"/>
                </a:lnTo>
                <a:lnTo>
                  <a:pt x="715321" y="1855147"/>
                </a:lnTo>
                <a:lnTo>
                  <a:pt x="714079" y="1851506"/>
                </a:lnTo>
                <a:lnTo>
                  <a:pt x="713991" y="1851538"/>
                </a:lnTo>
                <a:lnTo>
                  <a:pt x="713400" y="1849798"/>
                </a:lnTo>
                <a:lnTo>
                  <a:pt x="715363" y="1844258"/>
                </a:lnTo>
                <a:lnTo>
                  <a:pt x="713801" y="1841393"/>
                </a:lnTo>
                <a:lnTo>
                  <a:pt x="707867" y="1835641"/>
                </a:lnTo>
                <a:lnTo>
                  <a:pt x="707298" y="1832884"/>
                </a:lnTo>
                <a:lnTo>
                  <a:pt x="705481" y="1829295"/>
                </a:lnTo>
                <a:lnTo>
                  <a:pt x="697648" y="1821888"/>
                </a:lnTo>
                <a:lnTo>
                  <a:pt x="690363" y="1822356"/>
                </a:lnTo>
                <a:lnTo>
                  <a:pt x="692390" y="1816156"/>
                </a:lnTo>
                <a:lnTo>
                  <a:pt x="692306" y="1807921"/>
                </a:lnTo>
                <a:lnTo>
                  <a:pt x="689814" y="1803422"/>
                </a:lnTo>
                <a:lnTo>
                  <a:pt x="690448" y="1798838"/>
                </a:lnTo>
                <a:lnTo>
                  <a:pt x="689097" y="1799115"/>
                </a:lnTo>
                <a:lnTo>
                  <a:pt x="686669" y="1802278"/>
                </a:lnTo>
                <a:lnTo>
                  <a:pt x="682742" y="1801260"/>
                </a:lnTo>
                <a:lnTo>
                  <a:pt x="674760" y="1796357"/>
                </a:lnTo>
                <a:lnTo>
                  <a:pt x="670769" y="1791623"/>
                </a:lnTo>
                <a:lnTo>
                  <a:pt x="670304" y="1787570"/>
                </a:lnTo>
                <a:lnTo>
                  <a:pt x="669396" y="1785998"/>
                </a:lnTo>
                <a:lnTo>
                  <a:pt x="666969" y="1786849"/>
                </a:lnTo>
                <a:lnTo>
                  <a:pt x="661986" y="1786765"/>
                </a:lnTo>
                <a:lnTo>
                  <a:pt x="646762" y="1779547"/>
                </a:lnTo>
                <a:lnTo>
                  <a:pt x="635951" y="1761423"/>
                </a:lnTo>
                <a:lnTo>
                  <a:pt x="635718" y="1757327"/>
                </a:lnTo>
                <a:lnTo>
                  <a:pt x="637260" y="1750281"/>
                </a:lnTo>
                <a:lnTo>
                  <a:pt x="636901" y="1748370"/>
                </a:lnTo>
                <a:lnTo>
                  <a:pt x="631939" y="1753039"/>
                </a:lnTo>
                <a:lnTo>
                  <a:pt x="630990" y="1749899"/>
                </a:lnTo>
                <a:lnTo>
                  <a:pt x="627188" y="1742618"/>
                </a:lnTo>
                <a:lnTo>
                  <a:pt x="626091" y="1738417"/>
                </a:lnTo>
                <a:lnTo>
                  <a:pt x="622458" y="1736548"/>
                </a:lnTo>
                <a:lnTo>
                  <a:pt x="619524" y="1736229"/>
                </a:lnTo>
                <a:lnTo>
                  <a:pt x="617265" y="1737629"/>
                </a:lnTo>
                <a:lnTo>
                  <a:pt x="614287" y="1746138"/>
                </a:lnTo>
                <a:lnTo>
                  <a:pt x="612070" y="1746095"/>
                </a:lnTo>
                <a:lnTo>
                  <a:pt x="609769" y="1744270"/>
                </a:lnTo>
                <a:lnTo>
                  <a:pt x="610255" y="1737903"/>
                </a:lnTo>
                <a:lnTo>
                  <a:pt x="610265" y="1737891"/>
                </a:lnTo>
                <a:lnTo>
                  <a:pt x="607277" y="1733641"/>
                </a:lnTo>
                <a:lnTo>
                  <a:pt x="609600" y="1725746"/>
                </a:lnTo>
                <a:lnTo>
                  <a:pt x="607087" y="1725852"/>
                </a:lnTo>
                <a:lnTo>
                  <a:pt x="602105" y="1732241"/>
                </a:lnTo>
                <a:lnTo>
                  <a:pt x="599677" y="1732431"/>
                </a:lnTo>
                <a:lnTo>
                  <a:pt x="599993" y="1724875"/>
                </a:lnTo>
                <a:lnTo>
                  <a:pt x="597227" y="1724598"/>
                </a:lnTo>
                <a:lnTo>
                  <a:pt x="594017" y="1725130"/>
                </a:lnTo>
                <a:lnTo>
                  <a:pt x="589541" y="1721184"/>
                </a:lnTo>
                <a:lnTo>
                  <a:pt x="589098" y="1718232"/>
                </a:lnTo>
                <a:lnTo>
                  <a:pt x="589457" y="1714114"/>
                </a:lnTo>
                <a:lnTo>
                  <a:pt x="592181" y="1711484"/>
                </a:lnTo>
                <a:lnTo>
                  <a:pt x="591800" y="1710382"/>
                </a:lnTo>
                <a:lnTo>
                  <a:pt x="589161" y="1710063"/>
                </a:lnTo>
                <a:lnTo>
                  <a:pt x="586205" y="1710764"/>
                </a:lnTo>
                <a:lnTo>
                  <a:pt x="584389" y="1709512"/>
                </a:lnTo>
                <a:lnTo>
                  <a:pt x="587387" y="1704163"/>
                </a:lnTo>
                <a:lnTo>
                  <a:pt x="597861" y="1699685"/>
                </a:lnTo>
                <a:lnTo>
                  <a:pt x="603118" y="1699218"/>
                </a:lnTo>
                <a:lnTo>
                  <a:pt x="608524" y="1698200"/>
                </a:lnTo>
                <a:lnTo>
                  <a:pt x="605567" y="1694336"/>
                </a:lnTo>
                <a:lnTo>
                  <a:pt x="599170" y="1692808"/>
                </a:lnTo>
                <a:lnTo>
                  <a:pt x="594060" y="1693868"/>
                </a:lnTo>
                <a:lnTo>
                  <a:pt x="591505" y="1696649"/>
                </a:lnTo>
                <a:lnTo>
                  <a:pt x="588359" y="1697117"/>
                </a:lnTo>
                <a:lnTo>
                  <a:pt x="583080" y="1690559"/>
                </a:lnTo>
                <a:lnTo>
                  <a:pt x="583165" y="1687269"/>
                </a:lnTo>
                <a:lnTo>
                  <a:pt x="585128" y="1683365"/>
                </a:lnTo>
                <a:lnTo>
                  <a:pt x="588190" y="1681603"/>
                </a:lnTo>
                <a:lnTo>
                  <a:pt x="600330" y="1681645"/>
                </a:lnTo>
                <a:lnTo>
                  <a:pt x="604934" y="1679438"/>
                </a:lnTo>
                <a:lnTo>
                  <a:pt x="606792" y="1679035"/>
                </a:lnTo>
                <a:lnTo>
                  <a:pt x="608545" y="1677039"/>
                </a:lnTo>
                <a:lnTo>
                  <a:pt x="608164" y="1675703"/>
                </a:lnTo>
                <a:lnTo>
                  <a:pt x="606180" y="1675639"/>
                </a:lnTo>
                <a:lnTo>
                  <a:pt x="601640" y="1678249"/>
                </a:lnTo>
                <a:lnTo>
                  <a:pt x="587028" y="1677276"/>
                </a:lnTo>
                <a:lnTo>
                  <a:pt x="582362" y="1678845"/>
                </a:lnTo>
                <a:lnTo>
                  <a:pt x="574233" y="1684852"/>
                </a:lnTo>
                <a:lnTo>
                  <a:pt x="564224" y="1688163"/>
                </a:lnTo>
                <a:lnTo>
                  <a:pt x="556962" y="1686763"/>
                </a:lnTo>
                <a:lnTo>
                  <a:pt x="559284" y="1678720"/>
                </a:lnTo>
                <a:lnTo>
                  <a:pt x="558249" y="1677639"/>
                </a:lnTo>
                <a:lnTo>
                  <a:pt x="555969" y="1676302"/>
                </a:lnTo>
                <a:lnTo>
                  <a:pt x="545327" y="1678870"/>
                </a:lnTo>
                <a:lnTo>
                  <a:pt x="537282" y="1675198"/>
                </a:lnTo>
                <a:lnTo>
                  <a:pt x="534094" y="1670762"/>
                </a:lnTo>
                <a:lnTo>
                  <a:pt x="534644" y="1665180"/>
                </a:lnTo>
                <a:lnTo>
                  <a:pt x="538444" y="1661401"/>
                </a:lnTo>
                <a:lnTo>
                  <a:pt x="539035" y="1659512"/>
                </a:lnTo>
                <a:lnTo>
                  <a:pt x="535023" y="1659151"/>
                </a:lnTo>
                <a:lnTo>
                  <a:pt x="527633" y="1661508"/>
                </a:lnTo>
                <a:lnTo>
                  <a:pt x="511413" y="1652415"/>
                </a:lnTo>
                <a:lnTo>
                  <a:pt x="511375" y="1652421"/>
                </a:lnTo>
                <a:lnTo>
                  <a:pt x="509369" y="1649704"/>
                </a:lnTo>
                <a:lnTo>
                  <a:pt x="507046" y="1645291"/>
                </a:lnTo>
                <a:lnTo>
                  <a:pt x="508504" y="1642064"/>
                </a:lnTo>
                <a:lnTo>
                  <a:pt x="513402" y="1639984"/>
                </a:lnTo>
                <a:lnTo>
                  <a:pt x="520771" y="1637268"/>
                </a:lnTo>
                <a:lnTo>
                  <a:pt x="524635" y="1638667"/>
                </a:lnTo>
                <a:lnTo>
                  <a:pt x="526894" y="1638731"/>
                </a:lnTo>
                <a:lnTo>
                  <a:pt x="527317" y="1636990"/>
                </a:lnTo>
                <a:lnTo>
                  <a:pt x="526599" y="1636057"/>
                </a:lnTo>
                <a:lnTo>
                  <a:pt x="521025" y="1633700"/>
                </a:lnTo>
                <a:lnTo>
                  <a:pt x="518153" y="1630582"/>
                </a:lnTo>
                <a:lnTo>
                  <a:pt x="515767" y="1632406"/>
                </a:lnTo>
                <a:lnTo>
                  <a:pt x="513698" y="1636226"/>
                </a:lnTo>
                <a:lnTo>
                  <a:pt x="511988" y="1637370"/>
                </a:lnTo>
                <a:lnTo>
                  <a:pt x="509475" y="1638430"/>
                </a:lnTo>
                <a:lnTo>
                  <a:pt x="508060" y="1635842"/>
                </a:lnTo>
                <a:lnTo>
                  <a:pt x="507427" y="1633317"/>
                </a:lnTo>
                <a:lnTo>
                  <a:pt x="508588" y="1631342"/>
                </a:lnTo>
                <a:lnTo>
                  <a:pt x="507997" y="1620369"/>
                </a:lnTo>
                <a:lnTo>
                  <a:pt x="508672" y="1614510"/>
                </a:lnTo>
                <a:lnTo>
                  <a:pt x="508314" y="1609396"/>
                </a:lnTo>
                <a:lnTo>
                  <a:pt x="511797" y="1606022"/>
                </a:lnTo>
                <a:lnTo>
                  <a:pt x="515113" y="1603920"/>
                </a:lnTo>
                <a:lnTo>
                  <a:pt x="528014" y="1603730"/>
                </a:lnTo>
                <a:lnTo>
                  <a:pt x="540028" y="1603541"/>
                </a:lnTo>
                <a:lnTo>
                  <a:pt x="551598" y="1603668"/>
                </a:lnTo>
                <a:lnTo>
                  <a:pt x="563380" y="1603772"/>
                </a:lnTo>
                <a:lnTo>
                  <a:pt x="564542" y="1593519"/>
                </a:lnTo>
                <a:lnTo>
                  <a:pt x="568279" y="1592718"/>
                </a:lnTo>
                <a:lnTo>
                  <a:pt x="573853" y="1591657"/>
                </a:lnTo>
                <a:lnTo>
                  <a:pt x="584263" y="1590403"/>
                </a:lnTo>
                <a:lnTo>
                  <a:pt x="595855" y="1589217"/>
                </a:lnTo>
                <a:lnTo>
                  <a:pt x="598326" y="1587198"/>
                </a:lnTo>
                <a:lnTo>
                  <a:pt x="600247" y="1583803"/>
                </a:lnTo>
                <a:lnTo>
                  <a:pt x="601450" y="1580747"/>
                </a:lnTo>
                <a:lnTo>
                  <a:pt x="603857" y="1579453"/>
                </a:lnTo>
                <a:lnTo>
                  <a:pt x="607109" y="1580471"/>
                </a:lnTo>
                <a:lnTo>
                  <a:pt x="611353" y="1582084"/>
                </a:lnTo>
                <a:lnTo>
                  <a:pt x="615766" y="1584546"/>
                </a:lnTo>
                <a:lnTo>
                  <a:pt x="620813" y="1586837"/>
                </a:lnTo>
                <a:lnTo>
                  <a:pt x="624169" y="1588302"/>
                </a:lnTo>
                <a:lnTo>
                  <a:pt x="632256" y="1591910"/>
                </a:lnTo>
                <a:lnTo>
                  <a:pt x="646086" y="1596940"/>
                </a:lnTo>
                <a:lnTo>
                  <a:pt x="657446" y="1598956"/>
                </a:lnTo>
                <a:lnTo>
                  <a:pt x="671192" y="1595263"/>
                </a:lnTo>
                <a:lnTo>
                  <a:pt x="681116" y="1592910"/>
                </a:lnTo>
                <a:lnTo>
                  <a:pt x="682340" y="1588495"/>
                </a:lnTo>
                <a:lnTo>
                  <a:pt x="682339" y="1588493"/>
                </a:lnTo>
                <a:lnTo>
                  <a:pt x="681115" y="1592905"/>
                </a:lnTo>
                <a:lnTo>
                  <a:pt x="671192" y="1595262"/>
                </a:lnTo>
                <a:lnTo>
                  <a:pt x="657446" y="1598955"/>
                </a:lnTo>
                <a:lnTo>
                  <a:pt x="646086" y="1596938"/>
                </a:lnTo>
                <a:lnTo>
                  <a:pt x="632256" y="1591907"/>
                </a:lnTo>
                <a:lnTo>
                  <a:pt x="624169" y="1588298"/>
                </a:lnTo>
                <a:lnTo>
                  <a:pt x="620812" y="1586834"/>
                </a:lnTo>
                <a:lnTo>
                  <a:pt x="615766" y="1584542"/>
                </a:lnTo>
                <a:lnTo>
                  <a:pt x="611353" y="1582080"/>
                </a:lnTo>
                <a:lnTo>
                  <a:pt x="607108" y="1580466"/>
                </a:lnTo>
                <a:lnTo>
                  <a:pt x="603857" y="1579449"/>
                </a:lnTo>
                <a:lnTo>
                  <a:pt x="601450" y="1580744"/>
                </a:lnTo>
                <a:lnTo>
                  <a:pt x="600246" y="1583798"/>
                </a:lnTo>
                <a:lnTo>
                  <a:pt x="598325" y="1587196"/>
                </a:lnTo>
                <a:lnTo>
                  <a:pt x="595854" y="1589212"/>
                </a:lnTo>
                <a:lnTo>
                  <a:pt x="584263" y="1590401"/>
                </a:lnTo>
                <a:lnTo>
                  <a:pt x="573853" y="1591653"/>
                </a:lnTo>
                <a:lnTo>
                  <a:pt x="568279" y="1592713"/>
                </a:lnTo>
                <a:lnTo>
                  <a:pt x="564541" y="1593519"/>
                </a:lnTo>
                <a:lnTo>
                  <a:pt x="563380" y="1603771"/>
                </a:lnTo>
                <a:lnTo>
                  <a:pt x="551598" y="1603665"/>
                </a:lnTo>
                <a:lnTo>
                  <a:pt x="540027" y="1603538"/>
                </a:lnTo>
                <a:lnTo>
                  <a:pt x="528014" y="1603728"/>
                </a:lnTo>
                <a:lnTo>
                  <a:pt x="515112" y="1603919"/>
                </a:lnTo>
                <a:lnTo>
                  <a:pt x="511797" y="1606020"/>
                </a:lnTo>
                <a:lnTo>
                  <a:pt x="508313" y="1609396"/>
                </a:lnTo>
                <a:lnTo>
                  <a:pt x="507976" y="1604261"/>
                </a:lnTo>
                <a:lnTo>
                  <a:pt x="504682" y="1592544"/>
                </a:lnTo>
                <a:lnTo>
                  <a:pt x="509095" y="1587430"/>
                </a:lnTo>
                <a:lnTo>
                  <a:pt x="513888" y="1584394"/>
                </a:lnTo>
                <a:lnTo>
                  <a:pt x="517118" y="1586813"/>
                </a:lnTo>
                <a:lnTo>
                  <a:pt x="518089" y="1591590"/>
                </a:lnTo>
                <a:lnTo>
                  <a:pt x="520581" y="1594858"/>
                </a:lnTo>
                <a:lnTo>
                  <a:pt x="529069" y="1596895"/>
                </a:lnTo>
                <a:lnTo>
                  <a:pt x="537451" y="1595432"/>
                </a:lnTo>
                <a:lnTo>
                  <a:pt x="542582" y="1596112"/>
                </a:lnTo>
                <a:lnTo>
                  <a:pt x="542434" y="1593459"/>
                </a:lnTo>
                <a:lnTo>
                  <a:pt x="544166" y="1589935"/>
                </a:lnTo>
                <a:lnTo>
                  <a:pt x="554364" y="1588429"/>
                </a:lnTo>
                <a:lnTo>
                  <a:pt x="565133" y="1587430"/>
                </a:lnTo>
                <a:lnTo>
                  <a:pt x="576218" y="1585308"/>
                </a:lnTo>
                <a:lnTo>
                  <a:pt x="584896" y="1585392"/>
                </a:lnTo>
                <a:lnTo>
                  <a:pt x="587472" y="1584818"/>
                </a:lnTo>
                <a:lnTo>
                  <a:pt x="586859" y="1583904"/>
                </a:lnTo>
                <a:lnTo>
                  <a:pt x="579068" y="1582886"/>
                </a:lnTo>
                <a:lnTo>
                  <a:pt x="562451" y="1585306"/>
                </a:lnTo>
                <a:lnTo>
                  <a:pt x="545539" y="1586028"/>
                </a:lnTo>
                <a:lnTo>
                  <a:pt x="532722" y="1592417"/>
                </a:lnTo>
                <a:lnTo>
                  <a:pt x="527464" y="1591822"/>
                </a:lnTo>
                <a:lnTo>
                  <a:pt x="522143" y="1585433"/>
                </a:lnTo>
                <a:lnTo>
                  <a:pt x="520244" y="1577563"/>
                </a:lnTo>
                <a:lnTo>
                  <a:pt x="520243" y="1577563"/>
                </a:lnTo>
                <a:lnTo>
                  <a:pt x="518723" y="1571346"/>
                </a:lnTo>
                <a:lnTo>
                  <a:pt x="515176" y="1566377"/>
                </a:lnTo>
                <a:lnTo>
                  <a:pt x="509390" y="1562154"/>
                </a:lnTo>
                <a:lnTo>
                  <a:pt x="508124" y="1558206"/>
                </a:lnTo>
                <a:lnTo>
                  <a:pt x="510066" y="1554768"/>
                </a:lnTo>
                <a:lnTo>
                  <a:pt x="515661" y="1551966"/>
                </a:lnTo>
                <a:lnTo>
                  <a:pt x="516928" y="1549928"/>
                </a:lnTo>
                <a:lnTo>
                  <a:pt x="513993" y="1550247"/>
                </a:lnTo>
                <a:lnTo>
                  <a:pt x="509580" y="1552072"/>
                </a:lnTo>
                <a:lnTo>
                  <a:pt x="506645" y="1552156"/>
                </a:lnTo>
                <a:lnTo>
                  <a:pt x="506287" y="1546723"/>
                </a:lnTo>
                <a:lnTo>
                  <a:pt x="501388" y="1539698"/>
                </a:lnTo>
                <a:lnTo>
                  <a:pt x="495856" y="1527792"/>
                </a:lnTo>
                <a:lnTo>
                  <a:pt x="489606" y="1522931"/>
                </a:lnTo>
                <a:lnTo>
                  <a:pt x="484348" y="1513274"/>
                </a:lnTo>
                <a:lnTo>
                  <a:pt x="478859" y="1509581"/>
                </a:lnTo>
                <a:lnTo>
                  <a:pt x="473812" y="1507862"/>
                </a:lnTo>
                <a:lnTo>
                  <a:pt x="469505" y="1508202"/>
                </a:lnTo>
                <a:lnTo>
                  <a:pt x="467922" y="1512617"/>
                </a:lnTo>
                <a:lnTo>
                  <a:pt x="462558" y="1506272"/>
                </a:lnTo>
                <a:lnTo>
                  <a:pt x="469885" y="1504000"/>
                </a:lnTo>
                <a:lnTo>
                  <a:pt x="485573" y="1496040"/>
                </a:lnTo>
                <a:lnTo>
                  <a:pt x="503584" y="1473246"/>
                </a:lnTo>
                <a:lnTo>
                  <a:pt x="519737" y="1446184"/>
                </a:lnTo>
                <a:lnTo>
                  <a:pt x="521827" y="1439797"/>
                </a:lnTo>
                <a:lnTo>
                  <a:pt x="521995" y="1439387"/>
                </a:lnTo>
                <a:lnTo>
                  <a:pt x="521974" y="1412106"/>
                </a:lnTo>
                <a:lnTo>
                  <a:pt x="525205" y="1401770"/>
                </a:lnTo>
                <a:lnTo>
                  <a:pt x="526260" y="1392687"/>
                </a:lnTo>
                <a:lnTo>
                  <a:pt x="533186" y="1372588"/>
                </a:lnTo>
                <a:lnTo>
                  <a:pt x="541442" y="1356116"/>
                </a:lnTo>
                <a:lnTo>
                  <a:pt x="549064" y="1334214"/>
                </a:lnTo>
                <a:lnTo>
                  <a:pt x="551936" y="1312947"/>
                </a:lnTo>
                <a:lnTo>
                  <a:pt x="550964" y="1292084"/>
                </a:lnTo>
                <a:lnTo>
                  <a:pt x="548705" y="1273490"/>
                </a:lnTo>
                <a:lnTo>
                  <a:pt x="544842" y="1261181"/>
                </a:lnTo>
                <a:lnTo>
                  <a:pt x="541104" y="1243331"/>
                </a:lnTo>
                <a:lnTo>
                  <a:pt x="535593" y="1233907"/>
                </a:lnTo>
                <a:lnTo>
                  <a:pt x="525501" y="1225673"/>
                </a:lnTo>
                <a:lnTo>
                  <a:pt x="523242" y="1220854"/>
                </a:lnTo>
                <a:lnTo>
                  <a:pt x="525584" y="1219048"/>
                </a:lnTo>
                <a:lnTo>
                  <a:pt x="531729" y="1217818"/>
                </a:lnTo>
                <a:lnTo>
                  <a:pt x="535635" y="1211388"/>
                </a:lnTo>
                <a:lnTo>
                  <a:pt x="527359" y="1213871"/>
                </a:lnTo>
                <a:lnTo>
                  <a:pt x="536923" y="1194131"/>
                </a:lnTo>
                <a:lnTo>
                  <a:pt x="539900" y="1180677"/>
                </a:lnTo>
                <a:lnTo>
                  <a:pt x="539436" y="1171826"/>
                </a:lnTo>
                <a:lnTo>
                  <a:pt x="541252" y="1166348"/>
                </a:lnTo>
                <a:lnTo>
                  <a:pt x="533946" y="1154486"/>
                </a:lnTo>
                <a:lnTo>
                  <a:pt x="528266" y="1139523"/>
                </a:lnTo>
                <a:lnTo>
                  <a:pt x="525332" y="1137166"/>
                </a:lnTo>
                <a:lnTo>
                  <a:pt x="522291" y="1135914"/>
                </a:lnTo>
                <a:lnTo>
                  <a:pt x="522016" y="1139438"/>
                </a:lnTo>
                <a:lnTo>
                  <a:pt x="520370" y="1142580"/>
                </a:lnTo>
                <a:lnTo>
                  <a:pt x="516822" y="1140690"/>
                </a:lnTo>
                <a:lnTo>
                  <a:pt x="510551" y="1129801"/>
                </a:lnTo>
                <a:lnTo>
                  <a:pt x="501789" y="1112056"/>
                </a:lnTo>
                <a:lnTo>
                  <a:pt x="498706" y="1110232"/>
                </a:lnTo>
                <a:lnTo>
                  <a:pt x="496152" y="1112673"/>
                </a:lnTo>
                <a:lnTo>
                  <a:pt x="494546" y="1115006"/>
                </a:lnTo>
                <a:lnTo>
                  <a:pt x="491591" y="1129820"/>
                </a:lnTo>
                <a:lnTo>
                  <a:pt x="490640" y="1123942"/>
                </a:lnTo>
                <a:lnTo>
                  <a:pt x="491928" y="1117023"/>
                </a:lnTo>
                <a:lnTo>
                  <a:pt x="494103" y="1108490"/>
                </a:lnTo>
                <a:lnTo>
                  <a:pt x="496545" y="1096658"/>
                </a:lnTo>
                <a:lnTo>
                  <a:pt x="496404" y="1096658"/>
                </a:lnTo>
                <a:lnTo>
                  <a:pt x="493956" y="1108522"/>
                </a:lnTo>
                <a:lnTo>
                  <a:pt x="491781" y="1117034"/>
                </a:lnTo>
                <a:lnTo>
                  <a:pt x="490513" y="1123973"/>
                </a:lnTo>
                <a:lnTo>
                  <a:pt x="491443" y="1129833"/>
                </a:lnTo>
                <a:lnTo>
                  <a:pt x="488444" y="1126627"/>
                </a:lnTo>
                <a:lnTo>
                  <a:pt x="493723" y="1093603"/>
                </a:lnTo>
                <a:lnTo>
                  <a:pt x="494103" y="1090822"/>
                </a:lnTo>
                <a:lnTo>
                  <a:pt x="498411" y="1060279"/>
                </a:lnTo>
                <a:lnTo>
                  <a:pt x="506540" y="1043684"/>
                </a:lnTo>
                <a:lnTo>
                  <a:pt x="513022" y="1036360"/>
                </a:lnTo>
                <a:lnTo>
                  <a:pt x="523073" y="1032562"/>
                </a:lnTo>
                <a:lnTo>
                  <a:pt x="532299" y="1015838"/>
                </a:lnTo>
                <a:lnTo>
                  <a:pt x="535530" y="1000407"/>
                </a:lnTo>
                <a:lnTo>
                  <a:pt x="541589" y="993296"/>
                </a:lnTo>
                <a:lnTo>
                  <a:pt x="543490" y="987736"/>
                </a:lnTo>
                <a:lnTo>
                  <a:pt x="541104" y="983492"/>
                </a:lnTo>
                <a:lnTo>
                  <a:pt x="546826" y="975150"/>
                </a:lnTo>
                <a:lnTo>
                  <a:pt x="553752" y="962373"/>
                </a:lnTo>
                <a:lnTo>
                  <a:pt x="556962" y="954160"/>
                </a:lnTo>
                <a:lnTo>
                  <a:pt x="565048" y="941446"/>
                </a:lnTo>
                <a:lnTo>
                  <a:pt x="566040" y="938623"/>
                </a:lnTo>
                <a:lnTo>
                  <a:pt x="565323" y="935439"/>
                </a:lnTo>
                <a:lnTo>
                  <a:pt x="562134" y="938134"/>
                </a:lnTo>
                <a:lnTo>
                  <a:pt x="558735" y="942846"/>
                </a:lnTo>
                <a:lnTo>
                  <a:pt x="554702" y="946560"/>
                </a:lnTo>
                <a:lnTo>
                  <a:pt x="556349" y="941997"/>
                </a:lnTo>
                <a:lnTo>
                  <a:pt x="559516" y="935291"/>
                </a:lnTo>
                <a:lnTo>
                  <a:pt x="566716" y="928243"/>
                </a:lnTo>
                <a:lnTo>
                  <a:pt x="578076" y="920497"/>
                </a:lnTo>
                <a:lnTo>
                  <a:pt x="601640" y="894115"/>
                </a:lnTo>
                <a:lnTo>
                  <a:pt x="610508" y="889553"/>
                </a:lnTo>
                <a:lnTo>
                  <a:pt x="618489" y="878409"/>
                </a:lnTo>
                <a:lnTo>
                  <a:pt x="621340" y="868498"/>
                </a:lnTo>
                <a:lnTo>
                  <a:pt x="622121" y="845702"/>
                </a:lnTo>
                <a:lnTo>
                  <a:pt x="624971" y="833648"/>
                </a:lnTo>
                <a:lnTo>
                  <a:pt x="630166" y="824245"/>
                </a:lnTo>
                <a:lnTo>
                  <a:pt x="636373" y="807075"/>
                </a:lnTo>
                <a:lnTo>
                  <a:pt x="641103" y="799413"/>
                </a:lnTo>
                <a:lnTo>
                  <a:pt x="644186" y="783708"/>
                </a:lnTo>
                <a:lnTo>
                  <a:pt x="647543" y="777743"/>
                </a:lnTo>
                <a:lnTo>
                  <a:pt x="653561" y="774877"/>
                </a:lnTo>
                <a:lnTo>
                  <a:pt x="662091" y="767046"/>
                </a:lnTo>
                <a:lnTo>
                  <a:pt x="674908" y="762185"/>
                </a:lnTo>
                <a:lnTo>
                  <a:pt x="690089" y="751977"/>
                </a:lnTo>
                <a:lnTo>
                  <a:pt x="697205" y="745864"/>
                </a:lnTo>
                <a:lnTo>
                  <a:pt x="701955" y="736739"/>
                </a:lnTo>
                <a:lnTo>
                  <a:pt x="707044" y="718527"/>
                </a:lnTo>
                <a:lnTo>
                  <a:pt x="716145" y="699320"/>
                </a:lnTo>
                <a:lnTo>
                  <a:pt x="720811" y="684802"/>
                </a:lnTo>
                <a:lnTo>
                  <a:pt x="979127" y="684506"/>
                </a:lnTo>
                <a:lnTo>
                  <a:pt x="979170" y="684526"/>
                </a:lnTo>
                <a:lnTo>
                  <a:pt x="979170" y="684524"/>
                </a:lnTo>
                <a:lnTo>
                  <a:pt x="979127" y="684503"/>
                </a:lnTo>
                <a:lnTo>
                  <a:pt x="720811" y="684800"/>
                </a:lnTo>
                <a:lnTo>
                  <a:pt x="720896" y="684545"/>
                </a:lnTo>
                <a:lnTo>
                  <a:pt x="728919" y="676907"/>
                </a:lnTo>
                <a:lnTo>
                  <a:pt x="734346" y="667227"/>
                </a:lnTo>
                <a:lnTo>
                  <a:pt x="743552" y="662917"/>
                </a:lnTo>
                <a:lnTo>
                  <a:pt x="762808" y="660838"/>
                </a:lnTo>
                <a:lnTo>
                  <a:pt x="791419" y="652795"/>
                </a:lnTo>
                <a:lnTo>
                  <a:pt x="817094" y="640633"/>
                </a:lnTo>
                <a:lnTo>
                  <a:pt x="824357" y="635794"/>
                </a:lnTo>
                <a:lnTo>
                  <a:pt x="832127" y="626072"/>
                </a:lnTo>
                <a:lnTo>
                  <a:pt x="845050" y="613401"/>
                </a:lnTo>
                <a:lnTo>
                  <a:pt x="869184" y="598163"/>
                </a:lnTo>
                <a:lnTo>
                  <a:pt x="880290" y="589630"/>
                </a:lnTo>
                <a:lnTo>
                  <a:pt x="897223" y="568216"/>
                </a:lnTo>
                <a:lnTo>
                  <a:pt x="908477" y="550450"/>
                </a:lnTo>
                <a:lnTo>
                  <a:pt x="917831" y="538989"/>
                </a:lnTo>
                <a:lnTo>
                  <a:pt x="924292" y="528802"/>
                </a:lnTo>
                <a:lnTo>
                  <a:pt x="928832" y="518466"/>
                </a:lnTo>
                <a:lnTo>
                  <a:pt x="931387" y="501783"/>
                </a:lnTo>
                <a:lnTo>
                  <a:pt x="929677" y="495246"/>
                </a:lnTo>
                <a:lnTo>
                  <a:pt x="922540" y="484549"/>
                </a:lnTo>
                <a:lnTo>
                  <a:pt x="917768" y="481685"/>
                </a:lnTo>
                <a:lnTo>
                  <a:pt x="916480" y="476634"/>
                </a:lnTo>
                <a:lnTo>
                  <a:pt x="919035" y="467719"/>
                </a:lnTo>
                <a:lnTo>
                  <a:pt x="918993" y="452352"/>
                </a:lnTo>
                <a:lnTo>
                  <a:pt x="920429" y="427732"/>
                </a:lnTo>
                <a:lnTo>
                  <a:pt x="928368" y="407802"/>
                </a:lnTo>
                <a:lnTo>
                  <a:pt x="947772" y="381590"/>
                </a:lnTo>
                <a:lnTo>
                  <a:pt x="951383" y="370788"/>
                </a:lnTo>
                <a:lnTo>
                  <a:pt x="953600" y="353596"/>
                </a:lnTo>
                <a:lnTo>
                  <a:pt x="953790" y="347506"/>
                </a:lnTo>
                <a:lnTo>
                  <a:pt x="978071" y="322970"/>
                </a:lnTo>
                <a:lnTo>
                  <a:pt x="992282" y="304102"/>
                </a:lnTo>
                <a:lnTo>
                  <a:pt x="997223" y="299474"/>
                </a:lnTo>
                <a:lnTo>
                  <a:pt x="1009764" y="290835"/>
                </a:lnTo>
                <a:lnTo>
                  <a:pt x="1053557" y="271925"/>
                </a:lnTo>
                <a:lnTo>
                  <a:pt x="1078303" y="258363"/>
                </a:lnTo>
                <a:lnTo>
                  <a:pt x="1092745" y="248471"/>
                </a:lnTo>
                <a:lnTo>
                  <a:pt x="1101360" y="236736"/>
                </a:lnTo>
                <a:lnTo>
                  <a:pt x="1125220" y="190488"/>
                </a:lnTo>
                <a:lnTo>
                  <a:pt x="1148636" y="124777"/>
                </a:lnTo>
                <a:lnTo>
                  <a:pt x="1150600" y="117137"/>
                </a:lnTo>
                <a:lnTo>
                  <a:pt x="1161072" y="114929"/>
                </a:lnTo>
                <a:lnTo>
                  <a:pt x="1168484" y="113975"/>
                </a:lnTo>
                <a:lnTo>
                  <a:pt x="1174459" y="111556"/>
                </a:lnTo>
                <a:lnTo>
                  <a:pt x="1181849" y="106589"/>
                </a:lnTo>
                <a:lnTo>
                  <a:pt x="1188944" y="108585"/>
                </a:lnTo>
                <a:lnTo>
                  <a:pt x="1185396" y="111960"/>
                </a:lnTo>
                <a:lnTo>
                  <a:pt x="1185396" y="120110"/>
                </a:lnTo>
                <a:lnTo>
                  <a:pt x="1190422" y="129639"/>
                </a:lnTo>
                <a:lnTo>
                  <a:pt x="1199163" y="140336"/>
                </a:lnTo>
                <a:lnTo>
                  <a:pt x="1215041" y="153899"/>
                </a:lnTo>
                <a:lnTo>
                  <a:pt x="1227415" y="159333"/>
                </a:lnTo>
                <a:lnTo>
                  <a:pt x="1245088" y="162601"/>
                </a:lnTo>
                <a:lnTo>
                  <a:pt x="1265696" y="156658"/>
                </a:lnTo>
                <a:lnTo>
                  <a:pt x="1277223" y="156553"/>
                </a:lnTo>
                <a:lnTo>
                  <a:pt x="1282819" y="153984"/>
                </a:lnTo>
                <a:lnTo>
                  <a:pt x="1288921" y="157740"/>
                </a:lnTo>
                <a:lnTo>
                  <a:pt x="1300513" y="158950"/>
                </a:lnTo>
                <a:lnTo>
                  <a:pt x="1311704" y="156976"/>
                </a:lnTo>
                <a:lnTo>
                  <a:pt x="1320171" y="151288"/>
                </a:lnTo>
                <a:lnTo>
                  <a:pt x="1325555" y="144729"/>
                </a:lnTo>
                <a:lnTo>
                  <a:pt x="1326399" y="147956"/>
                </a:lnTo>
                <a:lnTo>
                  <a:pt x="1326653" y="151436"/>
                </a:lnTo>
                <a:lnTo>
                  <a:pt x="1328300" y="153475"/>
                </a:lnTo>
                <a:lnTo>
                  <a:pt x="1331636" y="161794"/>
                </a:lnTo>
                <a:lnTo>
                  <a:pt x="1333388" y="165042"/>
                </a:lnTo>
                <a:lnTo>
                  <a:pt x="1339829" y="164509"/>
                </a:lnTo>
                <a:lnTo>
                  <a:pt x="1345424" y="166144"/>
                </a:lnTo>
                <a:lnTo>
                  <a:pt x="1358050" y="165360"/>
                </a:lnTo>
                <a:lnTo>
                  <a:pt x="1370149" y="166763"/>
                </a:lnTo>
                <a:lnTo>
                  <a:pt x="1370149" y="166764"/>
                </a:lnTo>
                <a:lnTo>
                  <a:pt x="1382121" y="168142"/>
                </a:lnTo>
                <a:lnTo>
                  <a:pt x="1388307" y="167484"/>
                </a:lnTo>
                <a:lnTo>
                  <a:pt x="1402496" y="161033"/>
                </a:lnTo>
                <a:lnTo>
                  <a:pt x="1413772" y="152308"/>
                </a:lnTo>
                <a:lnTo>
                  <a:pt x="1422534" y="147873"/>
                </a:lnTo>
                <a:lnTo>
                  <a:pt x="1430241" y="138301"/>
                </a:lnTo>
                <a:lnTo>
                  <a:pt x="1437230" y="132252"/>
                </a:lnTo>
                <a:lnTo>
                  <a:pt x="1447323" y="125716"/>
                </a:lnTo>
                <a:lnTo>
                  <a:pt x="1476440" y="111601"/>
                </a:lnTo>
                <a:lnTo>
                  <a:pt x="1480895" y="111495"/>
                </a:lnTo>
                <a:lnTo>
                  <a:pt x="1490481" y="114699"/>
                </a:lnTo>
                <a:lnTo>
                  <a:pt x="1498821" y="113702"/>
                </a:lnTo>
                <a:lnTo>
                  <a:pt x="1504523" y="108758"/>
                </a:lnTo>
                <a:lnTo>
                  <a:pt x="1510667" y="96829"/>
                </a:lnTo>
                <a:lnTo>
                  <a:pt x="1520190" y="89551"/>
                </a:lnTo>
                <a:lnTo>
                  <a:pt x="1532203" y="82249"/>
                </a:lnTo>
                <a:lnTo>
                  <a:pt x="1548546" y="75267"/>
                </a:lnTo>
                <a:lnTo>
                  <a:pt x="1559251" y="68834"/>
                </a:lnTo>
                <a:lnTo>
                  <a:pt x="1576186" y="63253"/>
                </a:lnTo>
                <a:lnTo>
                  <a:pt x="1618689" y="59708"/>
                </a:lnTo>
                <a:lnTo>
                  <a:pt x="1640521" y="56546"/>
                </a:lnTo>
                <a:lnTo>
                  <a:pt x="1655366" y="57268"/>
                </a:lnTo>
                <a:lnTo>
                  <a:pt x="1670357" y="47038"/>
                </a:lnTo>
                <a:lnTo>
                  <a:pt x="1677853" y="43663"/>
                </a:lnTo>
                <a:lnTo>
                  <a:pt x="1710305" y="42878"/>
                </a:lnTo>
                <a:lnTo>
                  <a:pt x="1725613" y="35384"/>
                </a:lnTo>
                <a:lnTo>
                  <a:pt x="1783637" y="35384"/>
                </a:lnTo>
                <a:lnTo>
                  <a:pt x="1790731" y="37891"/>
                </a:lnTo>
                <a:lnTo>
                  <a:pt x="1797699" y="41923"/>
                </a:lnTo>
                <a:lnTo>
                  <a:pt x="1809565" y="51623"/>
                </a:lnTo>
                <a:lnTo>
                  <a:pt x="1815477" y="53745"/>
                </a:lnTo>
                <a:lnTo>
                  <a:pt x="1823142" y="51728"/>
                </a:lnTo>
                <a:lnTo>
                  <a:pt x="1840963" y="42538"/>
                </a:lnTo>
                <a:lnTo>
                  <a:pt x="1861064" y="37742"/>
                </a:lnTo>
                <a:lnTo>
                  <a:pt x="1872001" y="32266"/>
                </a:lnTo>
                <a:lnTo>
                  <a:pt x="1876646" y="24264"/>
                </a:lnTo>
                <a:lnTo>
                  <a:pt x="1886064" y="21314"/>
                </a:lnTo>
                <a:lnTo>
                  <a:pt x="1891364" y="27471"/>
                </a:lnTo>
                <a:lnTo>
                  <a:pt x="1912203" y="33667"/>
                </a:lnTo>
                <a:lnTo>
                  <a:pt x="1924999" y="31884"/>
                </a:lnTo>
                <a:lnTo>
                  <a:pt x="1930615" y="30016"/>
                </a:lnTo>
                <a:lnTo>
                  <a:pt x="1928589" y="20826"/>
                </a:lnTo>
                <a:lnTo>
                  <a:pt x="1942123" y="23266"/>
                </a:lnTo>
                <a:lnTo>
                  <a:pt x="1952511" y="27703"/>
                </a:lnTo>
                <a:lnTo>
                  <a:pt x="1963386" y="36575"/>
                </a:lnTo>
                <a:lnTo>
                  <a:pt x="1970437" y="38335"/>
                </a:lnTo>
                <a:lnTo>
                  <a:pt x="1983276" y="34345"/>
                </a:lnTo>
                <a:lnTo>
                  <a:pt x="2009742" y="32364"/>
                </a:lnTo>
                <a:lnTo>
                  <a:pt x="2009711" y="32264"/>
                </a:lnTo>
                <a:lnTo>
                  <a:pt x="2024343" y="27787"/>
                </a:lnTo>
                <a:lnTo>
                  <a:pt x="2038279" y="16028"/>
                </a:lnTo>
                <a:lnTo>
                  <a:pt x="2043199" y="13142"/>
                </a:lnTo>
                <a:lnTo>
                  <a:pt x="2075546" y="2275"/>
                </a:lnTo>
                <a:lnTo>
                  <a:pt x="2079748" y="3016"/>
                </a:lnTo>
                <a:lnTo>
                  <a:pt x="2084456" y="4608"/>
                </a:lnTo>
                <a:lnTo>
                  <a:pt x="2083105" y="8663"/>
                </a:lnTo>
                <a:lnTo>
                  <a:pt x="2081247" y="11867"/>
                </a:lnTo>
                <a:lnTo>
                  <a:pt x="2083991" y="17533"/>
                </a:lnTo>
                <a:lnTo>
                  <a:pt x="2087919" y="14075"/>
                </a:lnTo>
                <a:lnTo>
                  <a:pt x="2086927" y="11761"/>
                </a:lnTo>
                <a:lnTo>
                  <a:pt x="2086694" y="8684"/>
                </a:lnTo>
                <a:lnTo>
                  <a:pt x="2093345" y="8406"/>
                </a:lnTo>
                <a:lnTo>
                  <a:pt x="2099237" y="8895"/>
                </a:lnTo>
                <a:lnTo>
                  <a:pt x="2105698" y="12269"/>
                </a:lnTo>
                <a:lnTo>
                  <a:pt x="2105254" y="25067"/>
                </a:lnTo>
                <a:lnTo>
                  <a:pt x="2113869" y="37568"/>
                </a:lnTo>
                <a:lnTo>
                  <a:pt x="2111441" y="43788"/>
                </a:lnTo>
                <a:lnTo>
                  <a:pt x="2118493" y="47459"/>
                </a:lnTo>
                <a:lnTo>
                  <a:pt x="2124764" y="43045"/>
                </a:lnTo>
                <a:lnTo>
                  <a:pt x="2127910" y="36529"/>
                </a:lnTo>
                <a:lnTo>
                  <a:pt x="2139460" y="32750"/>
                </a:lnTo>
                <a:lnTo>
                  <a:pt x="2150440" y="23157"/>
                </a:lnTo>
                <a:lnTo>
                  <a:pt x="2156520" y="22181"/>
                </a:lnTo>
                <a:lnTo>
                  <a:pt x="2157893" y="30056"/>
                </a:lnTo>
                <a:lnTo>
                  <a:pt x="2160828" y="36933"/>
                </a:lnTo>
                <a:lnTo>
                  <a:pt x="2156668" y="39352"/>
                </a:lnTo>
                <a:lnTo>
                  <a:pt x="2151389" y="46653"/>
                </a:lnTo>
                <a:lnTo>
                  <a:pt x="2141360" y="65119"/>
                </a:lnTo>
                <a:lnTo>
                  <a:pt x="2132133" y="70531"/>
                </a:lnTo>
                <a:lnTo>
                  <a:pt x="2125207" y="77619"/>
                </a:lnTo>
                <a:lnTo>
                  <a:pt x="2122969" y="82649"/>
                </a:lnTo>
                <a:lnTo>
                  <a:pt x="2122293" y="88508"/>
                </a:lnTo>
                <a:lnTo>
                  <a:pt x="2124025" y="98992"/>
                </a:lnTo>
                <a:lnTo>
                  <a:pt x="2129071" y="109625"/>
                </a:lnTo>
                <a:lnTo>
                  <a:pt x="2134899" y="116036"/>
                </a:lnTo>
                <a:lnTo>
                  <a:pt x="2140515" y="118030"/>
                </a:lnTo>
                <a:lnTo>
                  <a:pt x="2153586" y="128133"/>
                </a:lnTo>
                <a:lnTo>
                  <a:pt x="2153375" y="134118"/>
                </a:lnTo>
                <a:lnTo>
                  <a:pt x="2155191" y="141228"/>
                </a:lnTo>
                <a:lnTo>
                  <a:pt x="2155887" y="149867"/>
                </a:lnTo>
                <a:lnTo>
                  <a:pt x="2160426" y="156765"/>
                </a:lnTo>
                <a:lnTo>
                  <a:pt x="2150714" y="171749"/>
                </a:lnTo>
                <a:lnTo>
                  <a:pt x="2145393" y="182553"/>
                </a:lnTo>
                <a:lnTo>
                  <a:pt x="2135005" y="197409"/>
                </a:lnTo>
                <a:lnTo>
                  <a:pt x="2125757" y="207045"/>
                </a:lnTo>
                <a:lnTo>
                  <a:pt x="2105951" y="221328"/>
                </a:lnTo>
                <a:lnTo>
                  <a:pt x="2101095" y="226062"/>
                </a:lnTo>
                <a:lnTo>
                  <a:pt x="2097927" y="230965"/>
                </a:lnTo>
                <a:lnTo>
                  <a:pt x="2096471" y="236081"/>
                </a:lnTo>
                <a:lnTo>
                  <a:pt x="2096999" y="242086"/>
                </a:lnTo>
                <a:lnTo>
                  <a:pt x="2103523" y="256837"/>
                </a:lnTo>
                <a:lnTo>
                  <a:pt x="2112201" y="265519"/>
                </a:lnTo>
                <a:lnTo>
                  <a:pt x="2121027" y="270209"/>
                </a:lnTo>
                <a:lnTo>
                  <a:pt x="2136377" y="268319"/>
                </a:lnTo>
                <a:lnTo>
                  <a:pt x="2135849" y="273986"/>
                </a:lnTo>
                <a:lnTo>
                  <a:pt x="2136947" y="280758"/>
                </a:lnTo>
                <a:lnTo>
                  <a:pt x="2143176" y="280436"/>
                </a:lnTo>
                <a:lnTo>
                  <a:pt x="2147357" y="279378"/>
                </a:lnTo>
                <a:lnTo>
                  <a:pt x="2150883" y="272776"/>
                </a:lnTo>
                <a:lnTo>
                  <a:pt x="2158378" y="277296"/>
                </a:lnTo>
                <a:lnTo>
                  <a:pt x="2162285" y="291051"/>
                </a:lnTo>
                <a:lnTo>
                  <a:pt x="2168641" y="295339"/>
                </a:lnTo>
                <a:lnTo>
                  <a:pt x="2169379" y="296929"/>
                </a:lnTo>
                <a:lnTo>
                  <a:pt x="2167142" y="297991"/>
                </a:lnTo>
                <a:lnTo>
                  <a:pt x="2165388" y="299563"/>
                </a:lnTo>
                <a:lnTo>
                  <a:pt x="2167268" y="300685"/>
                </a:lnTo>
                <a:lnTo>
                  <a:pt x="2173413" y="302381"/>
                </a:lnTo>
                <a:lnTo>
                  <a:pt x="2177128" y="301299"/>
                </a:lnTo>
                <a:lnTo>
                  <a:pt x="2183420" y="304463"/>
                </a:lnTo>
                <a:lnTo>
                  <a:pt x="2183420" y="304467"/>
                </a:lnTo>
                <a:lnTo>
                  <a:pt x="2183294" y="306335"/>
                </a:lnTo>
                <a:lnTo>
                  <a:pt x="2181203" y="319769"/>
                </a:lnTo>
                <a:lnTo>
                  <a:pt x="2180739" y="324587"/>
                </a:lnTo>
                <a:lnTo>
                  <a:pt x="2180442" y="332262"/>
                </a:lnTo>
                <a:lnTo>
                  <a:pt x="2180740" y="324606"/>
                </a:lnTo>
                <a:lnTo>
                  <a:pt x="2181204" y="319788"/>
                </a:lnTo>
                <a:lnTo>
                  <a:pt x="2183295" y="306353"/>
                </a:lnTo>
                <a:lnTo>
                  <a:pt x="2183421" y="304463"/>
                </a:lnTo>
                <a:lnTo>
                  <a:pt x="2192458" y="308941"/>
                </a:lnTo>
                <a:lnTo>
                  <a:pt x="2201728" y="310723"/>
                </a:lnTo>
                <a:lnTo>
                  <a:pt x="2229367" y="327343"/>
                </a:lnTo>
                <a:lnTo>
                  <a:pt x="2238087" y="329422"/>
                </a:lnTo>
                <a:lnTo>
                  <a:pt x="2257428" y="331397"/>
                </a:lnTo>
                <a:lnTo>
                  <a:pt x="2280211" y="324604"/>
                </a:lnTo>
                <a:lnTo>
                  <a:pt x="2288825" y="323372"/>
                </a:lnTo>
                <a:lnTo>
                  <a:pt x="2303817" y="329762"/>
                </a:lnTo>
                <a:lnTo>
                  <a:pt x="2310426" y="331567"/>
                </a:lnTo>
                <a:lnTo>
                  <a:pt x="2321533" y="332055"/>
                </a:lnTo>
                <a:lnTo>
                  <a:pt x="2340514" y="337828"/>
                </a:lnTo>
                <a:lnTo>
                  <a:pt x="2345349" y="339844"/>
                </a:lnTo>
                <a:lnTo>
                  <a:pt x="2356413" y="349056"/>
                </a:lnTo>
                <a:lnTo>
                  <a:pt x="2361714" y="351815"/>
                </a:lnTo>
                <a:lnTo>
                  <a:pt x="2401007" y="360241"/>
                </a:lnTo>
                <a:lnTo>
                  <a:pt x="2406371" y="365824"/>
                </a:lnTo>
                <a:lnTo>
                  <a:pt x="2411839" y="376457"/>
                </a:lnTo>
                <a:lnTo>
                  <a:pt x="2412071" y="389658"/>
                </a:lnTo>
                <a:lnTo>
                  <a:pt x="2415091" y="399208"/>
                </a:lnTo>
                <a:lnTo>
                  <a:pt x="2419969" y="411583"/>
                </a:lnTo>
                <a:lnTo>
                  <a:pt x="2425859" y="420327"/>
                </a:lnTo>
                <a:lnTo>
                  <a:pt x="2432384" y="427607"/>
                </a:lnTo>
                <a:lnTo>
                  <a:pt x="2439880" y="432149"/>
                </a:lnTo>
                <a:lnTo>
                  <a:pt x="2457109" y="438855"/>
                </a:lnTo>
                <a:lnTo>
                  <a:pt x="2476535" y="441425"/>
                </a:lnTo>
                <a:lnTo>
                  <a:pt x="2496129" y="442295"/>
                </a:lnTo>
                <a:lnTo>
                  <a:pt x="2529765" y="451525"/>
                </a:lnTo>
                <a:lnTo>
                  <a:pt x="2558290" y="462159"/>
                </a:lnTo>
                <a:lnTo>
                  <a:pt x="2565322" y="467402"/>
                </a:lnTo>
                <a:lnTo>
                  <a:pt x="2579616" y="472539"/>
                </a:lnTo>
                <a:lnTo>
                  <a:pt x="2608015" y="497457"/>
                </a:lnTo>
                <a:lnTo>
                  <a:pt x="2623830" y="506052"/>
                </a:lnTo>
                <a:lnTo>
                  <a:pt x="2634915" y="507708"/>
                </a:lnTo>
                <a:lnTo>
                  <a:pt x="2644861" y="506200"/>
                </a:lnTo>
                <a:lnTo>
                  <a:pt x="2662534" y="497583"/>
                </a:lnTo>
                <a:lnTo>
                  <a:pt x="2669839" y="492446"/>
                </a:lnTo>
                <a:lnTo>
                  <a:pt x="2687618" y="470924"/>
                </a:lnTo>
                <a:lnTo>
                  <a:pt x="2693466" y="459676"/>
                </a:lnTo>
                <a:lnTo>
                  <a:pt x="2695789" y="451716"/>
                </a:lnTo>
                <a:lnTo>
                  <a:pt x="2695219" y="443631"/>
                </a:lnTo>
                <a:lnTo>
                  <a:pt x="2693002" y="436351"/>
                </a:lnTo>
                <a:lnTo>
                  <a:pt x="2688019" y="428710"/>
                </a:lnTo>
                <a:lnTo>
                  <a:pt x="2684535" y="418606"/>
                </a:lnTo>
                <a:lnTo>
                  <a:pt x="2682487" y="400377"/>
                </a:lnTo>
                <a:lnTo>
                  <a:pt x="2685274" y="387705"/>
                </a:lnTo>
                <a:lnTo>
                  <a:pt x="2688673" y="380106"/>
                </a:lnTo>
                <a:lnTo>
                  <a:pt x="2694037" y="372338"/>
                </a:lnTo>
                <a:lnTo>
                  <a:pt x="2708795" y="357460"/>
                </a:lnTo>
                <a:lnTo>
                  <a:pt x="2723639" y="346953"/>
                </a:lnTo>
                <a:lnTo>
                  <a:pt x="2749800" y="333199"/>
                </a:lnTo>
                <a:lnTo>
                  <a:pt x="2764981" y="333051"/>
                </a:lnTo>
                <a:lnTo>
                  <a:pt x="2771273" y="331523"/>
                </a:lnTo>
                <a:lnTo>
                  <a:pt x="2783774" y="321783"/>
                </a:lnTo>
                <a:lnTo>
                  <a:pt x="2788841" y="321422"/>
                </a:lnTo>
                <a:lnTo>
                  <a:pt x="2795851" y="323797"/>
                </a:lnTo>
                <a:lnTo>
                  <a:pt x="2816460" y="323117"/>
                </a:lnTo>
                <a:lnTo>
                  <a:pt x="2825538" y="325835"/>
                </a:lnTo>
                <a:lnTo>
                  <a:pt x="2836371" y="331905"/>
                </a:lnTo>
                <a:lnTo>
                  <a:pt x="2850052" y="335662"/>
                </a:lnTo>
                <a:lnTo>
                  <a:pt x="2859702" y="339418"/>
                </a:lnTo>
                <a:lnTo>
                  <a:pt x="2869985" y="344236"/>
                </a:lnTo>
                <a:lnTo>
                  <a:pt x="2872307" y="356228"/>
                </a:lnTo>
                <a:lnTo>
                  <a:pt x="2871167" y="359793"/>
                </a:lnTo>
                <a:lnTo>
                  <a:pt x="2870914" y="364442"/>
                </a:lnTo>
                <a:lnTo>
                  <a:pt x="2881577" y="372678"/>
                </a:lnTo>
                <a:lnTo>
                  <a:pt x="2911876" y="376540"/>
                </a:lnTo>
                <a:lnTo>
                  <a:pt x="2917851" y="378748"/>
                </a:lnTo>
                <a:lnTo>
                  <a:pt x="2926192" y="385051"/>
                </a:lnTo>
                <a:lnTo>
                  <a:pt x="2931555" y="386983"/>
                </a:lnTo>
                <a:lnTo>
                  <a:pt x="2952311" y="387874"/>
                </a:lnTo>
                <a:lnTo>
                  <a:pt x="2964409" y="386537"/>
                </a:lnTo>
                <a:lnTo>
                  <a:pt x="2975937" y="388743"/>
                </a:lnTo>
                <a:lnTo>
                  <a:pt x="2980203" y="390868"/>
                </a:lnTo>
                <a:lnTo>
                  <a:pt x="2984616" y="395791"/>
                </a:lnTo>
                <a:lnTo>
                  <a:pt x="2989958" y="407719"/>
                </a:lnTo>
                <a:lnTo>
                  <a:pt x="2992048" y="411712"/>
                </a:lnTo>
                <a:lnTo>
                  <a:pt x="2989768" y="413665"/>
                </a:lnTo>
                <a:lnTo>
                  <a:pt x="2986517" y="417825"/>
                </a:lnTo>
                <a:lnTo>
                  <a:pt x="2984468" y="421518"/>
                </a:lnTo>
                <a:lnTo>
                  <a:pt x="2978978" y="427546"/>
                </a:lnTo>
                <a:lnTo>
                  <a:pt x="2974396" y="433977"/>
                </a:lnTo>
                <a:lnTo>
                  <a:pt x="2974396" y="433978"/>
                </a:lnTo>
                <a:lnTo>
                  <a:pt x="2978978" y="427549"/>
                </a:lnTo>
                <a:lnTo>
                  <a:pt x="2984468" y="421518"/>
                </a:lnTo>
                <a:lnTo>
                  <a:pt x="2986517" y="417826"/>
                </a:lnTo>
                <a:lnTo>
                  <a:pt x="2989768" y="413667"/>
                </a:lnTo>
                <a:lnTo>
                  <a:pt x="2992048" y="411714"/>
                </a:lnTo>
                <a:lnTo>
                  <a:pt x="2996503" y="420162"/>
                </a:lnTo>
                <a:lnTo>
                  <a:pt x="3005794" y="421604"/>
                </a:lnTo>
                <a:lnTo>
                  <a:pt x="3036073" y="414091"/>
                </a:lnTo>
                <a:lnTo>
                  <a:pt x="3069497" y="421668"/>
                </a:lnTo>
                <a:lnTo>
                  <a:pt x="3087930" y="424554"/>
                </a:lnTo>
                <a:lnTo>
                  <a:pt x="3116350" y="430986"/>
                </a:lnTo>
                <a:lnTo>
                  <a:pt x="3133643" y="442446"/>
                </a:lnTo>
                <a:lnTo>
                  <a:pt x="3138394" y="443888"/>
                </a:lnTo>
                <a:lnTo>
                  <a:pt x="3150831" y="443654"/>
                </a:lnTo>
                <a:lnTo>
                  <a:pt x="3158981" y="450423"/>
                </a:lnTo>
                <a:lnTo>
                  <a:pt x="3191413" y="453671"/>
                </a:lnTo>
                <a:lnTo>
                  <a:pt x="3208727" y="461122"/>
                </a:lnTo>
                <a:lnTo>
                  <a:pt x="3218545" y="467064"/>
                </a:lnTo>
                <a:lnTo>
                  <a:pt x="3224436" y="468890"/>
                </a:lnTo>
                <a:lnTo>
                  <a:pt x="3229651" y="468593"/>
                </a:lnTo>
                <a:lnTo>
                  <a:pt x="3236682" y="466365"/>
                </a:lnTo>
                <a:lnTo>
                  <a:pt x="3245572" y="462183"/>
                </a:lnTo>
                <a:lnTo>
                  <a:pt x="3255221" y="456366"/>
                </a:lnTo>
                <a:lnTo>
                  <a:pt x="3275259" y="441405"/>
                </a:lnTo>
                <a:lnTo>
                  <a:pt x="3282353" y="438771"/>
                </a:lnTo>
                <a:lnTo>
                  <a:pt x="3286977" y="439473"/>
                </a:lnTo>
                <a:lnTo>
                  <a:pt x="3292615" y="439260"/>
                </a:lnTo>
                <a:lnTo>
                  <a:pt x="3294958" y="435205"/>
                </a:lnTo>
                <a:lnTo>
                  <a:pt x="3297936" y="432427"/>
                </a:lnTo>
                <a:lnTo>
                  <a:pt x="3299794" y="429264"/>
                </a:lnTo>
                <a:lnTo>
                  <a:pt x="3302835" y="425445"/>
                </a:lnTo>
                <a:lnTo>
                  <a:pt x="3313265" y="424382"/>
                </a:lnTo>
                <a:lnTo>
                  <a:pt x="3334147" y="417847"/>
                </a:lnTo>
                <a:lnTo>
                  <a:pt x="3331804" y="420945"/>
                </a:lnTo>
                <a:lnTo>
                  <a:pt x="3312780" y="428268"/>
                </a:lnTo>
                <a:lnTo>
                  <a:pt x="3320930" y="429180"/>
                </a:lnTo>
                <a:lnTo>
                  <a:pt x="3329270" y="426675"/>
                </a:lnTo>
                <a:lnTo>
                  <a:pt x="3338793" y="425084"/>
                </a:lnTo>
                <a:lnTo>
                  <a:pt x="3340524" y="421963"/>
                </a:lnTo>
                <a:lnTo>
                  <a:pt x="3341770" y="416126"/>
                </a:lnTo>
                <a:lnTo>
                  <a:pt x="3343586" y="415300"/>
                </a:lnTo>
                <a:lnTo>
                  <a:pt x="3350174" y="416403"/>
                </a:lnTo>
                <a:lnTo>
                  <a:pt x="3369747" y="425402"/>
                </a:lnTo>
                <a:lnTo>
                  <a:pt x="3374624" y="425570"/>
                </a:lnTo>
                <a:lnTo>
                  <a:pt x="3388412" y="420668"/>
                </a:lnTo>
                <a:lnTo>
                  <a:pt x="3391347" y="419629"/>
                </a:lnTo>
                <a:lnTo>
                  <a:pt x="3395824" y="422346"/>
                </a:lnTo>
                <a:lnTo>
                  <a:pt x="3406001" y="433532"/>
                </a:lnTo>
                <a:lnTo>
                  <a:pt x="3402454" y="433298"/>
                </a:lnTo>
                <a:lnTo>
                  <a:pt x="3391559" y="423704"/>
                </a:lnTo>
                <a:lnTo>
                  <a:pt x="3390587" y="428501"/>
                </a:lnTo>
                <a:lnTo>
                  <a:pt x="3384380" y="436905"/>
                </a:lnTo>
                <a:lnTo>
                  <a:pt x="3392128" y="440534"/>
                </a:lnTo>
                <a:lnTo>
                  <a:pt x="3398441" y="441892"/>
                </a:lnTo>
                <a:lnTo>
                  <a:pt x="3401820" y="446583"/>
                </a:lnTo>
                <a:lnTo>
                  <a:pt x="3403953" y="450743"/>
                </a:lnTo>
                <a:lnTo>
                  <a:pt x="3410181" y="448915"/>
                </a:lnTo>
                <a:lnTo>
                  <a:pt x="3414636" y="443247"/>
                </a:lnTo>
                <a:lnTo>
                  <a:pt x="3412314" y="440088"/>
                </a:lnTo>
                <a:lnTo>
                  <a:pt x="3410751" y="436819"/>
                </a:lnTo>
                <a:lnTo>
                  <a:pt x="3412778" y="436735"/>
                </a:lnTo>
                <a:lnTo>
                  <a:pt x="3417107" y="439428"/>
                </a:lnTo>
                <a:lnTo>
                  <a:pt x="3429502" y="450190"/>
                </a:lnTo>
                <a:lnTo>
                  <a:pt x="3433682" y="452417"/>
                </a:lnTo>
                <a:lnTo>
                  <a:pt x="3438496" y="452036"/>
                </a:lnTo>
                <a:lnTo>
                  <a:pt x="3448568" y="449023"/>
                </a:lnTo>
                <a:lnTo>
                  <a:pt x="3451376" y="449489"/>
                </a:lnTo>
                <a:lnTo>
                  <a:pt x="3464889" y="445520"/>
                </a:lnTo>
                <a:lnTo>
                  <a:pt x="3466473" y="448428"/>
                </a:lnTo>
                <a:lnTo>
                  <a:pt x="3468711" y="451313"/>
                </a:lnTo>
                <a:lnTo>
                  <a:pt x="3479606" y="448088"/>
                </a:lnTo>
                <a:lnTo>
                  <a:pt x="3496688" y="448130"/>
                </a:lnTo>
                <a:lnTo>
                  <a:pt x="3510687" y="444630"/>
                </a:lnTo>
                <a:lnTo>
                  <a:pt x="3526903" y="436097"/>
                </a:lnTo>
                <a:lnTo>
                  <a:pt x="3528191" y="434825"/>
                </a:lnTo>
                <a:lnTo>
                  <a:pt x="3528191" y="434826"/>
                </a:lnTo>
                <a:lnTo>
                  <a:pt x="3539402" y="423640"/>
                </a:lnTo>
                <a:lnTo>
                  <a:pt x="3544745" y="416594"/>
                </a:lnTo>
                <a:lnTo>
                  <a:pt x="3544745" y="416595"/>
                </a:lnTo>
                <a:lnTo>
                  <a:pt x="3545146" y="416088"/>
                </a:lnTo>
                <a:lnTo>
                  <a:pt x="3556653" y="394926"/>
                </a:lnTo>
                <a:lnTo>
                  <a:pt x="3564085" y="373916"/>
                </a:lnTo>
                <a:lnTo>
                  <a:pt x="3571074" y="344563"/>
                </a:lnTo>
                <a:lnTo>
                  <a:pt x="3576057" y="329598"/>
                </a:lnTo>
                <a:lnTo>
                  <a:pt x="3580280" y="319667"/>
                </a:lnTo>
                <a:lnTo>
                  <a:pt x="3582138" y="311431"/>
                </a:lnTo>
                <a:lnTo>
                  <a:pt x="3588937" y="310857"/>
                </a:lnTo>
                <a:lnTo>
                  <a:pt x="3594005" y="311727"/>
                </a:lnTo>
                <a:lnTo>
                  <a:pt x="3600086" y="312004"/>
                </a:lnTo>
                <a:lnTo>
                  <a:pt x="3604942" y="308903"/>
                </a:lnTo>
                <a:lnTo>
                  <a:pt x="3607265" y="299630"/>
                </a:lnTo>
                <a:lnTo>
                  <a:pt x="3610031" y="298123"/>
                </a:lnTo>
                <a:lnTo>
                  <a:pt x="3611445" y="300330"/>
                </a:lnTo>
                <a:lnTo>
                  <a:pt x="3612882" y="297889"/>
                </a:lnTo>
                <a:lnTo>
                  <a:pt x="3619237" y="293792"/>
                </a:lnTo>
                <a:lnTo>
                  <a:pt x="3622383" y="291160"/>
                </a:lnTo>
                <a:lnTo>
                  <a:pt x="3625529" y="287914"/>
                </a:lnTo>
                <a:lnTo>
                  <a:pt x="3627216" y="286747"/>
                </a:lnTo>
                <a:lnTo>
                  <a:pt x="3627217" y="286744"/>
                </a:lnTo>
                <a:lnTo>
                  <a:pt x="3625529" y="287912"/>
                </a:lnTo>
                <a:lnTo>
                  <a:pt x="3622383" y="291159"/>
                </a:lnTo>
                <a:lnTo>
                  <a:pt x="3619237" y="293792"/>
                </a:lnTo>
                <a:lnTo>
                  <a:pt x="3612882" y="297888"/>
                </a:lnTo>
                <a:lnTo>
                  <a:pt x="3611445" y="300329"/>
                </a:lnTo>
                <a:lnTo>
                  <a:pt x="3610031" y="298120"/>
                </a:lnTo>
                <a:lnTo>
                  <a:pt x="3607265" y="299627"/>
                </a:lnTo>
                <a:lnTo>
                  <a:pt x="3604942" y="308903"/>
                </a:lnTo>
                <a:lnTo>
                  <a:pt x="3600086" y="312002"/>
                </a:lnTo>
                <a:lnTo>
                  <a:pt x="3594005" y="311723"/>
                </a:lnTo>
                <a:lnTo>
                  <a:pt x="3588937" y="310853"/>
                </a:lnTo>
                <a:lnTo>
                  <a:pt x="3582138" y="311427"/>
                </a:lnTo>
                <a:lnTo>
                  <a:pt x="3584904" y="306036"/>
                </a:lnTo>
                <a:lnTo>
                  <a:pt x="3587776" y="299011"/>
                </a:lnTo>
                <a:lnTo>
                  <a:pt x="3590605" y="289545"/>
                </a:lnTo>
                <a:lnTo>
                  <a:pt x="3595609" y="281672"/>
                </a:lnTo>
                <a:lnTo>
                  <a:pt x="3605977" y="254844"/>
                </a:lnTo>
                <a:lnTo>
                  <a:pt x="3611973" y="243955"/>
                </a:lnTo>
                <a:lnTo>
                  <a:pt x="3614106" y="228461"/>
                </a:lnTo>
                <a:lnTo>
                  <a:pt x="3623375" y="214898"/>
                </a:lnTo>
                <a:lnTo>
                  <a:pt x="3630301" y="210867"/>
                </a:lnTo>
                <a:lnTo>
                  <a:pt x="3633658" y="206982"/>
                </a:lnTo>
                <a:lnTo>
                  <a:pt x="3633573" y="201082"/>
                </a:lnTo>
                <a:lnTo>
                  <a:pt x="3643920" y="201125"/>
                </a:lnTo>
                <a:lnTo>
                  <a:pt x="3650592" y="200826"/>
                </a:lnTo>
                <a:lnTo>
                  <a:pt x="3652514" y="197515"/>
                </a:lnTo>
                <a:lnTo>
                  <a:pt x="3657728" y="199023"/>
                </a:lnTo>
                <a:lnTo>
                  <a:pt x="3660621" y="202208"/>
                </a:lnTo>
                <a:lnTo>
                  <a:pt x="3660622" y="202206"/>
                </a:lnTo>
                <a:lnTo>
                  <a:pt x="3657729" y="199023"/>
                </a:lnTo>
                <a:lnTo>
                  <a:pt x="3652514" y="197515"/>
                </a:lnTo>
                <a:lnTo>
                  <a:pt x="3650592" y="200825"/>
                </a:lnTo>
                <a:lnTo>
                  <a:pt x="3643920" y="201123"/>
                </a:lnTo>
                <a:lnTo>
                  <a:pt x="3633573" y="201081"/>
                </a:lnTo>
                <a:lnTo>
                  <a:pt x="3629013" y="184993"/>
                </a:lnTo>
                <a:lnTo>
                  <a:pt x="3628316" y="178010"/>
                </a:lnTo>
                <a:lnTo>
                  <a:pt x="3628443" y="169924"/>
                </a:lnTo>
                <a:lnTo>
                  <a:pt x="3631589" y="158081"/>
                </a:lnTo>
                <a:lnTo>
                  <a:pt x="3630111" y="152583"/>
                </a:lnTo>
                <a:lnTo>
                  <a:pt x="3629984" y="148869"/>
                </a:lnTo>
                <a:lnTo>
                  <a:pt x="3629182" y="143775"/>
                </a:lnTo>
                <a:lnTo>
                  <a:pt x="3621011" y="132781"/>
                </a:lnTo>
                <a:lnTo>
                  <a:pt x="3625466" y="112491"/>
                </a:lnTo>
                <a:lnTo>
                  <a:pt x="3628612" y="107567"/>
                </a:lnTo>
                <a:lnTo>
                  <a:pt x="3633046" y="108034"/>
                </a:lnTo>
                <a:lnTo>
                  <a:pt x="3642506" y="113807"/>
                </a:lnTo>
                <a:lnTo>
                  <a:pt x="3644068" y="113638"/>
                </a:lnTo>
                <a:lnTo>
                  <a:pt x="3646939" y="106040"/>
                </a:lnTo>
                <a:lnTo>
                  <a:pt x="3649726" y="103471"/>
                </a:lnTo>
                <a:lnTo>
                  <a:pt x="3655554" y="101201"/>
                </a:lnTo>
                <a:lnTo>
                  <a:pt x="3657222" y="88891"/>
                </a:lnTo>
                <a:lnTo>
                  <a:pt x="3659946" y="86535"/>
                </a:lnTo>
                <a:lnTo>
                  <a:pt x="3663240" y="85261"/>
                </a:lnTo>
                <a:lnTo>
                  <a:pt x="3668307" y="85006"/>
                </a:lnTo>
                <a:lnTo>
                  <a:pt x="3672699" y="84285"/>
                </a:lnTo>
                <a:lnTo>
                  <a:pt x="3672974" y="82119"/>
                </a:lnTo>
                <a:lnTo>
                  <a:pt x="3666808" y="67835"/>
                </a:lnTo>
                <a:lnTo>
                  <a:pt x="3667358" y="64207"/>
                </a:lnTo>
                <a:lnTo>
                  <a:pt x="3670334" y="49815"/>
                </a:lnTo>
                <a:lnTo>
                  <a:pt x="3672213" y="44170"/>
                </a:lnTo>
                <a:lnTo>
                  <a:pt x="3674009" y="42322"/>
                </a:lnTo>
                <a:lnTo>
                  <a:pt x="3680997" y="43044"/>
                </a:lnTo>
                <a:lnTo>
                  <a:pt x="3690773" y="45592"/>
                </a:lnTo>
                <a:lnTo>
                  <a:pt x="3693371" y="49731"/>
                </a:lnTo>
                <a:lnTo>
                  <a:pt x="3698164" y="53423"/>
                </a:lnTo>
                <a:lnTo>
                  <a:pt x="3705321" y="53167"/>
                </a:lnTo>
                <a:lnTo>
                  <a:pt x="3713619" y="53868"/>
                </a:lnTo>
                <a:lnTo>
                  <a:pt x="3720080" y="54103"/>
                </a:lnTo>
                <a:lnTo>
                  <a:pt x="3725254" y="51513"/>
                </a:lnTo>
                <a:lnTo>
                  <a:pt x="3736930" y="46674"/>
                </a:lnTo>
                <a:lnTo>
                  <a:pt x="3742694" y="45061"/>
                </a:lnTo>
                <a:lnTo>
                  <a:pt x="3747952" y="42917"/>
                </a:lnTo>
                <a:lnTo>
                  <a:pt x="3764843" y="34979"/>
                </a:lnTo>
                <a:lnTo>
                  <a:pt x="3771621" y="35597"/>
                </a:lnTo>
                <a:lnTo>
                  <a:pt x="3776245" y="36635"/>
                </a:lnTo>
                <a:lnTo>
                  <a:pt x="3779792" y="37909"/>
                </a:lnTo>
                <a:lnTo>
                  <a:pt x="3787732" y="43320"/>
                </a:lnTo>
                <a:lnTo>
                  <a:pt x="3794298" y="48797"/>
                </a:lnTo>
                <a:lnTo>
                  <a:pt x="3798923" y="50430"/>
                </a:lnTo>
                <a:lnTo>
                  <a:pt x="3807199" y="50304"/>
                </a:lnTo>
                <a:lnTo>
                  <a:pt x="3819171" y="51364"/>
                </a:lnTo>
                <a:lnTo>
                  <a:pt x="3833867" y="51279"/>
                </a:lnTo>
                <a:lnTo>
                  <a:pt x="3842461" y="49752"/>
                </a:lnTo>
                <a:lnTo>
                  <a:pt x="3853420" y="47055"/>
                </a:lnTo>
                <a:lnTo>
                  <a:pt x="3872971" y="40582"/>
                </a:lnTo>
                <a:lnTo>
                  <a:pt x="3898689" y="27020"/>
                </a:lnTo>
                <a:lnTo>
                  <a:pt x="3913807" y="20419"/>
                </a:lnTo>
                <a:lnTo>
                  <a:pt x="3920332" y="19634"/>
                </a:lnTo>
                <a:lnTo>
                  <a:pt x="3928820" y="19571"/>
                </a:lnTo>
                <a:lnTo>
                  <a:pt x="3937307" y="21289"/>
                </a:lnTo>
                <a:lnTo>
                  <a:pt x="3946936" y="22519"/>
                </a:lnTo>
                <a:lnTo>
                  <a:pt x="3951391" y="22415"/>
                </a:lnTo>
                <a:lnTo>
                  <a:pt x="3961800" y="21056"/>
                </a:lnTo>
                <a:lnTo>
                  <a:pt x="3975314" y="18298"/>
                </a:lnTo>
                <a:lnTo>
                  <a:pt x="3983802" y="16047"/>
                </a:lnTo>
                <a:lnTo>
                  <a:pt x="3994064" y="12354"/>
                </a:lnTo>
                <a:lnTo>
                  <a:pt x="4000461" y="6199"/>
                </a:lnTo>
                <a:lnTo>
                  <a:pt x="4002531" y="5562"/>
                </a:lnTo>
                <a:lnTo>
                  <a:pt x="4005191" y="6686"/>
                </a:lnTo>
                <a:lnTo>
                  <a:pt x="4006437" y="7110"/>
                </a:lnTo>
                <a:lnTo>
                  <a:pt x="4009055" y="10590"/>
                </a:lnTo>
                <a:lnTo>
                  <a:pt x="4011800" y="19615"/>
                </a:lnTo>
                <a:lnTo>
                  <a:pt x="4011800" y="20612"/>
                </a:lnTo>
                <a:lnTo>
                  <a:pt x="4011801" y="20607"/>
                </a:lnTo>
                <a:lnTo>
                  <a:pt x="4011801" y="19612"/>
                </a:lnTo>
                <a:lnTo>
                  <a:pt x="4017544" y="18104"/>
                </a:lnTo>
                <a:lnTo>
                  <a:pt x="4028164" y="9125"/>
                </a:lnTo>
                <a:lnTo>
                  <a:pt x="4034435" y="743"/>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31088666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874D79C-7347-4E26-E927-0E337DEB39C7}"/>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FB3634FF-61E7-C302-3946-51F81C4F784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4318A59-962B-1FC6-1375-CE9ECE17D69D}"/>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12" name="Picture Placeholder 11">
            <a:extLst>
              <a:ext uri="{FF2B5EF4-FFF2-40B4-BE49-F238E27FC236}">
                <a16:creationId xmlns:a16="http://schemas.microsoft.com/office/drawing/2014/main" id="{DA816170-2228-B199-DEAC-7080828CD129}"/>
              </a:ext>
            </a:extLst>
          </p:cNvPr>
          <p:cNvSpPr>
            <a:spLocks noGrp="1"/>
          </p:cNvSpPr>
          <p:nvPr>
            <p:ph type="pic" sz="quarter" idx="13"/>
          </p:nvPr>
        </p:nvSpPr>
        <p:spPr>
          <a:xfrm>
            <a:off x="1200483" y="1483440"/>
            <a:ext cx="1175075" cy="1175075"/>
          </a:xfrm>
          <a:custGeom>
            <a:avLst/>
            <a:gdLst>
              <a:gd name="connsiteX0" fmla="*/ 587538 w 1175075"/>
              <a:gd name="connsiteY0" fmla="*/ 0 h 1175075"/>
              <a:gd name="connsiteX1" fmla="*/ 1175075 w 1175075"/>
              <a:gd name="connsiteY1" fmla="*/ 587538 h 1175075"/>
              <a:gd name="connsiteX2" fmla="*/ 587538 w 1175075"/>
              <a:gd name="connsiteY2" fmla="*/ 1175075 h 1175075"/>
              <a:gd name="connsiteX3" fmla="*/ 0 w 1175075"/>
              <a:gd name="connsiteY3" fmla="*/ 587538 h 1175075"/>
              <a:gd name="connsiteX4" fmla="*/ 587538 w 1175075"/>
              <a:gd name="connsiteY4" fmla="*/ 0 h 117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75" h="1175075">
                <a:moveTo>
                  <a:pt x="587538" y="0"/>
                </a:moveTo>
                <a:cubicBezTo>
                  <a:pt x="912025" y="0"/>
                  <a:pt x="1175075" y="263050"/>
                  <a:pt x="1175075" y="587538"/>
                </a:cubicBezTo>
                <a:cubicBezTo>
                  <a:pt x="1175075" y="912025"/>
                  <a:pt x="912025" y="1175075"/>
                  <a:pt x="587538" y="1175075"/>
                </a:cubicBezTo>
                <a:cubicBezTo>
                  <a:pt x="263050" y="1175075"/>
                  <a:pt x="0" y="912025"/>
                  <a:pt x="0" y="587538"/>
                </a:cubicBezTo>
                <a:cubicBezTo>
                  <a:pt x="0" y="263050"/>
                  <a:pt x="263050" y="0"/>
                  <a:pt x="587538" y="0"/>
                </a:cubicBezTo>
                <a:close/>
              </a:path>
            </a:pathLst>
          </a:custGeom>
          <a:solidFill>
            <a:schemeClr val="bg1">
              <a:lumMod val="85000"/>
            </a:schemeClr>
          </a:solidFill>
        </p:spPr>
        <p:txBody>
          <a:bodyPr wrap="square">
            <a:noAutofit/>
          </a:bodyPr>
          <a:lstStyle/>
          <a:p>
            <a:endParaRPr lang="en-US"/>
          </a:p>
        </p:txBody>
      </p:sp>
      <p:sp>
        <p:nvSpPr>
          <p:cNvPr id="15" name="Picture Placeholder 14">
            <a:extLst>
              <a:ext uri="{FF2B5EF4-FFF2-40B4-BE49-F238E27FC236}">
                <a16:creationId xmlns:a16="http://schemas.microsoft.com/office/drawing/2014/main" id="{F11F1ED0-65A8-0538-FFF3-1F18A8421C32}"/>
              </a:ext>
            </a:extLst>
          </p:cNvPr>
          <p:cNvSpPr>
            <a:spLocks noGrp="1"/>
          </p:cNvSpPr>
          <p:nvPr>
            <p:ph type="pic" sz="quarter" idx="14"/>
          </p:nvPr>
        </p:nvSpPr>
        <p:spPr>
          <a:xfrm>
            <a:off x="3743815" y="4181375"/>
            <a:ext cx="1175075" cy="1175075"/>
          </a:xfrm>
          <a:custGeom>
            <a:avLst/>
            <a:gdLst>
              <a:gd name="connsiteX0" fmla="*/ 587538 w 1175075"/>
              <a:gd name="connsiteY0" fmla="*/ 0 h 1175075"/>
              <a:gd name="connsiteX1" fmla="*/ 1175075 w 1175075"/>
              <a:gd name="connsiteY1" fmla="*/ 587538 h 1175075"/>
              <a:gd name="connsiteX2" fmla="*/ 587538 w 1175075"/>
              <a:gd name="connsiteY2" fmla="*/ 1175075 h 1175075"/>
              <a:gd name="connsiteX3" fmla="*/ 0 w 1175075"/>
              <a:gd name="connsiteY3" fmla="*/ 587538 h 1175075"/>
              <a:gd name="connsiteX4" fmla="*/ 587538 w 1175075"/>
              <a:gd name="connsiteY4" fmla="*/ 0 h 117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75" h="1175075">
                <a:moveTo>
                  <a:pt x="587538" y="0"/>
                </a:moveTo>
                <a:cubicBezTo>
                  <a:pt x="912026" y="0"/>
                  <a:pt x="1175075" y="263050"/>
                  <a:pt x="1175075" y="587538"/>
                </a:cubicBezTo>
                <a:cubicBezTo>
                  <a:pt x="1175075" y="912026"/>
                  <a:pt x="912026" y="1175075"/>
                  <a:pt x="587538" y="1175075"/>
                </a:cubicBezTo>
                <a:cubicBezTo>
                  <a:pt x="263050" y="1175075"/>
                  <a:pt x="0" y="912026"/>
                  <a:pt x="0" y="587538"/>
                </a:cubicBezTo>
                <a:cubicBezTo>
                  <a:pt x="0" y="263050"/>
                  <a:pt x="263050" y="0"/>
                  <a:pt x="587538" y="0"/>
                </a:cubicBezTo>
                <a:close/>
              </a:path>
            </a:pathLst>
          </a:custGeom>
          <a:solidFill>
            <a:schemeClr val="bg1">
              <a:lumMod val="85000"/>
            </a:schemeClr>
          </a:solidFill>
        </p:spPr>
        <p:txBody>
          <a:bodyPr wrap="square">
            <a:noAutofit/>
          </a:bodyPr>
          <a:lstStyle/>
          <a:p>
            <a:endParaRPr lang="en-US"/>
          </a:p>
        </p:txBody>
      </p:sp>
      <p:sp>
        <p:nvSpPr>
          <p:cNvPr id="18" name="Picture Placeholder 17">
            <a:extLst>
              <a:ext uri="{FF2B5EF4-FFF2-40B4-BE49-F238E27FC236}">
                <a16:creationId xmlns:a16="http://schemas.microsoft.com/office/drawing/2014/main" id="{71F29CE8-8866-6A42-6138-D0A175D66418}"/>
              </a:ext>
            </a:extLst>
          </p:cNvPr>
          <p:cNvSpPr>
            <a:spLocks noGrp="1"/>
          </p:cNvSpPr>
          <p:nvPr>
            <p:ph type="pic" sz="quarter" idx="15"/>
          </p:nvPr>
        </p:nvSpPr>
        <p:spPr>
          <a:xfrm>
            <a:off x="6096001" y="1483439"/>
            <a:ext cx="1175075" cy="1175075"/>
          </a:xfrm>
          <a:custGeom>
            <a:avLst/>
            <a:gdLst>
              <a:gd name="connsiteX0" fmla="*/ 587538 w 1175075"/>
              <a:gd name="connsiteY0" fmla="*/ 0 h 1175075"/>
              <a:gd name="connsiteX1" fmla="*/ 1175075 w 1175075"/>
              <a:gd name="connsiteY1" fmla="*/ 587538 h 1175075"/>
              <a:gd name="connsiteX2" fmla="*/ 587538 w 1175075"/>
              <a:gd name="connsiteY2" fmla="*/ 1175075 h 1175075"/>
              <a:gd name="connsiteX3" fmla="*/ 0 w 1175075"/>
              <a:gd name="connsiteY3" fmla="*/ 587538 h 1175075"/>
              <a:gd name="connsiteX4" fmla="*/ 587538 w 1175075"/>
              <a:gd name="connsiteY4" fmla="*/ 0 h 117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75" h="1175075">
                <a:moveTo>
                  <a:pt x="587538" y="0"/>
                </a:moveTo>
                <a:cubicBezTo>
                  <a:pt x="912026" y="0"/>
                  <a:pt x="1175075" y="263050"/>
                  <a:pt x="1175075" y="587538"/>
                </a:cubicBezTo>
                <a:cubicBezTo>
                  <a:pt x="1175075" y="912025"/>
                  <a:pt x="912026" y="1175075"/>
                  <a:pt x="587538" y="1175075"/>
                </a:cubicBezTo>
                <a:cubicBezTo>
                  <a:pt x="263050" y="1175075"/>
                  <a:pt x="0" y="912025"/>
                  <a:pt x="0" y="587538"/>
                </a:cubicBezTo>
                <a:cubicBezTo>
                  <a:pt x="0" y="263050"/>
                  <a:pt x="263050" y="0"/>
                  <a:pt x="587538" y="0"/>
                </a:cubicBezTo>
                <a:close/>
              </a:path>
            </a:pathLst>
          </a:custGeom>
          <a:solidFill>
            <a:schemeClr val="bg1">
              <a:lumMod val="85000"/>
            </a:schemeClr>
          </a:solidFill>
        </p:spPr>
        <p:txBody>
          <a:bodyPr wrap="square">
            <a:noAutofit/>
          </a:bodyPr>
          <a:lstStyle/>
          <a:p>
            <a:endParaRPr lang="en-US"/>
          </a:p>
        </p:txBody>
      </p:sp>
      <p:sp>
        <p:nvSpPr>
          <p:cNvPr id="21" name="Picture Placeholder 20">
            <a:extLst>
              <a:ext uri="{FF2B5EF4-FFF2-40B4-BE49-F238E27FC236}">
                <a16:creationId xmlns:a16="http://schemas.microsoft.com/office/drawing/2014/main" id="{AB9639BB-D162-0C20-B5A7-E1CB53ABC955}"/>
              </a:ext>
            </a:extLst>
          </p:cNvPr>
          <p:cNvSpPr>
            <a:spLocks noGrp="1"/>
          </p:cNvSpPr>
          <p:nvPr>
            <p:ph type="pic" sz="quarter" idx="16"/>
          </p:nvPr>
        </p:nvSpPr>
        <p:spPr>
          <a:xfrm>
            <a:off x="8860457" y="4181376"/>
            <a:ext cx="1175075" cy="1175075"/>
          </a:xfrm>
          <a:custGeom>
            <a:avLst/>
            <a:gdLst>
              <a:gd name="connsiteX0" fmla="*/ 587538 w 1175075"/>
              <a:gd name="connsiteY0" fmla="*/ 0 h 1175075"/>
              <a:gd name="connsiteX1" fmla="*/ 1175075 w 1175075"/>
              <a:gd name="connsiteY1" fmla="*/ 587538 h 1175075"/>
              <a:gd name="connsiteX2" fmla="*/ 587538 w 1175075"/>
              <a:gd name="connsiteY2" fmla="*/ 1175075 h 1175075"/>
              <a:gd name="connsiteX3" fmla="*/ 0 w 1175075"/>
              <a:gd name="connsiteY3" fmla="*/ 587538 h 1175075"/>
              <a:gd name="connsiteX4" fmla="*/ 587538 w 1175075"/>
              <a:gd name="connsiteY4" fmla="*/ 0 h 1175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75" h="1175075">
                <a:moveTo>
                  <a:pt x="587538" y="0"/>
                </a:moveTo>
                <a:cubicBezTo>
                  <a:pt x="912025" y="0"/>
                  <a:pt x="1175075" y="263050"/>
                  <a:pt x="1175075" y="587538"/>
                </a:cubicBezTo>
                <a:cubicBezTo>
                  <a:pt x="1175075" y="912026"/>
                  <a:pt x="912025" y="1175075"/>
                  <a:pt x="587538" y="1175075"/>
                </a:cubicBezTo>
                <a:cubicBezTo>
                  <a:pt x="263050" y="1175075"/>
                  <a:pt x="0" y="912026"/>
                  <a:pt x="0" y="587538"/>
                </a:cubicBezTo>
                <a:cubicBezTo>
                  <a:pt x="0" y="263050"/>
                  <a:pt x="263050" y="0"/>
                  <a:pt x="587538" y="0"/>
                </a:cubicBez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3649860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F168FAC-A908-C894-9EAC-3DAD1F256CA1}"/>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F58CECBF-19DA-E2DB-251A-10F99240ACF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B90DC5F-33D5-1145-40D7-7B842D2C90A3}"/>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11" name="Picture Placeholder 10">
            <a:extLst>
              <a:ext uri="{FF2B5EF4-FFF2-40B4-BE49-F238E27FC236}">
                <a16:creationId xmlns:a16="http://schemas.microsoft.com/office/drawing/2014/main" id="{962BA33F-6C6D-DAB4-E2F4-7B6F3FEE9D3E}"/>
              </a:ext>
            </a:extLst>
          </p:cNvPr>
          <p:cNvSpPr>
            <a:spLocks noGrp="1"/>
          </p:cNvSpPr>
          <p:nvPr>
            <p:ph type="pic" sz="quarter" idx="13"/>
          </p:nvPr>
        </p:nvSpPr>
        <p:spPr>
          <a:xfrm>
            <a:off x="1749728" y="1716064"/>
            <a:ext cx="1490598" cy="1490598"/>
          </a:xfrm>
          <a:custGeom>
            <a:avLst/>
            <a:gdLst>
              <a:gd name="connsiteX0" fmla="*/ 745299 w 1490598"/>
              <a:gd name="connsiteY0" fmla="*/ 0 h 1490598"/>
              <a:gd name="connsiteX1" fmla="*/ 1490598 w 1490598"/>
              <a:gd name="connsiteY1" fmla="*/ 745299 h 1490598"/>
              <a:gd name="connsiteX2" fmla="*/ 745299 w 1490598"/>
              <a:gd name="connsiteY2" fmla="*/ 1490598 h 1490598"/>
              <a:gd name="connsiteX3" fmla="*/ 0 w 1490598"/>
              <a:gd name="connsiteY3" fmla="*/ 745299 h 1490598"/>
              <a:gd name="connsiteX4" fmla="*/ 745299 w 1490598"/>
              <a:gd name="connsiteY4" fmla="*/ 0 h 149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598" h="1490598">
                <a:moveTo>
                  <a:pt x="745299" y="0"/>
                </a:moveTo>
                <a:cubicBezTo>
                  <a:pt x="1156916" y="0"/>
                  <a:pt x="1490598" y="333682"/>
                  <a:pt x="1490598" y="745299"/>
                </a:cubicBezTo>
                <a:cubicBezTo>
                  <a:pt x="1490598" y="1156916"/>
                  <a:pt x="1156916" y="1490598"/>
                  <a:pt x="745299" y="1490598"/>
                </a:cubicBezTo>
                <a:cubicBezTo>
                  <a:pt x="333682" y="1490598"/>
                  <a:pt x="0" y="1156916"/>
                  <a:pt x="0" y="745299"/>
                </a:cubicBezTo>
                <a:cubicBezTo>
                  <a:pt x="0" y="333682"/>
                  <a:pt x="333682" y="0"/>
                  <a:pt x="745299" y="0"/>
                </a:cubicBezTo>
                <a:close/>
              </a:path>
            </a:pathLst>
          </a:custGeom>
          <a:solidFill>
            <a:schemeClr val="bg1">
              <a:lumMod val="85000"/>
            </a:schemeClr>
          </a:solidFill>
        </p:spPr>
        <p:txBody>
          <a:bodyPr wrap="square">
            <a:noAutofit/>
          </a:bodyPr>
          <a:lstStyle/>
          <a:p>
            <a:endParaRPr lang="en-US"/>
          </a:p>
        </p:txBody>
      </p:sp>
      <p:sp>
        <p:nvSpPr>
          <p:cNvPr id="14" name="Picture Placeholder 13">
            <a:extLst>
              <a:ext uri="{FF2B5EF4-FFF2-40B4-BE49-F238E27FC236}">
                <a16:creationId xmlns:a16="http://schemas.microsoft.com/office/drawing/2014/main" id="{3AF43F49-888D-7BD1-48F2-82BB5D9F1C17}"/>
              </a:ext>
            </a:extLst>
          </p:cNvPr>
          <p:cNvSpPr>
            <a:spLocks noGrp="1"/>
          </p:cNvSpPr>
          <p:nvPr>
            <p:ph type="pic" sz="quarter" idx="14"/>
          </p:nvPr>
        </p:nvSpPr>
        <p:spPr>
          <a:xfrm>
            <a:off x="5350701" y="3930042"/>
            <a:ext cx="1490598" cy="1490598"/>
          </a:xfrm>
          <a:custGeom>
            <a:avLst/>
            <a:gdLst>
              <a:gd name="connsiteX0" fmla="*/ 745299 w 1490598"/>
              <a:gd name="connsiteY0" fmla="*/ 0 h 1490598"/>
              <a:gd name="connsiteX1" fmla="*/ 1490598 w 1490598"/>
              <a:gd name="connsiteY1" fmla="*/ 745299 h 1490598"/>
              <a:gd name="connsiteX2" fmla="*/ 745299 w 1490598"/>
              <a:gd name="connsiteY2" fmla="*/ 1490598 h 1490598"/>
              <a:gd name="connsiteX3" fmla="*/ 0 w 1490598"/>
              <a:gd name="connsiteY3" fmla="*/ 745299 h 1490598"/>
              <a:gd name="connsiteX4" fmla="*/ 745299 w 1490598"/>
              <a:gd name="connsiteY4" fmla="*/ 0 h 149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598" h="1490598">
                <a:moveTo>
                  <a:pt x="745299" y="0"/>
                </a:moveTo>
                <a:cubicBezTo>
                  <a:pt x="1156916" y="0"/>
                  <a:pt x="1490598" y="333682"/>
                  <a:pt x="1490598" y="745299"/>
                </a:cubicBezTo>
                <a:cubicBezTo>
                  <a:pt x="1490598" y="1156916"/>
                  <a:pt x="1156916" y="1490598"/>
                  <a:pt x="745299" y="1490598"/>
                </a:cubicBezTo>
                <a:cubicBezTo>
                  <a:pt x="333682" y="1490598"/>
                  <a:pt x="0" y="1156916"/>
                  <a:pt x="0" y="745299"/>
                </a:cubicBezTo>
                <a:cubicBezTo>
                  <a:pt x="0" y="333682"/>
                  <a:pt x="333682" y="0"/>
                  <a:pt x="745299" y="0"/>
                </a:cubicBezTo>
                <a:close/>
              </a:path>
            </a:pathLst>
          </a:custGeom>
          <a:solidFill>
            <a:schemeClr val="bg1">
              <a:lumMod val="85000"/>
            </a:schemeClr>
          </a:solidFill>
        </p:spPr>
        <p:txBody>
          <a:bodyPr wrap="square">
            <a:noAutofit/>
          </a:bodyPr>
          <a:lstStyle/>
          <a:p>
            <a:endParaRPr lang="en-US"/>
          </a:p>
        </p:txBody>
      </p:sp>
      <p:sp>
        <p:nvSpPr>
          <p:cNvPr id="17" name="Picture Placeholder 16">
            <a:extLst>
              <a:ext uri="{FF2B5EF4-FFF2-40B4-BE49-F238E27FC236}">
                <a16:creationId xmlns:a16="http://schemas.microsoft.com/office/drawing/2014/main" id="{ABF7D874-306B-CDA9-31CA-BA95551968CC}"/>
              </a:ext>
            </a:extLst>
          </p:cNvPr>
          <p:cNvSpPr>
            <a:spLocks noGrp="1"/>
          </p:cNvSpPr>
          <p:nvPr>
            <p:ph type="pic" sz="quarter" idx="15"/>
          </p:nvPr>
        </p:nvSpPr>
        <p:spPr>
          <a:xfrm>
            <a:off x="9108509" y="1716064"/>
            <a:ext cx="1490598" cy="1490598"/>
          </a:xfrm>
          <a:custGeom>
            <a:avLst/>
            <a:gdLst>
              <a:gd name="connsiteX0" fmla="*/ 745299 w 1490598"/>
              <a:gd name="connsiteY0" fmla="*/ 0 h 1490598"/>
              <a:gd name="connsiteX1" fmla="*/ 1490598 w 1490598"/>
              <a:gd name="connsiteY1" fmla="*/ 745299 h 1490598"/>
              <a:gd name="connsiteX2" fmla="*/ 745299 w 1490598"/>
              <a:gd name="connsiteY2" fmla="*/ 1490598 h 1490598"/>
              <a:gd name="connsiteX3" fmla="*/ 0 w 1490598"/>
              <a:gd name="connsiteY3" fmla="*/ 745299 h 1490598"/>
              <a:gd name="connsiteX4" fmla="*/ 745299 w 1490598"/>
              <a:gd name="connsiteY4" fmla="*/ 0 h 1490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598" h="1490598">
                <a:moveTo>
                  <a:pt x="745299" y="0"/>
                </a:moveTo>
                <a:cubicBezTo>
                  <a:pt x="1156916" y="0"/>
                  <a:pt x="1490598" y="333682"/>
                  <a:pt x="1490598" y="745299"/>
                </a:cubicBezTo>
                <a:cubicBezTo>
                  <a:pt x="1490598" y="1156916"/>
                  <a:pt x="1156916" y="1490598"/>
                  <a:pt x="745299" y="1490598"/>
                </a:cubicBezTo>
                <a:cubicBezTo>
                  <a:pt x="333682" y="1490598"/>
                  <a:pt x="0" y="1156916"/>
                  <a:pt x="0" y="745299"/>
                </a:cubicBezTo>
                <a:cubicBezTo>
                  <a:pt x="0" y="333682"/>
                  <a:pt x="333682" y="0"/>
                  <a:pt x="745299" y="0"/>
                </a:cubicBez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15809317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996E670-FC4C-04BB-50C6-045ED7E27940}"/>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8851E3EE-B83C-77F0-7B25-F5688C34B12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0C5D124-66CC-6822-C5A3-2581DDB89D83}"/>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9" name="Picture Placeholder 8">
            <a:extLst>
              <a:ext uri="{FF2B5EF4-FFF2-40B4-BE49-F238E27FC236}">
                <a16:creationId xmlns:a16="http://schemas.microsoft.com/office/drawing/2014/main" id="{4BE697CC-24BF-F108-40A3-0A199EBFAA52}"/>
              </a:ext>
            </a:extLst>
          </p:cNvPr>
          <p:cNvSpPr>
            <a:spLocks noGrp="1"/>
          </p:cNvSpPr>
          <p:nvPr>
            <p:ph type="pic" sz="quarter" idx="13"/>
          </p:nvPr>
        </p:nvSpPr>
        <p:spPr>
          <a:xfrm>
            <a:off x="2111538" y="2466325"/>
            <a:ext cx="2494422" cy="2494422"/>
          </a:xfrm>
          <a:custGeom>
            <a:avLst/>
            <a:gdLst>
              <a:gd name="connsiteX0" fmla="*/ 1247211 w 2494422"/>
              <a:gd name="connsiteY0" fmla="*/ 0 h 2494422"/>
              <a:gd name="connsiteX1" fmla="*/ 2494422 w 2494422"/>
              <a:gd name="connsiteY1" fmla="*/ 1247211 h 2494422"/>
              <a:gd name="connsiteX2" fmla="*/ 1247211 w 2494422"/>
              <a:gd name="connsiteY2" fmla="*/ 2494422 h 2494422"/>
              <a:gd name="connsiteX3" fmla="*/ 0 w 2494422"/>
              <a:gd name="connsiteY3" fmla="*/ 1247211 h 2494422"/>
              <a:gd name="connsiteX4" fmla="*/ 1247211 w 2494422"/>
              <a:gd name="connsiteY4" fmla="*/ 0 h 2494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4422" h="2494422">
                <a:moveTo>
                  <a:pt x="1247211" y="0"/>
                </a:moveTo>
                <a:cubicBezTo>
                  <a:pt x="1936027" y="0"/>
                  <a:pt x="2494422" y="558395"/>
                  <a:pt x="2494422" y="1247211"/>
                </a:cubicBezTo>
                <a:cubicBezTo>
                  <a:pt x="2494422" y="1936027"/>
                  <a:pt x="1936027" y="2494422"/>
                  <a:pt x="1247211" y="2494422"/>
                </a:cubicBezTo>
                <a:cubicBezTo>
                  <a:pt x="558395" y="2494422"/>
                  <a:pt x="0" y="1936027"/>
                  <a:pt x="0" y="1247211"/>
                </a:cubicBezTo>
                <a:cubicBezTo>
                  <a:pt x="0" y="558395"/>
                  <a:pt x="558395" y="0"/>
                  <a:pt x="1247211" y="0"/>
                </a:cubicBezTo>
                <a:close/>
              </a:path>
            </a:pathLst>
          </a:custGeom>
          <a:solidFill>
            <a:schemeClr val="bg1">
              <a:lumMod val="75000"/>
            </a:schemeClr>
          </a:solidFill>
        </p:spPr>
        <p:txBody>
          <a:bodyPr wrap="square">
            <a:noAutofit/>
          </a:bodyPr>
          <a:lstStyle/>
          <a:p>
            <a:endParaRPr lang="en-US"/>
          </a:p>
        </p:txBody>
      </p:sp>
    </p:spTree>
    <p:extLst>
      <p:ext uri="{BB962C8B-B14F-4D97-AF65-F5344CB8AC3E}">
        <p14:creationId xmlns:p14="http://schemas.microsoft.com/office/powerpoint/2010/main" val="620651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8" name="Picture Placeholder 7">
            <a:extLst>
              <a:ext uri="{FF2B5EF4-FFF2-40B4-BE49-F238E27FC236}">
                <a16:creationId xmlns:a16="http://schemas.microsoft.com/office/drawing/2014/main" id="{32179CB3-39E0-2837-3C9D-0BBB53AD3177}"/>
              </a:ext>
            </a:extLst>
          </p:cNvPr>
          <p:cNvSpPr>
            <a:spLocks noGrp="1"/>
          </p:cNvSpPr>
          <p:nvPr>
            <p:ph type="pic" sz="quarter" idx="13"/>
          </p:nvPr>
        </p:nvSpPr>
        <p:spPr>
          <a:xfrm>
            <a:off x="0" y="1872868"/>
            <a:ext cx="12192000" cy="4285562"/>
          </a:xfrm>
          <a:custGeom>
            <a:avLst/>
            <a:gdLst>
              <a:gd name="connsiteX0" fmla="*/ 0 w 12192000"/>
              <a:gd name="connsiteY0" fmla="*/ 0 h 4285562"/>
              <a:gd name="connsiteX1" fmla="*/ 12192000 w 12192000"/>
              <a:gd name="connsiteY1" fmla="*/ 0 h 4285562"/>
              <a:gd name="connsiteX2" fmla="*/ 12192000 w 12192000"/>
              <a:gd name="connsiteY2" fmla="*/ 4285562 h 4285562"/>
              <a:gd name="connsiteX3" fmla="*/ 0 w 12192000"/>
              <a:gd name="connsiteY3" fmla="*/ 4285562 h 4285562"/>
            </a:gdLst>
            <a:ahLst/>
            <a:cxnLst>
              <a:cxn ang="0">
                <a:pos x="connsiteX0" y="connsiteY0"/>
              </a:cxn>
              <a:cxn ang="0">
                <a:pos x="connsiteX1" y="connsiteY1"/>
              </a:cxn>
              <a:cxn ang="0">
                <a:pos x="connsiteX2" y="connsiteY2"/>
              </a:cxn>
              <a:cxn ang="0">
                <a:pos x="connsiteX3" y="connsiteY3"/>
              </a:cxn>
            </a:cxnLst>
            <a:rect l="l" t="t" r="r" b="b"/>
            <a:pathLst>
              <a:path w="12192000" h="4285562">
                <a:moveTo>
                  <a:pt x="0" y="0"/>
                </a:moveTo>
                <a:lnTo>
                  <a:pt x="12192000" y="0"/>
                </a:lnTo>
                <a:lnTo>
                  <a:pt x="12192000" y="4285562"/>
                </a:lnTo>
                <a:lnTo>
                  <a:pt x="0" y="4285562"/>
                </a:lnTo>
                <a:close/>
              </a:path>
            </a:pathLst>
          </a:custGeom>
        </p:spPr>
        <p:txBody>
          <a:bodyPr wrap="square">
            <a:noAutofit/>
          </a:bodyPr>
          <a:lstStyle/>
          <a:p>
            <a:endParaRPr lang="en-US"/>
          </a:p>
        </p:txBody>
      </p:sp>
    </p:spTree>
    <p:extLst>
      <p:ext uri="{BB962C8B-B14F-4D97-AF65-F5344CB8AC3E}">
        <p14:creationId xmlns:p14="http://schemas.microsoft.com/office/powerpoint/2010/main" val="218254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10" name="Picture Placeholder 9">
            <a:extLst>
              <a:ext uri="{FF2B5EF4-FFF2-40B4-BE49-F238E27FC236}">
                <a16:creationId xmlns:a16="http://schemas.microsoft.com/office/drawing/2014/main" id="{479AA6D5-048A-5FB1-2E0B-A9B09AEC1AC4}"/>
              </a:ext>
            </a:extLst>
          </p:cNvPr>
          <p:cNvSpPr>
            <a:spLocks noGrp="1"/>
          </p:cNvSpPr>
          <p:nvPr>
            <p:ph type="pic" sz="quarter" idx="13"/>
          </p:nvPr>
        </p:nvSpPr>
        <p:spPr>
          <a:xfrm>
            <a:off x="6226932" y="2384894"/>
            <a:ext cx="2513002" cy="2519941"/>
          </a:xfrm>
          <a:custGeom>
            <a:avLst/>
            <a:gdLst>
              <a:gd name="connsiteX0" fmla="*/ 1140332 w 2513002"/>
              <a:gd name="connsiteY0" fmla="*/ 0 h 2519941"/>
              <a:gd name="connsiteX1" fmla="*/ 2513002 w 2513002"/>
              <a:gd name="connsiteY1" fmla="*/ 1110892 h 2519941"/>
              <a:gd name="connsiteX2" fmla="*/ 1372670 w 2513002"/>
              <a:gd name="connsiteY2" fmla="*/ 2519941 h 2519941"/>
              <a:gd name="connsiteX3" fmla="*/ 0 w 2513002"/>
              <a:gd name="connsiteY3" fmla="*/ 1409049 h 2519941"/>
            </a:gdLst>
            <a:ahLst/>
            <a:cxnLst>
              <a:cxn ang="0">
                <a:pos x="connsiteX0" y="connsiteY0"/>
              </a:cxn>
              <a:cxn ang="0">
                <a:pos x="connsiteX1" y="connsiteY1"/>
              </a:cxn>
              <a:cxn ang="0">
                <a:pos x="connsiteX2" y="connsiteY2"/>
              </a:cxn>
              <a:cxn ang="0">
                <a:pos x="connsiteX3" y="connsiteY3"/>
              </a:cxn>
            </a:cxnLst>
            <a:rect l="l" t="t" r="r" b="b"/>
            <a:pathLst>
              <a:path w="2513002" h="2519941">
                <a:moveTo>
                  <a:pt x="1140332" y="0"/>
                </a:moveTo>
                <a:lnTo>
                  <a:pt x="2513002" y="1110892"/>
                </a:lnTo>
                <a:lnTo>
                  <a:pt x="1372670" y="2519941"/>
                </a:lnTo>
                <a:lnTo>
                  <a:pt x="0" y="1409049"/>
                </a:lnTo>
                <a:close/>
              </a:path>
            </a:pathLst>
          </a:custGeom>
        </p:spPr>
        <p:txBody>
          <a:bodyPr wrap="square">
            <a:noAutofit/>
          </a:bodyPr>
          <a:lstStyle/>
          <a:p>
            <a:endParaRPr lang="en-US"/>
          </a:p>
        </p:txBody>
      </p:sp>
      <p:sp>
        <p:nvSpPr>
          <p:cNvPr id="13" name="Picture Placeholder 12">
            <a:extLst>
              <a:ext uri="{FF2B5EF4-FFF2-40B4-BE49-F238E27FC236}">
                <a16:creationId xmlns:a16="http://schemas.microsoft.com/office/drawing/2014/main" id="{435F1440-18B3-5987-1833-5888AC20A2E0}"/>
              </a:ext>
            </a:extLst>
          </p:cNvPr>
          <p:cNvSpPr>
            <a:spLocks noGrp="1"/>
          </p:cNvSpPr>
          <p:nvPr>
            <p:ph type="pic" sz="quarter" idx="14"/>
          </p:nvPr>
        </p:nvSpPr>
        <p:spPr>
          <a:xfrm>
            <a:off x="7386082" y="959831"/>
            <a:ext cx="2504818" cy="2513317"/>
          </a:xfrm>
          <a:custGeom>
            <a:avLst/>
            <a:gdLst>
              <a:gd name="connsiteX0" fmla="*/ 1140332 w 2504818"/>
              <a:gd name="connsiteY0" fmla="*/ 0 h 2513317"/>
              <a:gd name="connsiteX1" fmla="*/ 2504818 w 2504818"/>
              <a:gd name="connsiteY1" fmla="*/ 1104268 h 2513317"/>
              <a:gd name="connsiteX2" fmla="*/ 1364485 w 2504818"/>
              <a:gd name="connsiteY2" fmla="*/ 2513317 h 2513317"/>
              <a:gd name="connsiteX3" fmla="*/ 0 w 2504818"/>
              <a:gd name="connsiteY3" fmla="*/ 1409049 h 2513317"/>
            </a:gdLst>
            <a:ahLst/>
            <a:cxnLst>
              <a:cxn ang="0">
                <a:pos x="connsiteX0" y="connsiteY0"/>
              </a:cxn>
              <a:cxn ang="0">
                <a:pos x="connsiteX1" y="connsiteY1"/>
              </a:cxn>
              <a:cxn ang="0">
                <a:pos x="connsiteX2" y="connsiteY2"/>
              </a:cxn>
              <a:cxn ang="0">
                <a:pos x="connsiteX3" y="connsiteY3"/>
              </a:cxn>
            </a:cxnLst>
            <a:rect l="l" t="t" r="r" b="b"/>
            <a:pathLst>
              <a:path w="2504818" h="2513317">
                <a:moveTo>
                  <a:pt x="1140332" y="0"/>
                </a:moveTo>
                <a:lnTo>
                  <a:pt x="2504818" y="1104268"/>
                </a:lnTo>
                <a:lnTo>
                  <a:pt x="1364485" y="2513317"/>
                </a:lnTo>
                <a:lnTo>
                  <a:pt x="0" y="1409049"/>
                </a:lnTo>
                <a:close/>
              </a:path>
            </a:pathLst>
          </a:custGeom>
        </p:spPr>
        <p:txBody>
          <a:bodyPr wrap="square">
            <a:noAutofit/>
          </a:bodyPr>
          <a:lstStyle/>
          <a:p>
            <a:endParaRPr lang="en-US"/>
          </a:p>
        </p:txBody>
      </p:sp>
      <p:sp>
        <p:nvSpPr>
          <p:cNvPr id="16" name="Picture Placeholder 15">
            <a:extLst>
              <a:ext uri="{FF2B5EF4-FFF2-40B4-BE49-F238E27FC236}">
                <a16:creationId xmlns:a16="http://schemas.microsoft.com/office/drawing/2014/main" id="{766193EB-61EB-C621-1068-46005E02D448}"/>
              </a:ext>
            </a:extLst>
          </p:cNvPr>
          <p:cNvSpPr>
            <a:spLocks noGrp="1"/>
          </p:cNvSpPr>
          <p:nvPr>
            <p:ph type="pic" sz="quarter" idx="15"/>
          </p:nvPr>
        </p:nvSpPr>
        <p:spPr>
          <a:xfrm>
            <a:off x="7617256" y="2076505"/>
            <a:ext cx="3618348" cy="3910116"/>
          </a:xfrm>
          <a:custGeom>
            <a:avLst/>
            <a:gdLst>
              <a:gd name="connsiteX0" fmla="*/ 2302809 w 3618348"/>
              <a:gd name="connsiteY0" fmla="*/ 0 h 3910116"/>
              <a:gd name="connsiteX1" fmla="*/ 3618348 w 3618348"/>
              <a:gd name="connsiteY1" fmla="*/ 1064656 h 3910116"/>
              <a:gd name="connsiteX2" fmla="*/ 1315539 w 3618348"/>
              <a:gd name="connsiteY2" fmla="*/ 3910116 h 3910116"/>
              <a:gd name="connsiteX3" fmla="*/ 0 w 3618348"/>
              <a:gd name="connsiteY3" fmla="*/ 2845460 h 3910116"/>
            </a:gdLst>
            <a:ahLst/>
            <a:cxnLst>
              <a:cxn ang="0">
                <a:pos x="connsiteX0" y="connsiteY0"/>
              </a:cxn>
              <a:cxn ang="0">
                <a:pos x="connsiteX1" y="connsiteY1"/>
              </a:cxn>
              <a:cxn ang="0">
                <a:pos x="connsiteX2" y="connsiteY2"/>
              </a:cxn>
              <a:cxn ang="0">
                <a:pos x="connsiteX3" y="connsiteY3"/>
              </a:cxn>
            </a:cxnLst>
            <a:rect l="l" t="t" r="r" b="b"/>
            <a:pathLst>
              <a:path w="3618348" h="3910116">
                <a:moveTo>
                  <a:pt x="2302809" y="0"/>
                </a:moveTo>
                <a:lnTo>
                  <a:pt x="3618348" y="1064656"/>
                </a:lnTo>
                <a:lnTo>
                  <a:pt x="1315539" y="3910116"/>
                </a:lnTo>
                <a:lnTo>
                  <a:pt x="0" y="2845460"/>
                </a:lnTo>
                <a:close/>
              </a:path>
            </a:pathLst>
          </a:custGeom>
        </p:spPr>
        <p:txBody>
          <a:bodyPr wrap="square">
            <a:noAutofit/>
          </a:bodyPr>
          <a:lstStyle/>
          <a:p>
            <a:endParaRPr lang="en-US"/>
          </a:p>
        </p:txBody>
      </p:sp>
    </p:spTree>
    <p:extLst>
      <p:ext uri="{BB962C8B-B14F-4D97-AF65-F5344CB8AC3E}">
        <p14:creationId xmlns:p14="http://schemas.microsoft.com/office/powerpoint/2010/main" val="20163783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10" name="Picture Placeholder 9">
            <a:extLst>
              <a:ext uri="{FF2B5EF4-FFF2-40B4-BE49-F238E27FC236}">
                <a16:creationId xmlns:a16="http://schemas.microsoft.com/office/drawing/2014/main" id="{81D7F0EF-5876-8011-88C8-D8CCE0DA59A8}"/>
              </a:ext>
            </a:extLst>
          </p:cNvPr>
          <p:cNvSpPr>
            <a:spLocks noGrp="1"/>
          </p:cNvSpPr>
          <p:nvPr>
            <p:ph type="pic" sz="quarter" idx="13"/>
          </p:nvPr>
        </p:nvSpPr>
        <p:spPr>
          <a:xfrm>
            <a:off x="0" y="1695662"/>
            <a:ext cx="4064000" cy="2228193"/>
          </a:xfrm>
          <a:custGeom>
            <a:avLst/>
            <a:gdLst>
              <a:gd name="connsiteX0" fmla="*/ 0 w 4064000"/>
              <a:gd name="connsiteY0" fmla="*/ 0 h 2228193"/>
              <a:gd name="connsiteX1" fmla="*/ 4064000 w 4064000"/>
              <a:gd name="connsiteY1" fmla="*/ 0 h 2228193"/>
              <a:gd name="connsiteX2" fmla="*/ 4064000 w 4064000"/>
              <a:gd name="connsiteY2" fmla="*/ 2228193 h 2228193"/>
              <a:gd name="connsiteX3" fmla="*/ 0 w 4064000"/>
              <a:gd name="connsiteY3" fmla="*/ 2228193 h 2228193"/>
            </a:gdLst>
            <a:ahLst/>
            <a:cxnLst>
              <a:cxn ang="0">
                <a:pos x="connsiteX0" y="connsiteY0"/>
              </a:cxn>
              <a:cxn ang="0">
                <a:pos x="connsiteX1" y="connsiteY1"/>
              </a:cxn>
              <a:cxn ang="0">
                <a:pos x="connsiteX2" y="connsiteY2"/>
              </a:cxn>
              <a:cxn ang="0">
                <a:pos x="connsiteX3" y="connsiteY3"/>
              </a:cxn>
            </a:cxnLst>
            <a:rect l="l" t="t" r="r" b="b"/>
            <a:pathLst>
              <a:path w="4064000" h="2228193">
                <a:moveTo>
                  <a:pt x="0" y="0"/>
                </a:moveTo>
                <a:lnTo>
                  <a:pt x="4064000" y="0"/>
                </a:lnTo>
                <a:lnTo>
                  <a:pt x="4064000" y="2228193"/>
                </a:lnTo>
                <a:lnTo>
                  <a:pt x="0" y="2228193"/>
                </a:lnTo>
                <a:close/>
              </a:path>
            </a:pathLst>
          </a:custGeom>
        </p:spPr>
        <p:txBody>
          <a:bodyPr wrap="square">
            <a:noAutofit/>
          </a:bodyPr>
          <a:lstStyle/>
          <a:p>
            <a:endParaRPr lang="en-US"/>
          </a:p>
        </p:txBody>
      </p:sp>
      <p:sp>
        <p:nvSpPr>
          <p:cNvPr id="13" name="Picture Placeholder 12">
            <a:extLst>
              <a:ext uri="{FF2B5EF4-FFF2-40B4-BE49-F238E27FC236}">
                <a16:creationId xmlns:a16="http://schemas.microsoft.com/office/drawing/2014/main" id="{23F05F4E-5BB5-3996-4E61-A42C850A1E8A}"/>
              </a:ext>
            </a:extLst>
          </p:cNvPr>
          <p:cNvSpPr>
            <a:spLocks noGrp="1"/>
          </p:cNvSpPr>
          <p:nvPr>
            <p:ph type="pic" sz="quarter" idx="14"/>
          </p:nvPr>
        </p:nvSpPr>
        <p:spPr>
          <a:xfrm>
            <a:off x="4064000" y="1695663"/>
            <a:ext cx="4064000" cy="2228193"/>
          </a:xfrm>
          <a:custGeom>
            <a:avLst/>
            <a:gdLst>
              <a:gd name="connsiteX0" fmla="*/ 0 w 4064000"/>
              <a:gd name="connsiteY0" fmla="*/ 0 h 2228193"/>
              <a:gd name="connsiteX1" fmla="*/ 4064000 w 4064000"/>
              <a:gd name="connsiteY1" fmla="*/ 0 h 2228193"/>
              <a:gd name="connsiteX2" fmla="*/ 4064000 w 4064000"/>
              <a:gd name="connsiteY2" fmla="*/ 2228193 h 2228193"/>
              <a:gd name="connsiteX3" fmla="*/ 0 w 4064000"/>
              <a:gd name="connsiteY3" fmla="*/ 2228193 h 2228193"/>
            </a:gdLst>
            <a:ahLst/>
            <a:cxnLst>
              <a:cxn ang="0">
                <a:pos x="connsiteX0" y="connsiteY0"/>
              </a:cxn>
              <a:cxn ang="0">
                <a:pos x="connsiteX1" y="connsiteY1"/>
              </a:cxn>
              <a:cxn ang="0">
                <a:pos x="connsiteX2" y="connsiteY2"/>
              </a:cxn>
              <a:cxn ang="0">
                <a:pos x="connsiteX3" y="connsiteY3"/>
              </a:cxn>
            </a:cxnLst>
            <a:rect l="l" t="t" r="r" b="b"/>
            <a:pathLst>
              <a:path w="4064000" h="2228193">
                <a:moveTo>
                  <a:pt x="0" y="0"/>
                </a:moveTo>
                <a:lnTo>
                  <a:pt x="4064000" y="0"/>
                </a:lnTo>
                <a:lnTo>
                  <a:pt x="4064000" y="2228193"/>
                </a:lnTo>
                <a:lnTo>
                  <a:pt x="0" y="2228193"/>
                </a:lnTo>
                <a:close/>
              </a:path>
            </a:pathLst>
          </a:custGeom>
        </p:spPr>
        <p:txBody>
          <a:bodyPr wrap="square">
            <a:noAutofit/>
          </a:bodyPr>
          <a:lstStyle/>
          <a:p>
            <a:endParaRPr lang="en-US"/>
          </a:p>
        </p:txBody>
      </p:sp>
      <p:sp>
        <p:nvSpPr>
          <p:cNvPr id="16" name="Picture Placeholder 15">
            <a:extLst>
              <a:ext uri="{FF2B5EF4-FFF2-40B4-BE49-F238E27FC236}">
                <a16:creationId xmlns:a16="http://schemas.microsoft.com/office/drawing/2014/main" id="{07FD28B6-3EBF-0E50-5C7F-5B5B9FA8E01B}"/>
              </a:ext>
            </a:extLst>
          </p:cNvPr>
          <p:cNvSpPr>
            <a:spLocks noGrp="1"/>
          </p:cNvSpPr>
          <p:nvPr>
            <p:ph type="pic" sz="quarter" idx="15"/>
          </p:nvPr>
        </p:nvSpPr>
        <p:spPr>
          <a:xfrm>
            <a:off x="8128000" y="1695663"/>
            <a:ext cx="4064000" cy="2228193"/>
          </a:xfrm>
          <a:custGeom>
            <a:avLst/>
            <a:gdLst>
              <a:gd name="connsiteX0" fmla="*/ 0 w 4064000"/>
              <a:gd name="connsiteY0" fmla="*/ 0 h 2228193"/>
              <a:gd name="connsiteX1" fmla="*/ 4064000 w 4064000"/>
              <a:gd name="connsiteY1" fmla="*/ 0 h 2228193"/>
              <a:gd name="connsiteX2" fmla="*/ 4064000 w 4064000"/>
              <a:gd name="connsiteY2" fmla="*/ 2228193 h 2228193"/>
              <a:gd name="connsiteX3" fmla="*/ 0 w 4064000"/>
              <a:gd name="connsiteY3" fmla="*/ 2228193 h 2228193"/>
            </a:gdLst>
            <a:ahLst/>
            <a:cxnLst>
              <a:cxn ang="0">
                <a:pos x="connsiteX0" y="connsiteY0"/>
              </a:cxn>
              <a:cxn ang="0">
                <a:pos x="connsiteX1" y="connsiteY1"/>
              </a:cxn>
              <a:cxn ang="0">
                <a:pos x="connsiteX2" y="connsiteY2"/>
              </a:cxn>
              <a:cxn ang="0">
                <a:pos x="connsiteX3" y="connsiteY3"/>
              </a:cxn>
            </a:cxnLst>
            <a:rect l="l" t="t" r="r" b="b"/>
            <a:pathLst>
              <a:path w="4064000" h="2228193">
                <a:moveTo>
                  <a:pt x="0" y="0"/>
                </a:moveTo>
                <a:lnTo>
                  <a:pt x="4064000" y="0"/>
                </a:lnTo>
                <a:lnTo>
                  <a:pt x="4064000" y="2228193"/>
                </a:lnTo>
                <a:lnTo>
                  <a:pt x="0" y="2228193"/>
                </a:lnTo>
                <a:close/>
              </a:path>
            </a:pathLst>
          </a:custGeom>
        </p:spPr>
        <p:txBody>
          <a:bodyPr wrap="square">
            <a:noAutofit/>
          </a:bodyPr>
          <a:lstStyle/>
          <a:p>
            <a:endParaRPr lang="en-US"/>
          </a:p>
        </p:txBody>
      </p:sp>
    </p:spTree>
    <p:extLst>
      <p:ext uri="{BB962C8B-B14F-4D97-AF65-F5344CB8AC3E}">
        <p14:creationId xmlns:p14="http://schemas.microsoft.com/office/powerpoint/2010/main" val="2700365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9" name="Picture Placeholder 8">
            <a:extLst>
              <a:ext uri="{FF2B5EF4-FFF2-40B4-BE49-F238E27FC236}">
                <a16:creationId xmlns:a16="http://schemas.microsoft.com/office/drawing/2014/main" id="{BB463620-4CD8-1C4A-8B77-C24357E40A8B}"/>
              </a:ext>
            </a:extLst>
          </p:cNvPr>
          <p:cNvSpPr>
            <a:spLocks noGrp="1"/>
          </p:cNvSpPr>
          <p:nvPr>
            <p:ph type="pic" sz="quarter" idx="13"/>
          </p:nvPr>
        </p:nvSpPr>
        <p:spPr>
          <a:xfrm>
            <a:off x="5970650" y="1902144"/>
            <a:ext cx="4534366" cy="4183186"/>
          </a:xfrm>
          <a:custGeom>
            <a:avLst/>
            <a:gdLst>
              <a:gd name="connsiteX0" fmla="*/ 1204532 w 4534366"/>
              <a:gd name="connsiteY0" fmla="*/ 0 h 4183186"/>
              <a:gd name="connsiteX1" fmla="*/ 4534366 w 4534366"/>
              <a:gd name="connsiteY1" fmla="*/ 2694810 h 4183186"/>
              <a:gd name="connsiteX2" fmla="*/ 3329834 w 4534366"/>
              <a:gd name="connsiteY2" fmla="*/ 4183186 h 4183186"/>
              <a:gd name="connsiteX3" fmla="*/ 0 w 4534366"/>
              <a:gd name="connsiteY3" fmla="*/ 1488376 h 4183186"/>
            </a:gdLst>
            <a:ahLst/>
            <a:cxnLst>
              <a:cxn ang="0">
                <a:pos x="connsiteX0" y="connsiteY0"/>
              </a:cxn>
              <a:cxn ang="0">
                <a:pos x="connsiteX1" y="connsiteY1"/>
              </a:cxn>
              <a:cxn ang="0">
                <a:pos x="connsiteX2" y="connsiteY2"/>
              </a:cxn>
              <a:cxn ang="0">
                <a:pos x="connsiteX3" y="connsiteY3"/>
              </a:cxn>
            </a:cxnLst>
            <a:rect l="l" t="t" r="r" b="b"/>
            <a:pathLst>
              <a:path w="4534366" h="4183186">
                <a:moveTo>
                  <a:pt x="1204532" y="0"/>
                </a:moveTo>
                <a:lnTo>
                  <a:pt x="4534366" y="2694810"/>
                </a:lnTo>
                <a:lnTo>
                  <a:pt x="3329834" y="4183186"/>
                </a:lnTo>
                <a:lnTo>
                  <a:pt x="0" y="1488376"/>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E112E0A0-67AE-165D-8DE0-4B1A138BDC80}"/>
              </a:ext>
            </a:extLst>
          </p:cNvPr>
          <p:cNvSpPr>
            <a:spLocks noGrp="1"/>
          </p:cNvSpPr>
          <p:nvPr>
            <p:ph type="pic" sz="quarter" idx="14"/>
          </p:nvPr>
        </p:nvSpPr>
        <p:spPr>
          <a:xfrm>
            <a:off x="9074944" y="1918226"/>
            <a:ext cx="2645837" cy="2654814"/>
          </a:xfrm>
          <a:custGeom>
            <a:avLst/>
            <a:gdLst>
              <a:gd name="connsiteX0" fmla="*/ 1204532 w 2645837"/>
              <a:gd name="connsiteY0" fmla="*/ 0 h 2654814"/>
              <a:gd name="connsiteX1" fmla="*/ 2645837 w 2645837"/>
              <a:gd name="connsiteY1" fmla="*/ 1166438 h 2654814"/>
              <a:gd name="connsiteX2" fmla="*/ 1441305 w 2645837"/>
              <a:gd name="connsiteY2" fmla="*/ 2654814 h 2654814"/>
              <a:gd name="connsiteX3" fmla="*/ 0 w 2645837"/>
              <a:gd name="connsiteY3" fmla="*/ 1488377 h 2654814"/>
            </a:gdLst>
            <a:ahLst/>
            <a:cxnLst>
              <a:cxn ang="0">
                <a:pos x="connsiteX0" y="connsiteY0"/>
              </a:cxn>
              <a:cxn ang="0">
                <a:pos x="connsiteX1" y="connsiteY1"/>
              </a:cxn>
              <a:cxn ang="0">
                <a:pos x="connsiteX2" y="connsiteY2"/>
              </a:cxn>
              <a:cxn ang="0">
                <a:pos x="connsiteX3" y="connsiteY3"/>
              </a:cxn>
            </a:cxnLst>
            <a:rect l="l" t="t" r="r" b="b"/>
            <a:pathLst>
              <a:path w="2645837" h="2654814">
                <a:moveTo>
                  <a:pt x="1204532" y="0"/>
                </a:moveTo>
                <a:lnTo>
                  <a:pt x="2645837" y="1166438"/>
                </a:lnTo>
                <a:lnTo>
                  <a:pt x="1441305" y="2654814"/>
                </a:lnTo>
                <a:lnTo>
                  <a:pt x="0" y="1488377"/>
                </a:lnTo>
                <a:close/>
              </a:path>
            </a:pathLst>
          </a:custGeom>
        </p:spPr>
        <p:txBody>
          <a:bodyPr wrap="square">
            <a:noAutofit/>
          </a:bodyPr>
          <a:lstStyle/>
          <a:p>
            <a:endParaRPr lang="en-US"/>
          </a:p>
        </p:txBody>
      </p:sp>
    </p:spTree>
    <p:extLst>
      <p:ext uri="{BB962C8B-B14F-4D97-AF65-F5344CB8AC3E}">
        <p14:creationId xmlns:p14="http://schemas.microsoft.com/office/powerpoint/2010/main" val="1248219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9" name="Picture Placeholder 8">
            <a:extLst>
              <a:ext uri="{FF2B5EF4-FFF2-40B4-BE49-F238E27FC236}">
                <a16:creationId xmlns:a16="http://schemas.microsoft.com/office/drawing/2014/main" id="{C64DACC7-951D-AF50-6B65-C7D4945A84DF}"/>
              </a:ext>
            </a:extLst>
          </p:cNvPr>
          <p:cNvSpPr>
            <a:spLocks noGrp="1"/>
          </p:cNvSpPr>
          <p:nvPr>
            <p:ph type="pic" sz="quarter" idx="13"/>
          </p:nvPr>
        </p:nvSpPr>
        <p:spPr>
          <a:xfrm>
            <a:off x="585378" y="1701802"/>
            <a:ext cx="3905370" cy="3893277"/>
          </a:xfrm>
          <a:custGeom>
            <a:avLst/>
            <a:gdLst>
              <a:gd name="connsiteX0" fmla="*/ 1718500 w 3905370"/>
              <a:gd name="connsiteY0" fmla="*/ 0 h 3893277"/>
              <a:gd name="connsiteX1" fmla="*/ 3905370 w 3905370"/>
              <a:gd name="connsiteY1" fmla="*/ 1769816 h 3893277"/>
              <a:gd name="connsiteX2" fmla="*/ 2186869 w 3905370"/>
              <a:gd name="connsiteY2" fmla="*/ 3893277 h 3893277"/>
              <a:gd name="connsiteX3" fmla="*/ 0 w 3905370"/>
              <a:gd name="connsiteY3" fmla="*/ 2123460 h 3893277"/>
            </a:gdLst>
            <a:ahLst/>
            <a:cxnLst>
              <a:cxn ang="0">
                <a:pos x="connsiteX0" y="connsiteY0"/>
              </a:cxn>
              <a:cxn ang="0">
                <a:pos x="connsiteX1" y="connsiteY1"/>
              </a:cxn>
              <a:cxn ang="0">
                <a:pos x="connsiteX2" y="connsiteY2"/>
              </a:cxn>
              <a:cxn ang="0">
                <a:pos x="connsiteX3" y="connsiteY3"/>
              </a:cxn>
            </a:cxnLst>
            <a:rect l="l" t="t" r="r" b="b"/>
            <a:pathLst>
              <a:path w="3905370" h="3893277">
                <a:moveTo>
                  <a:pt x="1718500" y="0"/>
                </a:moveTo>
                <a:lnTo>
                  <a:pt x="3905370" y="1769816"/>
                </a:lnTo>
                <a:lnTo>
                  <a:pt x="2186869" y="3893277"/>
                </a:lnTo>
                <a:lnTo>
                  <a:pt x="0" y="2123460"/>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E4B06AA7-D489-61A8-2C44-33388DA4A694}"/>
              </a:ext>
            </a:extLst>
          </p:cNvPr>
          <p:cNvSpPr>
            <a:spLocks noGrp="1"/>
          </p:cNvSpPr>
          <p:nvPr>
            <p:ph type="pic" sz="quarter" idx="14"/>
          </p:nvPr>
        </p:nvSpPr>
        <p:spPr>
          <a:xfrm>
            <a:off x="1800577" y="3510046"/>
            <a:ext cx="4896344" cy="3347955"/>
          </a:xfrm>
          <a:custGeom>
            <a:avLst/>
            <a:gdLst>
              <a:gd name="connsiteX0" fmla="*/ 2709474 w 4896344"/>
              <a:gd name="connsiteY0" fmla="*/ 0 h 3347955"/>
              <a:gd name="connsiteX1" fmla="*/ 4896344 w 4896344"/>
              <a:gd name="connsiteY1" fmla="*/ 1769817 h 3347955"/>
              <a:gd name="connsiteX2" fmla="*/ 3619169 w 4896344"/>
              <a:gd name="connsiteY2" fmla="*/ 3347955 h 3347955"/>
              <a:gd name="connsiteX3" fmla="*/ 0 w 4896344"/>
              <a:gd name="connsiteY3" fmla="*/ 3347955 h 3347955"/>
            </a:gdLst>
            <a:ahLst/>
            <a:cxnLst>
              <a:cxn ang="0">
                <a:pos x="connsiteX0" y="connsiteY0"/>
              </a:cxn>
              <a:cxn ang="0">
                <a:pos x="connsiteX1" y="connsiteY1"/>
              </a:cxn>
              <a:cxn ang="0">
                <a:pos x="connsiteX2" y="connsiteY2"/>
              </a:cxn>
              <a:cxn ang="0">
                <a:pos x="connsiteX3" y="connsiteY3"/>
              </a:cxn>
            </a:cxnLst>
            <a:rect l="l" t="t" r="r" b="b"/>
            <a:pathLst>
              <a:path w="4896344" h="3347955">
                <a:moveTo>
                  <a:pt x="2709474" y="0"/>
                </a:moveTo>
                <a:lnTo>
                  <a:pt x="4896344" y="1769817"/>
                </a:lnTo>
                <a:lnTo>
                  <a:pt x="3619169" y="3347955"/>
                </a:lnTo>
                <a:lnTo>
                  <a:pt x="0" y="3347955"/>
                </a:lnTo>
                <a:close/>
              </a:path>
            </a:pathLst>
          </a:custGeom>
        </p:spPr>
        <p:txBody>
          <a:bodyPr wrap="square">
            <a:noAutofit/>
          </a:bodyPr>
          <a:lstStyle/>
          <a:p>
            <a:endParaRPr lang="en-US"/>
          </a:p>
        </p:txBody>
      </p:sp>
    </p:spTree>
    <p:extLst>
      <p:ext uri="{BB962C8B-B14F-4D97-AF65-F5344CB8AC3E}">
        <p14:creationId xmlns:p14="http://schemas.microsoft.com/office/powerpoint/2010/main" val="910573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3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9E7D9-BBED-0E09-E7B0-88E82DF78B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9E2E83-DE1B-8932-0939-9067D61D99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2420E1-5195-ABE3-4438-2E6006385206}"/>
              </a:ext>
            </a:extLst>
          </p:cNvPr>
          <p:cNvSpPr>
            <a:spLocks noGrp="1"/>
          </p:cNvSpPr>
          <p:nvPr>
            <p:ph type="dt" sz="half" idx="10"/>
          </p:nvPr>
        </p:nvSpPr>
        <p:spPr/>
        <p:txBody>
          <a:bodyPr/>
          <a:lstStyle/>
          <a:p>
            <a:fld id="{9BF25692-07D3-4C6B-BAF6-9D761EAEA627}" type="datetime1">
              <a:rPr lang="en-US" smtClean="0"/>
              <a:t>2023-11-22</a:t>
            </a:fld>
            <a:endParaRPr lang="en-US"/>
          </a:p>
        </p:txBody>
      </p:sp>
      <p:sp>
        <p:nvSpPr>
          <p:cNvPr id="5" name="Footer Placeholder 4">
            <a:extLst>
              <a:ext uri="{FF2B5EF4-FFF2-40B4-BE49-F238E27FC236}">
                <a16:creationId xmlns:a16="http://schemas.microsoft.com/office/drawing/2014/main" id="{973739E4-940E-5640-0444-84954EEBCE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AD3043-B828-43CB-6BC8-EB81216D59E2}"/>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36105912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906DD76-84D0-A8AC-DF94-6113AD6E8215}"/>
              </a:ext>
            </a:extLst>
          </p:cNvPr>
          <p:cNvSpPr>
            <a:spLocks noGrp="1"/>
          </p:cNvSpPr>
          <p:nvPr>
            <p:ph type="pic" sz="quarter" idx="13"/>
          </p:nvPr>
        </p:nvSpPr>
        <p:spPr>
          <a:xfrm>
            <a:off x="1711234" y="1110343"/>
            <a:ext cx="3145364" cy="2553789"/>
          </a:xfrm>
          <a:custGeom>
            <a:avLst/>
            <a:gdLst>
              <a:gd name="connsiteX0" fmla="*/ 0 w 3145364"/>
              <a:gd name="connsiteY0" fmla="*/ 0 h 2553789"/>
              <a:gd name="connsiteX1" fmla="*/ 3145364 w 3145364"/>
              <a:gd name="connsiteY1" fmla="*/ 0 h 2553789"/>
              <a:gd name="connsiteX2" fmla="*/ 3145364 w 3145364"/>
              <a:gd name="connsiteY2" fmla="*/ 2553789 h 2553789"/>
              <a:gd name="connsiteX3" fmla="*/ 0 w 3145364"/>
              <a:gd name="connsiteY3" fmla="*/ 2553789 h 2553789"/>
            </a:gdLst>
            <a:ahLst/>
            <a:cxnLst>
              <a:cxn ang="0">
                <a:pos x="connsiteX0" y="connsiteY0"/>
              </a:cxn>
              <a:cxn ang="0">
                <a:pos x="connsiteX1" y="connsiteY1"/>
              </a:cxn>
              <a:cxn ang="0">
                <a:pos x="connsiteX2" y="connsiteY2"/>
              </a:cxn>
              <a:cxn ang="0">
                <a:pos x="connsiteX3" y="connsiteY3"/>
              </a:cxn>
            </a:cxnLst>
            <a:rect l="l" t="t" r="r" b="b"/>
            <a:pathLst>
              <a:path w="3145364" h="2553789">
                <a:moveTo>
                  <a:pt x="0" y="0"/>
                </a:moveTo>
                <a:lnTo>
                  <a:pt x="3145364" y="0"/>
                </a:lnTo>
                <a:lnTo>
                  <a:pt x="3145364" y="2553789"/>
                </a:lnTo>
                <a:lnTo>
                  <a:pt x="0" y="2553789"/>
                </a:lnTo>
                <a:close/>
              </a:path>
            </a:pathLst>
          </a:custGeom>
        </p:spPr>
        <p:txBody>
          <a:bodyPr wrap="square">
            <a:noAutofit/>
          </a:bodyPr>
          <a:lstStyle/>
          <a:p>
            <a:endParaRPr lang="en-US"/>
          </a:p>
        </p:txBody>
      </p:sp>
      <p:sp>
        <p:nvSpPr>
          <p:cNvPr id="11" name="Picture Placeholder 10">
            <a:extLst>
              <a:ext uri="{FF2B5EF4-FFF2-40B4-BE49-F238E27FC236}">
                <a16:creationId xmlns:a16="http://schemas.microsoft.com/office/drawing/2014/main" id="{CA726E7E-36A0-2D5C-424E-226323E3E6F7}"/>
              </a:ext>
            </a:extLst>
          </p:cNvPr>
          <p:cNvSpPr>
            <a:spLocks noGrp="1"/>
          </p:cNvSpPr>
          <p:nvPr>
            <p:ph type="pic" sz="quarter" idx="14"/>
          </p:nvPr>
        </p:nvSpPr>
        <p:spPr>
          <a:xfrm>
            <a:off x="8001961" y="1110343"/>
            <a:ext cx="3145364" cy="2553789"/>
          </a:xfrm>
          <a:custGeom>
            <a:avLst/>
            <a:gdLst>
              <a:gd name="connsiteX0" fmla="*/ 0 w 3145364"/>
              <a:gd name="connsiteY0" fmla="*/ 0 h 2553789"/>
              <a:gd name="connsiteX1" fmla="*/ 3145364 w 3145364"/>
              <a:gd name="connsiteY1" fmla="*/ 0 h 2553789"/>
              <a:gd name="connsiteX2" fmla="*/ 3145364 w 3145364"/>
              <a:gd name="connsiteY2" fmla="*/ 2553789 h 2553789"/>
              <a:gd name="connsiteX3" fmla="*/ 0 w 3145364"/>
              <a:gd name="connsiteY3" fmla="*/ 2553789 h 2553789"/>
            </a:gdLst>
            <a:ahLst/>
            <a:cxnLst>
              <a:cxn ang="0">
                <a:pos x="connsiteX0" y="connsiteY0"/>
              </a:cxn>
              <a:cxn ang="0">
                <a:pos x="connsiteX1" y="connsiteY1"/>
              </a:cxn>
              <a:cxn ang="0">
                <a:pos x="connsiteX2" y="connsiteY2"/>
              </a:cxn>
              <a:cxn ang="0">
                <a:pos x="connsiteX3" y="connsiteY3"/>
              </a:cxn>
            </a:cxnLst>
            <a:rect l="l" t="t" r="r" b="b"/>
            <a:pathLst>
              <a:path w="3145364" h="2553789">
                <a:moveTo>
                  <a:pt x="0" y="0"/>
                </a:moveTo>
                <a:lnTo>
                  <a:pt x="3145364" y="0"/>
                </a:lnTo>
                <a:lnTo>
                  <a:pt x="3145364" y="2553789"/>
                </a:lnTo>
                <a:lnTo>
                  <a:pt x="0" y="2553789"/>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6C730A30-B34C-F195-7577-5A076B88CA0D}"/>
              </a:ext>
            </a:extLst>
          </p:cNvPr>
          <p:cNvSpPr>
            <a:spLocks noGrp="1"/>
          </p:cNvSpPr>
          <p:nvPr>
            <p:ph type="pic" sz="quarter" idx="15"/>
          </p:nvPr>
        </p:nvSpPr>
        <p:spPr>
          <a:xfrm>
            <a:off x="4856598" y="3664132"/>
            <a:ext cx="3145364" cy="2553789"/>
          </a:xfrm>
          <a:custGeom>
            <a:avLst/>
            <a:gdLst>
              <a:gd name="connsiteX0" fmla="*/ 0 w 3145364"/>
              <a:gd name="connsiteY0" fmla="*/ 0 h 2553789"/>
              <a:gd name="connsiteX1" fmla="*/ 3145364 w 3145364"/>
              <a:gd name="connsiteY1" fmla="*/ 0 h 2553789"/>
              <a:gd name="connsiteX2" fmla="*/ 3145364 w 3145364"/>
              <a:gd name="connsiteY2" fmla="*/ 2553789 h 2553789"/>
              <a:gd name="connsiteX3" fmla="*/ 0 w 3145364"/>
              <a:gd name="connsiteY3" fmla="*/ 2553789 h 2553789"/>
            </a:gdLst>
            <a:ahLst/>
            <a:cxnLst>
              <a:cxn ang="0">
                <a:pos x="connsiteX0" y="connsiteY0"/>
              </a:cxn>
              <a:cxn ang="0">
                <a:pos x="connsiteX1" y="connsiteY1"/>
              </a:cxn>
              <a:cxn ang="0">
                <a:pos x="connsiteX2" y="connsiteY2"/>
              </a:cxn>
              <a:cxn ang="0">
                <a:pos x="connsiteX3" y="connsiteY3"/>
              </a:cxn>
            </a:cxnLst>
            <a:rect l="l" t="t" r="r" b="b"/>
            <a:pathLst>
              <a:path w="3145364" h="2553789">
                <a:moveTo>
                  <a:pt x="0" y="0"/>
                </a:moveTo>
                <a:lnTo>
                  <a:pt x="3145364" y="0"/>
                </a:lnTo>
                <a:lnTo>
                  <a:pt x="3145364" y="2553789"/>
                </a:lnTo>
                <a:lnTo>
                  <a:pt x="0" y="2553789"/>
                </a:lnTo>
                <a:close/>
              </a:path>
            </a:pathLst>
          </a:custGeom>
        </p:spPr>
        <p:txBody>
          <a:bodyPr wrap="square">
            <a:noAutofit/>
          </a:bodyPr>
          <a:lstStyle/>
          <a:p>
            <a:endParaRPr lang="en-US"/>
          </a:p>
        </p:txBody>
      </p:sp>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3890232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8" name="Picture Placeholder 7">
            <a:extLst>
              <a:ext uri="{FF2B5EF4-FFF2-40B4-BE49-F238E27FC236}">
                <a16:creationId xmlns:a16="http://schemas.microsoft.com/office/drawing/2014/main" id="{8C23FB90-6C52-2B69-508B-706604CED46D}"/>
              </a:ext>
            </a:extLst>
          </p:cNvPr>
          <p:cNvSpPr>
            <a:spLocks noGrp="1"/>
          </p:cNvSpPr>
          <p:nvPr>
            <p:ph type="pic" sz="quarter" idx="13"/>
          </p:nvPr>
        </p:nvSpPr>
        <p:spPr>
          <a:xfrm>
            <a:off x="0" y="1698172"/>
            <a:ext cx="12192000" cy="3030583"/>
          </a:xfrm>
          <a:custGeom>
            <a:avLst/>
            <a:gdLst>
              <a:gd name="connsiteX0" fmla="*/ 0 w 12192000"/>
              <a:gd name="connsiteY0" fmla="*/ 0 h 3030583"/>
              <a:gd name="connsiteX1" fmla="*/ 12192000 w 12192000"/>
              <a:gd name="connsiteY1" fmla="*/ 0 h 3030583"/>
              <a:gd name="connsiteX2" fmla="*/ 12192000 w 12192000"/>
              <a:gd name="connsiteY2" fmla="*/ 3030583 h 3030583"/>
              <a:gd name="connsiteX3" fmla="*/ 0 w 12192000"/>
              <a:gd name="connsiteY3" fmla="*/ 3030583 h 3030583"/>
            </a:gdLst>
            <a:ahLst/>
            <a:cxnLst>
              <a:cxn ang="0">
                <a:pos x="connsiteX0" y="connsiteY0"/>
              </a:cxn>
              <a:cxn ang="0">
                <a:pos x="connsiteX1" y="connsiteY1"/>
              </a:cxn>
              <a:cxn ang="0">
                <a:pos x="connsiteX2" y="connsiteY2"/>
              </a:cxn>
              <a:cxn ang="0">
                <a:pos x="connsiteX3" y="connsiteY3"/>
              </a:cxn>
            </a:cxnLst>
            <a:rect l="l" t="t" r="r" b="b"/>
            <a:pathLst>
              <a:path w="12192000" h="3030583">
                <a:moveTo>
                  <a:pt x="0" y="0"/>
                </a:moveTo>
                <a:lnTo>
                  <a:pt x="12192000" y="0"/>
                </a:lnTo>
                <a:lnTo>
                  <a:pt x="12192000" y="3030583"/>
                </a:lnTo>
                <a:lnTo>
                  <a:pt x="0" y="3030583"/>
                </a:lnTo>
                <a:close/>
              </a:path>
            </a:pathLst>
          </a:custGeom>
        </p:spPr>
        <p:txBody>
          <a:bodyPr wrap="square">
            <a:noAutofit/>
          </a:bodyPr>
          <a:lstStyle/>
          <a:p>
            <a:endParaRPr lang="en-US"/>
          </a:p>
        </p:txBody>
      </p:sp>
    </p:spTree>
    <p:extLst>
      <p:ext uri="{BB962C8B-B14F-4D97-AF65-F5344CB8AC3E}">
        <p14:creationId xmlns:p14="http://schemas.microsoft.com/office/powerpoint/2010/main" val="780116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8" name="Picture Placeholder 7">
            <a:extLst>
              <a:ext uri="{FF2B5EF4-FFF2-40B4-BE49-F238E27FC236}">
                <a16:creationId xmlns:a16="http://schemas.microsoft.com/office/drawing/2014/main" id="{F0254BA6-53CA-ED91-CF9B-001EDCCBD923}"/>
              </a:ext>
            </a:extLst>
          </p:cNvPr>
          <p:cNvSpPr>
            <a:spLocks noGrp="1"/>
          </p:cNvSpPr>
          <p:nvPr>
            <p:ph type="pic" sz="quarter" idx="13"/>
          </p:nvPr>
        </p:nvSpPr>
        <p:spPr>
          <a:xfrm>
            <a:off x="5307874" y="1515937"/>
            <a:ext cx="1576252" cy="1576252"/>
          </a:xfrm>
          <a:custGeom>
            <a:avLst/>
            <a:gdLst>
              <a:gd name="connsiteX0" fmla="*/ 788126 w 1576252"/>
              <a:gd name="connsiteY0" fmla="*/ 0 h 1576252"/>
              <a:gd name="connsiteX1" fmla="*/ 1576252 w 1576252"/>
              <a:gd name="connsiteY1" fmla="*/ 788126 h 1576252"/>
              <a:gd name="connsiteX2" fmla="*/ 788126 w 1576252"/>
              <a:gd name="connsiteY2" fmla="*/ 1576252 h 1576252"/>
              <a:gd name="connsiteX3" fmla="*/ 0 w 1576252"/>
              <a:gd name="connsiteY3" fmla="*/ 788126 h 1576252"/>
              <a:gd name="connsiteX4" fmla="*/ 788126 w 1576252"/>
              <a:gd name="connsiteY4" fmla="*/ 0 h 157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252" h="1576252">
                <a:moveTo>
                  <a:pt x="788126" y="0"/>
                </a:moveTo>
                <a:cubicBezTo>
                  <a:pt x="1223396" y="0"/>
                  <a:pt x="1576252" y="352856"/>
                  <a:pt x="1576252" y="788126"/>
                </a:cubicBezTo>
                <a:cubicBezTo>
                  <a:pt x="1576252" y="1223396"/>
                  <a:pt x="1223396" y="1576252"/>
                  <a:pt x="788126" y="1576252"/>
                </a:cubicBezTo>
                <a:cubicBezTo>
                  <a:pt x="352856" y="1576252"/>
                  <a:pt x="0" y="1223396"/>
                  <a:pt x="0" y="788126"/>
                </a:cubicBezTo>
                <a:cubicBezTo>
                  <a:pt x="0" y="352856"/>
                  <a:pt x="352856" y="0"/>
                  <a:pt x="788126"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35151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8" name="Picture Placeholder 7">
            <a:extLst>
              <a:ext uri="{FF2B5EF4-FFF2-40B4-BE49-F238E27FC236}">
                <a16:creationId xmlns:a16="http://schemas.microsoft.com/office/drawing/2014/main" id="{E00BC489-67FC-2A26-A3B2-C34F3E6D522B}"/>
              </a:ext>
            </a:extLst>
          </p:cNvPr>
          <p:cNvSpPr>
            <a:spLocks noGrp="1"/>
          </p:cNvSpPr>
          <p:nvPr>
            <p:ph type="pic" sz="quarter" idx="13"/>
          </p:nvPr>
        </p:nvSpPr>
        <p:spPr>
          <a:xfrm>
            <a:off x="5702175" y="1711459"/>
            <a:ext cx="5750129" cy="4183186"/>
          </a:xfrm>
          <a:custGeom>
            <a:avLst/>
            <a:gdLst>
              <a:gd name="connsiteX0" fmla="*/ 4308824 w 5750129"/>
              <a:gd name="connsiteY0" fmla="*/ 16082 h 4183186"/>
              <a:gd name="connsiteX1" fmla="*/ 5750129 w 5750129"/>
              <a:gd name="connsiteY1" fmla="*/ 1182519 h 4183186"/>
              <a:gd name="connsiteX2" fmla="*/ 4545597 w 5750129"/>
              <a:gd name="connsiteY2" fmla="*/ 2670896 h 4183186"/>
              <a:gd name="connsiteX3" fmla="*/ 3104293 w 5750129"/>
              <a:gd name="connsiteY3" fmla="*/ 1504459 h 4183186"/>
              <a:gd name="connsiteX4" fmla="*/ 1204531 w 5750129"/>
              <a:gd name="connsiteY4" fmla="*/ 0 h 4183186"/>
              <a:gd name="connsiteX5" fmla="*/ 4534365 w 5750129"/>
              <a:gd name="connsiteY5" fmla="*/ 2694810 h 4183186"/>
              <a:gd name="connsiteX6" fmla="*/ 3329834 w 5750129"/>
              <a:gd name="connsiteY6" fmla="*/ 4183186 h 4183186"/>
              <a:gd name="connsiteX7" fmla="*/ 0 w 5750129"/>
              <a:gd name="connsiteY7" fmla="*/ 1488376 h 41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0129" h="4183186">
                <a:moveTo>
                  <a:pt x="4308824" y="16082"/>
                </a:moveTo>
                <a:lnTo>
                  <a:pt x="5750129" y="1182519"/>
                </a:lnTo>
                <a:lnTo>
                  <a:pt x="4545597" y="2670896"/>
                </a:lnTo>
                <a:lnTo>
                  <a:pt x="3104293" y="1504459"/>
                </a:lnTo>
                <a:close/>
                <a:moveTo>
                  <a:pt x="1204531" y="0"/>
                </a:moveTo>
                <a:lnTo>
                  <a:pt x="4534365" y="2694810"/>
                </a:lnTo>
                <a:lnTo>
                  <a:pt x="3329834" y="4183186"/>
                </a:lnTo>
                <a:lnTo>
                  <a:pt x="0" y="1488376"/>
                </a:lnTo>
                <a:close/>
              </a:path>
            </a:pathLst>
          </a:custGeom>
        </p:spPr>
        <p:txBody>
          <a:bodyPr wrap="square">
            <a:noAutofit/>
          </a:bodyPr>
          <a:lstStyle/>
          <a:p>
            <a:endParaRPr lang="en-US"/>
          </a:p>
        </p:txBody>
      </p:sp>
    </p:spTree>
    <p:extLst>
      <p:ext uri="{BB962C8B-B14F-4D97-AF65-F5344CB8AC3E}">
        <p14:creationId xmlns:p14="http://schemas.microsoft.com/office/powerpoint/2010/main" val="19945773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9A53CAB9-6D7A-4453-A5F7-120AC74EC48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9" name="Picture Placeholder 8">
            <a:extLst>
              <a:ext uri="{FF2B5EF4-FFF2-40B4-BE49-F238E27FC236}">
                <a16:creationId xmlns:a16="http://schemas.microsoft.com/office/drawing/2014/main" id="{58359209-4C38-4259-031E-AF47FF6E891D}"/>
              </a:ext>
            </a:extLst>
          </p:cNvPr>
          <p:cNvSpPr>
            <a:spLocks noGrp="1"/>
          </p:cNvSpPr>
          <p:nvPr>
            <p:ph type="pic" sz="quarter" idx="13"/>
          </p:nvPr>
        </p:nvSpPr>
        <p:spPr>
          <a:xfrm>
            <a:off x="6911038" y="842406"/>
            <a:ext cx="4629955" cy="4326206"/>
          </a:xfrm>
          <a:custGeom>
            <a:avLst/>
            <a:gdLst>
              <a:gd name="connsiteX0" fmla="*/ 1447933 w 4629955"/>
              <a:gd name="connsiteY0" fmla="*/ 0 h 4326206"/>
              <a:gd name="connsiteX1" fmla="*/ 4629955 w 4629955"/>
              <a:gd name="connsiteY1" fmla="*/ 2430793 h 4326206"/>
              <a:gd name="connsiteX2" fmla="*/ 3182022 w 4629955"/>
              <a:gd name="connsiteY2" fmla="*/ 4326206 h 4326206"/>
              <a:gd name="connsiteX3" fmla="*/ 0 w 4629955"/>
              <a:gd name="connsiteY3" fmla="*/ 1895412 h 4326206"/>
            </a:gdLst>
            <a:ahLst/>
            <a:cxnLst>
              <a:cxn ang="0">
                <a:pos x="connsiteX0" y="connsiteY0"/>
              </a:cxn>
              <a:cxn ang="0">
                <a:pos x="connsiteX1" y="connsiteY1"/>
              </a:cxn>
              <a:cxn ang="0">
                <a:pos x="connsiteX2" y="connsiteY2"/>
              </a:cxn>
              <a:cxn ang="0">
                <a:pos x="connsiteX3" y="connsiteY3"/>
              </a:cxn>
            </a:cxnLst>
            <a:rect l="l" t="t" r="r" b="b"/>
            <a:pathLst>
              <a:path w="4629955" h="4326206">
                <a:moveTo>
                  <a:pt x="1447933" y="0"/>
                </a:moveTo>
                <a:lnTo>
                  <a:pt x="4629955" y="2430793"/>
                </a:lnTo>
                <a:lnTo>
                  <a:pt x="3182022" y="4326206"/>
                </a:lnTo>
                <a:lnTo>
                  <a:pt x="0" y="1895412"/>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901EC4B9-58D7-56FA-08B8-240E5F39ADEA}"/>
              </a:ext>
            </a:extLst>
          </p:cNvPr>
          <p:cNvSpPr>
            <a:spLocks noGrp="1"/>
          </p:cNvSpPr>
          <p:nvPr>
            <p:ph type="pic" sz="quarter" idx="14"/>
          </p:nvPr>
        </p:nvSpPr>
        <p:spPr>
          <a:xfrm>
            <a:off x="5591529" y="1723504"/>
            <a:ext cx="5951678" cy="5134497"/>
          </a:xfrm>
          <a:custGeom>
            <a:avLst/>
            <a:gdLst>
              <a:gd name="connsiteX0" fmla="*/ 3922317 w 5951678"/>
              <a:gd name="connsiteY0" fmla="*/ 0 h 5134497"/>
              <a:gd name="connsiteX1" fmla="*/ 5951678 w 5951678"/>
              <a:gd name="connsiteY1" fmla="*/ 1550258 h 5134497"/>
              <a:gd name="connsiteX2" fmla="*/ 3213626 w 5951678"/>
              <a:gd name="connsiteY2" fmla="*/ 5134497 h 5134497"/>
              <a:gd name="connsiteX3" fmla="*/ 0 w 5951678"/>
              <a:gd name="connsiteY3" fmla="*/ 5134497 h 5134497"/>
            </a:gdLst>
            <a:ahLst/>
            <a:cxnLst>
              <a:cxn ang="0">
                <a:pos x="connsiteX0" y="connsiteY0"/>
              </a:cxn>
              <a:cxn ang="0">
                <a:pos x="connsiteX1" y="connsiteY1"/>
              </a:cxn>
              <a:cxn ang="0">
                <a:pos x="connsiteX2" y="connsiteY2"/>
              </a:cxn>
              <a:cxn ang="0">
                <a:pos x="connsiteX3" y="connsiteY3"/>
              </a:cxn>
            </a:cxnLst>
            <a:rect l="l" t="t" r="r" b="b"/>
            <a:pathLst>
              <a:path w="5951678" h="5134497">
                <a:moveTo>
                  <a:pt x="3922317" y="0"/>
                </a:moveTo>
                <a:lnTo>
                  <a:pt x="5951678" y="1550258"/>
                </a:lnTo>
                <a:lnTo>
                  <a:pt x="3213626" y="5134497"/>
                </a:lnTo>
                <a:lnTo>
                  <a:pt x="0" y="5134497"/>
                </a:lnTo>
                <a:close/>
              </a:path>
            </a:pathLst>
          </a:custGeom>
        </p:spPr>
        <p:txBody>
          <a:bodyPr wrap="square">
            <a:noAutofit/>
          </a:bodyPr>
          <a:lstStyle/>
          <a:p>
            <a:endParaRPr lang="en-US"/>
          </a:p>
        </p:txBody>
      </p:sp>
    </p:spTree>
    <p:extLst>
      <p:ext uri="{BB962C8B-B14F-4D97-AF65-F5344CB8AC3E}">
        <p14:creationId xmlns:p14="http://schemas.microsoft.com/office/powerpoint/2010/main" val="15277146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AD87FE23-C094-43AB-9293-49DC654E0AFE}"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
        <p:nvSpPr>
          <p:cNvPr id="8" name="Picture Placeholder 7">
            <a:extLst>
              <a:ext uri="{FF2B5EF4-FFF2-40B4-BE49-F238E27FC236}">
                <a16:creationId xmlns:a16="http://schemas.microsoft.com/office/drawing/2014/main" id="{A27E8661-E6E1-8AD7-D216-9DDE32EF1610}"/>
              </a:ext>
            </a:extLst>
          </p:cNvPr>
          <p:cNvSpPr>
            <a:spLocks noGrp="1"/>
          </p:cNvSpPr>
          <p:nvPr>
            <p:ph type="pic" sz="quarter" idx="13"/>
          </p:nvPr>
        </p:nvSpPr>
        <p:spPr>
          <a:xfrm>
            <a:off x="5951067" y="1240428"/>
            <a:ext cx="4377146" cy="4377147"/>
          </a:xfrm>
          <a:custGeom>
            <a:avLst/>
            <a:gdLst>
              <a:gd name="connsiteX0" fmla="*/ 1061236 w 4377146"/>
              <a:gd name="connsiteY0" fmla="*/ 0 h 4377147"/>
              <a:gd name="connsiteX1" fmla="*/ 2188573 w 4377146"/>
              <a:gd name="connsiteY1" fmla="*/ 1127338 h 4377147"/>
              <a:gd name="connsiteX2" fmla="*/ 3315911 w 4377146"/>
              <a:gd name="connsiteY2" fmla="*/ 0 h 4377147"/>
              <a:gd name="connsiteX3" fmla="*/ 4377146 w 4377146"/>
              <a:gd name="connsiteY3" fmla="*/ 1061236 h 4377147"/>
              <a:gd name="connsiteX4" fmla="*/ 3249809 w 4377146"/>
              <a:gd name="connsiteY4" fmla="*/ 2188573 h 4377147"/>
              <a:gd name="connsiteX5" fmla="*/ 4377146 w 4377146"/>
              <a:gd name="connsiteY5" fmla="*/ 3315911 h 4377147"/>
              <a:gd name="connsiteX6" fmla="*/ 3315911 w 4377146"/>
              <a:gd name="connsiteY6" fmla="*/ 4377147 h 4377147"/>
              <a:gd name="connsiteX7" fmla="*/ 2188573 w 4377146"/>
              <a:gd name="connsiteY7" fmla="*/ 3249809 h 4377147"/>
              <a:gd name="connsiteX8" fmla="*/ 1061236 w 4377146"/>
              <a:gd name="connsiteY8" fmla="*/ 4377147 h 4377147"/>
              <a:gd name="connsiteX9" fmla="*/ 0 w 4377146"/>
              <a:gd name="connsiteY9" fmla="*/ 3315911 h 4377147"/>
              <a:gd name="connsiteX10" fmla="*/ 1127337 w 4377146"/>
              <a:gd name="connsiteY10" fmla="*/ 2188573 h 4377147"/>
              <a:gd name="connsiteX11" fmla="*/ 0 w 4377146"/>
              <a:gd name="connsiteY11" fmla="*/ 1061236 h 437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146" h="4377147">
                <a:moveTo>
                  <a:pt x="1061236" y="0"/>
                </a:moveTo>
                <a:lnTo>
                  <a:pt x="2188573" y="1127338"/>
                </a:lnTo>
                <a:lnTo>
                  <a:pt x="3315911" y="0"/>
                </a:lnTo>
                <a:lnTo>
                  <a:pt x="4377146" y="1061236"/>
                </a:lnTo>
                <a:lnTo>
                  <a:pt x="3249809" y="2188573"/>
                </a:lnTo>
                <a:lnTo>
                  <a:pt x="4377146" y="3315911"/>
                </a:lnTo>
                <a:lnTo>
                  <a:pt x="3315911" y="4377147"/>
                </a:lnTo>
                <a:lnTo>
                  <a:pt x="2188573" y="3249809"/>
                </a:lnTo>
                <a:lnTo>
                  <a:pt x="1061236" y="4377147"/>
                </a:lnTo>
                <a:lnTo>
                  <a:pt x="0" y="3315911"/>
                </a:lnTo>
                <a:lnTo>
                  <a:pt x="1127337" y="2188573"/>
                </a:lnTo>
                <a:lnTo>
                  <a:pt x="0" y="1061236"/>
                </a:lnTo>
                <a:close/>
              </a:path>
            </a:pathLst>
          </a:custGeom>
        </p:spPr>
        <p:txBody>
          <a:bodyPr wrap="square">
            <a:noAutofit/>
          </a:bodyPr>
          <a:lstStyle/>
          <a:p>
            <a:endParaRPr lang="en-US"/>
          </a:p>
        </p:txBody>
      </p:sp>
    </p:spTree>
    <p:extLst>
      <p:ext uri="{BB962C8B-B14F-4D97-AF65-F5344CB8AC3E}">
        <p14:creationId xmlns:p14="http://schemas.microsoft.com/office/powerpoint/2010/main" val="15732460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DFEA7-551F-A8A0-0C11-68AC298618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EDF7649-02B1-D433-5763-7E93B3111CE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8D5261-ADB7-D698-64E0-B505864ECE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94375F-743A-1A46-4262-12141BC9E40F}"/>
              </a:ext>
            </a:extLst>
          </p:cNvPr>
          <p:cNvSpPr>
            <a:spLocks noGrp="1"/>
          </p:cNvSpPr>
          <p:nvPr>
            <p:ph type="dt" sz="half" idx="10"/>
          </p:nvPr>
        </p:nvSpPr>
        <p:spPr/>
        <p:txBody>
          <a:bodyPr/>
          <a:lstStyle/>
          <a:p>
            <a:fld id="{3B3A2D25-BBA6-4569-A769-664EB449D249}" type="datetime1">
              <a:rPr lang="en-US" smtClean="0"/>
              <a:t>2023-11-22</a:t>
            </a:fld>
            <a:endParaRPr lang="en-US"/>
          </a:p>
        </p:txBody>
      </p:sp>
      <p:sp>
        <p:nvSpPr>
          <p:cNvPr id="6" name="Footer Placeholder 5">
            <a:extLst>
              <a:ext uri="{FF2B5EF4-FFF2-40B4-BE49-F238E27FC236}">
                <a16:creationId xmlns:a16="http://schemas.microsoft.com/office/drawing/2014/main" id="{96032EBF-E77C-ED36-1336-730CA58071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86C609-64B5-85A5-05FA-DF8AB537DF35}"/>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37231835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D4FCD-2C7A-C440-E644-2341B6B060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CBEB26-BC73-E1A1-63A3-CAEE7B7EC0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143E51-9A1E-0A0D-3485-1B60EE55B55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71EE65-DD5C-0663-6B55-58D6B249C7CD}"/>
              </a:ext>
            </a:extLst>
          </p:cNvPr>
          <p:cNvSpPr>
            <a:spLocks noGrp="1"/>
          </p:cNvSpPr>
          <p:nvPr>
            <p:ph type="dt" sz="half" idx="10"/>
          </p:nvPr>
        </p:nvSpPr>
        <p:spPr/>
        <p:txBody>
          <a:bodyPr/>
          <a:lstStyle/>
          <a:p>
            <a:fld id="{06DEB315-4085-40C7-AEA8-1B302ADB8E1E}" type="datetime1">
              <a:rPr lang="en-US" smtClean="0"/>
              <a:t>2023-11-22</a:t>
            </a:fld>
            <a:endParaRPr lang="en-US"/>
          </a:p>
        </p:txBody>
      </p:sp>
      <p:sp>
        <p:nvSpPr>
          <p:cNvPr id="6" name="Footer Placeholder 5">
            <a:extLst>
              <a:ext uri="{FF2B5EF4-FFF2-40B4-BE49-F238E27FC236}">
                <a16:creationId xmlns:a16="http://schemas.microsoft.com/office/drawing/2014/main" id="{B83F821B-5731-4F9F-4B26-3949E21B7D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BB8D5B-1F34-4A57-8F6E-AFFDF5FAE861}"/>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24623139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213A-F070-A189-A416-F3DDEF455B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4D1E930-9FA3-6D43-EF0D-4B8B0F264D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63E09D-8540-5141-C729-642FF309CB73}"/>
              </a:ext>
            </a:extLst>
          </p:cNvPr>
          <p:cNvSpPr>
            <a:spLocks noGrp="1"/>
          </p:cNvSpPr>
          <p:nvPr>
            <p:ph type="dt" sz="half" idx="10"/>
          </p:nvPr>
        </p:nvSpPr>
        <p:spPr/>
        <p:txBody>
          <a:bodyPr/>
          <a:lstStyle/>
          <a:p>
            <a:fld id="{68279DFF-F2E4-4250-BB52-9FE2EF883DF0}" type="datetime1">
              <a:rPr lang="en-US" smtClean="0"/>
              <a:t>2023-11-22</a:t>
            </a:fld>
            <a:endParaRPr lang="en-US"/>
          </a:p>
        </p:txBody>
      </p:sp>
      <p:sp>
        <p:nvSpPr>
          <p:cNvPr id="5" name="Footer Placeholder 4">
            <a:extLst>
              <a:ext uri="{FF2B5EF4-FFF2-40B4-BE49-F238E27FC236}">
                <a16:creationId xmlns:a16="http://schemas.microsoft.com/office/drawing/2014/main" id="{5D20D81E-7ED5-BEA2-31FC-034A02107B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028AB2-AEEE-732E-C1D1-DBB63FA33727}"/>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1512234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236474-EBE4-16DB-4A2A-AE91168236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824EB24-A25F-B03C-9939-A3FB6C6B778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8E6A9B-027E-2B26-2301-33316A1F842B}"/>
              </a:ext>
            </a:extLst>
          </p:cNvPr>
          <p:cNvSpPr>
            <a:spLocks noGrp="1"/>
          </p:cNvSpPr>
          <p:nvPr>
            <p:ph type="dt" sz="half" idx="10"/>
          </p:nvPr>
        </p:nvSpPr>
        <p:spPr/>
        <p:txBody>
          <a:bodyPr/>
          <a:lstStyle/>
          <a:p>
            <a:fld id="{59BE544F-4E15-46CA-BDAD-069E2A29C667}" type="datetime1">
              <a:rPr lang="en-US" smtClean="0"/>
              <a:t>2023-11-22</a:t>
            </a:fld>
            <a:endParaRPr lang="en-US"/>
          </a:p>
        </p:txBody>
      </p:sp>
      <p:sp>
        <p:nvSpPr>
          <p:cNvPr id="5" name="Footer Placeholder 4">
            <a:extLst>
              <a:ext uri="{FF2B5EF4-FFF2-40B4-BE49-F238E27FC236}">
                <a16:creationId xmlns:a16="http://schemas.microsoft.com/office/drawing/2014/main" id="{695CD5F5-78DD-DF00-798E-66A80BB625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9E0719-0C81-3C1B-AB2D-A77EABFB91E2}"/>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2185269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E41DB-8503-9450-23F2-7F02CEB568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84EEF0-2100-A242-48AB-4E0B90D95E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4F371E-92B4-2F28-666C-3E2A63E9BDAC}"/>
              </a:ext>
            </a:extLst>
          </p:cNvPr>
          <p:cNvSpPr>
            <a:spLocks noGrp="1"/>
          </p:cNvSpPr>
          <p:nvPr>
            <p:ph type="dt" sz="half" idx="10"/>
          </p:nvPr>
        </p:nvSpPr>
        <p:spPr/>
        <p:txBody>
          <a:bodyPr/>
          <a:lstStyle/>
          <a:p>
            <a:fld id="{650F1131-0DDB-4313-AD82-2AA0ECE74CF0}" type="datetime1">
              <a:rPr lang="en-US" smtClean="0"/>
              <a:t>2023-11-22</a:t>
            </a:fld>
            <a:endParaRPr lang="en-US"/>
          </a:p>
        </p:txBody>
      </p:sp>
      <p:sp>
        <p:nvSpPr>
          <p:cNvPr id="5" name="Footer Placeholder 4">
            <a:extLst>
              <a:ext uri="{FF2B5EF4-FFF2-40B4-BE49-F238E27FC236}">
                <a16:creationId xmlns:a16="http://schemas.microsoft.com/office/drawing/2014/main" id="{CD23F9D9-B4A6-F15E-6194-D54EA39EA6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C28913-BEE0-80A9-500D-1177DCD07BE1}"/>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516683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ABA7E06-2E30-54F9-4B03-CAB1AEBF69C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CC3159-75E9-463C-B1F9-3FF9AE48FCC4}" type="datetime1">
              <a:rPr kumimoji="0" lang="en-US" sz="800" b="0" i="0" u="none" strike="noStrike" kern="1200" cap="none" spc="0" normalizeH="0" baseline="0" noProof="0" smtClean="0">
                <a:ln>
                  <a:noFill/>
                </a:ln>
                <a:solidFill>
                  <a:prstClr val="black">
                    <a:tint val="75000"/>
                  </a:prstClr>
                </a:solidFill>
                <a:effectLst/>
                <a:uLnTx/>
                <a:uFillTx/>
                <a:latin typeface="Jos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1-22</a:t>
            </a:fld>
            <a:endParaRPr kumimoji="0" lang="en-US" sz="800" b="0" i="0" u="none" strike="noStrike" kern="1200" cap="none" spc="0" normalizeH="0" baseline="0" noProof="0">
              <a:ln>
                <a:noFill/>
              </a:ln>
              <a:solidFill>
                <a:prstClr val="black">
                  <a:tint val="75000"/>
                </a:prstClr>
              </a:solidFill>
              <a:effectLst/>
              <a:uLnTx/>
              <a:uFillTx/>
              <a:latin typeface="Jost"/>
              <a:ea typeface="+mn-ea"/>
              <a:cs typeface="+mn-cs"/>
            </a:endParaRPr>
          </a:p>
        </p:txBody>
      </p:sp>
      <p:sp>
        <p:nvSpPr>
          <p:cNvPr id="4" name="Footer Placeholder 3">
            <a:extLst>
              <a:ext uri="{FF2B5EF4-FFF2-40B4-BE49-F238E27FC236}">
                <a16:creationId xmlns:a16="http://schemas.microsoft.com/office/drawing/2014/main" id="{1CAA9A4E-6A89-EAA5-249E-EC855D8C16B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tint val="75000"/>
                </a:prstClr>
              </a:solidFill>
              <a:effectLst/>
              <a:uLnTx/>
              <a:uFillTx/>
              <a:latin typeface="Jost"/>
              <a:ea typeface="+mn-ea"/>
              <a:cs typeface="+mn-cs"/>
            </a:endParaRPr>
          </a:p>
        </p:txBody>
      </p:sp>
      <p:sp>
        <p:nvSpPr>
          <p:cNvPr id="5" name="Slide Number Placeholder 4">
            <a:extLst>
              <a:ext uri="{FF2B5EF4-FFF2-40B4-BE49-F238E27FC236}">
                <a16:creationId xmlns:a16="http://schemas.microsoft.com/office/drawing/2014/main" id="{FBEECB47-EADA-51A9-6F72-5F49E13CC0C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9" name="Picture Placeholder 8">
            <a:extLst>
              <a:ext uri="{FF2B5EF4-FFF2-40B4-BE49-F238E27FC236}">
                <a16:creationId xmlns:a16="http://schemas.microsoft.com/office/drawing/2014/main" id="{AE4D7C93-42FE-0E67-72AE-5FC9B8D0BDCB}"/>
              </a:ext>
            </a:extLst>
          </p:cNvPr>
          <p:cNvSpPr>
            <a:spLocks noGrp="1"/>
          </p:cNvSpPr>
          <p:nvPr>
            <p:ph type="pic" sz="quarter" idx="13"/>
          </p:nvPr>
        </p:nvSpPr>
        <p:spPr>
          <a:xfrm>
            <a:off x="4347990" y="1866578"/>
            <a:ext cx="3496020" cy="3496020"/>
          </a:xfrm>
          <a:custGeom>
            <a:avLst/>
            <a:gdLst>
              <a:gd name="connsiteX0" fmla="*/ 1748010 w 3496020"/>
              <a:gd name="connsiteY0" fmla="*/ 0 h 3496020"/>
              <a:gd name="connsiteX1" fmla="*/ 3496020 w 3496020"/>
              <a:gd name="connsiteY1" fmla="*/ 1748010 h 3496020"/>
              <a:gd name="connsiteX2" fmla="*/ 1748010 w 3496020"/>
              <a:gd name="connsiteY2" fmla="*/ 3496020 h 3496020"/>
              <a:gd name="connsiteX3" fmla="*/ 0 w 3496020"/>
              <a:gd name="connsiteY3" fmla="*/ 1748010 h 3496020"/>
            </a:gdLst>
            <a:ahLst/>
            <a:cxnLst>
              <a:cxn ang="0">
                <a:pos x="connsiteX0" y="connsiteY0"/>
              </a:cxn>
              <a:cxn ang="0">
                <a:pos x="connsiteX1" y="connsiteY1"/>
              </a:cxn>
              <a:cxn ang="0">
                <a:pos x="connsiteX2" y="connsiteY2"/>
              </a:cxn>
              <a:cxn ang="0">
                <a:pos x="connsiteX3" y="connsiteY3"/>
              </a:cxn>
            </a:cxnLst>
            <a:rect l="l" t="t" r="r" b="b"/>
            <a:pathLst>
              <a:path w="3496020" h="3496020">
                <a:moveTo>
                  <a:pt x="1748010" y="0"/>
                </a:moveTo>
                <a:lnTo>
                  <a:pt x="3496020" y="1748010"/>
                </a:lnTo>
                <a:lnTo>
                  <a:pt x="1748010" y="3496020"/>
                </a:lnTo>
                <a:lnTo>
                  <a:pt x="0" y="1748010"/>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23723190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334C601-6DEB-5B64-439A-1DCBB8EA39C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CC3159-75E9-463C-B1F9-3FF9AE48FCC4}" type="datetime1">
              <a:rPr kumimoji="0" lang="en-US" sz="800" b="0" i="0" u="none" strike="noStrike" kern="1200" cap="none" spc="0" normalizeH="0" baseline="0" noProof="0" smtClean="0">
                <a:ln>
                  <a:noFill/>
                </a:ln>
                <a:solidFill>
                  <a:prstClr val="black">
                    <a:tint val="75000"/>
                  </a:prstClr>
                </a:solidFill>
                <a:effectLst/>
                <a:uLnTx/>
                <a:uFillTx/>
                <a:latin typeface="Jos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1-22</a:t>
            </a:fld>
            <a:endParaRPr kumimoji="0" lang="en-US" sz="800" b="0" i="0" u="none" strike="noStrike" kern="1200" cap="none" spc="0" normalizeH="0" baseline="0" noProof="0">
              <a:ln>
                <a:noFill/>
              </a:ln>
              <a:solidFill>
                <a:prstClr val="black">
                  <a:tint val="75000"/>
                </a:prstClr>
              </a:solidFill>
              <a:effectLst/>
              <a:uLnTx/>
              <a:uFillTx/>
              <a:latin typeface="Jost"/>
              <a:ea typeface="+mn-ea"/>
              <a:cs typeface="+mn-cs"/>
            </a:endParaRPr>
          </a:p>
        </p:txBody>
      </p:sp>
      <p:sp>
        <p:nvSpPr>
          <p:cNvPr id="4" name="Footer Placeholder 3">
            <a:extLst>
              <a:ext uri="{FF2B5EF4-FFF2-40B4-BE49-F238E27FC236}">
                <a16:creationId xmlns:a16="http://schemas.microsoft.com/office/drawing/2014/main" id="{4DE8BFC3-4B58-783A-2777-F5FF17BA87A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tint val="75000"/>
                </a:prstClr>
              </a:solidFill>
              <a:effectLst/>
              <a:uLnTx/>
              <a:uFillTx/>
              <a:latin typeface="Jost"/>
              <a:ea typeface="+mn-ea"/>
              <a:cs typeface="+mn-cs"/>
            </a:endParaRPr>
          </a:p>
        </p:txBody>
      </p:sp>
      <p:sp>
        <p:nvSpPr>
          <p:cNvPr id="5" name="Slide Number Placeholder 4">
            <a:extLst>
              <a:ext uri="{FF2B5EF4-FFF2-40B4-BE49-F238E27FC236}">
                <a16:creationId xmlns:a16="http://schemas.microsoft.com/office/drawing/2014/main" id="{0C74D6FA-3CEC-DFA7-9B7C-A819754A498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9" name="Picture Placeholder 8">
            <a:extLst>
              <a:ext uri="{FF2B5EF4-FFF2-40B4-BE49-F238E27FC236}">
                <a16:creationId xmlns:a16="http://schemas.microsoft.com/office/drawing/2014/main" id="{C1C99390-1D90-3838-A92E-90E01D6A5D97}"/>
              </a:ext>
            </a:extLst>
          </p:cNvPr>
          <p:cNvSpPr>
            <a:spLocks noGrp="1"/>
          </p:cNvSpPr>
          <p:nvPr>
            <p:ph type="pic" sz="quarter" idx="13"/>
          </p:nvPr>
        </p:nvSpPr>
        <p:spPr>
          <a:xfrm>
            <a:off x="2038120" y="1913496"/>
            <a:ext cx="6408026" cy="4944503"/>
          </a:xfrm>
          <a:custGeom>
            <a:avLst/>
            <a:gdLst>
              <a:gd name="connsiteX0" fmla="*/ 4001548 w 6408026"/>
              <a:gd name="connsiteY0" fmla="*/ 0 h 4944503"/>
              <a:gd name="connsiteX1" fmla="*/ 6408026 w 6408026"/>
              <a:gd name="connsiteY1" fmla="*/ 1947545 h 4944503"/>
              <a:gd name="connsiteX2" fmla="*/ 3982611 w 6408026"/>
              <a:gd name="connsiteY2" fmla="*/ 4944503 h 4944503"/>
              <a:gd name="connsiteX3" fmla="*/ 0 w 6408026"/>
              <a:gd name="connsiteY3" fmla="*/ 4944503 h 4944503"/>
            </a:gdLst>
            <a:ahLst/>
            <a:cxnLst>
              <a:cxn ang="0">
                <a:pos x="connsiteX0" y="connsiteY0"/>
              </a:cxn>
              <a:cxn ang="0">
                <a:pos x="connsiteX1" y="connsiteY1"/>
              </a:cxn>
              <a:cxn ang="0">
                <a:pos x="connsiteX2" y="connsiteY2"/>
              </a:cxn>
              <a:cxn ang="0">
                <a:pos x="connsiteX3" y="connsiteY3"/>
              </a:cxn>
            </a:cxnLst>
            <a:rect l="l" t="t" r="r" b="b"/>
            <a:pathLst>
              <a:path w="6408026" h="4944503">
                <a:moveTo>
                  <a:pt x="4001548" y="0"/>
                </a:moveTo>
                <a:lnTo>
                  <a:pt x="6408026" y="1947545"/>
                </a:lnTo>
                <a:lnTo>
                  <a:pt x="3982611" y="4944503"/>
                </a:lnTo>
                <a:lnTo>
                  <a:pt x="0" y="4944503"/>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8072451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B4A5006-42AD-60D1-EA42-FE23228A2AE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CC3159-75E9-463C-B1F9-3FF9AE48FCC4}" type="datetime1">
              <a:rPr kumimoji="0" lang="en-US" sz="800" b="0" i="0" u="none" strike="noStrike" kern="1200" cap="none" spc="0" normalizeH="0" baseline="0" noProof="0" smtClean="0">
                <a:ln>
                  <a:noFill/>
                </a:ln>
                <a:solidFill>
                  <a:prstClr val="black">
                    <a:tint val="75000"/>
                  </a:prstClr>
                </a:solidFill>
                <a:effectLst/>
                <a:uLnTx/>
                <a:uFillTx/>
                <a:latin typeface="Jos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1-22</a:t>
            </a:fld>
            <a:endParaRPr kumimoji="0" lang="en-US" sz="800" b="0" i="0" u="none" strike="noStrike" kern="1200" cap="none" spc="0" normalizeH="0" baseline="0" noProof="0">
              <a:ln>
                <a:noFill/>
              </a:ln>
              <a:solidFill>
                <a:prstClr val="black">
                  <a:tint val="75000"/>
                </a:prstClr>
              </a:solidFill>
              <a:effectLst/>
              <a:uLnTx/>
              <a:uFillTx/>
              <a:latin typeface="Jost"/>
              <a:ea typeface="+mn-ea"/>
              <a:cs typeface="+mn-cs"/>
            </a:endParaRPr>
          </a:p>
        </p:txBody>
      </p:sp>
      <p:sp>
        <p:nvSpPr>
          <p:cNvPr id="4" name="Footer Placeholder 3">
            <a:extLst>
              <a:ext uri="{FF2B5EF4-FFF2-40B4-BE49-F238E27FC236}">
                <a16:creationId xmlns:a16="http://schemas.microsoft.com/office/drawing/2014/main" id="{FFE1F334-9688-E507-8F36-23ED99B7E67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tint val="75000"/>
                </a:prstClr>
              </a:solidFill>
              <a:effectLst/>
              <a:uLnTx/>
              <a:uFillTx/>
              <a:latin typeface="Jost"/>
              <a:ea typeface="+mn-ea"/>
              <a:cs typeface="+mn-cs"/>
            </a:endParaRPr>
          </a:p>
        </p:txBody>
      </p:sp>
      <p:sp>
        <p:nvSpPr>
          <p:cNvPr id="5" name="Slide Number Placeholder 4">
            <a:extLst>
              <a:ext uri="{FF2B5EF4-FFF2-40B4-BE49-F238E27FC236}">
                <a16:creationId xmlns:a16="http://schemas.microsoft.com/office/drawing/2014/main" id="{CD9857AA-9916-8CC3-08E7-C4FC5E2707A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10" name="Picture Placeholder 9">
            <a:extLst>
              <a:ext uri="{FF2B5EF4-FFF2-40B4-BE49-F238E27FC236}">
                <a16:creationId xmlns:a16="http://schemas.microsoft.com/office/drawing/2014/main" id="{F8F18CB7-F8F8-B8AB-3A4A-1902C45DE6E4}"/>
              </a:ext>
            </a:extLst>
          </p:cNvPr>
          <p:cNvSpPr>
            <a:spLocks noGrp="1"/>
          </p:cNvSpPr>
          <p:nvPr>
            <p:ph type="pic" sz="quarter" idx="13"/>
          </p:nvPr>
        </p:nvSpPr>
        <p:spPr>
          <a:xfrm>
            <a:off x="0" y="1106873"/>
            <a:ext cx="4767360" cy="5751128"/>
          </a:xfrm>
          <a:custGeom>
            <a:avLst/>
            <a:gdLst>
              <a:gd name="connsiteX0" fmla="*/ 2791876 w 4767360"/>
              <a:gd name="connsiteY0" fmla="*/ 0 h 5751128"/>
              <a:gd name="connsiteX1" fmla="*/ 4767360 w 4767360"/>
              <a:gd name="connsiteY1" fmla="*/ 1598744 h 5751128"/>
              <a:gd name="connsiteX2" fmla="*/ 1406868 w 4767360"/>
              <a:gd name="connsiteY2" fmla="*/ 5751127 h 5751128"/>
              <a:gd name="connsiteX3" fmla="*/ 0 w 4767360"/>
              <a:gd name="connsiteY3" fmla="*/ 5751128 h 5751128"/>
              <a:gd name="connsiteX4" fmla="*/ 0 w 4767360"/>
              <a:gd name="connsiteY4" fmla="*/ 3449774 h 5751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7360" h="5751128">
                <a:moveTo>
                  <a:pt x="2791876" y="0"/>
                </a:moveTo>
                <a:lnTo>
                  <a:pt x="4767360" y="1598744"/>
                </a:lnTo>
                <a:lnTo>
                  <a:pt x="1406868" y="5751127"/>
                </a:lnTo>
                <a:lnTo>
                  <a:pt x="0" y="5751128"/>
                </a:lnTo>
                <a:lnTo>
                  <a:pt x="0" y="3449774"/>
                </a:lnTo>
                <a:close/>
              </a:path>
            </a:pathLst>
          </a:custGeom>
          <a:solidFill>
            <a:schemeClr val="bg1">
              <a:lumMod val="75000"/>
            </a:schemeClr>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2B1641C8-8C62-A61E-6962-55F4E8079C20}"/>
              </a:ext>
            </a:extLst>
          </p:cNvPr>
          <p:cNvSpPr>
            <a:spLocks noGrp="1"/>
          </p:cNvSpPr>
          <p:nvPr>
            <p:ph type="pic" sz="quarter" idx="14"/>
          </p:nvPr>
        </p:nvSpPr>
        <p:spPr>
          <a:xfrm>
            <a:off x="3244095" y="2750221"/>
            <a:ext cx="3530173" cy="3519791"/>
          </a:xfrm>
          <a:custGeom>
            <a:avLst/>
            <a:gdLst>
              <a:gd name="connsiteX0" fmla="*/ 1554688 w 3530173"/>
              <a:gd name="connsiteY0" fmla="*/ 0 h 3519791"/>
              <a:gd name="connsiteX1" fmla="*/ 3530173 w 3530173"/>
              <a:gd name="connsiteY1" fmla="*/ 1598745 h 3519791"/>
              <a:gd name="connsiteX2" fmla="*/ 1975484 w 3530173"/>
              <a:gd name="connsiteY2" fmla="*/ 3519791 h 3519791"/>
              <a:gd name="connsiteX3" fmla="*/ 0 w 3530173"/>
              <a:gd name="connsiteY3" fmla="*/ 1921047 h 3519791"/>
            </a:gdLst>
            <a:ahLst/>
            <a:cxnLst>
              <a:cxn ang="0">
                <a:pos x="connsiteX0" y="connsiteY0"/>
              </a:cxn>
              <a:cxn ang="0">
                <a:pos x="connsiteX1" y="connsiteY1"/>
              </a:cxn>
              <a:cxn ang="0">
                <a:pos x="connsiteX2" y="connsiteY2"/>
              </a:cxn>
              <a:cxn ang="0">
                <a:pos x="connsiteX3" y="connsiteY3"/>
              </a:cxn>
            </a:cxnLst>
            <a:rect l="l" t="t" r="r" b="b"/>
            <a:pathLst>
              <a:path w="3530173" h="3519791">
                <a:moveTo>
                  <a:pt x="1554688" y="0"/>
                </a:moveTo>
                <a:lnTo>
                  <a:pt x="3530173" y="1598745"/>
                </a:lnTo>
                <a:lnTo>
                  <a:pt x="1975484" y="3519791"/>
                </a:lnTo>
                <a:lnTo>
                  <a:pt x="0" y="1921047"/>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29453012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par>
                                <p:cTn id="8" presetID="22" presetClass="entr" presetSubtype="1"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wipe(up)">
                                      <p:cBhvr>
                                        <p:cTn id="10"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6535E92-4D51-2006-0FB2-61D14C300D9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CC3159-75E9-463C-B1F9-3FF9AE48FCC4}" type="datetime1">
              <a:rPr kumimoji="0" lang="en-US" sz="800" b="0" i="0" u="none" strike="noStrike" kern="1200" cap="none" spc="0" normalizeH="0" baseline="0" noProof="0" smtClean="0">
                <a:ln>
                  <a:noFill/>
                </a:ln>
                <a:solidFill>
                  <a:prstClr val="black">
                    <a:tint val="75000"/>
                  </a:prstClr>
                </a:solidFill>
                <a:effectLst/>
                <a:uLnTx/>
                <a:uFillTx/>
                <a:latin typeface="Jos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1-22</a:t>
            </a:fld>
            <a:endParaRPr kumimoji="0" lang="en-US" sz="800" b="0" i="0" u="none" strike="noStrike" kern="1200" cap="none" spc="0" normalizeH="0" baseline="0" noProof="0">
              <a:ln>
                <a:noFill/>
              </a:ln>
              <a:solidFill>
                <a:prstClr val="black">
                  <a:tint val="75000"/>
                </a:prstClr>
              </a:solidFill>
              <a:effectLst/>
              <a:uLnTx/>
              <a:uFillTx/>
              <a:latin typeface="Jost"/>
              <a:ea typeface="+mn-ea"/>
              <a:cs typeface="+mn-cs"/>
            </a:endParaRPr>
          </a:p>
        </p:txBody>
      </p:sp>
      <p:sp>
        <p:nvSpPr>
          <p:cNvPr id="4" name="Footer Placeholder 3">
            <a:extLst>
              <a:ext uri="{FF2B5EF4-FFF2-40B4-BE49-F238E27FC236}">
                <a16:creationId xmlns:a16="http://schemas.microsoft.com/office/drawing/2014/main" id="{EA75CA1E-B726-EE13-3E08-6948D189133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tint val="75000"/>
                </a:prstClr>
              </a:solidFill>
              <a:effectLst/>
              <a:uLnTx/>
              <a:uFillTx/>
              <a:latin typeface="Jost"/>
              <a:ea typeface="+mn-ea"/>
              <a:cs typeface="+mn-cs"/>
            </a:endParaRPr>
          </a:p>
        </p:txBody>
      </p:sp>
      <p:sp>
        <p:nvSpPr>
          <p:cNvPr id="5" name="Slide Number Placeholder 4">
            <a:extLst>
              <a:ext uri="{FF2B5EF4-FFF2-40B4-BE49-F238E27FC236}">
                <a16:creationId xmlns:a16="http://schemas.microsoft.com/office/drawing/2014/main" id="{0D412A9F-E6CB-BE1C-7102-655D1B1FA2B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12" name="Picture Placeholder 11">
            <a:extLst>
              <a:ext uri="{FF2B5EF4-FFF2-40B4-BE49-F238E27FC236}">
                <a16:creationId xmlns:a16="http://schemas.microsoft.com/office/drawing/2014/main" id="{15E6B294-4B29-E0FD-2AF9-A38C0988BA43}"/>
              </a:ext>
            </a:extLst>
          </p:cNvPr>
          <p:cNvSpPr>
            <a:spLocks noGrp="1"/>
          </p:cNvSpPr>
          <p:nvPr>
            <p:ph type="pic" sz="quarter" idx="13"/>
          </p:nvPr>
        </p:nvSpPr>
        <p:spPr>
          <a:xfrm>
            <a:off x="3220866" y="4678778"/>
            <a:ext cx="1080877" cy="1080878"/>
          </a:xfrm>
          <a:custGeom>
            <a:avLst/>
            <a:gdLst>
              <a:gd name="connsiteX0" fmla="*/ 540439 w 1080877"/>
              <a:gd name="connsiteY0" fmla="*/ 0 h 1080878"/>
              <a:gd name="connsiteX1" fmla="*/ 1080877 w 1080877"/>
              <a:gd name="connsiteY1" fmla="*/ 540439 h 1080878"/>
              <a:gd name="connsiteX2" fmla="*/ 540439 w 1080877"/>
              <a:gd name="connsiteY2" fmla="*/ 1080878 h 1080878"/>
              <a:gd name="connsiteX3" fmla="*/ 0 w 1080877"/>
              <a:gd name="connsiteY3" fmla="*/ 540439 h 1080878"/>
              <a:gd name="connsiteX4" fmla="*/ 540439 w 1080877"/>
              <a:gd name="connsiteY4" fmla="*/ 0 h 10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77" h="1080878">
                <a:moveTo>
                  <a:pt x="540439" y="0"/>
                </a:moveTo>
                <a:cubicBezTo>
                  <a:pt x="838914" y="0"/>
                  <a:pt x="1080877" y="241963"/>
                  <a:pt x="1080877" y="540439"/>
                </a:cubicBezTo>
                <a:cubicBezTo>
                  <a:pt x="1080877" y="838915"/>
                  <a:pt x="838914" y="1080878"/>
                  <a:pt x="540439" y="1080878"/>
                </a:cubicBezTo>
                <a:cubicBezTo>
                  <a:pt x="241963" y="1080878"/>
                  <a:pt x="0" y="838915"/>
                  <a:pt x="0" y="540439"/>
                </a:cubicBezTo>
                <a:cubicBezTo>
                  <a:pt x="0" y="241962"/>
                  <a:pt x="241963" y="0"/>
                  <a:pt x="540439" y="0"/>
                </a:cubicBezTo>
                <a:close/>
              </a:path>
            </a:pathLst>
          </a:custGeom>
          <a:solidFill>
            <a:schemeClr val="bg1">
              <a:lumMod val="85000"/>
            </a:schemeClr>
          </a:solidFill>
        </p:spPr>
        <p:txBody>
          <a:bodyPr wrap="square">
            <a:noAutofit/>
          </a:bodyPr>
          <a:lstStyle>
            <a:lvl1pPr>
              <a:defRPr sz="1050"/>
            </a:lvl1pPr>
          </a:lstStyle>
          <a:p>
            <a:endParaRPr lang="en-US"/>
          </a:p>
        </p:txBody>
      </p:sp>
      <p:sp>
        <p:nvSpPr>
          <p:cNvPr id="15" name="Picture Placeholder 14">
            <a:extLst>
              <a:ext uri="{FF2B5EF4-FFF2-40B4-BE49-F238E27FC236}">
                <a16:creationId xmlns:a16="http://schemas.microsoft.com/office/drawing/2014/main" id="{7656435F-049E-1967-6ADD-009FD94A07A4}"/>
              </a:ext>
            </a:extLst>
          </p:cNvPr>
          <p:cNvSpPr>
            <a:spLocks noGrp="1"/>
          </p:cNvSpPr>
          <p:nvPr>
            <p:ph type="pic" sz="quarter" idx="14"/>
          </p:nvPr>
        </p:nvSpPr>
        <p:spPr>
          <a:xfrm flipH="1">
            <a:off x="4949092" y="4678778"/>
            <a:ext cx="1080877" cy="1080878"/>
          </a:xfrm>
          <a:custGeom>
            <a:avLst/>
            <a:gdLst>
              <a:gd name="connsiteX0" fmla="*/ 540439 w 1080877"/>
              <a:gd name="connsiteY0" fmla="*/ 0 h 1080878"/>
              <a:gd name="connsiteX1" fmla="*/ 0 w 1080877"/>
              <a:gd name="connsiteY1" fmla="*/ 540439 h 1080878"/>
              <a:gd name="connsiteX2" fmla="*/ 540439 w 1080877"/>
              <a:gd name="connsiteY2" fmla="*/ 1080878 h 1080878"/>
              <a:gd name="connsiteX3" fmla="*/ 1080877 w 1080877"/>
              <a:gd name="connsiteY3" fmla="*/ 540439 h 1080878"/>
              <a:gd name="connsiteX4" fmla="*/ 540439 w 1080877"/>
              <a:gd name="connsiteY4" fmla="*/ 0 h 10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77" h="1080878">
                <a:moveTo>
                  <a:pt x="540439" y="0"/>
                </a:moveTo>
                <a:cubicBezTo>
                  <a:pt x="241963" y="0"/>
                  <a:pt x="0" y="241963"/>
                  <a:pt x="0" y="540439"/>
                </a:cubicBezTo>
                <a:cubicBezTo>
                  <a:pt x="0" y="838915"/>
                  <a:pt x="241963" y="1080878"/>
                  <a:pt x="540439" y="1080878"/>
                </a:cubicBezTo>
                <a:cubicBezTo>
                  <a:pt x="838914" y="1080878"/>
                  <a:pt x="1080877" y="838915"/>
                  <a:pt x="1080877" y="540439"/>
                </a:cubicBezTo>
                <a:cubicBezTo>
                  <a:pt x="1080877" y="241962"/>
                  <a:pt x="838914" y="0"/>
                  <a:pt x="540439" y="0"/>
                </a:cubicBezTo>
                <a:close/>
              </a:path>
            </a:pathLst>
          </a:custGeom>
          <a:solidFill>
            <a:schemeClr val="bg1">
              <a:lumMod val="85000"/>
            </a:schemeClr>
          </a:solidFill>
        </p:spPr>
        <p:txBody>
          <a:bodyPr wrap="square">
            <a:noAutofit/>
          </a:bodyPr>
          <a:lstStyle>
            <a:lvl1pPr>
              <a:defRPr sz="1050"/>
            </a:lvl1pPr>
          </a:lstStyle>
          <a:p>
            <a:endParaRPr lang="en-US"/>
          </a:p>
        </p:txBody>
      </p:sp>
      <p:sp>
        <p:nvSpPr>
          <p:cNvPr id="18" name="Picture Placeholder 17">
            <a:extLst>
              <a:ext uri="{FF2B5EF4-FFF2-40B4-BE49-F238E27FC236}">
                <a16:creationId xmlns:a16="http://schemas.microsoft.com/office/drawing/2014/main" id="{0836CEFF-D5C8-6F1C-2497-70C4DFC9600E}"/>
              </a:ext>
            </a:extLst>
          </p:cNvPr>
          <p:cNvSpPr>
            <a:spLocks noGrp="1"/>
          </p:cNvSpPr>
          <p:nvPr>
            <p:ph type="pic" sz="quarter" idx="15"/>
          </p:nvPr>
        </p:nvSpPr>
        <p:spPr>
          <a:xfrm>
            <a:off x="6677150" y="4678778"/>
            <a:ext cx="1080877" cy="1080878"/>
          </a:xfrm>
          <a:custGeom>
            <a:avLst/>
            <a:gdLst>
              <a:gd name="connsiteX0" fmla="*/ 540439 w 1080877"/>
              <a:gd name="connsiteY0" fmla="*/ 0 h 1080878"/>
              <a:gd name="connsiteX1" fmla="*/ 1080877 w 1080877"/>
              <a:gd name="connsiteY1" fmla="*/ 540439 h 1080878"/>
              <a:gd name="connsiteX2" fmla="*/ 540439 w 1080877"/>
              <a:gd name="connsiteY2" fmla="*/ 1080878 h 1080878"/>
              <a:gd name="connsiteX3" fmla="*/ 0 w 1080877"/>
              <a:gd name="connsiteY3" fmla="*/ 540439 h 1080878"/>
              <a:gd name="connsiteX4" fmla="*/ 540439 w 1080877"/>
              <a:gd name="connsiteY4" fmla="*/ 0 h 10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77" h="1080878">
                <a:moveTo>
                  <a:pt x="540439" y="0"/>
                </a:moveTo>
                <a:cubicBezTo>
                  <a:pt x="838914" y="0"/>
                  <a:pt x="1080877" y="241963"/>
                  <a:pt x="1080877" y="540439"/>
                </a:cubicBezTo>
                <a:cubicBezTo>
                  <a:pt x="1080877" y="838915"/>
                  <a:pt x="838914" y="1080878"/>
                  <a:pt x="540439" y="1080878"/>
                </a:cubicBezTo>
                <a:cubicBezTo>
                  <a:pt x="241963" y="1080878"/>
                  <a:pt x="0" y="838915"/>
                  <a:pt x="0" y="540439"/>
                </a:cubicBezTo>
                <a:cubicBezTo>
                  <a:pt x="0" y="241962"/>
                  <a:pt x="241963" y="0"/>
                  <a:pt x="540439" y="0"/>
                </a:cubicBezTo>
                <a:close/>
              </a:path>
            </a:pathLst>
          </a:custGeom>
          <a:solidFill>
            <a:schemeClr val="bg1">
              <a:lumMod val="85000"/>
            </a:schemeClr>
          </a:solidFill>
        </p:spPr>
        <p:txBody>
          <a:bodyPr wrap="square">
            <a:noAutofit/>
          </a:bodyPr>
          <a:lstStyle>
            <a:lvl1pPr>
              <a:defRPr sz="1050"/>
            </a:lvl1pPr>
          </a:lstStyle>
          <a:p>
            <a:endParaRPr lang="en-US"/>
          </a:p>
        </p:txBody>
      </p:sp>
      <p:sp>
        <p:nvSpPr>
          <p:cNvPr id="21" name="Picture Placeholder 20">
            <a:extLst>
              <a:ext uri="{FF2B5EF4-FFF2-40B4-BE49-F238E27FC236}">
                <a16:creationId xmlns:a16="http://schemas.microsoft.com/office/drawing/2014/main" id="{5A0D4C2B-5334-4E41-22A3-4633BE5DD63C}"/>
              </a:ext>
            </a:extLst>
          </p:cNvPr>
          <p:cNvSpPr>
            <a:spLocks noGrp="1"/>
          </p:cNvSpPr>
          <p:nvPr>
            <p:ph type="pic" sz="quarter" idx="16"/>
          </p:nvPr>
        </p:nvSpPr>
        <p:spPr>
          <a:xfrm>
            <a:off x="8405208" y="4678778"/>
            <a:ext cx="1080877" cy="1080878"/>
          </a:xfrm>
          <a:custGeom>
            <a:avLst/>
            <a:gdLst>
              <a:gd name="connsiteX0" fmla="*/ 540438 w 1080877"/>
              <a:gd name="connsiteY0" fmla="*/ 0 h 1080878"/>
              <a:gd name="connsiteX1" fmla="*/ 1080877 w 1080877"/>
              <a:gd name="connsiteY1" fmla="*/ 540439 h 1080878"/>
              <a:gd name="connsiteX2" fmla="*/ 540438 w 1080877"/>
              <a:gd name="connsiteY2" fmla="*/ 1080878 h 1080878"/>
              <a:gd name="connsiteX3" fmla="*/ 0 w 1080877"/>
              <a:gd name="connsiteY3" fmla="*/ 540439 h 1080878"/>
              <a:gd name="connsiteX4" fmla="*/ 540438 w 1080877"/>
              <a:gd name="connsiteY4" fmla="*/ 0 h 10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877" h="1080878">
                <a:moveTo>
                  <a:pt x="540438" y="0"/>
                </a:moveTo>
                <a:cubicBezTo>
                  <a:pt x="838915" y="0"/>
                  <a:pt x="1080877" y="241963"/>
                  <a:pt x="1080877" y="540439"/>
                </a:cubicBezTo>
                <a:cubicBezTo>
                  <a:pt x="1080877" y="838915"/>
                  <a:pt x="838914" y="1080878"/>
                  <a:pt x="540438" y="1080878"/>
                </a:cubicBezTo>
                <a:cubicBezTo>
                  <a:pt x="241963" y="1080878"/>
                  <a:pt x="0" y="838915"/>
                  <a:pt x="0" y="540439"/>
                </a:cubicBezTo>
                <a:cubicBezTo>
                  <a:pt x="0" y="241962"/>
                  <a:pt x="241963" y="0"/>
                  <a:pt x="540438" y="0"/>
                </a:cubicBezTo>
                <a:close/>
              </a:path>
            </a:pathLst>
          </a:custGeom>
          <a:solidFill>
            <a:schemeClr val="bg1">
              <a:lumMod val="85000"/>
            </a:schemeClr>
          </a:solidFill>
        </p:spPr>
        <p:txBody>
          <a:bodyPr wrap="square">
            <a:noAutofit/>
          </a:bodyPr>
          <a:lstStyle>
            <a:lvl1pPr>
              <a:defRPr sz="1050"/>
            </a:lvl1pPr>
          </a:lstStyle>
          <a:p>
            <a:endParaRPr lang="en-US"/>
          </a:p>
        </p:txBody>
      </p:sp>
    </p:spTree>
    <p:extLst>
      <p:ext uri="{BB962C8B-B14F-4D97-AF65-F5344CB8AC3E}">
        <p14:creationId xmlns:p14="http://schemas.microsoft.com/office/powerpoint/2010/main" val="28324201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1000"/>
                                        <p:tgtEl>
                                          <p:spTgt spid="1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up)">
                                      <p:cBhvr>
                                        <p:cTn id="10" dur="1000"/>
                                        <p:tgtEl>
                                          <p:spTgt spid="15"/>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wipe(up)">
                                      <p:cBhvr>
                                        <p:cTn id="13" dur="1000"/>
                                        <p:tgtEl>
                                          <p:spTgt spid="18"/>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up)">
                                      <p:cBhvr>
                                        <p:cTn id="16"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8" grpId="0" animBg="1"/>
      <p:bldP spid="21"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5D93561-6B25-B527-7654-79F384FAE02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CC3159-75E9-463C-B1F9-3FF9AE48FCC4}" type="datetime1">
              <a:rPr kumimoji="0" lang="en-US" sz="800" b="0" i="0" u="none" strike="noStrike" kern="1200" cap="none" spc="0" normalizeH="0" baseline="0" noProof="0" smtClean="0">
                <a:ln>
                  <a:noFill/>
                </a:ln>
                <a:solidFill>
                  <a:prstClr val="black">
                    <a:tint val="75000"/>
                  </a:prstClr>
                </a:solidFill>
                <a:effectLst/>
                <a:uLnTx/>
                <a:uFillTx/>
                <a:latin typeface="Jos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1-22</a:t>
            </a:fld>
            <a:endParaRPr kumimoji="0" lang="en-US" sz="800" b="0" i="0" u="none" strike="noStrike" kern="1200" cap="none" spc="0" normalizeH="0" baseline="0" noProof="0">
              <a:ln>
                <a:noFill/>
              </a:ln>
              <a:solidFill>
                <a:prstClr val="black">
                  <a:tint val="75000"/>
                </a:prstClr>
              </a:solidFill>
              <a:effectLst/>
              <a:uLnTx/>
              <a:uFillTx/>
              <a:latin typeface="Jost"/>
              <a:ea typeface="+mn-ea"/>
              <a:cs typeface="+mn-cs"/>
            </a:endParaRPr>
          </a:p>
        </p:txBody>
      </p:sp>
      <p:sp>
        <p:nvSpPr>
          <p:cNvPr id="4" name="Footer Placeholder 3">
            <a:extLst>
              <a:ext uri="{FF2B5EF4-FFF2-40B4-BE49-F238E27FC236}">
                <a16:creationId xmlns:a16="http://schemas.microsoft.com/office/drawing/2014/main" id="{8B91457F-8E5F-2C70-1829-93A6BD38E97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tint val="75000"/>
                </a:prstClr>
              </a:solidFill>
              <a:effectLst/>
              <a:uLnTx/>
              <a:uFillTx/>
              <a:latin typeface="Jost"/>
              <a:ea typeface="+mn-ea"/>
              <a:cs typeface="+mn-cs"/>
            </a:endParaRPr>
          </a:p>
        </p:txBody>
      </p:sp>
      <p:sp>
        <p:nvSpPr>
          <p:cNvPr id="5" name="Slide Number Placeholder 4">
            <a:extLst>
              <a:ext uri="{FF2B5EF4-FFF2-40B4-BE49-F238E27FC236}">
                <a16:creationId xmlns:a16="http://schemas.microsoft.com/office/drawing/2014/main" id="{709ECC8F-2A44-E63A-6A41-22C087E205A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10" name="Picture Placeholder 9">
            <a:extLst>
              <a:ext uri="{FF2B5EF4-FFF2-40B4-BE49-F238E27FC236}">
                <a16:creationId xmlns:a16="http://schemas.microsoft.com/office/drawing/2014/main" id="{D6EDFF32-4593-C9FF-97DF-1B5278810373}"/>
              </a:ext>
            </a:extLst>
          </p:cNvPr>
          <p:cNvSpPr>
            <a:spLocks noGrp="1"/>
          </p:cNvSpPr>
          <p:nvPr>
            <p:ph type="pic" sz="quarter" idx="13"/>
          </p:nvPr>
        </p:nvSpPr>
        <p:spPr>
          <a:xfrm>
            <a:off x="1532029" y="1962776"/>
            <a:ext cx="4534366" cy="4183186"/>
          </a:xfrm>
          <a:custGeom>
            <a:avLst/>
            <a:gdLst>
              <a:gd name="connsiteX0" fmla="*/ 1204532 w 4534366"/>
              <a:gd name="connsiteY0" fmla="*/ 0 h 4183186"/>
              <a:gd name="connsiteX1" fmla="*/ 4534366 w 4534366"/>
              <a:gd name="connsiteY1" fmla="*/ 2694810 h 4183186"/>
              <a:gd name="connsiteX2" fmla="*/ 3329835 w 4534366"/>
              <a:gd name="connsiteY2" fmla="*/ 4183186 h 4183186"/>
              <a:gd name="connsiteX3" fmla="*/ 0 w 4534366"/>
              <a:gd name="connsiteY3" fmla="*/ 1488376 h 4183186"/>
            </a:gdLst>
            <a:ahLst/>
            <a:cxnLst>
              <a:cxn ang="0">
                <a:pos x="connsiteX0" y="connsiteY0"/>
              </a:cxn>
              <a:cxn ang="0">
                <a:pos x="connsiteX1" y="connsiteY1"/>
              </a:cxn>
              <a:cxn ang="0">
                <a:pos x="connsiteX2" y="connsiteY2"/>
              </a:cxn>
              <a:cxn ang="0">
                <a:pos x="connsiteX3" y="connsiteY3"/>
              </a:cxn>
            </a:cxnLst>
            <a:rect l="l" t="t" r="r" b="b"/>
            <a:pathLst>
              <a:path w="4534366" h="4183186">
                <a:moveTo>
                  <a:pt x="1204532" y="0"/>
                </a:moveTo>
                <a:lnTo>
                  <a:pt x="4534366" y="2694810"/>
                </a:lnTo>
                <a:lnTo>
                  <a:pt x="3329835" y="4183186"/>
                </a:lnTo>
                <a:lnTo>
                  <a:pt x="0" y="1488376"/>
                </a:lnTo>
                <a:close/>
              </a:path>
            </a:pathLst>
          </a:custGeom>
          <a:solidFill>
            <a:schemeClr val="bg1">
              <a:lumMod val="85000"/>
            </a:schemeClr>
          </a:solidFill>
        </p:spPr>
        <p:txBody>
          <a:bodyPr wrap="square">
            <a:noAutofit/>
          </a:bodyPr>
          <a:lstStyle/>
          <a:p>
            <a:endParaRPr lang="en-US"/>
          </a:p>
        </p:txBody>
      </p:sp>
      <p:sp>
        <p:nvSpPr>
          <p:cNvPr id="13" name="Picture Placeholder 12">
            <a:extLst>
              <a:ext uri="{FF2B5EF4-FFF2-40B4-BE49-F238E27FC236}">
                <a16:creationId xmlns:a16="http://schemas.microsoft.com/office/drawing/2014/main" id="{04DC1104-8F77-2398-C987-839E0CFB6427}"/>
              </a:ext>
            </a:extLst>
          </p:cNvPr>
          <p:cNvSpPr>
            <a:spLocks noGrp="1"/>
          </p:cNvSpPr>
          <p:nvPr>
            <p:ph type="pic" sz="quarter" idx="14"/>
          </p:nvPr>
        </p:nvSpPr>
        <p:spPr>
          <a:xfrm>
            <a:off x="4636323" y="1978859"/>
            <a:ext cx="2645836" cy="2654813"/>
          </a:xfrm>
          <a:custGeom>
            <a:avLst/>
            <a:gdLst>
              <a:gd name="connsiteX0" fmla="*/ 1204531 w 2645836"/>
              <a:gd name="connsiteY0" fmla="*/ 0 h 2654813"/>
              <a:gd name="connsiteX1" fmla="*/ 2645836 w 2645836"/>
              <a:gd name="connsiteY1" fmla="*/ 1166437 h 2654813"/>
              <a:gd name="connsiteX2" fmla="*/ 1441304 w 2645836"/>
              <a:gd name="connsiteY2" fmla="*/ 2654813 h 2654813"/>
              <a:gd name="connsiteX3" fmla="*/ 0 w 2645836"/>
              <a:gd name="connsiteY3" fmla="*/ 1488376 h 2654813"/>
            </a:gdLst>
            <a:ahLst/>
            <a:cxnLst>
              <a:cxn ang="0">
                <a:pos x="connsiteX0" y="connsiteY0"/>
              </a:cxn>
              <a:cxn ang="0">
                <a:pos x="connsiteX1" y="connsiteY1"/>
              </a:cxn>
              <a:cxn ang="0">
                <a:pos x="connsiteX2" y="connsiteY2"/>
              </a:cxn>
              <a:cxn ang="0">
                <a:pos x="connsiteX3" y="connsiteY3"/>
              </a:cxn>
            </a:cxnLst>
            <a:rect l="l" t="t" r="r" b="b"/>
            <a:pathLst>
              <a:path w="2645836" h="2654813">
                <a:moveTo>
                  <a:pt x="1204531" y="0"/>
                </a:moveTo>
                <a:lnTo>
                  <a:pt x="2645836" y="1166437"/>
                </a:lnTo>
                <a:lnTo>
                  <a:pt x="1441304" y="2654813"/>
                </a:lnTo>
                <a:lnTo>
                  <a:pt x="0" y="1488376"/>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16650073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par>
                                <p:cTn id="8" presetID="22" presetClass="entr" presetSubtype="1"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wipe(up)">
                                      <p:cBhvr>
                                        <p:cTn id="10"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49EEB4-E998-6836-B736-8C394FE5DC98}"/>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a:extLst>
              <a:ext uri="{FF2B5EF4-FFF2-40B4-BE49-F238E27FC236}">
                <a16:creationId xmlns:a16="http://schemas.microsoft.com/office/drawing/2014/main" id="{DE55320B-5E6C-BAFE-066E-F23E0EB9AE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a:extLst>
              <a:ext uri="{FF2B5EF4-FFF2-40B4-BE49-F238E27FC236}">
                <a16:creationId xmlns:a16="http://schemas.microsoft.com/office/drawing/2014/main" id="{F9FD9759-B28B-FA7A-68FC-B81B161B8CC3}"/>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769E2DFC-E773-7AED-725C-C935630E878A}"/>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7A7D55E3-D5E5-1581-22F5-B843E47DC72F}"/>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12410100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46C9A8B-0F0F-91D0-80C3-986034F343DF}"/>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25B60907-50C4-1382-F7FF-60F4B743FD23}"/>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73F6FB6A-5A87-42EE-ABE7-3F958EA7F88D}"/>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3E08C38A-7192-25A6-E21F-9374AF5E29DE}"/>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E6B4C439-3F84-3DDE-CF9A-6BA7B530A834}"/>
              </a:ext>
            </a:extLst>
          </p:cNvPr>
          <p:cNvSpPr>
            <a:spLocks noGrp="1"/>
          </p:cNvSpPr>
          <p:nvPr>
            <p:ph type="sldNum" sz="quarter" idx="12"/>
          </p:nvPr>
        </p:nvSpPr>
        <p:spPr/>
        <p:txBody>
          <a:bodyPr/>
          <a:lstStyle/>
          <a:p>
            <a:fld id="{95E0FDB2-BF60-4A95-BDD7-07D1A9BAFA4E}" type="slidenum">
              <a:rPr lang="en-US" smtClean="0"/>
              <a:t>‹#›</a:t>
            </a:fld>
            <a:endParaRPr lang="en-US"/>
          </a:p>
        </p:txBody>
      </p:sp>
      <p:pic>
        <p:nvPicPr>
          <p:cNvPr id="7" name="Imagen 6" descr="Imagen que contiene objeto, reloj, dibujo, señal&#10;&#10;Descripción generada automáticamente">
            <a:extLst>
              <a:ext uri="{FF2B5EF4-FFF2-40B4-BE49-F238E27FC236}">
                <a16:creationId xmlns:a16="http://schemas.microsoft.com/office/drawing/2014/main" id="{E683715F-BBFA-90A5-1FE9-1B1E9FA852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48194" y="125601"/>
            <a:ext cx="1203158" cy="217300"/>
          </a:xfrm>
          <a:prstGeom prst="rect">
            <a:avLst/>
          </a:prstGeom>
        </p:spPr>
      </p:pic>
    </p:spTree>
    <p:extLst>
      <p:ext uri="{BB962C8B-B14F-4D97-AF65-F5344CB8AC3E}">
        <p14:creationId xmlns:p14="http://schemas.microsoft.com/office/powerpoint/2010/main" val="26453568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E30CC4-A2E6-345D-CA6B-9123DAB747F1}"/>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FDC97464-BA28-0FA4-DC93-5198E87F645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5408B4C7-EC28-CCFB-2B3B-ED75F4CFCF20}"/>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A08CC84F-37F6-FD13-CABC-7A2247DDBBE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4DFD5339-D0BC-7C10-4673-EDA0157735B9}"/>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35066359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F710D2-5DED-6A61-8D3F-44C217BB319C}"/>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6618482D-802B-CA1F-F248-A9CCDD6AF54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a:extLst>
              <a:ext uri="{FF2B5EF4-FFF2-40B4-BE49-F238E27FC236}">
                <a16:creationId xmlns:a16="http://schemas.microsoft.com/office/drawing/2014/main" id="{5DEE63EC-DC14-413C-666C-91967B38A955}"/>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a:extLst>
              <a:ext uri="{FF2B5EF4-FFF2-40B4-BE49-F238E27FC236}">
                <a16:creationId xmlns:a16="http://schemas.microsoft.com/office/drawing/2014/main" id="{7014EC89-D9BB-2BAE-3753-B176C6D1C658}"/>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6" name="Marcador de pie de página 5">
            <a:extLst>
              <a:ext uri="{FF2B5EF4-FFF2-40B4-BE49-F238E27FC236}">
                <a16:creationId xmlns:a16="http://schemas.microsoft.com/office/drawing/2014/main" id="{E1905804-0434-3849-03DE-70430C64C068}"/>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9C53271D-04A9-4B51-9791-30990F4A8995}"/>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42932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7F18EE-2D18-F5C3-C676-D6A82B48B296}"/>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81C4170A-F531-31D9-0443-E3D9AA5A05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3280B194-DB02-0F32-9C28-EE7F1987C31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a:extLst>
              <a:ext uri="{FF2B5EF4-FFF2-40B4-BE49-F238E27FC236}">
                <a16:creationId xmlns:a16="http://schemas.microsoft.com/office/drawing/2014/main" id="{77813503-EE3B-DD44-A182-AEBB62F43A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D7422573-8DEA-2689-543E-7E2A86EF8543}"/>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a:extLst>
              <a:ext uri="{FF2B5EF4-FFF2-40B4-BE49-F238E27FC236}">
                <a16:creationId xmlns:a16="http://schemas.microsoft.com/office/drawing/2014/main" id="{E7CE1966-963C-3539-1159-D2E626A72D1E}"/>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8" name="Marcador de pie de página 7">
            <a:extLst>
              <a:ext uri="{FF2B5EF4-FFF2-40B4-BE49-F238E27FC236}">
                <a16:creationId xmlns:a16="http://schemas.microsoft.com/office/drawing/2014/main" id="{5EAA0F76-5693-81FC-1ECA-B562D26C54C0}"/>
              </a:ext>
            </a:extLst>
          </p:cNvPr>
          <p:cNvSpPr>
            <a:spLocks noGrp="1"/>
          </p:cNvSpPr>
          <p:nvPr>
            <p:ph type="ftr" sz="quarter" idx="11"/>
          </p:nvPr>
        </p:nvSpPr>
        <p:spPr/>
        <p:txBody>
          <a:bodyPr/>
          <a:lstStyle/>
          <a:p>
            <a:endParaRPr lang="en-US"/>
          </a:p>
        </p:txBody>
      </p:sp>
      <p:sp>
        <p:nvSpPr>
          <p:cNvPr id="9" name="Marcador de número de diapositiva 8">
            <a:extLst>
              <a:ext uri="{FF2B5EF4-FFF2-40B4-BE49-F238E27FC236}">
                <a16:creationId xmlns:a16="http://schemas.microsoft.com/office/drawing/2014/main" id="{75978D01-A474-2DA3-6A94-286DFA3DA5AF}"/>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1441423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A6D67-56AD-E26D-9B30-DBB833D7F6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CE5AA3-D525-0F6D-115B-76FCF02C0B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656099D-16A4-D63E-151D-08187264CC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31DEF3-CAF5-A1F9-FC16-BEF05A210B8C}"/>
              </a:ext>
            </a:extLst>
          </p:cNvPr>
          <p:cNvSpPr>
            <a:spLocks noGrp="1"/>
          </p:cNvSpPr>
          <p:nvPr>
            <p:ph type="dt" sz="half" idx="10"/>
          </p:nvPr>
        </p:nvSpPr>
        <p:spPr/>
        <p:txBody>
          <a:bodyPr/>
          <a:lstStyle/>
          <a:p>
            <a:fld id="{EAEBF0FD-9E96-48A6-9C57-A97FB36DF4B5}" type="datetime1">
              <a:rPr lang="en-US" smtClean="0"/>
              <a:t>2023-11-22</a:t>
            </a:fld>
            <a:endParaRPr lang="en-US"/>
          </a:p>
        </p:txBody>
      </p:sp>
      <p:sp>
        <p:nvSpPr>
          <p:cNvPr id="6" name="Footer Placeholder 5">
            <a:extLst>
              <a:ext uri="{FF2B5EF4-FFF2-40B4-BE49-F238E27FC236}">
                <a16:creationId xmlns:a16="http://schemas.microsoft.com/office/drawing/2014/main" id="{6198DA42-49A0-3F0B-1D02-8D9CD438FA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FF89C3-C134-A4C9-1556-B0CCA6002F2E}"/>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22400188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AB9BA41-B7D3-7D5E-48D1-CBC01F9ADD32}"/>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fecha 2">
            <a:extLst>
              <a:ext uri="{FF2B5EF4-FFF2-40B4-BE49-F238E27FC236}">
                <a16:creationId xmlns:a16="http://schemas.microsoft.com/office/drawing/2014/main" id="{3A66F084-D773-C52B-FE43-CF50F83AE69D}"/>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4" name="Marcador de pie de página 3">
            <a:extLst>
              <a:ext uri="{FF2B5EF4-FFF2-40B4-BE49-F238E27FC236}">
                <a16:creationId xmlns:a16="http://schemas.microsoft.com/office/drawing/2014/main" id="{F160FF46-6D68-3C4E-00E7-70AA4BAB828C}"/>
              </a:ext>
            </a:extLst>
          </p:cNvPr>
          <p:cNvSpPr>
            <a:spLocks noGrp="1"/>
          </p:cNvSpPr>
          <p:nvPr>
            <p:ph type="ftr" sz="quarter" idx="11"/>
          </p:nvPr>
        </p:nvSpPr>
        <p:spPr/>
        <p:txBody>
          <a:bodyPr/>
          <a:lstStyle/>
          <a:p>
            <a:endParaRPr lang="en-US"/>
          </a:p>
        </p:txBody>
      </p:sp>
      <p:sp>
        <p:nvSpPr>
          <p:cNvPr id="5" name="Marcador de número de diapositiva 4">
            <a:extLst>
              <a:ext uri="{FF2B5EF4-FFF2-40B4-BE49-F238E27FC236}">
                <a16:creationId xmlns:a16="http://schemas.microsoft.com/office/drawing/2014/main" id="{3E997261-9ED7-DA4D-DC9A-D1EE5643835C}"/>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32829443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77A1703D-7BEE-2F0B-88A6-07476A92E66A}"/>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3" name="Marcador de pie de página 2">
            <a:extLst>
              <a:ext uri="{FF2B5EF4-FFF2-40B4-BE49-F238E27FC236}">
                <a16:creationId xmlns:a16="http://schemas.microsoft.com/office/drawing/2014/main" id="{4DB300F5-F6AD-2353-3F66-F6C489D34037}"/>
              </a:ext>
            </a:extLst>
          </p:cNvPr>
          <p:cNvSpPr>
            <a:spLocks noGrp="1"/>
          </p:cNvSpPr>
          <p:nvPr>
            <p:ph type="ftr" sz="quarter" idx="11"/>
          </p:nvPr>
        </p:nvSpPr>
        <p:spPr/>
        <p:txBody>
          <a:bodyPr/>
          <a:lstStyle/>
          <a:p>
            <a:endParaRPr lang="en-US"/>
          </a:p>
        </p:txBody>
      </p:sp>
      <p:sp>
        <p:nvSpPr>
          <p:cNvPr id="4" name="Marcador de número de diapositiva 3">
            <a:extLst>
              <a:ext uri="{FF2B5EF4-FFF2-40B4-BE49-F238E27FC236}">
                <a16:creationId xmlns:a16="http://schemas.microsoft.com/office/drawing/2014/main" id="{FA8CCEEC-DA79-3880-FE3E-A19BEC92EECA}"/>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23328636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E4E76B3-7067-FA2A-084E-D6CCC9BE87E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BF1A11E4-AA33-2059-FF83-DA15C4EDC4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a:extLst>
              <a:ext uri="{FF2B5EF4-FFF2-40B4-BE49-F238E27FC236}">
                <a16:creationId xmlns:a16="http://schemas.microsoft.com/office/drawing/2014/main" id="{CA9B9A84-D323-BF2F-9FD2-BD81D713D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D0242C20-2171-D7F7-7FB8-CCF6E2C11DBC}"/>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6" name="Marcador de pie de página 5">
            <a:extLst>
              <a:ext uri="{FF2B5EF4-FFF2-40B4-BE49-F238E27FC236}">
                <a16:creationId xmlns:a16="http://schemas.microsoft.com/office/drawing/2014/main" id="{02963EC5-A91F-4A0B-C334-F96F57A26B61}"/>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26C0BAE1-1017-EB9A-6A3E-ED39A33464C2}"/>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8450425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B573DE-EC1D-B551-C5CB-0F446A1201B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a:extLst>
              <a:ext uri="{FF2B5EF4-FFF2-40B4-BE49-F238E27FC236}">
                <a16:creationId xmlns:a16="http://schemas.microsoft.com/office/drawing/2014/main" id="{A1A353D9-F4AA-FEBE-1519-B4C27302DC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a:extLst>
              <a:ext uri="{FF2B5EF4-FFF2-40B4-BE49-F238E27FC236}">
                <a16:creationId xmlns:a16="http://schemas.microsoft.com/office/drawing/2014/main" id="{D4871CC7-5120-F946-6411-02668638FB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64EE539-3886-B6E8-5FAD-37D7D9E2E7BE}"/>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6" name="Marcador de pie de página 5">
            <a:extLst>
              <a:ext uri="{FF2B5EF4-FFF2-40B4-BE49-F238E27FC236}">
                <a16:creationId xmlns:a16="http://schemas.microsoft.com/office/drawing/2014/main" id="{75C33D77-BEFB-2A24-96E0-F663D072E0BD}"/>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F77CE850-CD16-F449-EA44-5B4847AE3BFA}"/>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9726158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4B45CD-DF5D-1134-E28E-2D3FF909545B}"/>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616D5218-DE80-10A4-3601-0C631F167AA6}"/>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31D79410-4B86-96F6-E1E2-0F441D6644EB}"/>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EF502632-6D10-AD52-21C7-E6FBC69EF78E}"/>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08CC09B9-441C-214B-8CF5-76A53C956B48}"/>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11028829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F71C9412-EBF9-85FB-76A0-4B22538DFA4D}"/>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8BF274DE-75F6-905D-ED8D-32466DA71D43}"/>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DD369657-A613-B955-9A03-7829DDE93601}"/>
              </a:ext>
            </a:extLst>
          </p:cNvPr>
          <p:cNvSpPr>
            <a:spLocks noGrp="1"/>
          </p:cNvSpPr>
          <p:nvPr>
            <p:ph type="dt" sz="half" idx="10"/>
          </p:nvPr>
        </p:nvSpPr>
        <p:spPr/>
        <p:txBody>
          <a:body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B00E000B-DC0A-C7FC-57AE-823BB850ED88}"/>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80A299A1-7BEF-D723-C4FD-04C0E6EC21B9}"/>
              </a:ext>
            </a:extLst>
          </p:cNvPr>
          <p:cNvSpPr>
            <a:spLocks noGrp="1"/>
          </p:cNvSpPr>
          <p:nvPr>
            <p:ph type="sldNum" sz="quarter" idx="12"/>
          </p:nvPr>
        </p:nvSpPr>
        <p:spPr/>
        <p:txBody>
          <a:bodyPr/>
          <a:lstStyle/>
          <a:p>
            <a:fld id="{95E0FDB2-BF60-4A95-BDD7-07D1A9BAFA4E}" type="slidenum">
              <a:rPr lang="en-US" smtClean="0"/>
              <a:t>‹#›</a:t>
            </a:fld>
            <a:endParaRPr lang="en-US"/>
          </a:p>
        </p:txBody>
      </p:sp>
    </p:spTree>
    <p:extLst>
      <p:ext uri="{BB962C8B-B14F-4D97-AF65-F5344CB8AC3E}">
        <p14:creationId xmlns:p14="http://schemas.microsoft.com/office/powerpoint/2010/main" val="9252821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551F68-AD93-47A3-5317-E167BAAAD956}"/>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C4C70F51-4C63-96C6-5255-B7B923E208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7FE173-BC40-D563-06AD-34C7D5903864}"/>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9" name="Picture Placeholder 8">
            <a:extLst>
              <a:ext uri="{FF2B5EF4-FFF2-40B4-BE49-F238E27FC236}">
                <a16:creationId xmlns:a16="http://schemas.microsoft.com/office/drawing/2014/main" id="{571CB34F-C7E0-1CC0-3883-02467A51F2BB}"/>
              </a:ext>
            </a:extLst>
          </p:cNvPr>
          <p:cNvSpPr>
            <a:spLocks noGrp="1"/>
          </p:cNvSpPr>
          <p:nvPr>
            <p:ph type="pic" sz="quarter" idx="13"/>
          </p:nvPr>
        </p:nvSpPr>
        <p:spPr>
          <a:xfrm>
            <a:off x="5968126" y="1080986"/>
            <a:ext cx="5730619" cy="5777014"/>
          </a:xfrm>
          <a:custGeom>
            <a:avLst/>
            <a:gdLst>
              <a:gd name="connsiteX0" fmla="*/ 973423 w 5730619"/>
              <a:gd name="connsiteY0" fmla="*/ 4803591 h 5777014"/>
              <a:gd name="connsiteX1" fmla="*/ 1946846 w 5730619"/>
              <a:gd name="connsiteY1" fmla="*/ 5777014 h 5777014"/>
              <a:gd name="connsiteX2" fmla="*/ 0 w 5730619"/>
              <a:gd name="connsiteY2" fmla="*/ 5777014 h 5777014"/>
              <a:gd name="connsiteX3" fmla="*/ 2576786 w 5730619"/>
              <a:gd name="connsiteY3" fmla="*/ 3191722 h 5777014"/>
              <a:gd name="connsiteX4" fmla="*/ 4129421 w 5730619"/>
              <a:gd name="connsiteY4" fmla="*/ 4744357 h 5777014"/>
              <a:gd name="connsiteX5" fmla="*/ 3096764 w 5730619"/>
              <a:gd name="connsiteY5" fmla="*/ 5777014 h 5777014"/>
              <a:gd name="connsiteX6" fmla="*/ 2056808 w 5730619"/>
              <a:gd name="connsiteY6" fmla="*/ 5777014 h 5777014"/>
              <a:gd name="connsiteX7" fmla="*/ 1024151 w 5730619"/>
              <a:gd name="connsiteY7" fmla="*/ 4744357 h 5777014"/>
              <a:gd name="connsiteX8" fmla="*/ 4177984 w 5730619"/>
              <a:gd name="connsiteY8" fmla="*/ 1595861 h 5777014"/>
              <a:gd name="connsiteX9" fmla="*/ 5730619 w 5730619"/>
              <a:gd name="connsiteY9" fmla="*/ 3148496 h 5777014"/>
              <a:gd name="connsiteX10" fmla="*/ 4177984 w 5730619"/>
              <a:gd name="connsiteY10" fmla="*/ 4701131 h 5777014"/>
              <a:gd name="connsiteX11" fmla="*/ 2625349 w 5730619"/>
              <a:gd name="connsiteY11" fmla="*/ 3148496 h 5777014"/>
              <a:gd name="connsiteX12" fmla="*/ 2576786 w 5730619"/>
              <a:gd name="connsiteY12" fmla="*/ 0 h 5777014"/>
              <a:gd name="connsiteX13" fmla="*/ 4129421 w 5730619"/>
              <a:gd name="connsiteY13" fmla="*/ 1552635 h 5777014"/>
              <a:gd name="connsiteX14" fmla="*/ 2576786 w 5730619"/>
              <a:gd name="connsiteY14" fmla="*/ 3105270 h 5777014"/>
              <a:gd name="connsiteX15" fmla="*/ 1024151 w 5730619"/>
              <a:gd name="connsiteY15" fmla="*/ 1552635 h 577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30619" h="5777014">
                <a:moveTo>
                  <a:pt x="973423" y="4803591"/>
                </a:moveTo>
                <a:lnTo>
                  <a:pt x="1946846" y="5777014"/>
                </a:lnTo>
                <a:lnTo>
                  <a:pt x="0" y="5777014"/>
                </a:lnTo>
                <a:close/>
                <a:moveTo>
                  <a:pt x="2576786" y="3191722"/>
                </a:moveTo>
                <a:lnTo>
                  <a:pt x="4129421" y="4744357"/>
                </a:lnTo>
                <a:lnTo>
                  <a:pt x="3096764" y="5777014"/>
                </a:lnTo>
                <a:lnTo>
                  <a:pt x="2056808" y="5777014"/>
                </a:lnTo>
                <a:lnTo>
                  <a:pt x="1024151" y="4744357"/>
                </a:lnTo>
                <a:close/>
                <a:moveTo>
                  <a:pt x="4177984" y="1595861"/>
                </a:moveTo>
                <a:lnTo>
                  <a:pt x="5730619" y="3148496"/>
                </a:lnTo>
                <a:lnTo>
                  <a:pt x="4177984" y="4701131"/>
                </a:lnTo>
                <a:lnTo>
                  <a:pt x="2625349" y="3148496"/>
                </a:lnTo>
                <a:close/>
                <a:moveTo>
                  <a:pt x="2576786" y="0"/>
                </a:moveTo>
                <a:lnTo>
                  <a:pt x="4129421" y="1552635"/>
                </a:lnTo>
                <a:lnTo>
                  <a:pt x="2576786" y="3105270"/>
                </a:lnTo>
                <a:lnTo>
                  <a:pt x="1024151" y="1552635"/>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2371810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49ABB-5BB2-3AB2-6EE5-B17398FE361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C3D8C4-F3AB-7E04-5A57-9E8A13DB5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9761FB7-AA34-319F-5D26-64B0D316FC7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414008-9EEA-68F7-8056-4651B28C97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34A6AE-D3C8-A3B2-DEB8-2D2CCE236B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74E3123-3A79-5AB2-5976-7C71C15EA0A4}"/>
              </a:ext>
            </a:extLst>
          </p:cNvPr>
          <p:cNvSpPr>
            <a:spLocks noGrp="1"/>
          </p:cNvSpPr>
          <p:nvPr>
            <p:ph type="dt" sz="half" idx="10"/>
          </p:nvPr>
        </p:nvSpPr>
        <p:spPr/>
        <p:txBody>
          <a:bodyPr/>
          <a:lstStyle/>
          <a:p>
            <a:fld id="{01E4CB1D-2F83-4D65-A6AD-AD648F0977BB}" type="datetime1">
              <a:rPr lang="en-US" smtClean="0"/>
              <a:t>2023-11-22</a:t>
            </a:fld>
            <a:endParaRPr lang="en-US"/>
          </a:p>
        </p:txBody>
      </p:sp>
      <p:sp>
        <p:nvSpPr>
          <p:cNvPr id="8" name="Footer Placeholder 7">
            <a:extLst>
              <a:ext uri="{FF2B5EF4-FFF2-40B4-BE49-F238E27FC236}">
                <a16:creationId xmlns:a16="http://schemas.microsoft.com/office/drawing/2014/main" id="{0E4D433E-E600-F494-C7C4-B89190FC13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47B19CC-47E2-925C-7E21-51F30631EBCE}"/>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1612116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F4A00-5E19-1CD9-9F8C-DEFFFEFF84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11BF5B5-2825-A1DF-13D8-F54C4CF89012}"/>
              </a:ext>
            </a:extLst>
          </p:cNvPr>
          <p:cNvSpPr>
            <a:spLocks noGrp="1"/>
          </p:cNvSpPr>
          <p:nvPr>
            <p:ph type="dt" sz="half" idx="10"/>
          </p:nvPr>
        </p:nvSpPr>
        <p:spPr/>
        <p:txBody>
          <a:bodyPr/>
          <a:lstStyle/>
          <a:p>
            <a:fld id="{713B2546-6C42-4559-9DB3-7AFB41C8D5CF}" type="datetime1">
              <a:rPr lang="en-US" smtClean="0"/>
              <a:t>2023-11-22</a:t>
            </a:fld>
            <a:endParaRPr lang="en-US"/>
          </a:p>
        </p:txBody>
      </p:sp>
      <p:sp>
        <p:nvSpPr>
          <p:cNvPr id="4" name="Footer Placeholder 3">
            <a:extLst>
              <a:ext uri="{FF2B5EF4-FFF2-40B4-BE49-F238E27FC236}">
                <a16:creationId xmlns:a16="http://schemas.microsoft.com/office/drawing/2014/main" id="{6664A9E5-F2F0-C2BA-087B-EDF4432C9F1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2CD3860-A784-BE28-A8A1-6040CA7C95D3}"/>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9169779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1FE3B4-8805-5195-0769-CFC43170B0B6}"/>
              </a:ext>
            </a:extLst>
          </p:cNvPr>
          <p:cNvSpPr>
            <a:spLocks noGrp="1"/>
          </p:cNvSpPr>
          <p:nvPr>
            <p:ph type="dt" sz="half" idx="10"/>
          </p:nvPr>
        </p:nvSpPr>
        <p:spPr/>
        <p:txBody>
          <a:bodyPr/>
          <a:lstStyle/>
          <a:p>
            <a:fld id="{75987A14-F37E-483E-B172-AADDD31518C2}" type="datetime1">
              <a:rPr lang="en-US" smtClean="0"/>
              <a:t>2023-11-22</a:t>
            </a:fld>
            <a:endParaRPr lang="en-US"/>
          </a:p>
        </p:txBody>
      </p:sp>
      <p:sp>
        <p:nvSpPr>
          <p:cNvPr id="3" name="Footer Placeholder 2">
            <a:extLst>
              <a:ext uri="{FF2B5EF4-FFF2-40B4-BE49-F238E27FC236}">
                <a16:creationId xmlns:a16="http://schemas.microsoft.com/office/drawing/2014/main" id="{0FB7EE56-66D7-4213-0815-2C62EDE40D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0A84D1-3C7F-12E7-E86A-D650CB102179}"/>
              </a:ext>
            </a:extLst>
          </p:cNvPr>
          <p:cNvSpPr>
            <a:spLocks noGrp="1"/>
          </p:cNvSpPr>
          <p:nvPr>
            <p:ph type="sldNum" sz="quarter" idx="12"/>
          </p:nvPr>
        </p:nvSpPr>
        <p:spPr/>
        <p:txBody>
          <a:bodyPr/>
          <a:lstStyle/>
          <a:p>
            <a:fld id="{BAA9021D-9B96-4B30-92A0-C1A8EC1C2159}" type="slidenum">
              <a:rPr lang="en-US" smtClean="0"/>
              <a:t>‹#›</a:t>
            </a:fld>
            <a:endParaRPr lang="en-US"/>
          </a:p>
        </p:txBody>
      </p:sp>
    </p:spTree>
    <p:extLst>
      <p:ext uri="{BB962C8B-B14F-4D97-AF65-F5344CB8AC3E}">
        <p14:creationId xmlns:p14="http://schemas.microsoft.com/office/powerpoint/2010/main" val="37892706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2BD77D2-CBA2-5239-167A-2F8D0BA5451D}"/>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986CAE01-37C9-7F19-B6A1-A2086B0663D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54979EC-E837-91F3-8A67-D17109BCA1CE}"/>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9" name="Picture Placeholder 8">
            <a:extLst>
              <a:ext uri="{FF2B5EF4-FFF2-40B4-BE49-F238E27FC236}">
                <a16:creationId xmlns:a16="http://schemas.microsoft.com/office/drawing/2014/main" id="{6A6F4870-B515-5AD1-22C5-D3B1578F30A1}"/>
              </a:ext>
            </a:extLst>
          </p:cNvPr>
          <p:cNvSpPr>
            <a:spLocks noGrp="1"/>
          </p:cNvSpPr>
          <p:nvPr>
            <p:ph type="pic" sz="quarter" idx="13"/>
          </p:nvPr>
        </p:nvSpPr>
        <p:spPr>
          <a:xfrm>
            <a:off x="3368021" y="2591629"/>
            <a:ext cx="5243860" cy="4266373"/>
          </a:xfrm>
          <a:custGeom>
            <a:avLst/>
            <a:gdLst>
              <a:gd name="connsiteX0" fmla="*/ 3353062 w 5243860"/>
              <a:gd name="connsiteY0" fmla="*/ 0 h 4266373"/>
              <a:gd name="connsiteX1" fmla="*/ 5243860 w 5243860"/>
              <a:gd name="connsiteY1" fmla="*/ 1486032 h 4266373"/>
              <a:gd name="connsiteX2" fmla="*/ 3058713 w 5243860"/>
              <a:gd name="connsiteY2" fmla="*/ 4266373 h 4266373"/>
              <a:gd name="connsiteX3" fmla="*/ 0 w 5243860"/>
              <a:gd name="connsiteY3" fmla="*/ 4266372 h 4266373"/>
            </a:gdLst>
            <a:ahLst/>
            <a:cxnLst>
              <a:cxn ang="0">
                <a:pos x="connsiteX0" y="connsiteY0"/>
              </a:cxn>
              <a:cxn ang="0">
                <a:pos x="connsiteX1" y="connsiteY1"/>
              </a:cxn>
              <a:cxn ang="0">
                <a:pos x="connsiteX2" y="connsiteY2"/>
              </a:cxn>
              <a:cxn ang="0">
                <a:pos x="connsiteX3" y="connsiteY3"/>
              </a:cxn>
            </a:cxnLst>
            <a:rect l="l" t="t" r="r" b="b"/>
            <a:pathLst>
              <a:path w="5243860" h="4266373">
                <a:moveTo>
                  <a:pt x="3353062" y="0"/>
                </a:moveTo>
                <a:lnTo>
                  <a:pt x="5243860" y="1486032"/>
                </a:lnTo>
                <a:lnTo>
                  <a:pt x="3058713" y="4266373"/>
                </a:lnTo>
                <a:lnTo>
                  <a:pt x="0" y="4266372"/>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23039753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E326222-1B8D-D9E0-63AD-A29FBFDE7E28}"/>
              </a:ext>
            </a:extLst>
          </p:cNvPr>
          <p:cNvSpPr>
            <a:spLocks noGrp="1"/>
          </p:cNvSpPr>
          <p:nvPr>
            <p:ph type="dt" sz="half" idx="10"/>
          </p:nvPr>
        </p:nvSpPr>
        <p:spPr/>
        <p:txBody>
          <a:bodyPr/>
          <a:lstStyle/>
          <a:p>
            <a:fld id="{B9CC3159-75E9-463C-B1F9-3FF9AE48FCC4}" type="datetime1">
              <a:rPr lang="en-US" smtClean="0"/>
              <a:pPr/>
              <a:t>2023-11-22</a:t>
            </a:fld>
            <a:endParaRPr lang="en-US"/>
          </a:p>
        </p:txBody>
      </p:sp>
      <p:sp>
        <p:nvSpPr>
          <p:cNvPr id="4" name="Footer Placeholder 3">
            <a:extLst>
              <a:ext uri="{FF2B5EF4-FFF2-40B4-BE49-F238E27FC236}">
                <a16:creationId xmlns:a16="http://schemas.microsoft.com/office/drawing/2014/main" id="{6186D5BA-45F6-4997-B261-AB658887F98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EF9B1FA-376D-EE68-4AA3-43244B9C51F2}"/>
              </a:ext>
            </a:extLst>
          </p:cNvPr>
          <p:cNvSpPr>
            <a:spLocks noGrp="1"/>
          </p:cNvSpPr>
          <p:nvPr>
            <p:ph type="sldNum" sz="quarter" idx="12"/>
          </p:nvPr>
        </p:nvSpPr>
        <p:spPr/>
        <p:txBody>
          <a:bodyPr/>
          <a:lstStyle/>
          <a:p>
            <a:fld id="{BAA9021D-9B96-4B30-92A0-C1A8EC1C2159}" type="slidenum">
              <a:rPr lang="en-US" smtClean="0"/>
              <a:pPr/>
              <a:t>‹#›</a:t>
            </a:fld>
            <a:endParaRPr lang="en-US"/>
          </a:p>
        </p:txBody>
      </p:sp>
      <p:sp>
        <p:nvSpPr>
          <p:cNvPr id="11" name="Picture Placeholder 10">
            <a:extLst>
              <a:ext uri="{FF2B5EF4-FFF2-40B4-BE49-F238E27FC236}">
                <a16:creationId xmlns:a16="http://schemas.microsoft.com/office/drawing/2014/main" id="{1E5D5AB6-F02A-B47A-4BDB-2F19771598B9}"/>
              </a:ext>
            </a:extLst>
          </p:cNvPr>
          <p:cNvSpPr>
            <a:spLocks noGrp="1"/>
          </p:cNvSpPr>
          <p:nvPr>
            <p:ph type="pic" sz="quarter" idx="13"/>
          </p:nvPr>
        </p:nvSpPr>
        <p:spPr>
          <a:xfrm>
            <a:off x="1211608" y="1626757"/>
            <a:ext cx="2931030" cy="2932000"/>
          </a:xfrm>
          <a:custGeom>
            <a:avLst/>
            <a:gdLst>
              <a:gd name="connsiteX0" fmla="*/ 1291845 w 2931030"/>
              <a:gd name="connsiteY0" fmla="*/ 0 h 2932000"/>
              <a:gd name="connsiteX1" fmla="*/ 2931030 w 2931030"/>
              <a:gd name="connsiteY1" fmla="*/ 1288282 h 2932000"/>
              <a:gd name="connsiteX2" fmla="*/ 1639186 w 2931030"/>
              <a:gd name="connsiteY2" fmla="*/ 2932000 h 2932000"/>
              <a:gd name="connsiteX3" fmla="*/ 0 w 2931030"/>
              <a:gd name="connsiteY3" fmla="*/ 1643718 h 2932000"/>
            </a:gdLst>
            <a:ahLst/>
            <a:cxnLst>
              <a:cxn ang="0">
                <a:pos x="connsiteX0" y="connsiteY0"/>
              </a:cxn>
              <a:cxn ang="0">
                <a:pos x="connsiteX1" y="connsiteY1"/>
              </a:cxn>
              <a:cxn ang="0">
                <a:pos x="connsiteX2" y="connsiteY2"/>
              </a:cxn>
              <a:cxn ang="0">
                <a:pos x="connsiteX3" y="connsiteY3"/>
              </a:cxn>
            </a:cxnLst>
            <a:rect l="l" t="t" r="r" b="b"/>
            <a:pathLst>
              <a:path w="2931030" h="2932000">
                <a:moveTo>
                  <a:pt x="1291845" y="0"/>
                </a:moveTo>
                <a:lnTo>
                  <a:pt x="2931030" y="1288282"/>
                </a:lnTo>
                <a:lnTo>
                  <a:pt x="1639186" y="2932000"/>
                </a:lnTo>
                <a:lnTo>
                  <a:pt x="0" y="1643718"/>
                </a:lnTo>
                <a:close/>
              </a:path>
            </a:pathLst>
          </a:custGeom>
          <a:solidFill>
            <a:schemeClr val="bg1">
              <a:lumMod val="85000"/>
            </a:schemeClr>
          </a:solidFill>
        </p:spPr>
        <p:txBody>
          <a:bodyPr wrap="square">
            <a:noAutofit/>
          </a:bodyPr>
          <a:lstStyle/>
          <a:p>
            <a:endParaRPr lang="en-US"/>
          </a:p>
        </p:txBody>
      </p:sp>
      <p:sp>
        <p:nvSpPr>
          <p:cNvPr id="14" name="Picture Placeholder 13">
            <a:extLst>
              <a:ext uri="{FF2B5EF4-FFF2-40B4-BE49-F238E27FC236}">
                <a16:creationId xmlns:a16="http://schemas.microsoft.com/office/drawing/2014/main" id="{B429EF3D-E135-7684-01F0-B75A307713D8}"/>
              </a:ext>
            </a:extLst>
          </p:cNvPr>
          <p:cNvSpPr>
            <a:spLocks noGrp="1"/>
          </p:cNvSpPr>
          <p:nvPr>
            <p:ph type="pic" sz="quarter" idx="14"/>
          </p:nvPr>
        </p:nvSpPr>
        <p:spPr>
          <a:xfrm>
            <a:off x="2880130" y="2935695"/>
            <a:ext cx="2931030" cy="2932000"/>
          </a:xfrm>
          <a:custGeom>
            <a:avLst/>
            <a:gdLst>
              <a:gd name="connsiteX0" fmla="*/ 1291845 w 2931030"/>
              <a:gd name="connsiteY0" fmla="*/ 0 h 2932000"/>
              <a:gd name="connsiteX1" fmla="*/ 2931030 w 2931030"/>
              <a:gd name="connsiteY1" fmla="*/ 1288282 h 2932000"/>
              <a:gd name="connsiteX2" fmla="*/ 1639186 w 2931030"/>
              <a:gd name="connsiteY2" fmla="*/ 2932000 h 2932000"/>
              <a:gd name="connsiteX3" fmla="*/ 0 w 2931030"/>
              <a:gd name="connsiteY3" fmla="*/ 1643718 h 2932000"/>
            </a:gdLst>
            <a:ahLst/>
            <a:cxnLst>
              <a:cxn ang="0">
                <a:pos x="connsiteX0" y="connsiteY0"/>
              </a:cxn>
              <a:cxn ang="0">
                <a:pos x="connsiteX1" y="connsiteY1"/>
              </a:cxn>
              <a:cxn ang="0">
                <a:pos x="connsiteX2" y="connsiteY2"/>
              </a:cxn>
              <a:cxn ang="0">
                <a:pos x="connsiteX3" y="connsiteY3"/>
              </a:cxn>
            </a:cxnLst>
            <a:rect l="l" t="t" r="r" b="b"/>
            <a:pathLst>
              <a:path w="2931030" h="2932000">
                <a:moveTo>
                  <a:pt x="1291845" y="0"/>
                </a:moveTo>
                <a:lnTo>
                  <a:pt x="2931030" y="1288282"/>
                </a:lnTo>
                <a:lnTo>
                  <a:pt x="1639186" y="2932000"/>
                </a:lnTo>
                <a:lnTo>
                  <a:pt x="0" y="1643718"/>
                </a:lnTo>
                <a:close/>
              </a:path>
            </a:pathLst>
          </a:custGeom>
          <a:solidFill>
            <a:schemeClr val="bg1">
              <a:lumMod val="85000"/>
            </a:schemeClr>
          </a:solidFill>
        </p:spPr>
        <p:txBody>
          <a:bodyPr wrap="square">
            <a:noAutofit/>
          </a:bodyPr>
          <a:lstStyle/>
          <a:p>
            <a:endParaRPr lang="en-US"/>
          </a:p>
        </p:txBody>
      </p:sp>
      <p:sp>
        <p:nvSpPr>
          <p:cNvPr id="17" name="Picture Placeholder 16">
            <a:extLst>
              <a:ext uri="{FF2B5EF4-FFF2-40B4-BE49-F238E27FC236}">
                <a16:creationId xmlns:a16="http://schemas.microsoft.com/office/drawing/2014/main" id="{298991CC-E6AF-9234-EC1C-339FD51CD50F}"/>
              </a:ext>
            </a:extLst>
          </p:cNvPr>
          <p:cNvSpPr>
            <a:spLocks noGrp="1"/>
          </p:cNvSpPr>
          <p:nvPr>
            <p:ph type="pic" sz="quarter" idx="15"/>
          </p:nvPr>
        </p:nvSpPr>
        <p:spPr>
          <a:xfrm>
            <a:off x="4194518" y="1267174"/>
            <a:ext cx="2931030" cy="2932000"/>
          </a:xfrm>
          <a:custGeom>
            <a:avLst/>
            <a:gdLst>
              <a:gd name="connsiteX0" fmla="*/ 1291845 w 2931030"/>
              <a:gd name="connsiteY0" fmla="*/ 0 h 2932000"/>
              <a:gd name="connsiteX1" fmla="*/ 2931030 w 2931030"/>
              <a:gd name="connsiteY1" fmla="*/ 1288282 h 2932000"/>
              <a:gd name="connsiteX2" fmla="*/ 1639186 w 2931030"/>
              <a:gd name="connsiteY2" fmla="*/ 2932000 h 2932000"/>
              <a:gd name="connsiteX3" fmla="*/ 0 w 2931030"/>
              <a:gd name="connsiteY3" fmla="*/ 1643718 h 2932000"/>
            </a:gdLst>
            <a:ahLst/>
            <a:cxnLst>
              <a:cxn ang="0">
                <a:pos x="connsiteX0" y="connsiteY0"/>
              </a:cxn>
              <a:cxn ang="0">
                <a:pos x="connsiteX1" y="connsiteY1"/>
              </a:cxn>
              <a:cxn ang="0">
                <a:pos x="connsiteX2" y="connsiteY2"/>
              </a:cxn>
              <a:cxn ang="0">
                <a:pos x="connsiteX3" y="connsiteY3"/>
              </a:cxn>
            </a:cxnLst>
            <a:rect l="l" t="t" r="r" b="b"/>
            <a:pathLst>
              <a:path w="2931030" h="2932000">
                <a:moveTo>
                  <a:pt x="1291845" y="0"/>
                </a:moveTo>
                <a:lnTo>
                  <a:pt x="2931030" y="1288282"/>
                </a:lnTo>
                <a:lnTo>
                  <a:pt x="1639186" y="2932000"/>
                </a:lnTo>
                <a:lnTo>
                  <a:pt x="0" y="1643718"/>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992855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1000"/>
                                        <p:tgtEl>
                                          <p:spTgt spid="11"/>
                                        </p:tgtEl>
                                      </p:cBhvr>
                                    </p:animEffect>
                                  </p:childTnLst>
                                </p:cTn>
                              </p:par>
                              <p:par>
                                <p:cTn id="8" presetID="22" presetClass="entr" presetSubtype="1" fill="hold" grpId="0" nodeType="withEffect">
                                  <p:stCondLst>
                                    <p:cond delay="20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1000"/>
                                        <p:tgtEl>
                                          <p:spTgt spid="14"/>
                                        </p:tgtEl>
                                      </p:cBhvr>
                                    </p:animEffect>
                                  </p:childTnLst>
                                </p:cTn>
                              </p:par>
                              <p:par>
                                <p:cTn id="11" presetID="22" presetClass="entr" presetSubtype="1" fill="hold" grpId="0" nodeType="withEffect">
                                  <p:stCondLst>
                                    <p:cond delay="300"/>
                                  </p:stCondLst>
                                  <p:childTnLst>
                                    <p:set>
                                      <p:cBhvr>
                                        <p:cTn id="12" dur="1" fill="hold">
                                          <p:stCondLst>
                                            <p:cond delay="0"/>
                                          </p:stCondLst>
                                        </p:cTn>
                                        <p:tgtEl>
                                          <p:spTgt spid="17"/>
                                        </p:tgtEl>
                                        <p:attrNameLst>
                                          <p:attrName>style.visibility</p:attrName>
                                        </p:attrNameLst>
                                      </p:cBhvr>
                                      <p:to>
                                        <p:strVal val="visible"/>
                                      </p:to>
                                    </p:set>
                                    <p:animEffect transition="in" filter="wipe(up)">
                                      <p:cBhvr>
                                        <p:cTn id="13"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7" grpId="0" animBg="1"/>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94455B-94EF-049B-2061-5A47F4633391}"/>
              </a:ext>
            </a:extLst>
          </p:cNvPr>
          <p:cNvSpPr>
            <a:spLocks noGrp="1"/>
          </p:cNvSpPr>
          <p:nvPr>
            <p:ph type="title"/>
          </p:nvPr>
        </p:nvSpPr>
        <p:spPr>
          <a:xfrm>
            <a:off x="838200" y="1039092"/>
            <a:ext cx="10515600" cy="65159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F124F0-1BCC-CE6A-8605-96EA5E93F7FD}"/>
              </a:ext>
            </a:extLst>
          </p:cNvPr>
          <p:cNvSpPr>
            <a:spLocks noGrp="1"/>
          </p:cNvSpPr>
          <p:nvPr>
            <p:ph type="body" idx="1"/>
          </p:nvPr>
        </p:nvSpPr>
        <p:spPr>
          <a:xfrm>
            <a:off x="838200" y="1825625"/>
            <a:ext cx="10515600" cy="351908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ABEFDF-EEF7-4BE0-51E2-8D646BF43EC6}"/>
              </a:ext>
            </a:extLst>
          </p:cNvPr>
          <p:cNvSpPr>
            <a:spLocks noGrp="1"/>
          </p:cNvSpPr>
          <p:nvPr>
            <p:ph type="dt" sz="half" idx="2"/>
          </p:nvPr>
        </p:nvSpPr>
        <p:spPr>
          <a:xfrm>
            <a:off x="634999" y="6356351"/>
            <a:ext cx="1655618" cy="187246"/>
          </a:xfrm>
          <a:prstGeom prst="rect">
            <a:avLst/>
          </a:prstGeom>
        </p:spPr>
        <p:txBody>
          <a:bodyPr vert="horz" lIns="91440" tIns="45720" rIns="91440" bIns="45720" rtlCol="0" anchor="ctr"/>
          <a:lstStyle>
            <a:lvl1pPr algn="l">
              <a:defRPr sz="800">
                <a:solidFill>
                  <a:schemeClr val="tx1">
                    <a:tint val="75000"/>
                  </a:schemeClr>
                </a:solidFill>
              </a:defRPr>
            </a:lvl1pPr>
          </a:lstStyle>
          <a:p>
            <a:fld id="{B9CC3159-75E9-463C-B1F9-3FF9AE48FCC4}" type="datetime1">
              <a:rPr lang="en-US" smtClean="0"/>
              <a:pPr/>
              <a:t>2023-11-22</a:t>
            </a:fld>
            <a:endParaRPr lang="en-US"/>
          </a:p>
        </p:txBody>
      </p:sp>
      <p:sp>
        <p:nvSpPr>
          <p:cNvPr id="5" name="Footer Placeholder 4">
            <a:extLst>
              <a:ext uri="{FF2B5EF4-FFF2-40B4-BE49-F238E27FC236}">
                <a16:creationId xmlns:a16="http://schemas.microsoft.com/office/drawing/2014/main" id="{CA20E7CD-2C78-A2A7-159F-E47752A349F1}"/>
              </a:ext>
            </a:extLst>
          </p:cNvPr>
          <p:cNvSpPr>
            <a:spLocks noGrp="1"/>
          </p:cNvSpPr>
          <p:nvPr>
            <p:ph type="ftr" sz="quarter" idx="3"/>
          </p:nvPr>
        </p:nvSpPr>
        <p:spPr>
          <a:xfrm>
            <a:off x="2332181" y="6356351"/>
            <a:ext cx="4087091" cy="187246"/>
          </a:xfrm>
          <a:prstGeom prst="rect">
            <a:avLst/>
          </a:prstGeom>
        </p:spPr>
        <p:txBody>
          <a:bodyPr vert="horz" lIns="91440" tIns="45720" rIns="91440" bIns="45720" rtlCol="0" anchor="ctr"/>
          <a:lstStyle>
            <a:lvl1pPr algn="l">
              <a:defRPr sz="800">
                <a:solidFill>
                  <a:schemeClr val="tx1">
                    <a:tint val="75000"/>
                  </a:schemeClr>
                </a:solidFill>
              </a:defRPr>
            </a:lvl1pPr>
          </a:lstStyle>
          <a:p>
            <a:endParaRPr lang="en-US" dirty="0"/>
          </a:p>
        </p:txBody>
      </p:sp>
      <p:cxnSp>
        <p:nvCxnSpPr>
          <p:cNvPr id="7" name="Straight Connector 6">
            <a:extLst>
              <a:ext uri="{FF2B5EF4-FFF2-40B4-BE49-F238E27FC236}">
                <a16:creationId xmlns:a16="http://schemas.microsoft.com/office/drawing/2014/main" id="{0882F5D4-DA61-B2E3-83BA-3897FC1C9CDC}"/>
              </a:ext>
            </a:extLst>
          </p:cNvPr>
          <p:cNvCxnSpPr>
            <a:cxnSpLocks/>
          </p:cNvCxnSpPr>
          <p:nvPr userDrawn="1"/>
        </p:nvCxnSpPr>
        <p:spPr>
          <a:xfrm flipH="1">
            <a:off x="1187824" y="529646"/>
            <a:ext cx="84549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9C692A13-F55B-4150-F01D-E2C60062D04E}"/>
              </a:ext>
            </a:extLst>
          </p:cNvPr>
          <p:cNvSpPr/>
          <p:nvPr userDrawn="1"/>
        </p:nvSpPr>
        <p:spPr>
          <a:xfrm>
            <a:off x="574414" y="314404"/>
            <a:ext cx="369733" cy="3697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73FE9AE1-0D6F-F330-0FE2-C0EC7F5AFF81}"/>
              </a:ext>
            </a:extLst>
          </p:cNvPr>
          <p:cNvSpPr>
            <a:spLocks noGrp="1"/>
          </p:cNvSpPr>
          <p:nvPr>
            <p:ph type="sldNum" sz="quarter" idx="4"/>
          </p:nvPr>
        </p:nvSpPr>
        <p:spPr>
          <a:xfrm>
            <a:off x="574413" y="313927"/>
            <a:ext cx="369734" cy="365125"/>
          </a:xfrm>
          <a:prstGeom prst="rect">
            <a:avLst/>
          </a:prstGeom>
        </p:spPr>
        <p:txBody>
          <a:bodyPr vert="horz" lIns="91440" tIns="45720" rIns="91440" bIns="45720" rtlCol="0" anchor="ctr"/>
          <a:lstStyle>
            <a:lvl1pPr algn="ctr">
              <a:defRPr sz="1100">
                <a:solidFill>
                  <a:schemeClr val="tx1">
                    <a:lumMod val="75000"/>
                    <a:lumOff val="25000"/>
                  </a:schemeClr>
                </a:solidFill>
              </a:defRPr>
            </a:lvl1pPr>
          </a:lstStyle>
          <a:p>
            <a:fld id="{BAA9021D-9B96-4B30-92A0-C1A8EC1C2159}" type="slidenum">
              <a:rPr lang="en-US" smtClean="0"/>
              <a:pPr/>
              <a:t>‹#›</a:t>
            </a:fld>
            <a:endParaRPr lang="en-US"/>
          </a:p>
        </p:txBody>
      </p:sp>
      <p:pic>
        <p:nvPicPr>
          <p:cNvPr id="9" name="Picture 8" descr="A picture containing text, clock, clipart&#10;&#10;Description automatically generated">
            <a:extLst>
              <a:ext uri="{FF2B5EF4-FFF2-40B4-BE49-F238E27FC236}">
                <a16:creationId xmlns:a16="http://schemas.microsoft.com/office/drawing/2014/main" id="{0DAAFBF3-0FC9-C454-3A25-B151B15A158C}"/>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087399" y="375155"/>
            <a:ext cx="1710783" cy="308982"/>
          </a:xfrm>
          <a:prstGeom prst="rect">
            <a:avLst/>
          </a:prstGeom>
        </p:spPr>
      </p:pic>
    </p:spTree>
    <p:extLst>
      <p:ext uri="{BB962C8B-B14F-4D97-AF65-F5344CB8AC3E}">
        <p14:creationId xmlns:p14="http://schemas.microsoft.com/office/powerpoint/2010/main" val="29789548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44954C8C-80FC-9CAD-9C50-44A338CDFA7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752B9B86-F96F-4A77-9EF8-DBE4715789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005B0F6A-991B-DC49-3750-6C6C975AF9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7456CB-E735-495B-B210-FE03A6A30CBB}" type="datetimeFigureOut">
              <a:rPr lang="en-US" smtClean="0"/>
              <a:t>2023-11-22</a:t>
            </a:fld>
            <a:endParaRPr lang="en-US"/>
          </a:p>
        </p:txBody>
      </p:sp>
      <p:sp>
        <p:nvSpPr>
          <p:cNvPr id="5" name="Marcador de pie de página 4">
            <a:extLst>
              <a:ext uri="{FF2B5EF4-FFF2-40B4-BE49-F238E27FC236}">
                <a16:creationId xmlns:a16="http://schemas.microsoft.com/office/drawing/2014/main" id="{00755E86-D8D7-1032-062E-6779A8D095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Marcador de número de diapositiva 5">
            <a:extLst>
              <a:ext uri="{FF2B5EF4-FFF2-40B4-BE49-F238E27FC236}">
                <a16:creationId xmlns:a16="http://schemas.microsoft.com/office/drawing/2014/main" id="{BE488FAB-9A1A-A6B0-709B-106320A111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E0FDB2-BF60-4A95-BDD7-07D1A9BAFA4E}" type="slidenum">
              <a:rPr lang="en-US" smtClean="0"/>
              <a:t>‹#›</a:t>
            </a:fld>
            <a:endParaRPr lang="en-US"/>
          </a:p>
        </p:txBody>
      </p:sp>
    </p:spTree>
    <p:extLst>
      <p:ext uri="{BB962C8B-B14F-4D97-AF65-F5344CB8AC3E}">
        <p14:creationId xmlns:p14="http://schemas.microsoft.com/office/powerpoint/2010/main" val="218396355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4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Layout" Target="../slideLayouts/slideLayout23.xml"/><Relationship Id="rId5" Type="http://schemas.openxmlformats.org/officeDocument/2006/relationships/image" Target="../media/image4.pn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3" Type="http://schemas.openxmlformats.org/officeDocument/2006/relationships/hyperlink" Target="https://healthicon.co/" TargetMode="External"/><Relationship Id="rId2" Type="http://schemas.openxmlformats.org/officeDocument/2006/relationships/image" Target="../media/image6.png"/><Relationship Id="rId1" Type="http://schemas.openxmlformats.org/officeDocument/2006/relationships/slideLayout" Target="../slideLayouts/slideLayout36.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hyperlink" Target="https://healthicon.co/" TargetMode="External"/><Relationship Id="rId7" Type="http://schemas.openxmlformats.org/officeDocument/2006/relationships/chart" Target="../charts/chart5.xml"/><Relationship Id="rId2" Type="http://schemas.openxmlformats.org/officeDocument/2006/relationships/image" Target="../media/image6.png"/><Relationship Id="rId1" Type="http://schemas.openxmlformats.org/officeDocument/2006/relationships/slideLayout" Target="../slideLayouts/slideLayout3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hyperlink" Target="https://healthicon.co/" TargetMode="External"/><Relationship Id="rId2" Type="http://schemas.openxmlformats.org/officeDocument/2006/relationships/image" Target="../media/image6.png"/><Relationship Id="rId1" Type="http://schemas.openxmlformats.org/officeDocument/2006/relationships/slideLayout" Target="../slideLayouts/slideLayout36.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healthicon.co/" TargetMode="External"/><Relationship Id="rId1" Type="http://schemas.openxmlformats.org/officeDocument/2006/relationships/slideLayout" Target="../slideLayouts/slideLayout36.xml"/><Relationship Id="rId6" Type="http://schemas.microsoft.com/office/2007/relationships/hdphoto" Target="../media/hdphoto6.wdp"/><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8.png"/><Relationship Id="rId3" Type="http://schemas.openxmlformats.org/officeDocument/2006/relationships/chart" Target="../charts/chart7.xml"/><Relationship Id="rId7" Type="http://schemas.openxmlformats.org/officeDocument/2006/relationships/chart" Target="../charts/chart11.xml"/><Relationship Id="rId12" Type="http://schemas.openxmlformats.org/officeDocument/2006/relationships/image" Target="../media/image47.png"/><Relationship Id="rId2" Type="http://schemas.openxmlformats.org/officeDocument/2006/relationships/chart" Target="../charts/chart6.xml"/><Relationship Id="rId1" Type="http://schemas.openxmlformats.org/officeDocument/2006/relationships/slideLayout" Target="../slideLayouts/slideLayout8.xml"/><Relationship Id="rId6" Type="http://schemas.openxmlformats.org/officeDocument/2006/relationships/chart" Target="../charts/chart10.xml"/><Relationship Id="rId11" Type="http://schemas.openxmlformats.org/officeDocument/2006/relationships/image" Target="../media/image46.png"/><Relationship Id="rId5" Type="http://schemas.openxmlformats.org/officeDocument/2006/relationships/chart" Target="../charts/chart9.xml"/><Relationship Id="rId10" Type="http://schemas.openxmlformats.org/officeDocument/2006/relationships/image" Target="../media/image45.png"/><Relationship Id="rId4" Type="http://schemas.openxmlformats.org/officeDocument/2006/relationships/chart" Target="../charts/chart8.xml"/><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9.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jpeg"/></Relationships>
</file>

<file path=ppt/slides/_rels/slide16.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jpeg"/><Relationship Id="rId1" Type="http://schemas.openxmlformats.org/officeDocument/2006/relationships/slideLayout" Target="../slideLayouts/slideLayout8.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17.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image" Target="../media/image61.jpeg"/><Relationship Id="rId1" Type="http://schemas.openxmlformats.org/officeDocument/2006/relationships/slideLayout" Target="../slideLayouts/slideLayout7.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 Id="rId14" Type="http://schemas.openxmlformats.org/officeDocument/2006/relationships/image" Target="../media/image73.svg"/></Relationships>
</file>

<file path=ppt/slides/_rels/slide1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s://healthicon.co/"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35.xml"/><Relationship Id="rId6" Type="http://schemas.openxmlformats.org/officeDocument/2006/relationships/image" Target="../media/image6.png"/><Relationship Id="rId5" Type="http://schemas.openxmlformats.org/officeDocument/2006/relationships/hyperlink" Target="https://healthicon.co/" TargetMode="Externa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xml"/><Relationship Id="rId7" Type="http://schemas.openxmlformats.org/officeDocument/2006/relationships/slideLayout" Target="../slideLayouts/slideLayout36.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hyperlink" Target="https://healthicon.co/"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0.xml"/><Relationship Id="rId7" Type="http://schemas.openxmlformats.org/officeDocument/2006/relationships/slideLayout" Target="../slideLayouts/slideLayout3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hyperlink" Target="https://healthicon.co/"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healthicon.co/" TargetMode="External"/><Relationship Id="rId2" Type="http://schemas.openxmlformats.org/officeDocument/2006/relationships/image" Target="../media/image6.png"/><Relationship Id="rId1" Type="http://schemas.openxmlformats.org/officeDocument/2006/relationships/slideLayout" Target="../slideLayouts/slideLayout36.xml"/><Relationship Id="rId4" Type="http://schemas.openxmlformats.org/officeDocument/2006/relationships/image" Target="../media/image74.jpg"/></Relationships>
</file>

<file path=ppt/slides/_rels/slide23.xml.rels><?xml version="1.0" encoding="UTF-8" standalone="yes"?>
<Relationships xmlns="http://schemas.openxmlformats.org/package/2006/relationships"><Relationship Id="rId3" Type="http://schemas.openxmlformats.org/officeDocument/2006/relationships/hyperlink" Target="https://healthicon.co/" TargetMode="External"/><Relationship Id="rId2" Type="http://schemas.openxmlformats.org/officeDocument/2006/relationships/image" Target="../media/image6.png"/><Relationship Id="rId1" Type="http://schemas.openxmlformats.org/officeDocument/2006/relationships/slideLayout" Target="../slideLayouts/slideLayout36.xml"/><Relationship Id="rId4" Type="http://schemas.openxmlformats.org/officeDocument/2006/relationships/image" Target="../media/image74.jpg"/></Relationships>
</file>

<file path=ppt/slides/_rels/slide2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6.png"/><Relationship Id="rId7" Type="http://schemas.openxmlformats.org/officeDocument/2006/relationships/image" Target="../media/image76.svg"/><Relationship Id="rId2" Type="http://schemas.openxmlformats.org/officeDocument/2006/relationships/hyperlink" Target="https://healthicon.co/" TargetMode="External"/><Relationship Id="rId1" Type="http://schemas.openxmlformats.org/officeDocument/2006/relationships/slideLayout" Target="../slideLayouts/slideLayout36.xml"/><Relationship Id="rId6" Type="http://schemas.openxmlformats.org/officeDocument/2006/relationships/image" Target="../media/image75.png"/><Relationship Id="rId5" Type="http://schemas.microsoft.com/office/2007/relationships/hdphoto" Target="../media/hdphoto6.wdp"/><Relationship Id="rId4" Type="http://schemas.openxmlformats.org/officeDocument/2006/relationships/image" Target="../media/image42.png"/><Relationship Id="rId9" Type="http://schemas.openxmlformats.org/officeDocument/2006/relationships/image" Target="../media/image78.svg"/></Relationships>
</file>

<file path=ppt/slides/_rels/slide25.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gif"/><Relationship Id="rId3" Type="http://schemas.microsoft.com/office/2007/relationships/hdphoto" Target="../media/hdphoto7.wdp"/><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image" Target="../media/image79.png"/><Relationship Id="rId16" Type="http://schemas.openxmlformats.org/officeDocument/2006/relationships/image" Target="https://lh6.googleusercontent.com/PAO6CWq_VFtMb_6ahIEo401zyLrox1Yi84OAqY5oouUpjHFuDLks5QS5CSCJ6DjJZnbmuo8pIACp8gPAaJFmcNZY13fAZwluFFALOS5obTq5Oq2oT9-Wxe-XArWaGmOEjmSGZEBviFMCS9RUtCM" TargetMode="External"/><Relationship Id="rId1" Type="http://schemas.openxmlformats.org/officeDocument/2006/relationships/slideLayout" Target="../slideLayouts/slideLayout46.xml"/><Relationship Id="rId6" Type="http://schemas.openxmlformats.org/officeDocument/2006/relationships/image" Target="../media/image82.png"/><Relationship Id="rId11" Type="http://schemas.openxmlformats.org/officeDocument/2006/relationships/image" Target="../media/image87.svg"/><Relationship Id="rId5" Type="http://schemas.openxmlformats.org/officeDocument/2006/relationships/image" Target="../media/image81.png"/><Relationship Id="rId15" Type="http://schemas.openxmlformats.org/officeDocument/2006/relationships/image" Target="../media/image9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26.xml.rels><?xml version="1.0" encoding="UTF-8" standalone="yes"?>
<Relationships xmlns="http://schemas.openxmlformats.org/package/2006/relationships"><Relationship Id="rId8" Type="http://schemas.openxmlformats.org/officeDocument/2006/relationships/image" Target="../media/image1.png"/><Relationship Id="rId3" Type="http://schemas.microsoft.com/office/2007/relationships/hdphoto" Target="../media/hdphoto8.wdp"/><Relationship Id="rId7" Type="http://schemas.openxmlformats.org/officeDocument/2006/relationships/hyperlink" Target="https://healthicon.co/" TargetMode="External"/><Relationship Id="rId2" Type="http://schemas.openxmlformats.org/officeDocument/2006/relationships/image" Target="../media/image92.png"/><Relationship Id="rId1" Type="http://schemas.openxmlformats.org/officeDocument/2006/relationships/slideLayout" Target="../slideLayouts/slideLayout36.xml"/><Relationship Id="rId6" Type="http://schemas.openxmlformats.org/officeDocument/2006/relationships/image" Target="../media/image6.png"/><Relationship Id="rId5" Type="http://schemas.microsoft.com/office/2007/relationships/hdphoto" Target="../media/hdphoto5.wdp"/><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8" Type="http://schemas.openxmlformats.org/officeDocument/2006/relationships/image" Target="../media/image98.svg"/><Relationship Id="rId13" Type="http://schemas.openxmlformats.org/officeDocument/2006/relationships/hyperlink" Target="https://wa.me/962799366644" TargetMode="External"/><Relationship Id="rId3" Type="http://schemas.openxmlformats.org/officeDocument/2006/relationships/image" Target="../media/image93.jpeg"/><Relationship Id="rId7" Type="http://schemas.openxmlformats.org/officeDocument/2006/relationships/image" Target="../media/image97.png"/><Relationship Id="rId12" Type="http://schemas.openxmlformats.org/officeDocument/2006/relationships/hyperlink" Target="mailto:lkhaled@healthicon.co" TargetMode="External"/><Relationship Id="rId2" Type="http://schemas.openxmlformats.org/officeDocument/2006/relationships/image" Target="../media/image2.jpg"/><Relationship Id="rId1" Type="http://schemas.openxmlformats.org/officeDocument/2006/relationships/slideLayout" Target="../slideLayouts/slideLayout34.xml"/><Relationship Id="rId6" Type="http://schemas.openxmlformats.org/officeDocument/2006/relationships/image" Target="../media/image96.svg"/><Relationship Id="rId11" Type="http://schemas.openxmlformats.org/officeDocument/2006/relationships/image" Target="../media/image1.pn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jpeg"/><Relationship Id="rId9" Type="http://schemas.openxmlformats.org/officeDocument/2006/relationships/image" Target="../media/image99.png"/><Relationship Id="rId14" Type="http://schemas.openxmlformats.org/officeDocument/2006/relationships/hyperlink" Target="https://healthicon.co/"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healthicon.co/" TargetMode="External"/><Relationship Id="rId2" Type="http://schemas.openxmlformats.org/officeDocument/2006/relationships/image" Target="../media/image6.png"/><Relationship Id="rId1" Type="http://schemas.openxmlformats.org/officeDocument/2006/relationships/slideLayout" Target="../slideLayouts/slideLayout36.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20.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jpe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microsoft.com/office/2007/relationships/hdphoto" Target="../media/hdphoto2.wdp"/><Relationship Id="rId7" Type="http://schemas.openxmlformats.org/officeDocument/2006/relationships/image" Target="../media/image22.svg"/><Relationship Id="rId2" Type="http://schemas.openxmlformats.org/officeDocument/2006/relationships/image" Target="../media/image19.png"/><Relationship Id="rId1" Type="http://schemas.openxmlformats.org/officeDocument/2006/relationships/slideLayout" Target="../slideLayouts/slideLayout18.xml"/><Relationship Id="rId6" Type="http://schemas.openxmlformats.org/officeDocument/2006/relationships/image" Target="../media/image21.png"/><Relationship Id="rId11" Type="http://schemas.openxmlformats.org/officeDocument/2006/relationships/image" Target="../media/image26.svg"/><Relationship Id="rId5" Type="http://schemas.microsoft.com/office/2007/relationships/hdphoto" Target="../media/hdphoto3.wdp"/><Relationship Id="rId10" Type="http://schemas.openxmlformats.org/officeDocument/2006/relationships/image" Target="../media/image25.png"/><Relationship Id="rId4" Type="http://schemas.openxmlformats.org/officeDocument/2006/relationships/image" Target="../media/image20.png"/><Relationship Id="rId9"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hyperlink" Target="https://healthicon.co/" TargetMode="External"/><Relationship Id="rId7" Type="http://schemas.openxmlformats.org/officeDocument/2006/relationships/image" Target="../media/image27.png"/><Relationship Id="rId2" Type="http://schemas.openxmlformats.org/officeDocument/2006/relationships/image" Target="../media/image6.png"/><Relationship Id="rId1" Type="http://schemas.openxmlformats.org/officeDocument/2006/relationships/slideLayout" Target="../slideLayouts/slideLayout36.xml"/><Relationship Id="rId6" Type="http://schemas.openxmlformats.org/officeDocument/2006/relationships/hyperlink" Target="https://www.bluebite.com/team" TargetMode="External"/><Relationship Id="rId5" Type="http://schemas.openxmlformats.org/officeDocument/2006/relationships/hyperlink" Target="https://www.systechone.com/about/mission-values/" TargetMode="External"/><Relationship Id="rId4" Type="http://schemas.openxmlformats.org/officeDocument/2006/relationships/hyperlink" Target="https://healthicon.co/downloads.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erpnext.com/" TargetMode="External"/><Relationship Id="rId7" Type="http://schemas.openxmlformats.org/officeDocument/2006/relationships/image" Target="../media/image6.png"/><Relationship Id="rId2" Type="http://schemas.openxmlformats.org/officeDocument/2006/relationships/hyperlink" Target="https://healthicon.co/" TargetMode="External"/><Relationship Id="rId1" Type="http://schemas.openxmlformats.org/officeDocument/2006/relationships/slideLayout" Target="../slideLayouts/slideLayout36.xml"/><Relationship Id="rId6" Type="http://schemas.openxmlformats.org/officeDocument/2006/relationships/image" Target="../media/image28.png"/><Relationship Id="rId5" Type="http://schemas.openxmlformats.org/officeDocument/2006/relationships/hyperlink" Target="https://frappecloud.com/" TargetMode="External"/><Relationship Id="rId4" Type="http://schemas.openxmlformats.org/officeDocument/2006/relationships/hyperlink" Target="https://frappeframework.com/docs/v14/user/en/basics"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jpeg"/><Relationship Id="rId7" Type="http://schemas.openxmlformats.org/officeDocument/2006/relationships/image" Target="../media/image34.png"/><Relationship Id="rId2" Type="http://schemas.openxmlformats.org/officeDocument/2006/relationships/image" Target="../media/image29.jpeg"/><Relationship Id="rId1" Type="http://schemas.openxmlformats.org/officeDocument/2006/relationships/slideLayout" Target="../slideLayouts/slideLayout16.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jpeg"/><Relationship Id="rId9"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4.wdp"/><Relationship Id="rId7" Type="http://schemas.openxmlformats.org/officeDocument/2006/relationships/image" Target="../media/image1.png"/><Relationship Id="rId2" Type="http://schemas.openxmlformats.org/officeDocument/2006/relationships/image" Target="../media/image38.png"/><Relationship Id="rId1" Type="http://schemas.openxmlformats.org/officeDocument/2006/relationships/slideLayout" Target="../slideLayouts/slideLayout36.xml"/><Relationship Id="rId6" Type="http://schemas.openxmlformats.org/officeDocument/2006/relationships/hyperlink" Target="https://healthicon.co/" TargetMode="External"/><Relationship Id="rId5" Type="http://schemas.microsoft.com/office/2007/relationships/hdphoto" Target="../media/hdphoto5.wdp"/><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84204B-6C5D-8563-0B00-0C2676C3AA6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4" name="Rectangle 3">
            <a:extLst>
              <a:ext uri="{FF2B5EF4-FFF2-40B4-BE49-F238E27FC236}">
                <a16:creationId xmlns:a16="http://schemas.microsoft.com/office/drawing/2014/main" id="{DD6BCA20-BD26-4566-F7D5-C2147E74DB80}"/>
              </a:ext>
            </a:extLst>
          </p:cNvPr>
          <p:cNvSpPr/>
          <p:nvPr/>
        </p:nvSpPr>
        <p:spPr>
          <a:xfrm>
            <a:off x="0" y="0"/>
            <a:ext cx="12192000" cy="9328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Jost"/>
              <a:ea typeface="+mn-ea"/>
              <a:cs typeface="+mn-cs"/>
            </a:endParaRPr>
          </a:p>
        </p:txBody>
      </p:sp>
      <p:pic>
        <p:nvPicPr>
          <p:cNvPr id="5" name="Picture 4" descr="A picture containing text, clock, clipart&#10;&#10;Description automatically generated">
            <a:extLst>
              <a:ext uri="{FF2B5EF4-FFF2-40B4-BE49-F238E27FC236}">
                <a16:creationId xmlns:a16="http://schemas.microsoft.com/office/drawing/2014/main" id="{98351EFB-3F06-C01C-5F59-F810BC3687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0448" y="2156130"/>
            <a:ext cx="3899766" cy="704330"/>
          </a:xfrm>
          <a:prstGeom prst="rect">
            <a:avLst/>
          </a:prstGeom>
        </p:spPr>
      </p:pic>
      <p:sp>
        <p:nvSpPr>
          <p:cNvPr id="6" name="TextBox 5">
            <a:extLst>
              <a:ext uri="{FF2B5EF4-FFF2-40B4-BE49-F238E27FC236}">
                <a16:creationId xmlns:a16="http://schemas.microsoft.com/office/drawing/2014/main" id="{68D53427-3D12-BFCF-FF46-BAD43A25B7CE}"/>
              </a:ext>
            </a:extLst>
          </p:cNvPr>
          <p:cNvSpPr txBox="1"/>
          <p:nvPr/>
        </p:nvSpPr>
        <p:spPr>
          <a:xfrm>
            <a:off x="1290449" y="3505192"/>
            <a:ext cx="3899766"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Kautiva Pro" panose="02000506000000020004" pitchFamily="50" charset="0"/>
              </a:rPr>
              <a:t>Your trusted regional partner in healthcare</a:t>
            </a:r>
          </a:p>
        </p:txBody>
      </p:sp>
      <p:pic>
        <p:nvPicPr>
          <p:cNvPr id="18" name="Picture 17" descr="A planet in space&#10;&#10;Description automatically generated with low confidence">
            <a:extLst>
              <a:ext uri="{FF2B5EF4-FFF2-40B4-BE49-F238E27FC236}">
                <a16:creationId xmlns:a16="http://schemas.microsoft.com/office/drawing/2014/main" id="{B41C34CD-9CA2-3C89-EDDA-90228DCDBE4B}"/>
              </a:ext>
            </a:extLst>
          </p:cNvPr>
          <p:cNvPicPr>
            <a:picLocks noChangeAspect="1"/>
          </p:cNvPicPr>
          <p:nvPr/>
        </p:nvPicPr>
        <p:blipFill>
          <a:blip r:embed="rId3">
            <a:grayscl/>
            <a:alphaModFix amt="70000"/>
            <a:extLst>
              <a:ext uri="{28A0092B-C50C-407E-A947-70E740481C1C}">
                <a14:useLocalDpi xmlns:a14="http://schemas.microsoft.com/office/drawing/2010/main" val="0"/>
              </a:ext>
            </a:extLst>
          </a:blip>
          <a:stretch>
            <a:fillRect/>
          </a:stretch>
        </p:blipFill>
        <p:spPr>
          <a:xfrm>
            <a:off x="3796614" y="1"/>
            <a:ext cx="12191998" cy="6858000"/>
          </a:xfrm>
          <a:prstGeom prst="rect">
            <a:avLst/>
          </a:prstGeom>
          <a:effectLst>
            <a:softEdge rad="1270000"/>
          </a:effectLst>
        </p:spPr>
      </p:pic>
      <p:pic>
        <p:nvPicPr>
          <p:cNvPr id="16" name="Picture Placeholder 15">
            <a:extLst>
              <a:ext uri="{FF2B5EF4-FFF2-40B4-BE49-F238E27FC236}">
                <a16:creationId xmlns:a16="http://schemas.microsoft.com/office/drawing/2014/main" id="{A9E016EE-2C9A-70B2-AF12-E2230068966B}"/>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l="28317" t="31583" r="-624" b="15813"/>
          <a:stretch/>
        </p:blipFill>
        <p:spPr>
          <a:xfrm>
            <a:off x="5702175" y="1711459"/>
            <a:ext cx="5750129" cy="4183186"/>
          </a:xfrm>
        </p:spPr>
      </p:pic>
      <p:pic>
        <p:nvPicPr>
          <p:cNvPr id="20" name="Picture Placeholder 15">
            <a:extLst>
              <a:ext uri="{FF2B5EF4-FFF2-40B4-BE49-F238E27FC236}">
                <a16:creationId xmlns:a16="http://schemas.microsoft.com/office/drawing/2014/main" id="{0C3254B1-F48B-A691-E899-2A19192104B5}"/>
              </a:ext>
            </a:extLst>
          </p:cNvPr>
          <p:cNvPicPr>
            <a:picLocks noChangeAspect="1"/>
          </p:cNvPicPr>
          <p:nvPr/>
        </p:nvPicPr>
        <p:blipFill rotWithShape="1">
          <a:blip r:embed="rId5">
            <a:extLst>
              <a:ext uri="{28A0092B-C50C-407E-A947-70E740481C1C}">
                <a14:useLocalDpi xmlns:a14="http://schemas.microsoft.com/office/drawing/2010/main" val="0"/>
              </a:ext>
            </a:extLst>
          </a:blip>
          <a:srcRect l="39871" t="22104" r="-826" b="41807"/>
          <a:stretch/>
        </p:blipFill>
        <p:spPr>
          <a:xfrm>
            <a:off x="6614644" y="963355"/>
            <a:ext cx="4837659" cy="2864062"/>
          </a:xfrm>
          <a:prstGeom prst="rect">
            <a:avLst/>
          </a:prstGeom>
        </p:spPr>
      </p:pic>
      <p:sp>
        <p:nvSpPr>
          <p:cNvPr id="19" name="Rectangle 18">
            <a:extLst>
              <a:ext uri="{FF2B5EF4-FFF2-40B4-BE49-F238E27FC236}">
                <a16:creationId xmlns:a16="http://schemas.microsoft.com/office/drawing/2014/main" id="{B589F5D6-E4EF-861B-2242-55A4270E3978}"/>
              </a:ext>
            </a:extLst>
          </p:cNvPr>
          <p:cNvSpPr/>
          <p:nvPr/>
        </p:nvSpPr>
        <p:spPr>
          <a:xfrm rot="2355633">
            <a:off x="6526581" y="4177774"/>
            <a:ext cx="3114292" cy="832495"/>
          </a:xfrm>
          <a:prstGeom prst="rect">
            <a:avLst/>
          </a:prstGeom>
          <a:solidFill>
            <a:schemeClr val="accent2">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1" name="Rectangle 20">
            <a:extLst>
              <a:ext uri="{FF2B5EF4-FFF2-40B4-BE49-F238E27FC236}">
                <a16:creationId xmlns:a16="http://schemas.microsoft.com/office/drawing/2014/main" id="{4214EE30-63EA-A2BC-E3CF-B42C7300528C}"/>
              </a:ext>
            </a:extLst>
          </p:cNvPr>
          <p:cNvSpPr/>
          <p:nvPr/>
        </p:nvSpPr>
        <p:spPr>
          <a:xfrm rot="2303410">
            <a:off x="4858411" y="5431255"/>
            <a:ext cx="6576973" cy="1105672"/>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2" name="Rectangle 21">
            <a:extLst>
              <a:ext uri="{FF2B5EF4-FFF2-40B4-BE49-F238E27FC236}">
                <a16:creationId xmlns:a16="http://schemas.microsoft.com/office/drawing/2014/main" id="{8A9293A6-85C6-2495-F7A4-4CF32CFFCECA}"/>
              </a:ext>
            </a:extLst>
          </p:cNvPr>
          <p:cNvSpPr/>
          <p:nvPr/>
        </p:nvSpPr>
        <p:spPr>
          <a:xfrm rot="2225188">
            <a:off x="6021958" y="5984343"/>
            <a:ext cx="3927148" cy="1105672"/>
          </a:xfrm>
          <a:prstGeom prst="rect">
            <a:avLst/>
          </a:prstGeom>
          <a:noFill/>
          <a:ln>
            <a:solidFill>
              <a:schemeClr val="bg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Tree>
    <p:extLst>
      <p:ext uri="{BB962C8B-B14F-4D97-AF65-F5344CB8AC3E}">
        <p14:creationId xmlns:p14="http://schemas.microsoft.com/office/powerpoint/2010/main" val="776330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par>
                                <p:cTn id="8" presetID="10" presetClass="entr" presetSubtype="0" fill="hold" nodeType="withEffect">
                                  <p:stCondLst>
                                    <p:cond delay="2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1000"/>
                                        <p:tgtEl>
                                          <p:spTgt spid="20"/>
                                        </p:tgtEl>
                                      </p:cBhvr>
                                    </p:animEffect>
                                  </p:childTnLst>
                                </p:cTn>
                              </p:par>
                              <p:par>
                                <p:cTn id="11" presetID="10" presetClass="entr" presetSubtype="0" fill="hold" nodeType="withEffect">
                                  <p:stCondLst>
                                    <p:cond delay="40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childTnLst>
                                </p:cTn>
                              </p:par>
                              <p:par>
                                <p:cTn id="14" presetID="22" presetClass="entr" presetSubtype="1" fill="hold" grpId="0" nodeType="withEffect">
                                  <p:stCondLst>
                                    <p:cond delay="600"/>
                                  </p:stCondLst>
                                  <p:childTnLst>
                                    <p:set>
                                      <p:cBhvr>
                                        <p:cTn id="15" dur="1" fill="hold">
                                          <p:stCondLst>
                                            <p:cond delay="0"/>
                                          </p:stCondLst>
                                        </p:cTn>
                                        <p:tgtEl>
                                          <p:spTgt spid="21"/>
                                        </p:tgtEl>
                                        <p:attrNameLst>
                                          <p:attrName>style.visibility</p:attrName>
                                        </p:attrNameLst>
                                      </p:cBhvr>
                                      <p:to>
                                        <p:strVal val="visible"/>
                                      </p:to>
                                    </p:set>
                                    <p:animEffect transition="in" filter="wipe(up)">
                                      <p:cBhvr>
                                        <p:cTn id="16" dur="1000"/>
                                        <p:tgtEl>
                                          <p:spTgt spid="21"/>
                                        </p:tgtEl>
                                      </p:cBhvr>
                                    </p:animEffect>
                                  </p:childTnLst>
                                </p:cTn>
                              </p:par>
                              <p:par>
                                <p:cTn id="17" presetID="22" presetClass="entr" presetSubtype="1" fill="hold" grpId="0" nodeType="withEffect">
                                  <p:stCondLst>
                                    <p:cond delay="80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1000"/>
                                        <p:tgtEl>
                                          <p:spTgt spid="22"/>
                                        </p:tgtEl>
                                      </p:cBhvr>
                                    </p:animEffect>
                                  </p:childTnLst>
                                </p:cTn>
                              </p:par>
                              <p:par>
                                <p:cTn id="20" presetID="53" presetClass="entr" presetSubtype="16" fill="hold" nodeType="withEffect">
                                  <p:stCondLst>
                                    <p:cond delay="1000"/>
                                  </p:stCondLst>
                                  <p:childTnLst>
                                    <p:set>
                                      <p:cBhvr>
                                        <p:cTn id="21" dur="1" fill="hold">
                                          <p:stCondLst>
                                            <p:cond delay="0"/>
                                          </p:stCondLst>
                                        </p:cTn>
                                        <p:tgtEl>
                                          <p:spTgt spid="5"/>
                                        </p:tgtEl>
                                        <p:attrNameLst>
                                          <p:attrName>style.visibility</p:attrName>
                                        </p:attrNameLst>
                                      </p:cBhvr>
                                      <p:to>
                                        <p:strVal val="visible"/>
                                      </p:to>
                                    </p:set>
                                    <p:anim calcmode="lin" valueType="num">
                                      <p:cBhvr>
                                        <p:cTn id="22" dur="1000" fill="hold"/>
                                        <p:tgtEl>
                                          <p:spTgt spid="5"/>
                                        </p:tgtEl>
                                        <p:attrNameLst>
                                          <p:attrName>ppt_w</p:attrName>
                                        </p:attrNameLst>
                                      </p:cBhvr>
                                      <p:tavLst>
                                        <p:tav tm="0">
                                          <p:val>
                                            <p:fltVal val="0"/>
                                          </p:val>
                                        </p:tav>
                                        <p:tav tm="100000">
                                          <p:val>
                                            <p:strVal val="#ppt_w"/>
                                          </p:val>
                                        </p:tav>
                                      </p:tavLst>
                                    </p:anim>
                                    <p:anim calcmode="lin" valueType="num">
                                      <p:cBhvr>
                                        <p:cTn id="23" dur="1000" fill="hold"/>
                                        <p:tgtEl>
                                          <p:spTgt spid="5"/>
                                        </p:tgtEl>
                                        <p:attrNameLst>
                                          <p:attrName>ppt_h</p:attrName>
                                        </p:attrNameLst>
                                      </p:cBhvr>
                                      <p:tavLst>
                                        <p:tav tm="0">
                                          <p:val>
                                            <p:fltVal val="0"/>
                                          </p:val>
                                        </p:tav>
                                        <p:tav tm="100000">
                                          <p:val>
                                            <p:strVal val="#ppt_h"/>
                                          </p:val>
                                        </p:tav>
                                      </p:tavLst>
                                    </p:anim>
                                    <p:animEffect transition="in" filter="fade">
                                      <p:cBhvr>
                                        <p:cTn id="24" dur="1000"/>
                                        <p:tgtEl>
                                          <p:spTgt spid="5"/>
                                        </p:tgtEl>
                                      </p:cBhvr>
                                    </p:animEffect>
                                  </p:childTnLst>
                                </p:cTn>
                              </p:par>
                              <p:par>
                                <p:cTn id="25" presetID="2" presetClass="entr" presetSubtype="8" decel="100000" fill="hold" grpId="0" nodeType="withEffect">
                                  <p:stCondLst>
                                    <p:cond delay="120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0-#ppt_w/2"/>
                                          </p:val>
                                        </p:tav>
                                        <p:tav tm="100000">
                                          <p:val>
                                            <p:strVal val="#ppt_x"/>
                                          </p:val>
                                        </p:tav>
                                      </p:tavLst>
                                    </p:anim>
                                    <p:anim calcmode="lin" valueType="num">
                                      <p:cBhvr additive="base">
                                        <p:cTn id="2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1" grpId="0" animBg="1"/>
      <p:bldP spid="22"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8624676" y="25539"/>
            <a:ext cx="3278067" cy="2780503"/>
          </a:xfrm>
          <a:prstGeom prst="rect">
            <a:avLst/>
          </a:prstGeom>
        </p:spPr>
      </p:pic>
      <p:sp>
        <p:nvSpPr>
          <p:cNvPr id="54" name="Rectángulo: esquinas redondeadas 53">
            <a:extLst>
              <a:ext uri="{FF2B5EF4-FFF2-40B4-BE49-F238E27FC236}">
                <a16:creationId xmlns:a16="http://schemas.microsoft.com/office/drawing/2014/main" id="{3FA4521D-C9EC-89A1-8787-D1BF47B6F0F3}"/>
              </a:ext>
            </a:extLst>
          </p:cNvPr>
          <p:cNvSpPr/>
          <p:nvPr/>
        </p:nvSpPr>
        <p:spPr>
          <a:xfrm flipH="1" flipV="1">
            <a:off x="3472289" y="1874517"/>
            <a:ext cx="5217101" cy="4191875"/>
          </a:xfrm>
          <a:prstGeom prst="roundRect">
            <a:avLst>
              <a:gd name="adj" fmla="val 564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Rectángulo: esquinas redondeadas 42">
            <a:extLst>
              <a:ext uri="{FF2B5EF4-FFF2-40B4-BE49-F238E27FC236}">
                <a16:creationId xmlns:a16="http://schemas.microsoft.com/office/drawing/2014/main" id="{4D5B7BEF-2033-FB8E-A3B3-A292AC235B54}"/>
              </a:ext>
            </a:extLst>
          </p:cNvPr>
          <p:cNvSpPr/>
          <p:nvPr/>
        </p:nvSpPr>
        <p:spPr>
          <a:xfrm flipH="1">
            <a:off x="485883" y="1756648"/>
            <a:ext cx="3629151" cy="4498818"/>
          </a:xfrm>
          <a:prstGeom prst="roundRect">
            <a:avLst>
              <a:gd name="adj" fmla="val 4433"/>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2531588" y="348594"/>
            <a:ext cx="7128824"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Africa will add one billion more to the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world population by 2050</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638354"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
        <p:nvSpPr>
          <p:cNvPr id="44" name="Rectángulo: esquinas redondeadas 43">
            <a:extLst>
              <a:ext uri="{FF2B5EF4-FFF2-40B4-BE49-F238E27FC236}">
                <a16:creationId xmlns:a16="http://schemas.microsoft.com/office/drawing/2014/main" id="{DF592BBB-11F0-33C9-F6CA-4262C2D21E0A}"/>
              </a:ext>
            </a:extLst>
          </p:cNvPr>
          <p:cNvSpPr/>
          <p:nvPr/>
        </p:nvSpPr>
        <p:spPr>
          <a:xfrm flipH="1" flipV="1">
            <a:off x="326167" y="2025568"/>
            <a:ext cx="3948582"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3" name="Content Placeholder 5">
            <a:extLst>
              <a:ext uri="{FF2B5EF4-FFF2-40B4-BE49-F238E27FC236}">
                <a16:creationId xmlns:a16="http://schemas.microsoft.com/office/drawing/2014/main" id="{41CE45DE-FE69-5304-FB42-81A08EB44165}"/>
              </a:ext>
            </a:extLst>
          </p:cNvPr>
          <p:cNvGraphicFramePr>
            <a:graphicFrameLocks noGrp="1"/>
          </p:cNvGraphicFramePr>
          <p:nvPr>
            <p:ph idx="1"/>
            <p:extLst>
              <p:ext uri="{D42A27DB-BD31-4B8C-83A1-F6EECF244321}">
                <p14:modId xmlns:p14="http://schemas.microsoft.com/office/powerpoint/2010/main" val="2177014606"/>
              </p:ext>
            </p:extLst>
          </p:nvPr>
        </p:nvGraphicFramePr>
        <p:xfrm>
          <a:off x="592859" y="2025570"/>
          <a:ext cx="3415199" cy="4010770"/>
        </p:xfrm>
        <a:graphic>
          <a:graphicData uri="http://schemas.openxmlformats.org/drawingml/2006/table">
            <a:tbl>
              <a:tblPr>
                <a:tableStyleId>{5940675A-B579-460E-94D1-54222C63F5DA}</a:tableStyleId>
              </a:tblPr>
              <a:tblGrid>
                <a:gridCol w="1445952">
                  <a:extLst>
                    <a:ext uri="{9D8B030D-6E8A-4147-A177-3AD203B41FA5}">
                      <a16:colId xmlns:a16="http://schemas.microsoft.com/office/drawing/2014/main" val="277300761"/>
                    </a:ext>
                  </a:extLst>
                </a:gridCol>
                <a:gridCol w="1969247">
                  <a:extLst>
                    <a:ext uri="{9D8B030D-6E8A-4147-A177-3AD203B41FA5}">
                      <a16:colId xmlns:a16="http://schemas.microsoft.com/office/drawing/2014/main" val="3836695541"/>
                    </a:ext>
                  </a:extLst>
                </a:gridCol>
              </a:tblGrid>
              <a:tr h="466170">
                <a:tc>
                  <a:txBody>
                    <a:bodyPr/>
                    <a:lstStyle/>
                    <a:p>
                      <a:pPr algn="ctr" fontAlgn="b"/>
                      <a:r>
                        <a:rPr lang="en-US" sz="1600" u="none" strike="noStrike" dirty="0">
                          <a:solidFill>
                            <a:schemeClr val="bg1"/>
                          </a:solidFill>
                          <a:effectLst/>
                          <a:latin typeface="Oswald Medium" pitchFamily="2" charset="0"/>
                          <a:cs typeface="Poppins Light" panose="00000400000000000000" pitchFamily="2" charset="0"/>
                        </a:rPr>
                        <a:t>Country</a:t>
                      </a:r>
                      <a:endParaRPr lang="en-US" sz="1600" b="1" i="0" u="none" strike="noStrike" dirty="0">
                        <a:solidFill>
                          <a:schemeClr val="bg1"/>
                        </a:solidFill>
                        <a:effectLst/>
                        <a:latin typeface="Oswald Medium" pitchFamily="2" charset="0"/>
                        <a:cs typeface="Poppins Light" panose="00000400000000000000" pitchFamily="2" charset="0"/>
                      </a:endParaRPr>
                    </a:p>
                  </a:txBody>
                  <a:tcPr marL="0" marR="0" marT="0" marB="0" anchor="ctr">
                    <a:lnL w="12700" cmpd="sng">
                      <a:noFill/>
                    </a:lnL>
                    <a:lnR w="12700" cmpd="sng">
                      <a:noFill/>
                    </a:lnR>
                    <a:lnT w="12700" cmpd="sng">
                      <a:noFill/>
                    </a:lnT>
                    <a:lnB w="635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u="none" strike="noStrike" dirty="0">
                          <a:solidFill>
                            <a:schemeClr val="bg1"/>
                          </a:solidFill>
                          <a:effectLst/>
                          <a:latin typeface="Oswald Medium" pitchFamily="2" charset="0"/>
                          <a:cs typeface="Poppins Light" panose="00000400000000000000" pitchFamily="2" charset="0"/>
                        </a:rPr>
                        <a:t>Population (2022)</a:t>
                      </a:r>
                      <a:endParaRPr lang="en-US" sz="1600" b="1" i="0" u="none" strike="noStrike" dirty="0">
                        <a:solidFill>
                          <a:schemeClr val="bg1"/>
                        </a:solidFill>
                        <a:effectLst/>
                        <a:latin typeface="Oswald Medium" pitchFamily="2" charset="0"/>
                        <a:cs typeface="Poppins Light" panose="00000400000000000000" pitchFamily="2" charset="0"/>
                      </a:endParaRPr>
                    </a:p>
                  </a:txBody>
                  <a:tcPr marL="0" marR="0" marT="0" marB="0" anchor="ctr">
                    <a:lnL w="12700" cmpd="sng">
                      <a:noFill/>
                    </a:lnL>
                    <a:lnR w="12700" cmpd="sng">
                      <a:noFill/>
                    </a:lnR>
                    <a:lnT w="12700" cmpd="sng">
                      <a:noFill/>
                    </a:lnT>
                    <a:lnB w="635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7186016"/>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Ethiopi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126.5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16183530"/>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Tanzani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67.4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1680095"/>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Keny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55.1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2427658"/>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Ugand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48.6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082991"/>
                  </a:ext>
                </a:extLst>
              </a:tr>
              <a:tr h="354460">
                <a:tc>
                  <a:txBody>
                    <a:bodyPr/>
                    <a:lstStyle/>
                    <a:p>
                      <a:pPr algn="ctr" fontAlgn="b"/>
                      <a:r>
                        <a:rPr lang="en-US" sz="1200" u="none" strike="noStrike" kern="1200" dirty="0">
                          <a:solidFill>
                            <a:schemeClr val="bg2">
                              <a:lumMod val="25000"/>
                            </a:schemeClr>
                          </a:solidFill>
                          <a:effectLst/>
                          <a:latin typeface="Poppins Light" panose="00000400000000000000" pitchFamily="2" charset="0"/>
                          <a:cs typeface="Poppins Light" panose="00000400000000000000" pitchFamily="2" charset="0"/>
                        </a:rPr>
                        <a:t>Sudan</a:t>
                      </a:r>
                      <a:endParaRPr lang="en-US" sz="1200" u="none" strike="noStrike" kern="1200" dirty="0">
                        <a:solidFill>
                          <a:schemeClr val="bg2">
                            <a:lumMod val="25000"/>
                          </a:schemeClr>
                        </a:solidFill>
                        <a:effectLst/>
                        <a:latin typeface="Poppins Light" panose="00000400000000000000" pitchFamily="2" charset="0"/>
                        <a:ea typeface="+mn-ea"/>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48.1 Million</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2390425"/>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Zambi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20.6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1548298"/>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Somali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18.1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2561871"/>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Rwanda</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14.0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842524"/>
                  </a:ext>
                </a:extLst>
              </a:tr>
              <a:tr h="354460">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South Sudan</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u="none" strike="noStrike" dirty="0">
                          <a:solidFill>
                            <a:schemeClr val="bg2">
                              <a:lumMod val="25000"/>
                            </a:schemeClr>
                          </a:solidFill>
                          <a:effectLst/>
                          <a:latin typeface="Poppins Light" panose="00000400000000000000" pitchFamily="2" charset="0"/>
                          <a:cs typeface="Poppins Light" panose="00000400000000000000" pitchFamily="2" charset="0"/>
                        </a:rPr>
                        <a:t>11.1 Million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401233"/>
                  </a:ext>
                </a:extLst>
              </a:tr>
              <a:tr h="354460">
                <a:tc>
                  <a:txBody>
                    <a:bodyPr/>
                    <a:lstStyle/>
                    <a:p>
                      <a:pPr algn="ctr" fontAlgn="b"/>
                      <a:endParaRPr lang="en-US" sz="1200" b="1"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b"/>
                      <a:r>
                        <a:rPr lang="en-US" sz="1400" u="none" strike="noStrike" dirty="0">
                          <a:solidFill>
                            <a:srgbClr val="02AEF1"/>
                          </a:solidFill>
                          <a:effectLst/>
                          <a:latin typeface="Poppins Medium" panose="00000600000000000000" pitchFamily="2" charset="0"/>
                          <a:cs typeface="Poppins Medium" panose="00000600000000000000" pitchFamily="2" charset="0"/>
                        </a:rPr>
                        <a:t>409.5 Million</a:t>
                      </a:r>
                      <a:endParaRPr lang="en-US" sz="1400" b="1" i="0" u="none" strike="noStrike" dirty="0">
                        <a:solidFill>
                          <a:srgbClr val="02AEF1"/>
                        </a:solidFill>
                        <a:effectLst/>
                        <a:latin typeface="Poppins Medium" panose="00000600000000000000" pitchFamily="2" charset="0"/>
                        <a:cs typeface="Poppins Medium" panose="00000600000000000000" pitchFamily="2" charset="0"/>
                      </a:endParaRPr>
                    </a:p>
                  </a:txBody>
                  <a:tcPr marL="0" marR="0" marT="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53387321"/>
                  </a:ext>
                </a:extLst>
              </a:tr>
            </a:tbl>
          </a:graphicData>
        </a:graphic>
      </p:graphicFrame>
      <p:sp>
        <p:nvSpPr>
          <p:cNvPr id="53" name="CuadroTexto 52">
            <a:extLst>
              <a:ext uri="{FF2B5EF4-FFF2-40B4-BE49-F238E27FC236}">
                <a16:creationId xmlns:a16="http://schemas.microsoft.com/office/drawing/2014/main" id="{BCC9CB4E-F716-7FDF-0E4D-DA4D871FFF3C}"/>
              </a:ext>
            </a:extLst>
          </p:cNvPr>
          <p:cNvSpPr txBox="1"/>
          <p:nvPr/>
        </p:nvSpPr>
        <p:spPr>
          <a:xfrm>
            <a:off x="4880431" y="2008024"/>
            <a:ext cx="336950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Forecast of the total population of Africa from 2020 to 205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30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in millions)</a:t>
            </a:r>
            <a:endParaRPr kumimoji="0" lang="en-US" sz="1400" b="0" i="1" u="none" strike="noStrike" kern="1200" cap="none" spc="30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10870147"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5" name="CuadroTexto 54">
            <a:extLst>
              <a:ext uri="{FF2B5EF4-FFF2-40B4-BE49-F238E27FC236}">
                <a16:creationId xmlns:a16="http://schemas.microsoft.com/office/drawing/2014/main" id="{9196D4E3-8B84-05D1-5278-576A4CB61D12}"/>
              </a:ext>
            </a:extLst>
          </p:cNvPr>
          <p:cNvSpPr txBox="1"/>
          <p:nvPr/>
        </p:nvSpPr>
        <p:spPr>
          <a:xfrm>
            <a:off x="8662038" y="2008024"/>
            <a:ext cx="3369502"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The swelling east and wes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30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Population of Africa, bn</a:t>
            </a:r>
            <a:endParaRPr kumimoji="0" lang="en-US" sz="1400" b="0" i="1" u="none" strike="noStrike" kern="1200" cap="none" spc="30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135" name="Grupo 134">
            <a:extLst>
              <a:ext uri="{FF2B5EF4-FFF2-40B4-BE49-F238E27FC236}">
                <a16:creationId xmlns:a16="http://schemas.microsoft.com/office/drawing/2014/main" id="{9E3E4F76-EE68-8670-ADD2-441A7DBF67C7}"/>
              </a:ext>
            </a:extLst>
          </p:cNvPr>
          <p:cNvGrpSpPr/>
          <p:nvPr/>
        </p:nvGrpSpPr>
        <p:grpSpPr>
          <a:xfrm>
            <a:off x="4442691" y="2683428"/>
            <a:ext cx="4050472" cy="3132196"/>
            <a:chOff x="4798156" y="2683428"/>
            <a:chExt cx="3481072" cy="2668371"/>
          </a:xfrm>
        </p:grpSpPr>
        <p:graphicFrame>
          <p:nvGraphicFramePr>
            <p:cNvPr id="133" name="Gráfico 132">
              <a:extLst>
                <a:ext uri="{FF2B5EF4-FFF2-40B4-BE49-F238E27FC236}">
                  <a16:creationId xmlns:a16="http://schemas.microsoft.com/office/drawing/2014/main" id="{DDFCE1AD-96E2-1938-8881-D9D6CFE8F7A9}"/>
                </a:ext>
              </a:extLst>
            </p:cNvPr>
            <p:cNvGraphicFramePr/>
            <p:nvPr/>
          </p:nvGraphicFramePr>
          <p:xfrm>
            <a:off x="4802811" y="2683428"/>
            <a:ext cx="3476417" cy="2447785"/>
          </p:xfrm>
          <a:graphic>
            <a:graphicData uri="http://schemas.openxmlformats.org/drawingml/2006/chart">
              <c:chart xmlns:c="http://schemas.openxmlformats.org/drawingml/2006/chart" xmlns:r="http://schemas.openxmlformats.org/officeDocument/2006/relationships" r:id="rId4"/>
            </a:graphicData>
          </a:graphic>
        </p:graphicFrame>
        <p:sp>
          <p:nvSpPr>
            <p:cNvPr id="134" name="CuadroTexto 133">
              <a:extLst>
                <a:ext uri="{FF2B5EF4-FFF2-40B4-BE49-F238E27FC236}">
                  <a16:creationId xmlns:a16="http://schemas.microsoft.com/office/drawing/2014/main" id="{9CC74C7E-29CC-3069-FD99-F26B2E65A728}"/>
                </a:ext>
              </a:extLst>
            </p:cNvPr>
            <p:cNvSpPr txBox="1"/>
            <p:nvPr/>
          </p:nvSpPr>
          <p:spPr>
            <a:xfrm>
              <a:off x="4798156" y="5168259"/>
              <a:ext cx="1332476" cy="183540"/>
            </a:xfrm>
            <a:prstGeom prst="rect">
              <a:avLst/>
            </a:prstGeom>
            <a:noFill/>
          </p:spPr>
          <p:txBody>
            <a:bodyPr wrap="square">
              <a:spAutoFit/>
            </a:bodyPr>
            <a:lstStyle/>
            <a:p>
              <a:pPr algn="r">
                <a:defRPr/>
              </a:pP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Source </a:t>
              </a:r>
              <a:r>
                <a:rPr kumimoji="0" lang="en-US" sz="800" b="0" i="1"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a:t>
              </a: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 </a:t>
              </a:r>
              <a:r>
                <a:rPr kumimoji="0" lang="en-US" sz="800" b="0" i="1" u="none" strike="noStrike" kern="1200" cap="none" spc="0" normalizeH="0" baseline="0" noProof="0" dirty="0">
                  <a:ln>
                    <a:noFill/>
                  </a:ln>
                  <a:solidFill>
                    <a:srgbClr val="EC2129"/>
                  </a:solidFill>
                  <a:effectLst/>
                  <a:uLnTx/>
                  <a:uFillTx/>
                  <a:latin typeface="Poppins Medium" panose="00000600000000000000" pitchFamily="2" charset="0"/>
                  <a:ea typeface="+mn-ea"/>
                  <a:cs typeface="Poppins Medium" panose="00000600000000000000" pitchFamily="2" charset="0"/>
                </a:rPr>
                <a:t>© Statista 2023</a:t>
              </a:r>
              <a:endParaRPr kumimoji="0" lang="en-US" sz="800" b="0" i="1" u="none" strike="noStrike" kern="1200" cap="none" spc="300" normalizeH="0" baseline="0" noProof="0" dirty="0">
                <a:ln>
                  <a:noFill/>
                </a:ln>
                <a:solidFill>
                  <a:srgbClr val="EC2129"/>
                </a:solidFill>
                <a:effectLst/>
                <a:uLnTx/>
                <a:uFillTx/>
                <a:latin typeface="Poppins Medium" panose="00000600000000000000" pitchFamily="2" charset="0"/>
                <a:ea typeface="+mn-ea"/>
                <a:cs typeface="Poppins Medium" panose="00000600000000000000" pitchFamily="2" charset="0"/>
              </a:endParaRPr>
            </a:p>
          </p:txBody>
        </p:sp>
      </p:grpSp>
      <p:grpSp>
        <p:nvGrpSpPr>
          <p:cNvPr id="207" name="Grupo 206">
            <a:extLst>
              <a:ext uri="{FF2B5EF4-FFF2-40B4-BE49-F238E27FC236}">
                <a16:creationId xmlns:a16="http://schemas.microsoft.com/office/drawing/2014/main" id="{1BB3C697-0049-FF62-5B12-E741A70E4D6A}"/>
              </a:ext>
            </a:extLst>
          </p:cNvPr>
          <p:cNvGrpSpPr/>
          <p:nvPr/>
        </p:nvGrpSpPr>
        <p:grpSpPr>
          <a:xfrm>
            <a:off x="467551" y="2751876"/>
            <a:ext cx="11342116" cy="3445895"/>
            <a:chOff x="467551" y="2751876"/>
            <a:chExt cx="11342116" cy="3445895"/>
          </a:xfrm>
        </p:grpSpPr>
        <p:grpSp>
          <p:nvGrpSpPr>
            <p:cNvPr id="206" name="Grupo 205">
              <a:extLst>
                <a:ext uri="{FF2B5EF4-FFF2-40B4-BE49-F238E27FC236}">
                  <a16:creationId xmlns:a16="http://schemas.microsoft.com/office/drawing/2014/main" id="{9B9A609E-3791-D1EC-3B89-473BFEA1D525}"/>
                </a:ext>
              </a:extLst>
            </p:cNvPr>
            <p:cNvGrpSpPr/>
            <p:nvPr/>
          </p:nvGrpSpPr>
          <p:grpSpPr>
            <a:xfrm>
              <a:off x="9990209" y="2850193"/>
              <a:ext cx="1261574" cy="2388881"/>
              <a:chOff x="9990209" y="2850193"/>
              <a:chExt cx="1261574" cy="2388881"/>
            </a:xfrm>
          </p:grpSpPr>
          <p:sp>
            <p:nvSpPr>
              <p:cNvPr id="202" name="Rectángulo 201">
                <a:extLst>
                  <a:ext uri="{FF2B5EF4-FFF2-40B4-BE49-F238E27FC236}">
                    <a16:creationId xmlns:a16="http://schemas.microsoft.com/office/drawing/2014/main" id="{F389EE79-2F3E-A387-53DB-D1472CAF0B3F}"/>
                  </a:ext>
                </a:extLst>
              </p:cNvPr>
              <p:cNvSpPr/>
              <p:nvPr/>
            </p:nvSpPr>
            <p:spPr>
              <a:xfrm flipH="1">
                <a:off x="9990209" y="2850193"/>
                <a:ext cx="1261574" cy="2388881"/>
              </a:xfrm>
              <a:prstGeom prst="rect">
                <a:avLst/>
              </a:prstGeom>
              <a:solidFill>
                <a:schemeClr val="tx2">
                  <a:lumMod val="20000"/>
                  <a:lumOff val="8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5" name="CuadroTexto 204">
                <a:extLst>
                  <a:ext uri="{FF2B5EF4-FFF2-40B4-BE49-F238E27FC236}">
                    <a16:creationId xmlns:a16="http://schemas.microsoft.com/office/drawing/2014/main" id="{8F58D7AB-ED92-8CC1-4448-12E37DA1D3E5}"/>
                  </a:ext>
                </a:extLst>
              </p:cNvPr>
              <p:cNvSpPr txBox="1"/>
              <p:nvPr/>
            </p:nvSpPr>
            <p:spPr>
              <a:xfrm>
                <a:off x="10080469" y="2922826"/>
                <a:ext cx="1109998"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FORECAST</a:t>
                </a:r>
              </a:p>
            </p:txBody>
          </p:sp>
        </p:grpSp>
        <p:grpSp>
          <p:nvGrpSpPr>
            <p:cNvPr id="199" name="Grupo 198">
              <a:extLst>
                <a:ext uri="{FF2B5EF4-FFF2-40B4-BE49-F238E27FC236}">
                  <a16:creationId xmlns:a16="http://schemas.microsoft.com/office/drawing/2014/main" id="{DF24F859-CF9D-F065-33E7-6DF6392B3756}"/>
                </a:ext>
              </a:extLst>
            </p:cNvPr>
            <p:cNvGrpSpPr/>
            <p:nvPr/>
          </p:nvGrpSpPr>
          <p:grpSpPr>
            <a:xfrm>
              <a:off x="8883911" y="2751876"/>
              <a:ext cx="2925756" cy="2780503"/>
              <a:chOff x="9138919" y="2751876"/>
              <a:chExt cx="2760257" cy="2563193"/>
            </a:xfrm>
          </p:grpSpPr>
          <p:grpSp>
            <p:nvGrpSpPr>
              <p:cNvPr id="150" name="Grupo 149">
                <a:extLst>
                  <a:ext uri="{FF2B5EF4-FFF2-40B4-BE49-F238E27FC236}">
                    <a16:creationId xmlns:a16="http://schemas.microsoft.com/office/drawing/2014/main" id="{997F1161-819F-6777-E461-1018024F5767}"/>
                  </a:ext>
                </a:extLst>
              </p:cNvPr>
              <p:cNvGrpSpPr/>
              <p:nvPr/>
            </p:nvGrpSpPr>
            <p:grpSpPr>
              <a:xfrm>
                <a:off x="9138919" y="2842510"/>
                <a:ext cx="2326775" cy="2202180"/>
                <a:chOff x="9138919" y="2842510"/>
                <a:chExt cx="2326775" cy="2202180"/>
              </a:xfrm>
            </p:grpSpPr>
            <p:cxnSp>
              <p:nvCxnSpPr>
                <p:cNvPr id="141" name="Conector recto 140">
                  <a:extLst>
                    <a:ext uri="{FF2B5EF4-FFF2-40B4-BE49-F238E27FC236}">
                      <a16:creationId xmlns:a16="http://schemas.microsoft.com/office/drawing/2014/main" id="{73CA0C26-0C75-026A-AD21-AB144F3D4925}"/>
                    </a:ext>
                  </a:extLst>
                </p:cNvPr>
                <p:cNvCxnSpPr/>
                <p:nvPr/>
              </p:nvCxnSpPr>
              <p:spPr>
                <a:xfrm>
                  <a:off x="9138919" y="2842510"/>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2" name="Conector recto 141">
                  <a:extLst>
                    <a:ext uri="{FF2B5EF4-FFF2-40B4-BE49-F238E27FC236}">
                      <a16:creationId xmlns:a16="http://schemas.microsoft.com/office/drawing/2014/main" id="{84AD7212-BCE0-7D90-7FEC-B1A870EE35E9}"/>
                    </a:ext>
                  </a:extLst>
                </p:cNvPr>
                <p:cNvCxnSpPr/>
                <p:nvPr/>
              </p:nvCxnSpPr>
              <p:spPr>
                <a:xfrm>
                  <a:off x="9138919" y="3157107"/>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4" name="Conector recto 143">
                  <a:extLst>
                    <a:ext uri="{FF2B5EF4-FFF2-40B4-BE49-F238E27FC236}">
                      <a16:creationId xmlns:a16="http://schemas.microsoft.com/office/drawing/2014/main" id="{1F38CE36-85AF-E666-CC13-7F97CED38576}"/>
                    </a:ext>
                  </a:extLst>
                </p:cNvPr>
                <p:cNvCxnSpPr/>
                <p:nvPr/>
              </p:nvCxnSpPr>
              <p:spPr>
                <a:xfrm>
                  <a:off x="9138919" y="3471704"/>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5" name="Conector recto 144">
                  <a:extLst>
                    <a:ext uri="{FF2B5EF4-FFF2-40B4-BE49-F238E27FC236}">
                      <a16:creationId xmlns:a16="http://schemas.microsoft.com/office/drawing/2014/main" id="{12EFC708-69AF-7674-1AB6-DD9F6D68E339}"/>
                    </a:ext>
                  </a:extLst>
                </p:cNvPr>
                <p:cNvCxnSpPr/>
                <p:nvPr/>
              </p:nvCxnSpPr>
              <p:spPr>
                <a:xfrm>
                  <a:off x="9138919" y="3786301"/>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6" name="Conector recto 145">
                  <a:extLst>
                    <a:ext uri="{FF2B5EF4-FFF2-40B4-BE49-F238E27FC236}">
                      <a16:creationId xmlns:a16="http://schemas.microsoft.com/office/drawing/2014/main" id="{4AD1D194-8060-4558-ACB6-A238674201CC}"/>
                    </a:ext>
                  </a:extLst>
                </p:cNvPr>
                <p:cNvCxnSpPr/>
                <p:nvPr/>
              </p:nvCxnSpPr>
              <p:spPr>
                <a:xfrm>
                  <a:off x="9138919" y="4100898"/>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7" name="Conector recto 146">
                  <a:extLst>
                    <a:ext uri="{FF2B5EF4-FFF2-40B4-BE49-F238E27FC236}">
                      <a16:creationId xmlns:a16="http://schemas.microsoft.com/office/drawing/2014/main" id="{306C257A-B75E-D44B-3B94-899BD4303CA7}"/>
                    </a:ext>
                  </a:extLst>
                </p:cNvPr>
                <p:cNvCxnSpPr/>
                <p:nvPr/>
              </p:nvCxnSpPr>
              <p:spPr>
                <a:xfrm>
                  <a:off x="9138919" y="4415495"/>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8" name="Conector recto 147">
                  <a:extLst>
                    <a:ext uri="{FF2B5EF4-FFF2-40B4-BE49-F238E27FC236}">
                      <a16:creationId xmlns:a16="http://schemas.microsoft.com/office/drawing/2014/main" id="{8599FEAA-FB48-34D2-53D2-2853C94F9AA0}"/>
                    </a:ext>
                  </a:extLst>
                </p:cNvPr>
                <p:cNvCxnSpPr/>
                <p:nvPr/>
              </p:nvCxnSpPr>
              <p:spPr>
                <a:xfrm>
                  <a:off x="9138919" y="4730092"/>
                  <a:ext cx="2326775"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9" name="Conector recto 148">
                  <a:extLst>
                    <a:ext uri="{FF2B5EF4-FFF2-40B4-BE49-F238E27FC236}">
                      <a16:creationId xmlns:a16="http://schemas.microsoft.com/office/drawing/2014/main" id="{A2CE7365-5DEA-9AE4-563C-59F2C8558583}"/>
                    </a:ext>
                  </a:extLst>
                </p:cNvPr>
                <p:cNvCxnSpPr/>
                <p:nvPr/>
              </p:nvCxnSpPr>
              <p:spPr>
                <a:xfrm>
                  <a:off x="9138919" y="5044690"/>
                  <a:ext cx="2326775" cy="0"/>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59" name="Grupo 158">
                <a:extLst>
                  <a:ext uri="{FF2B5EF4-FFF2-40B4-BE49-F238E27FC236}">
                    <a16:creationId xmlns:a16="http://schemas.microsoft.com/office/drawing/2014/main" id="{E367ACCD-0620-77C0-0D90-14C0297FCA4C}"/>
                  </a:ext>
                </a:extLst>
              </p:cNvPr>
              <p:cNvGrpSpPr/>
              <p:nvPr/>
            </p:nvGrpSpPr>
            <p:grpSpPr>
              <a:xfrm>
                <a:off x="11429450" y="2751876"/>
                <a:ext cx="469726" cy="2377172"/>
                <a:chOff x="11429450" y="2751876"/>
                <a:chExt cx="469726" cy="2377172"/>
              </a:xfrm>
            </p:grpSpPr>
            <p:sp>
              <p:nvSpPr>
                <p:cNvPr id="151" name="CuadroTexto 150">
                  <a:extLst>
                    <a:ext uri="{FF2B5EF4-FFF2-40B4-BE49-F238E27FC236}">
                      <a16:creationId xmlns:a16="http://schemas.microsoft.com/office/drawing/2014/main" id="{1CAB6A82-E800-6646-3917-1D0A35C5F775}"/>
                    </a:ext>
                  </a:extLst>
                </p:cNvPr>
                <p:cNvSpPr txBox="1"/>
                <p:nvPr/>
              </p:nvSpPr>
              <p:spPr>
                <a:xfrm>
                  <a:off x="11429450" y="2751876"/>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1,75</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2" name="CuadroTexto 151">
                  <a:extLst>
                    <a:ext uri="{FF2B5EF4-FFF2-40B4-BE49-F238E27FC236}">
                      <a16:creationId xmlns:a16="http://schemas.microsoft.com/office/drawing/2014/main" id="{456263D1-B24B-7E81-CBC6-FB8161BDEF8C}"/>
                    </a:ext>
                  </a:extLst>
                </p:cNvPr>
                <p:cNvSpPr txBox="1"/>
                <p:nvPr/>
              </p:nvSpPr>
              <p:spPr>
                <a:xfrm>
                  <a:off x="11429450" y="3067290"/>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1,5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3" name="CuadroTexto 152">
                  <a:extLst>
                    <a:ext uri="{FF2B5EF4-FFF2-40B4-BE49-F238E27FC236}">
                      <a16:creationId xmlns:a16="http://schemas.microsoft.com/office/drawing/2014/main" id="{2038E814-421C-536D-4B3D-5E7370FB4B5F}"/>
                    </a:ext>
                  </a:extLst>
                </p:cNvPr>
                <p:cNvSpPr txBox="1"/>
                <p:nvPr/>
              </p:nvSpPr>
              <p:spPr>
                <a:xfrm>
                  <a:off x="11429450" y="3382704"/>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1,25</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4" name="CuadroTexto 153">
                  <a:extLst>
                    <a:ext uri="{FF2B5EF4-FFF2-40B4-BE49-F238E27FC236}">
                      <a16:creationId xmlns:a16="http://schemas.microsoft.com/office/drawing/2014/main" id="{75CC4014-27AA-62E6-235D-015C59775631}"/>
                    </a:ext>
                  </a:extLst>
                </p:cNvPr>
                <p:cNvSpPr txBox="1"/>
                <p:nvPr/>
              </p:nvSpPr>
              <p:spPr>
                <a:xfrm>
                  <a:off x="11429450" y="3698118"/>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1,0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5" name="CuadroTexto 154">
                  <a:extLst>
                    <a:ext uri="{FF2B5EF4-FFF2-40B4-BE49-F238E27FC236}">
                      <a16:creationId xmlns:a16="http://schemas.microsoft.com/office/drawing/2014/main" id="{FBE4AD71-8674-F1A4-C52F-FCA8B62A8CFA}"/>
                    </a:ext>
                  </a:extLst>
                </p:cNvPr>
                <p:cNvSpPr txBox="1"/>
                <p:nvPr/>
              </p:nvSpPr>
              <p:spPr>
                <a:xfrm>
                  <a:off x="11429450" y="4013532"/>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0,75</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6" name="CuadroTexto 155">
                  <a:extLst>
                    <a:ext uri="{FF2B5EF4-FFF2-40B4-BE49-F238E27FC236}">
                      <a16:creationId xmlns:a16="http://schemas.microsoft.com/office/drawing/2014/main" id="{E452DB03-62DD-ABFF-4EFC-5AC60C771EFC}"/>
                    </a:ext>
                  </a:extLst>
                </p:cNvPr>
                <p:cNvSpPr txBox="1"/>
                <p:nvPr/>
              </p:nvSpPr>
              <p:spPr>
                <a:xfrm>
                  <a:off x="11429450" y="4328946"/>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0,5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7" name="CuadroTexto 156">
                  <a:extLst>
                    <a:ext uri="{FF2B5EF4-FFF2-40B4-BE49-F238E27FC236}">
                      <a16:creationId xmlns:a16="http://schemas.microsoft.com/office/drawing/2014/main" id="{086E0D23-8F5B-1669-440B-B945C9535CD2}"/>
                    </a:ext>
                  </a:extLst>
                </p:cNvPr>
                <p:cNvSpPr txBox="1"/>
                <p:nvPr/>
              </p:nvSpPr>
              <p:spPr>
                <a:xfrm>
                  <a:off x="11429450" y="4644360"/>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0,25</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sp>
              <p:nvSpPr>
                <p:cNvPr id="158" name="CuadroTexto 157">
                  <a:extLst>
                    <a:ext uri="{FF2B5EF4-FFF2-40B4-BE49-F238E27FC236}">
                      <a16:creationId xmlns:a16="http://schemas.microsoft.com/office/drawing/2014/main" id="{E3252EFA-0280-B682-4FA7-D874D8862F2C}"/>
                    </a:ext>
                  </a:extLst>
                </p:cNvPr>
                <p:cNvSpPr txBox="1"/>
                <p:nvPr/>
              </p:nvSpPr>
              <p:spPr>
                <a:xfrm>
                  <a:off x="11429450" y="4959771"/>
                  <a:ext cx="469726" cy="1692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grpSp>
          <p:grpSp>
            <p:nvGrpSpPr>
              <p:cNvPr id="166" name="Grupo 165">
                <a:extLst>
                  <a:ext uri="{FF2B5EF4-FFF2-40B4-BE49-F238E27FC236}">
                    <a16:creationId xmlns:a16="http://schemas.microsoft.com/office/drawing/2014/main" id="{8E6900DE-185D-1D0E-DC3B-CE4FA7B13623}"/>
                  </a:ext>
                </a:extLst>
              </p:cNvPr>
              <p:cNvGrpSpPr/>
              <p:nvPr/>
            </p:nvGrpSpPr>
            <p:grpSpPr>
              <a:xfrm>
                <a:off x="9155002" y="5056064"/>
                <a:ext cx="335708" cy="259005"/>
                <a:chOff x="9155002" y="5204460"/>
                <a:chExt cx="335708" cy="259005"/>
              </a:xfrm>
            </p:grpSpPr>
            <p:sp>
              <p:nvSpPr>
                <p:cNvPr id="160" name="CuadroTexto 159">
                  <a:extLst>
                    <a:ext uri="{FF2B5EF4-FFF2-40B4-BE49-F238E27FC236}">
                      <a16:creationId xmlns:a16="http://schemas.microsoft.com/office/drawing/2014/main" id="{9B1825FA-75EF-469A-1516-8B46DC57EF93}"/>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195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62" name="Conector recto 161">
                  <a:extLst>
                    <a:ext uri="{FF2B5EF4-FFF2-40B4-BE49-F238E27FC236}">
                      <a16:creationId xmlns:a16="http://schemas.microsoft.com/office/drawing/2014/main" id="{B457070C-5DDC-BA1F-29FC-D49F96801F7E}"/>
                    </a:ext>
                  </a:extLst>
                </p:cNvPr>
                <p:cNvCxnSpPr>
                  <a:cxnSpLocks/>
                  <a:endCxn id="160"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67" name="Grupo 166">
                <a:extLst>
                  <a:ext uri="{FF2B5EF4-FFF2-40B4-BE49-F238E27FC236}">
                    <a16:creationId xmlns:a16="http://schemas.microsoft.com/office/drawing/2014/main" id="{AAF37FF1-356F-BB75-F152-7850D19E4896}"/>
                  </a:ext>
                </a:extLst>
              </p:cNvPr>
              <p:cNvGrpSpPr/>
              <p:nvPr/>
            </p:nvGrpSpPr>
            <p:grpSpPr>
              <a:xfrm>
                <a:off x="9435037" y="5056064"/>
                <a:ext cx="335708" cy="259005"/>
                <a:chOff x="9155002" y="5204460"/>
                <a:chExt cx="335708" cy="259005"/>
              </a:xfrm>
            </p:grpSpPr>
            <p:sp>
              <p:nvSpPr>
                <p:cNvPr id="168" name="CuadroTexto 167">
                  <a:extLst>
                    <a:ext uri="{FF2B5EF4-FFF2-40B4-BE49-F238E27FC236}">
                      <a16:creationId xmlns:a16="http://schemas.microsoft.com/office/drawing/2014/main" id="{2DAF136D-0A4E-6B25-9D82-EF0545013735}"/>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7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69" name="Conector recto 168">
                  <a:extLst>
                    <a:ext uri="{FF2B5EF4-FFF2-40B4-BE49-F238E27FC236}">
                      <a16:creationId xmlns:a16="http://schemas.microsoft.com/office/drawing/2014/main" id="{E10E697E-554D-94AB-B5BA-0D01D79DA666}"/>
                    </a:ext>
                  </a:extLst>
                </p:cNvPr>
                <p:cNvCxnSpPr>
                  <a:cxnSpLocks/>
                  <a:endCxn id="168"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0" name="Grupo 169">
                <a:extLst>
                  <a:ext uri="{FF2B5EF4-FFF2-40B4-BE49-F238E27FC236}">
                    <a16:creationId xmlns:a16="http://schemas.microsoft.com/office/drawing/2014/main" id="{433D5ED8-4915-FD58-B0F1-264F9A415F9C}"/>
                  </a:ext>
                </a:extLst>
              </p:cNvPr>
              <p:cNvGrpSpPr/>
              <p:nvPr/>
            </p:nvGrpSpPr>
            <p:grpSpPr>
              <a:xfrm>
                <a:off x="9703642" y="5056064"/>
                <a:ext cx="335708" cy="259005"/>
                <a:chOff x="9155002" y="5204460"/>
                <a:chExt cx="335708" cy="259005"/>
              </a:xfrm>
            </p:grpSpPr>
            <p:sp>
              <p:nvSpPr>
                <p:cNvPr id="171" name="CuadroTexto 170">
                  <a:extLst>
                    <a:ext uri="{FF2B5EF4-FFF2-40B4-BE49-F238E27FC236}">
                      <a16:creationId xmlns:a16="http://schemas.microsoft.com/office/drawing/2014/main" id="{98B34413-ED46-E1FE-FC8B-CC5B73D0141F}"/>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9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72" name="Conector recto 171">
                  <a:extLst>
                    <a:ext uri="{FF2B5EF4-FFF2-40B4-BE49-F238E27FC236}">
                      <a16:creationId xmlns:a16="http://schemas.microsoft.com/office/drawing/2014/main" id="{25E8CD13-7ECC-F375-8FD4-87E311C2E17A}"/>
                    </a:ext>
                  </a:extLst>
                </p:cNvPr>
                <p:cNvCxnSpPr>
                  <a:cxnSpLocks/>
                  <a:endCxn id="171"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3" name="Grupo 172">
                <a:extLst>
                  <a:ext uri="{FF2B5EF4-FFF2-40B4-BE49-F238E27FC236}">
                    <a16:creationId xmlns:a16="http://schemas.microsoft.com/office/drawing/2014/main" id="{C8737D4A-0AF4-6FC2-CF82-9D713989A6B6}"/>
                  </a:ext>
                </a:extLst>
              </p:cNvPr>
              <p:cNvGrpSpPr/>
              <p:nvPr/>
            </p:nvGrpSpPr>
            <p:grpSpPr>
              <a:xfrm>
                <a:off x="9979867" y="5056064"/>
                <a:ext cx="335708" cy="259005"/>
                <a:chOff x="9155002" y="5204460"/>
                <a:chExt cx="335708" cy="259005"/>
              </a:xfrm>
            </p:grpSpPr>
            <p:sp>
              <p:nvSpPr>
                <p:cNvPr id="174" name="CuadroTexto 173">
                  <a:extLst>
                    <a:ext uri="{FF2B5EF4-FFF2-40B4-BE49-F238E27FC236}">
                      <a16:creationId xmlns:a16="http://schemas.microsoft.com/office/drawing/2014/main" id="{E0536DEE-24D1-197B-0BAC-22E2FB234F18}"/>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201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75" name="Conector recto 174">
                  <a:extLst>
                    <a:ext uri="{FF2B5EF4-FFF2-40B4-BE49-F238E27FC236}">
                      <a16:creationId xmlns:a16="http://schemas.microsoft.com/office/drawing/2014/main" id="{FEE5739A-AD12-FF14-4098-9915B3245440}"/>
                    </a:ext>
                  </a:extLst>
                </p:cNvPr>
                <p:cNvCxnSpPr>
                  <a:cxnSpLocks/>
                  <a:endCxn id="174"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6" name="Grupo 175">
                <a:extLst>
                  <a:ext uri="{FF2B5EF4-FFF2-40B4-BE49-F238E27FC236}">
                    <a16:creationId xmlns:a16="http://schemas.microsoft.com/office/drawing/2014/main" id="{2B82330C-FA3F-65A5-D03F-D4DC19BC2438}"/>
                  </a:ext>
                </a:extLst>
              </p:cNvPr>
              <p:cNvGrpSpPr/>
              <p:nvPr/>
            </p:nvGrpSpPr>
            <p:grpSpPr>
              <a:xfrm>
                <a:off x="10248472" y="5056064"/>
                <a:ext cx="335708" cy="259005"/>
                <a:chOff x="9155002" y="5204460"/>
                <a:chExt cx="335708" cy="259005"/>
              </a:xfrm>
            </p:grpSpPr>
            <p:sp>
              <p:nvSpPr>
                <p:cNvPr id="177" name="CuadroTexto 176">
                  <a:extLst>
                    <a:ext uri="{FF2B5EF4-FFF2-40B4-BE49-F238E27FC236}">
                      <a16:creationId xmlns:a16="http://schemas.microsoft.com/office/drawing/2014/main" id="{B5BC909A-1E65-42B5-6CA3-EF89DD4E3B90}"/>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3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78" name="Conector recto 177">
                  <a:extLst>
                    <a:ext uri="{FF2B5EF4-FFF2-40B4-BE49-F238E27FC236}">
                      <a16:creationId xmlns:a16="http://schemas.microsoft.com/office/drawing/2014/main" id="{A2E60488-F80D-CFBA-4F2D-00803D18FFB0}"/>
                    </a:ext>
                  </a:extLst>
                </p:cNvPr>
                <p:cNvCxnSpPr>
                  <a:cxnSpLocks/>
                  <a:endCxn id="177"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79" name="Grupo 178">
                <a:extLst>
                  <a:ext uri="{FF2B5EF4-FFF2-40B4-BE49-F238E27FC236}">
                    <a16:creationId xmlns:a16="http://schemas.microsoft.com/office/drawing/2014/main" id="{7205FD88-0F39-EF81-8016-048F22FCD5CF}"/>
                  </a:ext>
                </a:extLst>
              </p:cNvPr>
              <p:cNvGrpSpPr/>
              <p:nvPr/>
            </p:nvGrpSpPr>
            <p:grpSpPr>
              <a:xfrm>
                <a:off x="10515172" y="5056064"/>
                <a:ext cx="335708" cy="259005"/>
                <a:chOff x="9155002" y="5204460"/>
                <a:chExt cx="335708" cy="259005"/>
              </a:xfrm>
            </p:grpSpPr>
            <p:sp>
              <p:nvSpPr>
                <p:cNvPr id="180" name="CuadroTexto 179">
                  <a:extLst>
                    <a:ext uri="{FF2B5EF4-FFF2-40B4-BE49-F238E27FC236}">
                      <a16:creationId xmlns:a16="http://schemas.microsoft.com/office/drawing/2014/main" id="{2BA0C856-283E-3AE4-644E-293A20A8D429}"/>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5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81" name="Conector recto 180">
                  <a:extLst>
                    <a:ext uri="{FF2B5EF4-FFF2-40B4-BE49-F238E27FC236}">
                      <a16:creationId xmlns:a16="http://schemas.microsoft.com/office/drawing/2014/main" id="{60430007-FE0E-FDDC-7AE1-AD9BFCFC766F}"/>
                    </a:ext>
                  </a:extLst>
                </p:cNvPr>
                <p:cNvCxnSpPr>
                  <a:cxnSpLocks/>
                  <a:endCxn id="180"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82" name="Grupo 181">
                <a:extLst>
                  <a:ext uri="{FF2B5EF4-FFF2-40B4-BE49-F238E27FC236}">
                    <a16:creationId xmlns:a16="http://schemas.microsoft.com/office/drawing/2014/main" id="{E63FF663-E460-7623-6873-E391EA6C298F}"/>
                  </a:ext>
                </a:extLst>
              </p:cNvPr>
              <p:cNvGrpSpPr/>
              <p:nvPr/>
            </p:nvGrpSpPr>
            <p:grpSpPr>
              <a:xfrm>
                <a:off x="10791397" y="5056064"/>
                <a:ext cx="335708" cy="259005"/>
                <a:chOff x="9155002" y="5204460"/>
                <a:chExt cx="335708" cy="259005"/>
              </a:xfrm>
            </p:grpSpPr>
            <p:sp>
              <p:nvSpPr>
                <p:cNvPr id="183" name="CuadroTexto 182">
                  <a:extLst>
                    <a:ext uri="{FF2B5EF4-FFF2-40B4-BE49-F238E27FC236}">
                      <a16:creationId xmlns:a16="http://schemas.microsoft.com/office/drawing/2014/main" id="{66491E1A-8150-8822-6A82-0B082C1DB96D}"/>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7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84" name="Conector recto 183">
                  <a:extLst>
                    <a:ext uri="{FF2B5EF4-FFF2-40B4-BE49-F238E27FC236}">
                      <a16:creationId xmlns:a16="http://schemas.microsoft.com/office/drawing/2014/main" id="{9C3EB92B-6EF2-5D9D-BFC9-CAA7D0294E2F}"/>
                    </a:ext>
                  </a:extLst>
                </p:cNvPr>
                <p:cNvCxnSpPr>
                  <a:cxnSpLocks/>
                  <a:endCxn id="183"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85" name="Grupo 184">
                <a:extLst>
                  <a:ext uri="{FF2B5EF4-FFF2-40B4-BE49-F238E27FC236}">
                    <a16:creationId xmlns:a16="http://schemas.microsoft.com/office/drawing/2014/main" id="{4B460C8D-D58A-992B-7BD2-2C828A95462D}"/>
                  </a:ext>
                </a:extLst>
              </p:cNvPr>
              <p:cNvGrpSpPr/>
              <p:nvPr/>
            </p:nvGrpSpPr>
            <p:grpSpPr>
              <a:xfrm>
                <a:off x="11200972" y="5056064"/>
                <a:ext cx="335708" cy="259005"/>
                <a:chOff x="9155002" y="5204460"/>
                <a:chExt cx="335708" cy="259005"/>
              </a:xfrm>
            </p:grpSpPr>
            <p:sp>
              <p:nvSpPr>
                <p:cNvPr id="186" name="CuadroTexto 185">
                  <a:extLst>
                    <a:ext uri="{FF2B5EF4-FFF2-40B4-BE49-F238E27FC236}">
                      <a16:creationId xmlns:a16="http://schemas.microsoft.com/office/drawing/2014/main" id="{C276A143-862F-34C3-F788-47F49519D7A4}"/>
                    </a:ext>
                  </a:extLst>
                </p:cNvPr>
                <p:cNvSpPr txBox="1"/>
                <p:nvPr/>
              </p:nvSpPr>
              <p:spPr>
                <a:xfrm>
                  <a:off x="9155002" y="5294188"/>
                  <a:ext cx="335708" cy="1692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rPr>
                    <a:t>2100</a:t>
                  </a:r>
                  <a:endParaRPr kumimoji="0" lang="en-US" sz="500" b="0" i="0" u="none" strike="noStrike" kern="1200" cap="none" spc="300" normalizeH="0" baseline="0" noProof="0" dirty="0">
                    <a:ln>
                      <a:noFill/>
                    </a:ln>
                    <a:solidFill>
                      <a:prstClr val="white">
                        <a:lumMod val="65000"/>
                      </a:prstClr>
                    </a:solidFill>
                    <a:effectLst/>
                    <a:uLnTx/>
                    <a:uFillTx/>
                    <a:latin typeface="Poppins" panose="00000500000000000000" pitchFamily="2" charset="0"/>
                    <a:ea typeface="+mn-ea"/>
                    <a:cs typeface="Poppins" panose="00000500000000000000" pitchFamily="2" charset="0"/>
                  </a:endParaRPr>
                </a:p>
              </p:txBody>
            </p:sp>
            <p:cxnSp>
              <p:nvCxnSpPr>
                <p:cNvPr id="187" name="Conector recto 186">
                  <a:extLst>
                    <a:ext uri="{FF2B5EF4-FFF2-40B4-BE49-F238E27FC236}">
                      <a16:creationId xmlns:a16="http://schemas.microsoft.com/office/drawing/2014/main" id="{B6C3CBBF-CBBD-8C96-5546-9C26FB80E6FA}"/>
                    </a:ext>
                  </a:extLst>
                </p:cNvPr>
                <p:cNvCxnSpPr>
                  <a:cxnSpLocks/>
                  <a:endCxn id="186" idx="0"/>
                </p:cNvCxnSpPr>
                <p:nvPr/>
              </p:nvCxnSpPr>
              <p:spPr>
                <a:xfrm>
                  <a:off x="9322856" y="5204460"/>
                  <a:ext cx="0" cy="89728"/>
                </a:xfrm>
                <a:prstGeom prst="line">
                  <a:avLst/>
                </a:prstGeom>
                <a:ln cap="rnd">
                  <a:solidFill>
                    <a:schemeClr val="bg1">
                      <a:lumMod val="65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8" name="Forma libre: forma 187">
                <a:extLst>
                  <a:ext uri="{FF2B5EF4-FFF2-40B4-BE49-F238E27FC236}">
                    <a16:creationId xmlns:a16="http://schemas.microsoft.com/office/drawing/2014/main" id="{5327BCED-8F7C-CF25-739A-36CD4A9172B6}"/>
                  </a:ext>
                </a:extLst>
              </p:cNvPr>
              <p:cNvSpPr/>
              <p:nvPr/>
            </p:nvSpPr>
            <p:spPr>
              <a:xfrm>
                <a:off x="9319260" y="4924425"/>
                <a:ext cx="2040255" cy="102870"/>
              </a:xfrm>
              <a:custGeom>
                <a:avLst/>
                <a:gdLst>
                  <a:gd name="connsiteX0" fmla="*/ 0 w 2040255"/>
                  <a:gd name="connsiteY0" fmla="*/ 102870 h 102870"/>
                  <a:gd name="connsiteX1" fmla="*/ 283845 w 2040255"/>
                  <a:gd name="connsiteY1" fmla="*/ 81915 h 102870"/>
                  <a:gd name="connsiteX2" fmla="*/ 569595 w 2040255"/>
                  <a:gd name="connsiteY2" fmla="*/ 62865 h 102870"/>
                  <a:gd name="connsiteX3" fmla="*/ 862965 w 2040255"/>
                  <a:gd name="connsiteY3" fmla="*/ 41910 h 102870"/>
                  <a:gd name="connsiteX4" fmla="*/ 1110615 w 2040255"/>
                  <a:gd name="connsiteY4" fmla="*/ 34290 h 102870"/>
                  <a:gd name="connsiteX5" fmla="*/ 1388745 w 2040255"/>
                  <a:gd name="connsiteY5" fmla="*/ 22860 h 102870"/>
                  <a:gd name="connsiteX6" fmla="*/ 2040255 w 2040255"/>
                  <a:gd name="connsiteY6" fmla="*/ 0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0255" h="102870">
                    <a:moveTo>
                      <a:pt x="0" y="102870"/>
                    </a:moveTo>
                    <a:lnTo>
                      <a:pt x="283845" y="81915"/>
                    </a:lnTo>
                    <a:lnTo>
                      <a:pt x="569595" y="62865"/>
                    </a:lnTo>
                    <a:lnTo>
                      <a:pt x="862965" y="41910"/>
                    </a:lnTo>
                    <a:cubicBezTo>
                      <a:pt x="953135" y="37148"/>
                      <a:pt x="1110615" y="34290"/>
                      <a:pt x="1110615" y="34290"/>
                    </a:cubicBezTo>
                    <a:lnTo>
                      <a:pt x="1388745" y="22860"/>
                    </a:lnTo>
                    <a:lnTo>
                      <a:pt x="2040255" y="0"/>
                    </a:lnTo>
                  </a:path>
                </a:pathLst>
              </a:custGeom>
              <a:noFill/>
              <a:ln w="34925"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Forma libre: forma 188">
                <a:extLst>
                  <a:ext uri="{FF2B5EF4-FFF2-40B4-BE49-F238E27FC236}">
                    <a16:creationId xmlns:a16="http://schemas.microsoft.com/office/drawing/2014/main" id="{F9A4DE1D-DC88-E14B-2A92-856F04AC8020}"/>
                  </a:ext>
                </a:extLst>
              </p:cNvPr>
              <p:cNvSpPr/>
              <p:nvPr/>
            </p:nvSpPr>
            <p:spPr>
              <a:xfrm>
                <a:off x="9332595" y="4345305"/>
                <a:ext cx="2030730" cy="676275"/>
              </a:xfrm>
              <a:custGeom>
                <a:avLst/>
                <a:gdLst>
                  <a:gd name="connsiteX0" fmla="*/ 0 w 2030730"/>
                  <a:gd name="connsiteY0" fmla="*/ 676275 h 676275"/>
                  <a:gd name="connsiteX1" fmla="*/ 596265 w 2030730"/>
                  <a:gd name="connsiteY1" fmla="*/ 590550 h 676275"/>
                  <a:gd name="connsiteX2" fmla="*/ 853440 w 2030730"/>
                  <a:gd name="connsiteY2" fmla="*/ 525780 h 676275"/>
                  <a:gd name="connsiteX3" fmla="*/ 1213485 w 2030730"/>
                  <a:gd name="connsiteY3" fmla="*/ 371475 h 676275"/>
                  <a:gd name="connsiteX4" fmla="*/ 1510665 w 2030730"/>
                  <a:gd name="connsiteY4" fmla="*/ 209550 h 676275"/>
                  <a:gd name="connsiteX5" fmla="*/ 1788795 w 2030730"/>
                  <a:gd name="connsiteY5" fmla="*/ 81915 h 676275"/>
                  <a:gd name="connsiteX6" fmla="*/ 2030730 w 2030730"/>
                  <a:gd name="connsiteY6" fmla="*/ 0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0730" h="676275">
                    <a:moveTo>
                      <a:pt x="0" y="676275"/>
                    </a:moveTo>
                    <a:cubicBezTo>
                      <a:pt x="198755" y="647700"/>
                      <a:pt x="454025" y="615632"/>
                      <a:pt x="596265" y="590550"/>
                    </a:cubicBezTo>
                    <a:cubicBezTo>
                      <a:pt x="738505" y="565468"/>
                      <a:pt x="750570" y="562292"/>
                      <a:pt x="853440" y="525780"/>
                    </a:cubicBezTo>
                    <a:cubicBezTo>
                      <a:pt x="956310" y="489268"/>
                      <a:pt x="1103948" y="424180"/>
                      <a:pt x="1213485" y="371475"/>
                    </a:cubicBezTo>
                    <a:cubicBezTo>
                      <a:pt x="1323022" y="318770"/>
                      <a:pt x="1414780" y="257810"/>
                      <a:pt x="1510665" y="209550"/>
                    </a:cubicBezTo>
                    <a:cubicBezTo>
                      <a:pt x="1606550" y="161290"/>
                      <a:pt x="1702118" y="116840"/>
                      <a:pt x="1788795" y="81915"/>
                    </a:cubicBezTo>
                    <a:cubicBezTo>
                      <a:pt x="1875472" y="46990"/>
                      <a:pt x="1953101" y="23495"/>
                      <a:pt x="2030730" y="0"/>
                    </a:cubicBezTo>
                  </a:path>
                </a:pathLst>
              </a:custGeom>
              <a:noFill/>
              <a:ln w="34925" cap="rnd">
                <a:solidFill>
                  <a:srgbClr val="33459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Forma libre: forma 189">
                <a:extLst>
                  <a:ext uri="{FF2B5EF4-FFF2-40B4-BE49-F238E27FC236}">
                    <a16:creationId xmlns:a16="http://schemas.microsoft.com/office/drawing/2014/main" id="{2DA1617F-9214-6DBB-E2BB-D48D5DACC0B3}"/>
                  </a:ext>
                </a:extLst>
              </p:cNvPr>
              <p:cNvSpPr/>
              <p:nvPr/>
            </p:nvSpPr>
            <p:spPr>
              <a:xfrm>
                <a:off x="9334500" y="4581361"/>
                <a:ext cx="2031559" cy="417359"/>
              </a:xfrm>
              <a:custGeom>
                <a:avLst/>
                <a:gdLst>
                  <a:gd name="connsiteX0" fmla="*/ 0 w 2031559"/>
                  <a:gd name="connsiteY0" fmla="*/ 417359 h 417359"/>
                  <a:gd name="connsiteX1" fmla="*/ 472440 w 2031559"/>
                  <a:gd name="connsiteY1" fmla="*/ 320204 h 417359"/>
                  <a:gd name="connsiteX2" fmla="*/ 967740 w 2031559"/>
                  <a:gd name="connsiteY2" fmla="*/ 169709 h 417359"/>
                  <a:gd name="connsiteX3" fmla="*/ 1249680 w 2031559"/>
                  <a:gd name="connsiteY3" fmla="*/ 87794 h 417359"/>
                  <a:gd name="connsiteX4" fmla="*/ 1592580 w 2031559"/>
                  <a:gd name="connsiteY4" fmla="*/ 26834 h 417359"/>
                  <a:gd name="connsiteX5" fmla="*/ 1979295 w 2031559"/>
                  <a:gd name="connsiteY5" fmla="*/ 3974 h 417359"/>
                  <a:gd name="connsiteX6" fmla="*/ 2017395 w 2031559"/>
                  <a:gd name="connsiteY6" fmla="*/ 164 h 41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1559" h="417359">
                    <a:moveTo>
                      <a:pt x="0" y="417359"/>
                    </a:moveTo>
                    <a:cubicBezTo>
                      <a:pt x="155575" y="389419"/>
                      <a:pt x="311150" y="361479"/>
                      <a:pt x="472440" y="320204"/>
                    </a:cubicBezTo>
                    <a:cubicBezTo>
                      <a:pt x="633730" y="278929"/>
                      <a:pt x="838200" y="208444"/>
                      <a:pt x="967740" y="169709"/>
                    </a:cubicBezTo>
                    <a:cubicBezTo>
                      <a:pt x="1097280" y="130974"/>
                      <a:pt x="1145540" y="111606"/>
                      <a:pt x="1249680" y="87794"/>
                    </a:cubicBezTo>
                    <a:cubicBezTo>
                      <a:pt x="1353820" y="63982"/>
                      <a:pt x="1470977" y="40804"/>
                      <a:pt x="1592580" y="26834"/>
                    </a:cubicBezTo>
                    <a:cubicBezTo>
                      <a:pt x="1714183" y="12864"/>
                      <a:pt x="1908493" y="8419"/>
                      <a:pt x="1979295" y="3974"/>
                    </a:cubicBezTo>
                    <a:cubicBezTo>
                      <a:pt x="2050097" y="-471"/>
                      <a:pt x="2033746" y="-154"/>
                      <a:pt x="2017395" y="164"/>
                    </a:cubicBezTo>
                  </a:path>
                </a:pathLst>
              </a:custGeom>
              <a:noFill/>
              <a:ln w="34925" cap="rnd">
                <a:solidFill>
                  <a:srgbClr val="02AEF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1" name="Forma libre: forma 190">
                <a:extLst>
                  <a:ext uri="{FF2B5EF4-FFF2-40B4-BE49-F238E27FC236}">
                    <a16:creationId xmlns:a16="http://schemas.microsoft.com/office/drawing/2014/main" id="{3D239ADF-2422-0CED-369E-084F960B326E}"/>
                  </a:ext>
                </a:extLst>
              </p:cNvPr>
              <p:cNvSpPr/>
              <p:nvPr/>
            </p:nvSpPr>
            <p:spPr>
              <a:xfrm>
                <a:off x="9330690" y="2990850"/>
                <a:ext cx="2042160" cy="1962150"/>
              </a:xfrm>
              <a:custGeom>
                <a:avLst/>
                <a:gdLst>
                  <a:gd name="connsiteX0" fmla="*/ 0 w 2042160"/>
                  <a:gd name="connsiteY0" fmla="*/ 1962150 h 1962150"/>
                  <a:gd name="connsiteX1" fmla="*/ 278130 w 2042160"/>
                  <a:gd name="connsiteY1" fmla="*/ 1901190 h 1962150"/>
                  <a:gd name="connsiteX2" fmla="*/ 598170 w 2042160"/>
                  <a:gd name="connsiteY2" fmla="*/ 1790700 h 1962150"/>
                  <a:gd name="connsiteX3" fmla="*/ 834390 w 2042160"/>
                  <a:gd name="connsiteY3" fmla="*/ 1649730 h 1962150"/>
                  <a:gd name="connsiteX4" fmla="*/ 1162050 w 2042160"/>
                  <a:gd name="connsiteY4" fmla="*/ 1333500 h 1962150"/>
                  <a:gd name="connsiteX5" fmla="*/ 1424940 w 2042160"/>
                  <a:gd name="connsiteY5" fmla="*/ 929640 h 1962150"/>
                  <a:gd name="connsiteX6" fmla="*/ 1714500 w 2042160"/>
                  <a:gd name="connsiteY6" fmla="*/ 453390 h 1962150"/>
                  <a:gd name="connsiteX7" fmla="*/ 1950720 w 2042160"/>
                  <a:gd name="connsiteY7" fmla="*/ 110490 h 1962150"/>
                  <a:gd name="connsiteX8" fmla="*/ 2042160 w 2042160"/>
                  <a:gd name="connsiteY8" fmla="*/ 0 h 19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160" h="1962150">
                    <a:moveTo>
                      <a:pt x="0" y="1962150"/>
                    </a:moveTo>
                    <a:cubicBezTo>
                      <a:pt x="89217" y="1945957"/>
                      <a:pt x="178435" y="1929765"/>
                      <a:pt x="278130" y="1901190"/>
                    </a:cubicBezTo>
                    <a:cubicBezTo>
                      <a:pt x="377825" y="1872615"/>
                      <a:pt x="505460" y="1832610"/>
                      <a:pt x="598170" y="1790700"/>
                    </a:cubicBezTo>
                    <a:cubicBezTo>
                      <a:pt x="690880" y="1748790"/>
                      <a:pt x="740410" y="1725930"/>
                      <a:pt x="834390" y="1649730"/>
                    </a:cubicBezTo>
                    <a:cubicBezTo>
                      <a:pt x="928370" y="1573530"/>
                      <a:pt x="1063625" y="1453515"/>
                      <a:pt x="1162050" y="1333500"/>
                    </a:cubicBezTo>
                    <a:cubicBezTo>
                      <a:pt x="1260475" y="1213485"/>
                      <a:pt x="1332865" y="1076325"/>
                      <a:pt x="1424940" y="929640"/>
                    </a:cubicBezTo>
                    <a:cubicBezTo>
                      <a:pt x="1517015" y="782955"/>
                      <a:pt x="1626870" y="589915"/>
                      <a:pt x="1714500" y="453390"/>
                    </a:cubicBezTo>
                    <a:cubicBezTo>
                      <a:pt x="1802130" y="316865"/>
                      <a:pt x="1896110" y="186055"/>
                      <a:pt x="1950720" y="110490"/>
                    </a:cubicBezTo>
                    <a:cubicBezTo>
                      <a:pt x="2005330" y="34925"/>
                      <a:pt x="2023745" y="17462"/>
                      <a:pt x="2042160" y="0"/>
                    </a:cubicBezTo>
                  </a:path>
                </a:pathLst>
              </a:custGeom>
              <a:noFill/>
              <a:ln w="34925" cap="rnd">
                <a:solidFill>
                  <a:srgbClr val="EC2129"/>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Forma libre: forma 191">
                <a:extLst>
                  <a:ext uri="{FF2B5EF4-FFF2-40B4-BE49-F238E27FC236}">
                    <a16:creationId xmlns:a16="http://schemas.microsoft.com/office/drawing/2014/main" id="{AB15AE37-ACB1-0FB5-AA98-23115108BD01}"/>
                  </a:ext>
                </a:extLst>
              </p:cNvPr>
              <p:cNvSpPr/>
              <p:nvPr/>
            </p:nvSpPr>
            <p:spPr>
              <a:xfrm>
                <a:off x="9345930" y="3089910"/>
                <a:ext cx="2015490" cy="1844040"/>
              </a:xfrm>
              <a:custGeom>
                <a:avLst/>
                <a:gdLst>
                  <a:gd name="connsiteX0" fmla="*/ 0 w 2015490"/>
                  <a:gd name="connsiteY0" fmla="*/ 1844040 h 1844040"/>
                  <a:gd name="connsiteX1" fmla="*/ 331470 w 2015490"/>
                  <a:gd name="connsiteY1" fmla="*/ 1764030 h 1844040"/>
                  <a:gd name="connsiteX2" fmla="*/ 681990 w 2015490"/>
                  <a:gd name="connsiteY2" fmla="*/ 1600200 h 1844040"/>
                  <a:gd name="connsiteX3" fmla="*/ 906780 w 2015490"/>
                  <a:gd name="connsiteY3" fmla="*/ 1386840 h 1844040"/>
                  <a:gd name="connsiteX4" fmla="*/ 1226820 w 2015490"/>
                  <a:gd name="connsiteY4" fmla="*/ 1009650 h 1844040"/>
                  <a:gd name="connsiteX5" fmla="*/ 1535430 w 2015490"/>
                  <a:gd name="connsiteY5" fmla="*/ 579120 h 1844040"/>
                  <a:gd name="connsiteX6" fmla="*/ 1767840 w 2015490"/>
                  <a:gd name="connsiteY6" fmla="*/ 236220 h 1844040"/>
                  <a:gd name="connsiteX7" fmla="*/ 1965960 w 2015490"/>
                  <a:gd name="connsiteY7" fmla="*/ 45720 h 1844040"/>
                  <a:gd name="connsiteX8" fmla="*/ 2015490 w 2015490"/>
                  <a:gd name="connsiteY8" fmla="*/ 0 h 184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5490" h="1844040">
                    <a:moveTo>
                      <a:pt x="0" y="1844040"/>
                    </a:moveTo>
                    <a:cubicBezTo>
                      <a:pt x="108902" y="1824355"/>
                      <a:pt x="217805" y="1804670"/>
                      <a:pt x="331470" y="1764030"/>
                    </a:cubicBezTo>
                    <a:cubicBezTo>
                      <a:pt x="445135" y="1723390"/>
                      <a:pt x="586105" y="1663065"/>
                      <a:pt x="681990" y="1600200"/>
                    </a:cubicBezTo>
                    <a:cubicBezTo>
                      <a:pt x="777875" y="1537335"/>
                      <a:pt x="815975" y="1485265"/>
                      <a:pt x="906780" y="1386840"/>
                    </a:cubicBezTo>
                    <a:cubicBezTo>
                      <a:pt x="997585" y="1288415"/>
                      <a:pt x="1122045" y="1144270"/>
                      <a:pt x="1226820" y="1009650"/>
                    </a:cubicBezTo>
                    <a:cubicBezTo>
                      <a:pt x="1331595" y="875030"/>
                      <a:pt x="1445260" y="708025"/>
                      <a:pt x="1535430" y="579120"/>
                    </a:cubicBezTo>
                    <a:cubicBezTo>
                      <a:pt x="1625600" y="450215"/>
                      <a:pt x="1696085" y="325120"/>
                      <a:pt x="1767840" y="236220"/>
                    </a:cubicBezTo>
                    <a:cubicBezTo>
                      <a:pt x="1839595" y="147320"/>
                      <a:pt x="1924685" y="85090"/>
                      <a:pt x="1965960" y="45720"/>
                    </a:cubicBezTo>
                    <a:cubicBezTo>
                      <a:pt x="2007235" y="6350"/>
                      <a:pt x="2011362" y="3175"/>
                      <a:pt x="2015490" y="0"/>
                    </a:cubicBezTo>
                  </a:path>
                </a:pathLst>
              </a:custGeom>
              <a:noFill/>
              <a:ln w="34925" cap="rnd">
                <a:solidFill>
                  <a:srgbClr val="860C1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CuadroTexto 192">
                <a:extLst>
                  <a:ext uri="{FF2B5EF4-FFF2-40B4-BE49-F238E27FC236}">
                    <a16:creationId xmlns:a16="http://schemas.microsoft.com/office/drawing/2014/main" id="{7FFE5FCF-B832-A796-BDA5-EA563085D0FC}"/>
                  </a:ext>
                </a:extLst>
              </p:cNvPr>
              <p:cNvSpPr txBox="1"/>
              <p:nvPr/>
            </p:nvSpPr>
            <p:spPr>
              <a:xfrm>
                <a:off x="9976439" y="4123149"/>
                <a:ext cx="510540" cy="20005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60C12"/>
                    </a:solidFill>
                    <a:effectLst/>
                    <a:uLnTx/>
                    <a:uFillTx/>
                    <a:latin typeface="Poppins Medium" panose="00000600000000000000" pitchFamily="2" charset="0"/>
                    <a:ea typeface="+mn-ea"/>
                    <a:cs typeface="Poppins Medium" panose="00000600000000000000" pitchFamily="2" charset="0"/>
                  </a:rPr>
                  <a:t>East</a:t>
                </a:r>
                <a:endParaRPr kumimoji="0" lang="en-US" sz="700" b="0" i="0" u="none" strike="noStrike" kern="1200" cap="none" spc="300" normalizeH="0" baseline="0" noProof="0" dirty="0">
                  <a:ln>
                    <a:noFill/>
                  </a:ln>
                  <a:solidFill>
                    <a:srgbClr val="860C12"/>
                  </a:solidFill>
                  <a:effectLst/>
                  <a:uLnTx/>
                  <a:uFillTx/>
                  <a:latin typeface="Poppins Medium" panose="00000600000000000000" pitchFamily="2" charset="0"/>
                  <a:ea typeface="+mn-ea"/>
                  <a:cs typeface="Poppins Medium" panose="00000600000000000000" pitchFamily="2" charset="0"/>
                </a:endParaRPr>
              </a:p>
            </p:txBody>
          </p:sp>
          <p:sp>
            <p:nvSpPr>
              <p:cNvPr id="194" name="CuadroTexto 193">
                <a:extLst>
                  <a:ext uri="{FF2B5EF4-FFF2-40B4-BE49-F238E27FC236}">
                    <a16:creationId xmlns:a16="http://schemas.microsoft.com/office/drawing/2014/main" id="{A1CFC6C5-7DBD-9622-C959-D7416821B429}"/>
                  </a:ext>
                </a:extLst>
              </p:cNvPr>
              <p:cNvSpPr txBox="1"/>
              <p:nvPr/>
            </p:nvSpPr>
            <p:spPr>
              <a:xfrm>
                <a:off x="10753707" y="3817920"/>
                <a:ext cx="510540"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EC2129"/>
                    </a:solidFill>
                    <a:effectLst/>
                    <a:uLnTx/>
                    <a:uFillTx/>
                    <a:latin typeface="Poppins Medium" panose="00000600000000000000" pitchFamily="2" charset="0"/>
                    <a:ea typeface="+mn-ea"/>
                    <a:cs typeface="Poppins Medium" panose="00000600000000000000" pitchFamily="2" charset="0"/>
                  </a:rPr>
                  <a:t>West</a:t>
                </a:r>
                <a:endParaRPr kumimoji="0" lang="en-US" sz="700" b="0" i="0" u="none" strike="noStrike" kern="1200" cap="none" spc="300" normalizeH="0" baseline="0" noProof="0" dirty="0">
                  <a:ln>
                    <a:noFill/>
                  </a:ln>
                  <a:solidFill>
                    <a:srgbClr val="EC2129"/>
                  </a:solidFill>
                  <a:effectLst/>
                  <a:uLnTx/>
                  <a:uFillTx/>
                  <a:latin typeface="Poppins Medium" panose="00000600000000000000" pitchFamily="2" charset="0"/>
                  <a:ea typeface="+mn-ea"/>
                  <a:cs typeface="Poppins Medium" panose="00000600000000000000" pitchFamily="2" charset="0"/>
                </a:endParaRPr>
              </a:p>
            </p:txBody>
          </p:sp>
          <p:sp>
            <p:nvSpPr>
              <p:cNvPr id="195" name="CuadroTexto 194">
                <a:extLst>
                  <a:ext uri="{FF2B5EF4-FFF2-40B4-BE49-F238E27FC236}">
                    <a16:creationId xmlns:a16="http://schemas.microsoft.com/office/drawing/2014/main" id="{812E0225-EDC2-6800-803B-A1F41C0ED762}"/>
                  </a:ext>
                </a:extLst>
              </p:cNvPr>
              <p:cNvSpPr txBox="1"/>
              <p:nvPr/>
            </p:nvSpPr>
            <p:spPr>
              <a:xfrm>
                <a:off x="10753707" y="4215610"/>
                <a:ext cx="541974"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334591"/>
                    </a:solidFill>
                    <a:effectLst/>
                    <a:uLnTx/>
                    <a:uFillTx/>
                    <a:latin typeface="Poppins Medium" panose="00000600000000000000" pitchFamily="2" charset="0"/>
                    <a:ea typeface="+mn-ea"/>
                    <a:cs typeface="Poppins Medium" panose="00000600000000000000" pitchFamily="2" charset="0"/>
                  </a:rPr>
                  <a:t>Central</a:t>
                </a:r>
                <a:endParaRPr kumimoji="0" lang="en-US" sz="700" b="0" i="0" u="none" strike="noStrike" kern="1200" cap="none" spc="300" normalizeH="0" baseline="0" noProof="0" dirty="0">
                  <a:ln>
                    <a:noFill/>
                  </a:ln>
                  <a:solidFill>
                    <a:srgbClr val="334591"/>
                  </a:solidFill>
                  <a:effectLst/>
                  <a:uLnTx/>
                  <a:uFillTx/>
                  <a:latin typeface="Poppins Medium" panose="00000600000000000000" pitchFamily="2" charset="0"/>
                  <a:ea typeface="+mn-ea"/>
                  <a:cs typeface="Poppins Medium" panose="00000600000000000000" pitchFamily="2" charset="0"/>
                </a:endParaRPr>
              </a:p>
            </p:txBody>
          </p:sp>
          <p:sp>
            <p:nvSpPr>
              <p:cNvPr id="196" name="CuadroTexto 195">
                <a:extLst>
                  <a:ext uri="{FF2B5EF4-FFF2-40B4-BE49-F238E27FC236}">
                    <a16:creationId xmlns:a16="http://schemas.microsoft.com/office/drawing/2014/main" id="{35673FD5-5496-1134-8C33-FE36EC52A5EE}"/>
                  </a:ext>
                </a:extLst>
              </p:cNvPr>
              <p:cNvSpPr txBox="1"/>
              <p:nvPr/>
            </p:nvSpPr>
            <p:spPr>
              <a:xfrm>
                <a:off x="10893799" y="4591387"/>
                <a:ext cx="541974"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North</a:t>
                </a:r>
                <a:endParaRPr kumimoji="0" lang="en-US" sz="700" b="0" i="0" u="none" strike="noStrike" kern="1200" cap="none" spc="30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endParaRPr>
              </a:p>
            </p:txBody>
          </p:sp>
          <p:sp>
            <p:nvSpPr>
              <p:cNvPr id="197" name="CuadroTexto 196">
                <a:extLst>
                  <a:ext uri="{FF2B5EF4-FFF2-40B4-BE49-F238E27FC236}">
                    <a16:creationId xmlns:a16="http://schemas.microsoft.com/office/drawing/2014/main" id="{A8CBCD1E-E547-26B3-C9F7-4B2872C7C81C}"/>
                  </a:ext>
                </a:extLst>
              </p:cNvPr>
              <p:cNvSpPr txBox="1"/>
              <p:nvPr/>
            </p:nvSpPr>
            <p:spPr>
              <a:xfrm>
                <a:off x="10592891" y="4750084"/>
                <a:ext cx="541974"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Poppins Medium" panose="00000600000000000000" pitchFamily="2" charset="0"/>
                    <a:ea typeface="+mn-ea"/>
                    <a:cs typeface="Poppins Medium" panose="00000600000000000000" pitchFamily="2" charset="0"/>
                  </a:rPr>
                  <a:t>South</a:t>
                </a:r>
                <a:endParaRPr kumimoji="0" lang="en-US" sz="700" b="0" i="0" u="none" strike="noStrike" kern="1200" cap="none" spc="300" normalizeH="0" baseline="0" noProof="0" dirty="0">
                  <a:ln>
                    <a:noFill/>
                  </a:ln>
                  <a:solidFill>
                    <a:prstClr val="white">
                      <a:lumMod val="50000"/>
                    </a:prstClr>
                  </a:solidFill>
                  <a:effectLst/>
                  <a:uLnTx/>
                  <a:uFillTx/>
                  <a:latin typeface="Poppins Medium" panose="00000600000000000000" pitchFamily="2" charset="0"/>
                  <a:ea typeface="+mn-ea"/>
                  <a:cs typeface="Poppins Medium" panose="00000600000000000000" pitchFamily="2" charset="0"/>
                </a:endParaRPr>
              </a:p>
            </p:txBody>
          </p:sp>
        </p:grpSp>
        <p:sp>
          <p:nvSpPr>
            <p:cNvPr id="200" name="CuadroTexto 199">
              <a:extLst>
                <a:ext uri="{FF2B5EF4-FFF2-40B4-BE49-F238E27FC236}">
                  <a16:creationId xmlns:a16="http://schemas.microsoft.com/office/drawing/2014/main" id="{7D482377-3D8C-0B2E-1B77-DC0E98A76336}"/>
                </a:ext>
              </a:extLst>
            </p:cNvPr>
            <p:cNvSpPr txBox="1"/>
            <p:nvPr/>
          </p:nvSpPr>
          <p:spPr>
            <a:xfrm>
              <a:off x="467551" y="5982327"/>
              <a:ext cx="1328229"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Source </a:t>
              </a:r>
              <a:r>
                <a:rPr kumimoji="0" lang="en-US" sz="800" b="0" i="1"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a:t>
              </a: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 </a:t>
              </a:r>
              <a:r>
                <a:rPr kumimoji="0" lang="en-US" sz="800" b="0" i="1" u="none" strike="noStrike" kern="1200" cap="none" spc="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rPr>
                <a:t>Worldometer</a:t>
              </a:r>
              <a:endParaRPr kumimoji="0" lang="en-US" sz="800" b="0" i="1" u="none" strike="noStrike" kern="1200" cap="none" spc="30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endParaRPr>
            </a:p>
          </p:txBody>
        </p:sp>
      </p:grpSp>
      <p:sp>
        <p:nvSpPr>
          <p:cNvPr id="5" name="CuadroTexto 199">
            <a:extLst>
              <a:ext uri="{FF2B5EF4-FFF2-40B4-BE49-F238E27FC236}">
                <a16:creationId xmlns:a16="http://schemas.microsoft.com/office/drawing/2014/main" id="{0E9CC786-7163-680D-8107-184CF587B9BA}"/>
              </a:ext>
            </a:extLst>
          </p:cNvPr>
          <p:cNvSpPr txBox="1"/>
          <p:nvPr/>
        </p:nvSpPr>
        <p:spPr>
          <a:xfrm>
            <a:off x="8493164" y="5684838"/>
            <a:ext cx="1328229"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Source </a:t>
            </a:r>
            <a:r>
              <a:rPr kumimoji="0" lang="en-US" sz="800" b="0" i="1"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a:t>
            </a: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 </a:t>
            </a:r>
            <a:r>
              <a:rPr kumimoji="0" lang="en-US" sz="800" b="0" i="1" u="none" strike="noStrike" kern="1200" cap="none" spc="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rPr>
              <a:t>UN</a:t>
            </a:r>
            <a:endParaRPr kumimoji="0" lang="en-US" sz="800" b="0" i="1" u="none" strike="noStrike" kern="1200" cap="none" spc="30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endParaRPr>
          </a:p>
        </p:txBody>
      </p:sp>
    </p:spTree>
    <p:extLst>
      <p:ext uri="{BB962C8B-B14F-4D97-AF65-F5344CB8AC3E}">
        <p14:creationId xmlns:p14="http://schemas.microsoft.com/office/powerpoint/2010/main" val="27394991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2884471" y="274733"/>
            <a:ext cx="3278067" cy="2780503"/>
          </a:xfrm>
          <a:prstGeom prst="rect">
            <a:avLst/>
          </a:prstGeom>
        </p:spPr>
      </p:pic>
      <p:grpSp>
        <p:nvGrpSpPr>
          <p:cNvPr id="4" name="Grupo 3">
            <a:extLst>
              <a:ext uri="{FF2B5EF4-FFF2-40B4-BE49-F238E27FC236}">
                <a16:creationId xmlns:a16="http://schemas.microsoft.com/office/drawing/2014/main" id="{DA7C4BBE-EA2C-C5E0-B561-ECF85AB1FC50}"/>
              </a:ext>
            </a:extLst>
          </p:cNvPr>
          <p:cNvGrpSpPr/>
          <p:nvPr/>
        </p:nvGrpSpPr>
        <p:grpSpPr>
          <a:xfrm flipH="1">
            <a:off x="9706670"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V="1">
            <a:off x="2558344"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grpSp>
        <p:nvGrpSpPr>
          <p:cNvPr id="43" name="Map_Africa">
            <a:extLst>
              <a:ext uri="{FF2B5EF4-FFF2-40B4-BE49-F238E27FC236}">
                <a16:creationId xmlns:a16="http://schemas.microsoft.com/office/drawing/2014/main" id="{64C98C03-AB7B-50E9-3D45-52E08BDC4A57}"/>
              </a:ext>
            </a:extLst>
          </p:cNvPr>
          <p:cNvGrpSpPr/>
          <p:nvPr/>
        </p:nvGrpSpPr>
        <p:grpSpPr>
          <a:xfrm>
            <a:off x="6016612" y="348405"/>
            <a:ext cx="5931540" cy="5576226"/>
            <a:chOff x="4858807" y="775624"/>
            <a:chExt cx="4833772" cy="5384801"/>
          </a:xfrm>
          <a:solidFill>
            <a:sysClr val="window" lastClr="FFFFFF">
              <a:lumMod val="85000"/>
            </a:sysClr>
          </a:solidFill>
        </p:grpSpPr>
        <p:sp>
          <p:nvSpPr>
            <p:cNvPr id="144" name="Angola">
              <a:extLst>
                <a:ext uri="{FF2B5EF4-FFF2-40B4-BE49-F238E27FC236}">
                  <a16:creationId xmlns:a16="http://schemas.microsoft.com/office/drawing/2014/main" id="{2FE84744-FC23-8D77-AE6C-06CF4801388A}"/>
                </a:ext>
              </a:extLst>
            </p:cNvPr>
            <p:cNvSpPr>
              <a:spLocks noEditPoints="1"/>
            </p:cNvSpPr>
            <p:nvPr/>
          </p:nvSpPr>
          <p:spPr bwMode="auto">
            <a:xfrm>
              <a:off x="6904929" y="3895062"/>
              <a:ext cx="881063" cy="1006475"/>
            </a:xfrm>
            <a:custGeom>
              <a:avLst/>
              <a:gdLst>
                <a:gd name="T0" fmla="*/ 83 w 555"/>
                <a:gd name="T1" fmla="*/ 67 h 634"/>
                <a:gd name="T2" fmla="*/ 55 w 555"/>
                <a:gd name="T3" fmla="*/ 72 h 634"/>
                <a:gd name="T4" fmla="*/ 32 w 555"/>
                <a:gd name="T5" fmla="*/ 88 h 634"/>
                <a:gd name="T6" fmla="*/ 63 w 555"/>
                <a:gd name="T7" fmla="*/ 149 h 634"/>
                <a:gd name="T8" fmla="*/ 62 w 555"/>
                <a:gd name="T9" fmla="*/ 213 h 634"/>
                <a:gd name="T10" fmla="*/ 70 w 555"/>
                <a:gd name="T11" fmla="*/ 251 h 634"/>
                <a:gd name="T12" fmla="*/ 95 w 555"/>
                <a:gd name="T13" fmla="*/ 296 h 634"/>
                <a:gd name="T14" fmla="*/ 92 w 555"/>
                <a:gd name="T15" fmla="*/ 358 h 634"/>
                <a:gd name="T16" fmla="*/ 51 w 555"/>
                <a:gd name="T17" fmla="*/ 409 h 634"/>
                <a:gd name="T18" fmla="*/ 26 w 555"/>
                <a:gd name="T19" fmla="*/ 471 h 634"/>
                <a:gd name="T20" fmla="*/ 7 w 555"/>
                <a:gd name="T21" fmla="*/ 533 h 634"/>
                <a:gd name="T22" fmla="*/ 4 w 555"/>
                <a:gd name="T23" fmla="*/ 605 h 634"/>
                <a:gd name="T24" fmla="*/ 52 w 555"/>
                <a:gd name="T25" fmla="*/ 588 h 634"/>
                <a:gd name="T26" fmla="*/ 106 w 555"/>
                <a:gd name="T27" fmla="*/ 611 h 634"/>
                <a:gd name="T28" fmla="*/ 291 w 555"/>
                <a:gd name="T29" fmla="*/ 605 h 634"/>
                <a:gd name="T30" fmla="*/ 427 w 555"/>
                <a:gd name="T31" fmla="*/ 634 h 634"/>
                <a:gd name="T32" fmla="*/ 482 w 555"/>
                <a:gd name="T33" fmla="*/ 585 h 634"/>
                <a:gd name="T34" fmla="*/ 459 w 555"/>
                <a:gd name="T35" fmla="*/ 398 h 634"/>
                <a:gd name="T36" fmla="*/ 548 w 555"/>
                <a:gd name="T37" fmla="*/ 382 h 634"/>
                <a:gd name="T38" fmla="*/ 548 w 555"/>
                <a:gd name="T39" fmla="*/ 342 h 634"/>
                <a:gd name="T40" fmla="*/ 549 w 555"/>
                <a:gd name="T41" fmla="*/ 305 h 634"/>
                <a:gd name="T42" fmla="*/ 501 w 555"/>
                <a:gd name="T43" fmla="*/ 309 h 634"/>
                <a:gd name="T44" fmla="*/ 471 w 555"/>
                <a:gd name="T45" fmla="*/ 313 h 634"/>
                <a:gd name="T46" fmla="*/ 460 w 555"/>
                <a:gd name="T47" fmla="*/ 239 h 634"/>
                <a:gd name="T48" fmla="*/ 464 w 555"/>
                <a:gd name="T49" fmla="*/ 182 h 634"/>
                <a:gd name="T50" fmla="*/ 455 w 555"/>
                <a:gd name="T51" fmla="*/ 134 h 634"/>
                <a:gd name="T52" fmla="*/ 405 w 555"/>
                <a:gd name="T53" fmla="*/ 117 h 634"/>
                <a:gd name="T54" fmla="*/ 380 w 555"/>
                <a:gd name="T55" fmla="*/ 126 h 634"/>
                <a:gd name="T56" fmla="*/ 341 w 555"/>
                <a:gd name="T57" fmla="*/ 156 h 634"/>
                <a:gd name="T58" fmla="*/ 309 w 555"/>
                <a:gd name="T59" fmla="*/ 161 h 634"/>
                <a:gd name="T60" fmla="*/ 265 w 555"/>
                <a:gd name="T61" fmla="*/ 171 h 634"/>
                <a:gd name="T62" fmla="*/ 238 w 555"/>
                <a:gd name="T63" fmla="*/ 131 h 634"/>
                <a:gd name="T64" fmla="*/ 215 w 555"/>
                <a:gd name="T65" fmla="*/ 67 h 634"/>
                <a:gd name="T66" fmla="*/ 42 w 555"/>
                <a:gd name="T67" fmla="*/ 59 h 634"/>
                <a:gd name="T68" fmla="*/ 50 w 555"/>
                <a:gd name="T69" fmla="*/ 27 h 634"/>
                <a:gd name="T70" fmla="*/ 50 w 555"/>
                <a:gd name="T71" fmla="*/ 0 h 634"/>
                <a:gd name="T72" fmla="*/ 18 w 555"/>
                <a:gd name="T73" fmla="*/ 28 h 634"/>
                <a:gd name="T74" fmla="*/ 42 w 555"/>
                <a:gd name="T75" fmla="*/ 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634">
                  <a:moveTo>
                    <a:pt x="215" y="67"/>
                  </a:moveTo>
                  <a:lnTo>
                    <a:pt x="83" y="67"/>
                  </a:lnTo>
                  <a:lnTo>
                    <a:pt x="68" y="72"/>
                  </a:lnTo>
                  <a:lnTo>
                    <a:pt x="55" y="72"/>
                  </a:lnTo>
                  <a:lnTo>
                    <a:pt x="37" y="78"/>
                  </a:lnTo>
                  <a:lnTo>
                    <a:pt x="32" y="88"/>
                  </a:lnTo>
                  <a:lnTo>
                    <a:pt x="54" y="117"/>
                  </a:lnTo>
                  <a:lnTo>
                    <a:pt x="63" y="149"/>
                  </a:lnTo>
                  <a:lnTo>
                    <a:pt x="76" y="194"/>
                  </a:lnTo>
                  <a:lnTo>
                    <a:pt x="62" y="213"/>
                  </a:lnTo>
                  <a:lnTo>
                    <a:pt x="60" y="222"/>
                  </a:lnTo>
                  <a:lnTo>
                    <a:pt x="70" y="251"/>
                  </a:lnTo>
                  <a:lnTo>
                    <a:pt x="82" y="279"/>
                  </a:lnTo>
                  <a:lnTo>
                    <a:pt x="95" y="296"/>
                  </a:lnTo>
                  <a:lnTo>
                    <a:pt x="97" y="322"/>
                  </a:lnTo>
                  <a:lnTo>
                    <a:pt x="92" y="358"/>
                  </a:lnTo>
                  <a:lnTo>
                    <a:pt x="78" y="378"/>
                  </a:lnTo>
                  <a:lnTo>
                    <a:pt x="51" y="409"/>
                  </a:lnTo>
                  <a:lnTo>
                    <a:pt x="41" y="428"/>
                  </a:lnTo>
                  <a:lnTo>
                    <a:pt x="26" y="471"/>
                  </a:lnTo>
                  <a:lnTo>
                    <a:pt x="23" y="490"/>
                  </a:lnTo>
                  <a:lnTo>
                    <a:pt x="7" y="533"/>
                  </a:lnTo>
                  <a:lnTo>
                    <a:pt x="0" y="575"/>
                  </a:lnTo>
                  <a:lnTo>
                    <a:pt x="4" y="605"/>
                  </a:lnTo>
                  <a:lnTo>
                    <a:pt x="26" y="595"/>
                  </a:lnTo>
                  <a:lnTo>
                    <a:pt x="52" y="588"/>
                  </a:lnTo>
                  <a:lnTo>
                    <a:pt x="80" y="589"/>
                  </a:lnTo>
                  <a:lnTo>
                    <a:pt x="106" y="611"/>
                  </a:lnTo>
                  <a:lnTo>
                    <a:pt x="113" y="607"/>
                  </a:lnTo>
                  <a:lnTo>
                    <a:pt x="291" y="605"/>
                  </a:lnTo>
                  <a:lnTo>
                    <a:pt x="322" y="628"/>
                  </a:lnTo>
                  <a:lnTo>
                    <a:pt x="427" y="634"/>
                  </a:lnTo>
                  <a:lnTo>
                    <a:pt x="510" y="615"/>
                  </a:lnTo>
                  <a:lnTo>
                    <a:pt x="482" y="585"/>
                  </a:lnTo>
                  <a:lnTo>
                    <a:pt x="453" y="547"/>
                  </a:lnTo>
                  <a:lnTo>
                    <a:pt x="459" y="398"/>
                  </a:lnTo>
                  <a:lnTo>
                    <a:pt x="552" y="398"/>
                  </a:lnTo>
                  <a:lnTo>
                    <a:pt x="548" y="382"/>
                  </a:lnTo>
                  <a:lnTo>
                    <a:pt x="555" y="364"/>
                  </a:lnTo>
                  <a:lnTo>
                    <a:pt x="548" y="342"/>
                  </a:lnTo>
                  <a:lnTo>
                    <a:pt x="554" y="319"/>
                  </a:lnTo>
                  <a:lnTo>
                    <a:pt x="549" y="305"/>
                  </a:lnTo>
                  <a:lnTo>
                    <a:pt x="529" y="303"/>
                  </a:lnTo>
                  <a:lnTo>
                    <a:pt x="501" y="309"/>
                  </a:lnTo>
                  <a:lnTo>
                    <a:pt x="482" y="308"/>
                  </a:lnTo>
                  <a:lnTo>
                    <a:pt x="471" y="313"/>
                  </a:lnTo>
                  <a:lnTo>
                    <a:pt x="474" y="257"/>
                  </a:lnTo>
                  <a:lnTo>
                    <a:pt x="460" y="239"/>
                  </a:lnTo>
                  <a:lnTo>
                    <a:pt x="457" y="210"/>
                  </a:lnTo>
                  <a:lnTo>
                    <a:pt x="464" y="182"/>
                  </a:lnTo>
                  <a:lnTo>
                    <a:pt x="455" y="164"/>
                  </a:lnTo>
                  <a:lnTo>
                    <a:pt x="455" y="134"/>
                  </a:lnTo>
                  <a:lnTo>
                    <a:pt x="401" y="134"/>
                  </a:lnTo>
                  <a:lnTo>
                    <a:pt x="405" y="117"/>
                  </a:lnTo>
                  <a:lnTo>
                    <a:pt x="382" y="118"/>
                  </a:lnTo>
                  <a:lnTo>
                    <a:pt x="380" y="126"/>
                  </a:lnTo>
                  <a:lnTo>
                    <a:pt x="352" y="128"/>
                  </a:lnTo>
                  <a:lnTo>
                    <a:pt x="341" y="156"/>
                  </a:lnTo>
                  <a:lnTo>
                    <a:pt x="333" y="167"/>
                  </a:lnTo>
                  <a:lnTo>
                    <a:pt x="309" y="161"/>
                  </a:lnTo>
                  <a:lnTo>
                    <a:pt x="294" y="167"/>
                  </a:lnTo>
                  <a:lnTo>
                    <a:pt x="265" y="171"/>
                  </a:lnTo>
                  <a:lnTo>
                    <a:pt x="248" y="146"/>
                  </a:lnTo>
                  <a:lnTo>
                    <a:pt x="238" y="131"/>
                  </a:lnTo>
                  <a:lnTo>
                    <a:pt x="226" y="103"/>
                  </a:lnTo>
                  <a:lnTo>
                    <a:pt x="215" y="67"/>
                  </a:lnTo>
                  <a:lnTo>
                    <a:pt x="215" y="67"/>
                  </a:lnTo>
                  <a:close/>
                  <a:moveTo>
                    <a:pt x="42" y="59"/>
                  </a:moveTo>
                  <a:lnTo>
                    <a:pt x="43" y="38"/>
                  </a:lnTo>
                  <a:lnTo>
                    <a:pt x="50" y="27"/>
                  </a:lnTo>
                  <a:lnTo>
                    <a:pt x="67" y="16"/>
                  </a:lnTo>
                  <a:lnTo>
                    <a:pt x="50" y="0"/>
                  </a:lnTo>
                  <a:lnTo>
                    <a:pt x="37" y="8"/>
                  </a:lnTo>
                  <a:lnTo>
                    <a:pt x="18" y="28"/>
                  </a:lnTo>
                  <a:lnTo>
                    <a:pt x="30" y="64"/>
                  </a:lnTo>
                  <a:lnTo>
                    <a:pt x="42" y="59"/>
                  </a:lnTo>
                  <a:lnTo>
                    <a:pt x="42" y="59"/>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45" name="Burundi">
              <a:extLst>
                <a:ext uri="{FF2B5EF4-FFF2-40B4-BE49-F238E27FC236}">
                  <a16:creationId xmlns:a16="http://schemas.microsoft.com/office/drawing/2014/main" id="{AA0139D8-2279-9290-788B-E1785E456682}"/>
                </a:ext>
              </a:extLst>
            </p:cNvPr>
            <p:cNvSpPr>
              <a:spLocks/>
            </p:cNvSpPr>
            <p:nvPr/>
          </p:nvSpPr>
          <p:spPr bwMode="auto">
            <a:xfrm>
              <a:off x="8147941" y="3739487"/>
              <a:ext cx="120650" cy="157163"/>
            </a:xfrm>
            <a:custGeom>
              <a:avLst/>
              <a:gdLst>
                <a:gd name="T0" fmla="*/ 66 w 76"/>
                <a:gd name="T1" fmla="*/ 21 h 99"/>
                <a:gd name="T2" fmla="*/ 65 w 76"/>
                <a:gd name="T3" fmla="*/ 3 h 99"/>
                <a:gd name="T4" fmla="*/ 65 w 76"/>
                <a:gd name="T5" fmla="*/ 3 h 99"/>
                <a:gd name="T6" fmla="*/ 41 w 76"/>
                <a:gd name="T7" fmla="*/ 0 h 99"/>
                <a:gd name="T8" fmla="*/ 26 w 76"/>
                <a:gd name="T9" fmla="*/ 27 h 99"/>
                <a:gd name="T10" fmla="*/ 0 w 76"/>
                <a:gd name="T11" fmla="*/ 23 h 99"/>
                <a:gd name="T12" fmla="*/ 11 w 76"/>
                <a:gd name="T13" fmla="*/ 45 h 99"/>
                <a:gd name="T14" fmla="*/ 11 w 76"/>
                <a:gd name="T15" fmla="*/ 52 h 99"/>
                <a:gd name="T16" fmla="*/ 26 w 76"/>
                <a:gd name="T17" fmla="*/ 97 h 99"/>
                <a:gd name="T18" fmla="*/ 26 w 76"/>
                <a:gd name="T19" fmla="*/ 99 h 99"/>
                <a:gd name="T20" fmla="*/ 31 w 76"/>
                <a:gd name="T21" fmla="*/ 99 h 99"/>
                <a:gd name="T22" fmla="*/ 47 w 76"/>
                <a:gd name="T23" fmla="*/ 82 h 99"/>
                <a:gd name="T24" fmla="*/ 65 w 76"/>
                <a:gd name="T25" fmla="*/ 58 h 99"/>
                <a:gd name="T26" fmla="*/ 76 w 76"/>
                <a:gd name="T27" fmla="*/ 47 h 99"/>
                <a:gd name="T28" fmla="*/ 76 w 76"/>
                <a:gd name="T29" fmla="*/ 32 h 99"/>
                <a:gd name="T30" fmla="*/ 66 w 76"/>
                <a:gd name="T31" fmla="*/ 21 h 99"/>
                <a:gd name="T32" fmla="*/ 66 w 76"/>
                <a:gd name="T33" fmla="*/ 2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99">
                  <a:moveTo>
                    <a:pt x="66" y="21"/>
                  </a:moveTo>
                  <a:lnTo>
                    <a:pt x="65" y="3"/>
                  </a:lnTo>
                  <a:lnTo>
                    <a:pt x="65" y="3"/>
                  </a:lnTo>
                  <a:lnTo>
                    <a:pt x="41" y="0"/>
                  </a:lnTo>
                  <a:lnTo>
                    <a:pt x="26" y="27"/>
                  </a:lnTo>
                  <a:lnTo>
                    <a:pt x="0" y="23"/>
                  </a:lnTo>
                  <a:lnTo>
                    <a:pt x="11" y="45"/>
                  </a:lnTo>
                  <a:lnTo>
                    <a:pt x="11" y="52"/>
                  </a:lnTo>
                  <a:lnTo>
                    <a:pt x="26" y="97"/>
                  </a:lnTo>
                  <a:lnTo>
                    <a:pt x="26" y="99"/>
                  </a:lnTo>
                  <a:lnTo>
                    <a:pt x="31" y="99"/>
                  </a:lnTo>
                  <a:lnTo>
                    <a:pt x="47" y="82"/>
                  </a:lnTo>
                  <a:lnTo>
                    <a:pt x="65" y="58"/>
                  </a:lnTo>
                  <a:lnTo>
                    <a:pt x="76" y="47"/>
                  </a:lnTo>
                  <a:lnTo>
                    <a:pt x="76" y="32"/>
                  </a:lnTo>
                  <a:lnTo>
                    <a:pt x="66" y="21"/>
                  </a:lnTo>
                  <a:lnTo>
                    <a:pt x="66" y="21"/>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46" name="Benin">
              <a:extLst>
                <a:ext uri="{FF2B5EF4-FFF2-40B4-BE49-F238E27FC236}">
                  <a16:creationId xmlns:a16="http://schemas.microsoft.com/office/drawing/2014/main" id="{8451A2E4-1E24-064F-90EF-CF7C87F825FB}"/>
                </a:ext>
              </a:extLst>
            </p:cNvPr>
            <p:cNvSpPr>
              <a:spLocks/>
            </p:cNvSpPr>
            <p:nvPr/>
          </p:nvSpPr>
          <p:spPr bwMode="auto">
            <a:xfrm>
              <a:off x="6146104" y="2652050"/>
              <a:ext cx="212725" cy="454025"/>
            </a:xfrm>
            <a:custGeom>
              <a:avLst/>
              <a:gdLst>
                <a:gd name="T0" fmla="*/ 126 w 134"/>
                <a:gd name="T1" fmla="*/ 27 h 286"/>
                <a:gd name="T2" fmla="*/ 92 w 134"/>
                <a:gd name="T3" fmla="*/ 0 h 286"/>
                <a:gd name="T4" fmla="*/ 76 w 134"/>
                <a:gd name="T5" fmla="*/ 0 h 286"/>
                <a:gd name="T6" fmla="*/ 61 w 134"/>
                <a:gd name="T7" fmla="*/ 13 h 286"/>
                <a:gd name="T8" fmla="*/ 52 w 134"/>
                <a:gd name="T9" fmla="*/ 28 h 286"/>
                <a:gd name="T10" fmla="*/ 30 w 134"/>
                <a:gd name="T11" fmla="*/ 32 h 286"/>
                <a:gd name="T12" fmla="*/ 21 w 134"/>
                <a:gd name="T13" fmla="*/ 52 h 286"/>
                <a:gd name="T14" fmla="*/ 5 w 134"/>
                <a:gd name="T15" fmla="*/ 58 h 286"/>
                <a:gd name="T16" fmla="*/ 0 w 134"/>
                <a:gd name="T17" fmla="*/ 83 h 286"/>
                <a:gd name="T18" fmla="*/ 13 w 134"/>
                <a:gd name="T19" fmla="*/ 96 h 286"/>
                <a:gd name="T20" fmla="*/ 29 w 134"/>
                <a:gd name="T21" fmla="*/ 113 h 286"/>
                <a:gd name="T22" fmla="*/ 31 w 134"/>
                <a:gd name="T23" fmla="*/ 136 h 286"/>
                <a:gd name="T24" fmla="*/ 40 w 134"/>
                <a:gd name="T25" fmla="*/ 146 h 286"/>
                <a:gd name="T26" fmla="*/ 38 w 134"/>
                <a:gd name="T27" fmla="*/ 254 h 286"/>
                <a:gd name="T28" fmla="*/ 49 w 134"/>
                <a:gd name="T29" fmla="*/ 286 h 286"/>
                <a:gd name="T30" fmla="*/ 85 w 134"/>
                <a:gd name="T31" fmla="*/ 281 h 286"/>
                <a:gd name="T32" fmla="*/ 87 w 134"/>
                <a:gd name="T33" fmla="*/ 205 h 286"/>
                <a:gd name="T34" fmla="*/ 86 w 134"/>
                <a:gd name="T35" fmla="*/ 175 h 286"/>
                <a:gd name="T36" fmla="*/ 95 w 134"/>
                <a:gd name="T37" fmla="*/ 146 h 286"/>
                <a:gd name="T38" fmla="*/ 108 w 134"/>
                <a:gd name="T39" fmla="*/ 130 h 286"/>
                <a:gd name="T40" fmla="*/ 130 w 134"/>
                <a:gd name="T41" fmla="*/ 102 h 286"/>
                <a:gd name="T42" fmla="*/ 126 w 134"/>
                <a:gd name="T43" fmla="*/ 90 h 286"/>
                <a:gd name="T44" fmla="*/ 134 w 134"/>
                <a:gd name="T45" fmla="*/ 70 h 286"/>
                <a:gd name="T46" fmla="*/ 124 w 134"/>
                <a:gd name="T47" fmla="*/ 42 h 286"/>
                <a:gd name="T48" fmla="*/ 126 w 134"/>
                <a:gd name="T49" fmla="*/ 27 h 286"/>
                <a:gd name="T50" fmla="*/ 126 w 134"/>
                <a:gd name="T51" fmla="*/ 2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286">
                  <a:moveTo>
                    <a:pt x="126" y="27"/>
                  </a:moveTo>
                  <a:lnTo>
                    <a:pt x="92" y="0"/>
                  </a:lnTo>
                  <a:lnTo>
                    <a:pt x="76" y="0"/>
                  </a:lnTo>
                  <a:lnTo>
                    <a:pt x="61" y="13"/>
                  </a:lnTo>
                  <a:lnTo>
                    <a:pt x="52" y="28"/>
                  </a:lnTo>
                  <a:lnTo>
                    <a:pt x="30" y="32"/>
                  </a:lnTo>
                  <a:lnTo>
                    <a:pt x="21" y="52"/>
                  </a:lnTo>
                  <a:lnTo>
                    <a:pt x="5" y="58"/>
                  </a:lnTo>
                  <a:lnTo>
                    <a:pt x="0" y="83"/>
                  </a:lnTo>
                  <a:lnTo>
                    <a:pt x="13" y="96"/>
                  </a:lnTo>
                  <a:lnTo>
                    <a:pt x="29" y="113"/>
                  </a:lnTo>
                  <a:lnTo>
                    <a:pt x="31" y="136"/>
                  </a:lnTo>
                  <a:lnTo>
                    <a:pt x="40" y="146"/>
                  </a:lnTo>
                  <a:lnTo>
                    <a:pt x="38" y="254"/>
                  </a:lnTo>
                  <a:lnTo>
                    <a:pt x="49" y="286"/>
                  </a:lnTo>
                  <a:lnTo>
                    <a:pt x="85" y="281"/>
                  </a:lnTo>
                  <a:lnTo>
                    <a:pt x="87" y="205"/>
                  </a:lnTo>
                  <a:lnTo>
                    <a:pt x="86" y="175"/>
                  </a:lnTo>
                  <a:lnTo>
                    <a:pt x="95" y="146"/>
                  </a:lnTo>
                  <a:lnTo>
                    <a:pt x="108" y="130"/>
                  </a:lnTo>
                  <a:lnTo>
                    <a:pt x="130" y="102"/>
                  </a:lnTo>
                  <a:lnTo>
                    <a:pt x="126" y="90"/>
                  </a:lnTo>
                  <a:lnTo>
                    <a:pt x="134" y="70"/>
                  </a:lnTo>
                  <a:lnTo>
                    <a:pt x="124" y="42"/>
                  </a:lnTo>
                  <a:lnTo>
                    <a:pt x="126" y="27"/>
                  </a:lnTo>
                  <a:lnTo>
                    <a:pt x="126" y="27"/>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47" name="Burkina Faso">
              <a:extLst>
                <a:ext uri="{FF2B5EF4-FFF2-40B4-BE49-F238E27FC236}">
                  <a16:creationId xmlns:a16="http://schemas.microsoft.com/office/drawing/2014/main" id="{6D59871C-5D9D-A7CF-F2C6-431FDFB35394}"/>
                </a:ext>
              </a:extLst>
            </p:cNvPr>
            <p:cNvSpPr>
              <a:spLocks/>
            </p:cNvSpPr>
            <p:nvPr/>
          </p:nvSpPr>
          <p:spPr bwMode="auto">
            <a:xfrm>
              <a:off x="5704779" y="2437737"/>
              <a:ext cx="539750" cy="409575"/>
            </a:xfrm>
            <a:custGeom>
              <a:avLst/>
              <a:gdLst>
                <a:gd name="T0" fmla="*/ 260 w 340"/>
                <a:gd name="T1" fmla="*/ 8 h 258"/>
                <a:gd name="T2" fmla="*/ 232 w 340"/>
                <a:gd name="T3" fmla="*/ 8 h 258"/>
                <a:gd name="T4" fmla="*/ 221 w 340"/>
                <a:gd name="T5" fmla="*/ 0 h 258"/>
                <a:gd name="T6" fmla="*/ 196 w 340"/>
                <a:gd name="T7" fmla="*/ 6 h 258"/>
                <a:gd name="T8" fmla="*/ 155 w 340"/>
                <a:gd name="T9" fmla="*/ 26 h 258"/>
                <a:gd name="T10" fmla="*/ 146 w 340"/>
                <a:gd name="T11" fmla="*/ 40 h 258"/>
                <a:gd name="T12" fmla="*/ 112 w 340"/>
                <a:gd name="T13" fmla="*/ 62 h 258"/>
                <a:gd name="T14" fmla="*/ 106 w 340"/>
                <a:gd name="T15" fmla="*/ 74 h 258"/>
                <a:gd name="T16" fmla="*/ 88 w 340"/>
                <a:gd name="T17" fmla="*/ 83 h 258"/>
                <a:gd name="T18" fmla="*/ 66 w 340"/>
                <a:gd name="T19" fmla="*/ 77 h 258"/>
                <a:gd name="T20" fmla="*/ 54 w 340"/>
                <a:gd name="T21" fmla="*/ 88 h 258"/>
                <a:gd name="T22" fmla="*/ 47 w 340"/>
                <a:gd name="T23" fmla="*/ 120 h 258"/>
                <a:gd name="T24" fmla="*/ 12 w 340"/>
                <a:gd name="T25" fmla="*/ 159 h 258"/>
                <a:gd name="T26" fmla="*/ 13 w 340"/>
                <a:gd name="T27" fmla="*/ 175 h 258"/>
                <a:gd name="T28" fmla="*/ 0 w 340"/>
                <a:gd name="T29" fmla="*/ 195 h 258"/>
                <a:gd name="T30" fmla="*/ 4 w 340"/>
                <a:gd name="T31" fmla="*/ 222 h 258"/>
                <a:gd name="T32" fmla="*/ 24 w 340"/>
                <a:gd name="T33" fmla="*/ 232 h 258"/>
                <a:gd name="T34" fmla="*/ 31 w 340"/>
                <a:gd name="T35" fmla="*/ 248 h 258"/>
                <a:gd name="T36" fmla="*/ 51 w 340"/>
                <a:gd name="T37" fmla="*/ 258 h 258"/>
                <a:gd name="T38" fmla="*/ 67 w 340"/>
                <a:gd name="T39" fmla="*/ 247 h 258"/>
                <a:gd name="T40" fmla="*/ 88 w 340"/>
                <a:gd name="T41" fmla="*/ 244 h 258"/>
                <a:gd name="T42" fmla="*/ 118 w 340"/>
                <a:gd name="T43" fmla="*/ 257 h 258"/>
                <a:gd name="T44" fmla="*/ 111 w 340"/>
                <a:gd name="T45" fmla="*/ 221 h 258"/>
                <a:gd name="T46" fmla="*/ 113 w 340"/>
                <a:gd name="T47" fmla="*/ 194 h 258"/>
                <a:gd name="T48" fmla="*/ 190 w 340"/>
                <a:gd name="T49" fmla="*/ 192 h 258"/>
                <a:gd name="T50" fmla="*/ 210 w 340"/>
                <a:gd name="T51" fmla="*/ 196 h 258"/>
                <a:gd name="T52" fmla="*/ 224 w 340"/>
                <a:gd name="T53" fmla="*/ 188 h 258"/>
                <a:gd name="T54" fmla="*/ 245 w 340"/>
                <a:gd name="T55" fmla="*/ 192 h 258"/>
                <a:gd name="T56" fmla="*/ 283 w 340"/>
                <a:gd name="T57" fmla="*/ 193 h 258"/>
                <a:gd name="T58" fmla="*/ 299 w 340"/>
                <a:gd name="T59" fmla="*/ 187 h 258"/>
                <a:gd name="T60" fmla="*/ 308 w 340"/>
                <a:gd name="T61" fmla="*/ 167 h 258"/>
                <a:gd name="T62" fmla="*/ 330 w 340"/>
                <a:gd name="T63" fmla="*/ 163 h 258"/>
                <a:gd name="T64" fmla="*/ 339 w 340"/>
                <a:gd name="T65" fmla="*/ 148 h 258"/>
                <a:gd name="T66" fmla="*/ 340 w 340"/>
                <a:gd name="T67" fmla="*/ 116 h 258"/>
                <a:gd name="T68" fmla="*/ 288 w 340"/>
                <a:gd name="T69" fmla="*/ 106 h 258"/>
                <a:gd name="T70" fmla="*/ 288 w 340"/>
                <a:gd name="T71" fmla="*/ 83 h 258"/>
                <a:gd name="T72" fmla="*/ 262 w 340"/>
                <a:gd name="T73" fmla="*/ 52 h 258"/>
                <a:gd name="T74" fmla="*/ 257 w 340"/>
                <a:gd name="T75" fmla="*/ 31 h 258"/>
                <a:gd name="T76" fmla="*/ 260 w 340"/>
                <a:gd name="T77" fmla="*/ 8 h 258"/>
                <a:gd name="T78" fmla="*/ 260 w 340"/>
                <a:gd name="T79" fmla="*/ 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258">
                  <a:moveTo>
                    <a:pt x="260" y="8"/>
                  </a:moveTo>
                  <a:lnTo>
                    <a:pt x="232" y="8"/>
                  </a:lnTo>
                  <a:lnTo>
                    <a:pt x="221" y="0"/>
                  </a:lnTo>
                  <a:lnTo>
                    <a:pt x="196" y="6"/>
                  </a:lnTo>
                  <a:lnTo>
                    <a:pt x="155" y="26"/>
                  </a:lnTo>
                  <a:lnTo>
                    <a:pt x="146" y="40"/>
                  </a:lnTo>
                  <a:lnTo>
                    <a:pt x="112" y="62"/>
                  </a:lnTo>
                  <a:lnTo>
                    <a:pt x="106" y="74"/>
                  </a:lnTo>
                  <a:lnTo>
                    <a:pt x="88" y="83"/>
                  </a:lnTo>
                  <a:lnTo>
                    <a:pt x="66" y="77"/>
                  </a:lnTo>
                  <a:lnTo>
                    <a:pt x="54" y="88"/>
                  </a:lnTo>
                  <a:lnTo>
                    <a:pt x="47" y="120"/>
                  </a:lnTo>
                  <a:lnTo>
                    <a:pt x="12" y="159"/>
                  </a:lnTo>
                  <a:lnTo>
                    <a:pt x="13" y="175"/>
                  </a:lnTo>
                  <a:lnTo>
                    <a:pt x="0" y="195"/>
                  </a:lnTo>
                  <a:lnTo>
                    <a:pt x="4" y="222"/>
                  </a:lnTo>
                  <a:lnTo>
                    <a:pt x="24" y="232"/>
                  </a:lnTo>
                  <a:lnTo>
                    <a:pt x="31" y="248"/>
                  </a:lnTo>
                  <a:lnTo>
                    <a:pt x="51" y="258"/>
                  </a:lnTo>
                  <a:lnTo>
                    <a:pt x="67" y="247"/>
                  </a:lnTo>
                  <a:lnTo>
                    <a:pt x="88" y="244"/>
                  </a:lnTo>
                  <a:lnTo>
                    <a:pt x="118" y="257"/>
                  </a:lnTo>
                  <a:lnTo>
                    <a:pt x="111" y="221"/>
                  </a:lnTo>
                  <a:lnTo>
                    <a:pt x="113" y="194"/>
                  </a:lnTo>
                  <a:lnTo>
                    <a:pt x="190" y="192"/>
                  </a:lnTo>
                  <a:lnTo>
                    <a:pt x="210" y="196"/>
                  </a:lnTo>
                  <a:lnTo>
                    <a:pt x="224" y="188"/>
                  </a:lnTo>
                  <a:lnTo>
                    <a:pt x="245" y="192"/>
                  </a:lnTo>
                  <a:lnTo>
                    <a:pt x="283" y="193"/>
                  </a:lnTo>
                  <a:lnTo>
                    <a:pt x="299" y="187"/>
                  </a:lnTo>
                  <a:lnTo>
                    <a:pt x="308" y="167"/>
                  </a:lnTo>
                  <a:lnTo>
                    <a:pt x="330" y="163"/>
                  </a:lnTo>
                  <a:lnTo>
                    <a:pt x="339" y="148"/>
                  </a:lnTo>
                  <a:lnTo>
                    <a:pt x="340" y="116"/>
                  </a:lnTo>
                  <a:lnTo>
                    <a:pt x="288" y="106"/>
                  </a:lnTo>
                  <a:lnTo>
                    <a:pt x="288" y="83"/>
                  </a:lnTo>
                  <a:lnTo>
                    <a:pt x="262" y="52"/>
                  </a:lnTo>
                  <a:lnTo>
                    <a:pt x="257" y="31"/>
                  </a:lnTo>
                  <a:lnTo>
                    <a:pt x="260" y="8"/>
                  </a:lnTo>
                  <a:lnTo>
                    <a:pt x="260" y="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48" name="Botswana">
              <a:extLst>
                <a:ext uri="{FF2B5EF4-FFF2-40B4-BE49-F238E27FC236}">
                  <a16:creationId xmlns:a16="http://schemas.microsoft.com/office/drawing/2014/main" id="{7DF94061-763C-8945-2988-DC016B46F5CD}"/>
                </a:ext>
              </a:extLst>
            </p:cNvPr>
            <p:cNvSpPr>
              <a:spLocks/>
            </p:cNvSpPr>
            <p:nvPr/>
          </p:nvSpPr>
          <p:spPr bwMode="auto">
            <a:xfrm>
              <a:off x="7463729" y="4882487"/>
              <a:ext cx="668338" cy="682625"/>
            </a:xfrm>
            <a:custGeom>
              <a:avLst/>
              <a:gdLst>
                <a:gd name="T0" fmla="*/ 247 w 421"/>
                <a:gd name="T1" fmla="*/ 3 h 430"/>
                <a:gd name="T2" fmla="*/ 240 w 421"/>
                <a:gd name="T3" fmla="*/ 0 h 430"/>
                <a:gd name="T4" fmla="*/ 214 w 421"/>
                <a:gd name="T5" fmla="*/ 10 h 430"/>
                <a:gd name="T6" fmla="*/ 202 w 421"/>
                <a:gd name="T7" fmla="*/ 10 h 430"/>
                <a:gd name="T8" fmla="*/ 172 w 421"/>
                <a:gd name="T9" fmla="*/ 29 h 430"/>
                <a:gd name="T10" fmla="*/ 156 w 421"/>
                <a:gd name="T11" fmla="*/ 9 h 430"/>
                <a:gd name="T12" fmla="*/ 88 w 421"/>
                <a:gd name="T13" fmla="*/ 26 h 430"/>
                <a:gd name="T14" fmla="*/ 55 w 421"/>
                <a:gd name="T15" fmla="*/ 27 h 430"/>
                <a:gd name="T16" fmla="*/ 48 w 421"/>
                <a:gd name="T17" fmla="*/ 194 h 430"/>
                <a:gd name="T18" fmla="*/ 5 w 421"/>
                <a:gd name="T19" fmla="*/ 196 h 430"/>
                <a:gd name="T20" fmla="*/ 0 w 421"/>
                <a:gd name="T21" fmla="*/ 333 h 430"/>
                <a:gd name="T22" fmla="*/ 12 w 421"/>
                <a:gd name="T23" fmla="*/ 340 h 430"/>
                <a:gd name="T24" fmla="*/ 35 w 421"/>
                <a:gd name="T25" fmla="*/ 385 h 430"/>
                <a:gd name="T26" fmla="*/ 30 w 421"/>
                <a:gd name="T27" fmla="*/ 413 h 430"/>
                <a:gd name="T28" fmla="*/ 39 w 421"/>
                <a:gd name="T29" fmla="*/ 430 h 430"/>
                <a:gd name="T30" fmla="*/ 70 w 421"/>
                <a:gd name="T31" fmla="*/ 425 h 430"/>
                <a:gd name="T32" fmla="*/ 93 w 421"/>
                <a:gd name="T33" fmla="*/ 405 h 430"/>
                <a:gd name="T34" fmla="*/ 114 w 421"/>
                <a:gd name="T35" fmla="*/ 390 h 430"/>
                <a:gd name="T36" fmla="*/ 126 w 421"/>
                <a:gd name="T37" fmla="*/ 367 h 430"/>
                <a:gd name="T38" fmla="*/ 148 w 421"/>
                <a:gd name="T39" fmla="*/ 357 h 430"/>
                <a:gd name="T40" fmla="*/ 165 w 421"/>
                <a:gd name="T41" fmla="*/ 362 h 430"/>
                <a:gd name="T42" fmla="*/ 185 w 421"/>
                <a:gd name="T43" fmla="*/ 376 h 430"/>
                <a:gd name="T44" fmla="*/ 221 w 421"/>
                <a:gd name="T45" fmla="*/ 378 h 430"/>
                <a:gd name="T46" fmla="*/ 249 w 421"/>
                <a:gd name="T47" fmla="*/ 367 h 430"/>
                <a:gd name="T48" fmla="*/ 254 w 421"/>
                <a:gd name="T49" fmla="*/ 352 h 430"/>
                <a:gd name="T50" fmla="*/ 263 w 421"/>
                <a:gd name="T51" fmla="*/ 330 h 430"/>
                <a:gd name="T52" fmla="*/ 286 w 421"/>
                <a:gd name="T53" fmla="*/ 327 h 430"/>
                <a:gd name="T54" fmla="*/ 301 w 421"/>
                <a:gd name="T55" fmla="*/ 309 h 430"/>
                <a:gd name="T56" fmla="*/ 317 w 421"/>
                <a:gd name="T57" fmla="*/ 277 h 430"/>
                <a:gd name="T58" fmla="*/ 358 w 421"/>
                <a:gd name="T59" fmla="*/ 242 h 430"/>
                <a:gd name="T60" fmla="*/ 421 w 421"/>
                <a:gd name="T61" fmla="*/ 208 h 430"/>
                <a:gd name="T62" fmla="*/ 394 w 421"/>
                <a:gd name="T63" fmla="*/ 186 h 430"/>
                <a:gd name="T64" fmla="*/ 360 w 421"/>
                <a:gd name="T65" fmla="*/ 179 h 430"/>
                <a:gd name="T66" fmla="*/ 349 w 421"/>
                <a:gd name="T67" fmla="*/ 149 h 430"/>
                <a:gd name="T68" fmla="*/ 350 w 421"/>
                <a:gd name="T69" fmla="*/ 133 h 430"/>
                <a:gd name="T70" fmla="*/ 331 w 421"/>
                <a:gd name="T71" fmla="*/ 128 h 430"/>
                <a:gd name="T72" fmla="*/ 284 w 421"/>
                <a:gd name="T73" fmla="*/ 76 h 430"/>
                <a:gd name="T74" fmla="*/ 271 w 421"/>
                <a:gd name="T75" fmla="*/ 49 h 430"/>
                <a:gd name="T76" fmla="*/ 263 w 421"/>
                <a:gd name="T77" fmla="*/ 40 h 430"/>
                <a:gd name="T78" fmla="*/ 247 w 421"/>
                <a:gd name="T79" fmla="*/ 3 h 430"/>
                <a:gd name="T80" fmla="*/ 247 w 421"/>
                <a:gd name="T81"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30">
                  <a:moveTo>
                    <a:pt x="247" y="3"/>
                  </a:moveTo>
                  <a:lnTo>
                    <a:pt x="240" y="0"/>
                  </a:lnTo>
                  <a:lnTo>
                    <a:pt x="214" y="10"/>
                  </a:lnTo>
                  <a:lnTo>
                    <a:pt x="202" y="10"/>
                  </a:lnTo>
                  <a:lnTo>
                    <a:pt x="172" y="29"/>
                  </a:lnTo>
                  <a:lnTo>
                    <a:pt x="156" y="9"/>
                  </a:lnTo>
                  <a:lnTo>
                    <a:pt x="88" y="26"/>
                  </a:lnTo>
                  <a:lnTo>
                    <a:pt x="55" y="27"/>
                  </a:lnTo>
                  <a:lnTo>
                    <a:pt x="48" y="194"/>
                  </a:lnTo>
                  <a:lnTo>
                    <a:pt x="5" y="196"/>
                  </a:lnTo>
                  <a:lnTo>
                    <a:pt x="0" y="333"/>
                  </a:lnTo>
                  <a:lnTo>
                    <a:pt x="12" y="340"/>
                  </a:lnTo>
                  <a:lnTo>
                    <a:pt x="35" y="385"/>
                  </a:lnTo>
                  <a:lnTo>
                    <a:pt x="30" y="413"/>
                  </a:lnTo>
                  <a:lnTo>
                    <a:pt x="39" y="430"/>
                  </a:lnTo>
                  <a:lnTo>
                    <a:pt x="70" y="425"/>
                  </a:lnTo>
                  <a:lnTo>
                    <a:pt x="93" y="405"/>
                  </a:lnTo>
                  <a:lnTo>
                    <a:pt x="114" y="390"/>
                  </a:lnTo>
                  <a:lnTo>
                    <a:pt x="126" y="367"/>
                  </a:lnTo>
                  <a:lnTo>
                    <a:pt x="148" y="357"/>
                  </a:lnTo>
                  <a:lnTo>
                    <a:pt x="165" y="362"/>
                  </a:lnTo>
                  <a:lnTo>
                    <a:pt x="185" y="376"/>
                  </a:lnTo>
                  <a:lnTo>
                    <a:pt x="221" y="378"/>
                  </a:lnTo>
                  <a:lnTo>
                    <a:pt x="249" y="367"/>
                  </a:lnTo>
                  <a:lnTo>
                    <a:pt x="254" y="352"/>
                  </a:lnTo>
                  <a:lnTo>
                    <a:pt x="263" y="330"/>
                  </a:lnTo>
                  <a:lnTo>
                    <a:pt x="286" y="327"/>
                  </a:lnTo>
                  <a:lnTo>
                    <a:pt x="301" y="309"/>
                  </a:lnTo>
                  <a:lnTo>
                    <a:pt x="317" y="277"/>
                  </a:lnTo>
                  <a:lnTo>
                    <a:pt x="358" y="242"/>
                  </a:lnTo>
                  <a:lnTo>
                    <a:pt x="421" y="208"/>
                  </a:lnTo>
                  <a:lnTo>
                    <a:pt x="394" y="186"/>
                  </a:lnTo>
                  <a:lnTo>
                    <a:pt x="360" y="179"/>
                  </a:lnTo>
                  <a:lnTo>
                    <a:pt x="349" y="149"/>
                  </a:lnTo>
                  <a:lnTo>
                    <a:pt x="350" y="133"/>
                  </a:lnTo>
                  <a:lnTo>
                    <a:pt x="331" y="128"/>
                  </a:lnTo>
                  <a:lnTo>
                    <a:pt x="284" y="76"/>
                  </a:lnTo>
                  <a:lnTo>
                    <a:pt x="271" y="49"/>
                  </a:lnTo>
                  <a:lnTo>
                    <a:pt x="263" y="40"/>
                  </a:lnTo>
                  <a:lnTo>
                    <a:pt x="247" y="3"/>
                  </a:lnTo>
                  <a:lnTo>
                    <a:pt x="247" y="3"/>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49" name="Central African Rep.">
              <a:extLst>
                <a:ext uri="{FF2B5EF4-FFF2-40B4-BE49-F238E27FC236}">
                  <a16:creationId xmlns:a16="http://schemas.microsoft.com/office/drawing/2014/main" id="{173EA901-2098-5DD2-AEF9-0B6C3F9BC662}"/>
                </a:ext>
              </a:extLst>
            </p:cNvPr>
            <p:cNvSpPr>
              <a:spLocks/>
            </p:cNvSpPr>
            <p:nvPr/>
          </p:nvSpPr>
          <p:spPr bwMode="auto">
            <a:xfrm>
              <a:off x="7114479" y="2733012"/>
              <a:ext cx="914400" cy="661988"/>
            </a:xfrm>
            <a:custGeom>
              <a:avLst/>
              <a:gdLst>
                <a:gd name="T0" fmla="*/ 418 w 576"/>
                <a:gd name="T1" fmla="*/ 118 h 417"/>
                <a:gd name="T2" fmla="*/ 414 w 576"/>
                <a:gd name="T3" fmla="*/ 117 h 417"/>
                <a:gd name="T4" fmla="*/ 399 w 576"/>
                <a:gd name="T5" fmla="*/ 103 h 417"/>
                <a:gd name="T6" fmla="*/ 396 w 576"/>
                <a:gd name="T7" fmla="*/ 88 h 417"/>
                <a:gd name="T8" fmla="*/ 402 w 576"/>
                <a:gd name="T9" fmla="*/ 69 h 417"/>
                <a:gd name="T10" fmla="*/ 402 w 576"/>
                <a:gd name="T11" fmla="*/ 50 h 417"/>
                <a:gd name="T12" fmla="*/ 376 w 576"/>
                <a:gd name="T13" fmla="*/ 20 h 417"/>
                <a:gd name="T14" fmla="*/ 370 w 576"/>
                <a:gd name="T15" fmla="*/ 0 h 417"/>
                <a:gd name="T16" fmla="*/ 342 w 576"/>
                <a:gd name="T17" fmla="*/ 8 h 417"/>
                <a:gd name="T18" fmla="*/ 320 w 576"/>
                <a:gd name="T19" fmla="*/ 27 h 417"/>
                <a:gd name="T20" fmla="*/ 289 w 576"/>
                <a:gd name="T21" fmla="*/ 79 h 417"/>
                <a:gd name="T22" fmla="*/ 248 w 576"/>
                <a:gd name="T23" fmla="*/ 100 h 417"/>
                <a:gd name="T24" fmla="*/ 204 w 576"/>
                <a:gd name="T25" fmla="*/ 97 h 417"/>
                <a:gd name="T26" fmla="*/ 192 w 576"/>
                <a:gd name="T27" fmla="*/ 101 h 417"/>
                <a:gd name="T28" fmla="*/ 197 w 576"/>
                <a:gd name="T29" fmla="*/ 118 h 417"/>
                <a:gd name="T30" fmla="*/ 173 w 576"/>
                <a:gd name="T31" fmla="*/ 135 h 417"/>
                <a:gd name="T32" fmla="*/ 155 w 576"/>
                <a:gd name="T33" fmla="*/ 152 h 417"/>
                <a:gd name="T34" fmla="*/ 99 w 576"/>
                <a:gd name="T35" fmla="*/ 171 h 417"/>
                <a:gd name="T36" fmla="*/ 88 w 576"/>
                <a:gd name="T37" fmla="*/ 160 h 417"/>
                <a:gd name="T38" fmla="*/ 80 w 576"/>
                <a:gd name="T39" fmla="*/ 159 h 417"/>
                <a:gd name="T40" fmla="*/ 73 w 576"/>
                <a:gd name="T41" fmla="*/ 171 h 417"/>
                <a:gd name="T42" fmla="*/ 36 w 576"/>
                <a:gd name="T43" fmla="*/ 175 h 417"/>
                <a:gd name="T44" fmla="*/ 13 w 576"/>
                <a:gd name="T45" fmla="*/ 222 h 417"/>
                <a:gd name="T46" fmla="*/ 3 w 576"/>
                <a:gd name="T47" fmla="*/ 231 h 417"/>
                <a:gd name="T48" fmla="*/ 0 w 576"/>
                <a:gd name="T49" fmla="*/ 268 h 417"/>
                <a:gd name="T50" fmla="*/ 4 w 576"/>
                <a:gd name="T51" fmla="*/ 287 h 417"/>
                <a:gd name="T52" fmla="*/ 1 w 576"/>
                <a:gd name="T53" fmla="*/ 301 h 417"/>
                <a:gd name="T54" fmla="*/ 22 w 576"/>
                <a:gd name="T55" fmla="*/ 326 h 417"/>
                <a:gd name="T56" fmla="*/ 26 w 576"/>
                <a:gd name="T57" fmla="*/ 343 h 417"/>
                <a:gd name="T58" fmla="*/ 43 w 576"/>
                <a:gd name="T59" fmla="*/ 367 h 417"/>
                <a:gd name="T60" fmla="*/ 64 w 576"/>
                <a:gd name="T61" fmla="*/ 382 h 417"/>
                <a:gd name="T62" fmla="*/ 65 w 576"/>
                <a:gd name="T63" fmla="*/ 404 h 417"/>
                <a:gd name="T64" fmla="*/ 70 w 576"/>
                <a:gd name="T65" fmla="*/ 417 h 417"/>
                <a:gd name="T66" fmla="*/ 93 w 576"/>
                <a:gd name="T67" fmla="*/ 373 h 417"/>
                <a:gd name="T68" fmla="*/ 120 w 576"/>
                <a:gd name="T69" fmla="*/ 349 h 417"/>
                <a:gd name="T70" fmla="*/ 149 w 576"/>
                <a:gd name="T71" fmla="*/ 356 h 417"/>
                <a:gd name="T72" fmla="*/ 179 w 576"/>
                <a:gd name="T73" fmla="*/ 359 h 417"/>
                <a:gd name="T74" fmla="*/ 182 w 576"/>
                <a:gd name="T75" fmla="*/ 326 h 417"/>
                <a:gd name="T76" fmla="*/ 200 w 576"/>
                <a:gd name="T77" fmla="*/ 302 h 417"/>
                <a:gd name="T78" fmla="*/ 223 w 576"/>
                <a:gd name="T79" fmla="*/ 287 h 417"/>
                <a:gd name="T80" fmla="*/ 260 w 576"/>
                <a:gd name="T81" fmla="*/ 304 h 417"/>
                <a:gd name="T82" fmla="*/ 288 w 576"/>
                <a:gd name="T83" fmla="*/ 321 h 417"/>
                <a:gd name="T84" fmla="*/ 321 w 576"/>
                <a:gd name="T85" fmla="*/ 326 h 417"/>
                <a:gd name="T86" fmla="*/ 355 w 576"/>
                <a:gd name="T87" fmla="*/ 334 h 417"/>
                <a:gd name="T88" fmla="*/ 368 w 576"/>
                <a:gd name="T89" fmla="*/ 306 h 417"/>
                <a:gd name="T90" fmla="*/ 374 w 576"/>
                <a:gd name="T91" fmla="*/ 302 h 417"/>
                <a:gd name="T92" fmla="*/ 394 w 576"/>
                <a:gd name="T93" fmla="*/ 307 h 417"/>
                <a:gd name="T94" fmla="*/ 443 w 576"/>
                <a:gd name="T95" fmla="*/ 283 h 417"/>
                <a:gd name="T96" fmla="*/ 462 w 576"/>
                <a:gd name="T97" fmla="*/ 293 h 417"/>
                <a:gd name="T98" fmla="*/ 475 w 576"/>
                <a:gd name="T99" fmla="*/ 292 h 417"/>
                <a:gd name="T100" fmla="*/ 482 w 576"/>
                <a:gd name="T101" fmla="*/ 281 h 417"/>
                <a:gd name="T102" fmla="*/ 498 w 576"/>
                <a:gd name="T103" fmla="*/ 276 h 417"/>
                <a:gd name="T104" fmla="*/ 532 w 576"/>
                <a:gd name="T105" fmla="*/ 281 h 417"/>
                <a:gd name="T106" fmla="*/ 561 w 576"/>
                <a:gd name="T107" fmla="*/ 283 h 417"/>
                <a:gd name="T108" fmla="*/ 576 w 576"/>
                <a:gd name="T109" fmla="*/ 278 h 417"/>
                <a:gd name="T110" fmla="*/ 569 w 576"/>
                <a:gd name="T111" fmla="*/ 263 h 417"/>
                <a:gd name="T112" fmla="*/ 535 w 576"/>
                <a:gd name="T113" fmla="*/ 244 h 417"/>
                <a:gd name="T114" fmla="*/ 523 w 576"/>
                <a:gd name="T115" fmla="*/ 216 h 417"/>
                <a:gd name="T116" fmla="*/ 504 w 576"/>
                <a:gd name="T117" fmla="*/ 196 h 417"/>
                <a:gd name="T118" fmla="*/ 474 w 576"/>
                <a:gd name="T119" fmla="*/ 171 h 417"/>
                <a:gd name="T120" fmla="*/ 474 w 576"/>
                <a:gd name="T121" fmla="*/ 156 h 417"/>
                <a:gd name="T122" fmla="*/ 449 w 576"/>
                <a:gd name="T123" fmla="*/ 137 h 417"/>
                <a:gd name="T124" fmla="*/ 418 w 576"/>
                <a:gd name="T125" fmla="*/ 1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417">
                  <a:moveTo>
                    <a:pt x="418" y="118"/>
                  </a:moveTo>
                  <a:lnTo>
                    <a:pt x="414" y="117"/>
                  </a:lnTo>
                  <a:lnTo>
                    <a:pt x="399" y="103"/>
                  </a:lnTo>
                  <a:lnTo>
                    <a:pt x="396" y="88"/>
                  </a:lnTo>
                  <a:lnTo>
                    <a:pt x="402" y="69"/>
                  </a:lnTo>
                  <a:lnTo>
                    <a:pt x="402" y="50"/>
                  </a:lnTo>
                  <a:lnTo>
                    <a:pt x="376" y="20"/>
                  </a:lnTo>
                  <a:lnTo>
                    <a:pt x="370" y="0"/>
                  </a:lnTo>
                  <a:lnTo>
                    <a:pt x="342" y="8"/>
                  </a:lnTo>
                  <a:lnTo>
                    <a:pt x="320" y="27"/>
                  </a:lnTo>
                  <a:lnTo>
                    <a:pt x="289" y="79"/>
                  </a:lnTo>
                  <a:lnTo>
                    <a:pt x="248" y="100"/>
                  </a:lnTo>
                  <a:lnTo>
                    <a:pt x="204" y="97"/>
                  </a:lnTo>
                  <a:lnTo>
                    <a:pt x="192" y="101"/>
                  </a:lnTo>
                  <a:lnTo>
                    <a:pt x="197" y="118"/>
                  </a:lnTo>
                  <a:lnTo>
                    <a:pt x="173" y="135"/>
                  </a:lnTo>
                  <a:lnTo>
                    <a:pt x="155" y="152"/>
                  </a:lnTo>
                  <a:lnTo>
                    <a:pt x="99" y="171"/>
                  </a:lnTo>
                  <a:lnTo>
                    <a:pt x="88" y="160"/>
                  </a:lnTo>
                  <a:lnTo>
                    <a:pt x="80" y="159"/>
                  </a:lnTo>
                  <a:lnTo>
                    <a:pt x="73" y="171"/>
                  </a:lnTo>
                  <a:lnTo>
                    <a:pt x="36" y="175"/>
                  </a:lnTo>
                  <a:lnTo>
                    <a:pt x="13" y="222"/>
                  </a:lnTo>
                  <a:lnTo>
                    <a:pt x="3" y="231"/>
                  </a:lnTo>
                  <a:lnTo>
                    <a:pt x="0" y="268"/>
                  </a:lnTo>
                  <a:lnTo>
                    <a:pt x="4" y="287"/>
                  </a:lnTo>
                  <a:lnTo>
                    <a:pt x="1" y="301"/>
                  </a:lnTo>
                  <a:lnTo>
                    <a:pt x="22" y="326"/>
                  </a:lnTo>
                  <a:lnTo>
                    <a:pt x="26" y="343"/>
                  </a:lnTo>
                  <a:lnTo>
                    <a:pt x="43" y="367"/>
                  </a:lnTo>
                  <a:lnTo>
                    <a:pt x="64" y="382"/>
                  </a:lnTo>
                  <a:lnTo>
                    <a:pt x="65" y="404"/>
                  </a:lnTo>
                  <a:lnTo>
                    <a:pt x="70" y="417"/>
                  </a:lnTo>
                  <a:lnTo>
                    <a:pt x="93" y="373"/>
                  </a:lnTo>
                  <a:lnTo>
                    <a:pt x="120" y="349"/>
                  </a:lnTo>
                  <a:lnTo>
                    <a:pt x="149" y="356"/>
                  </a:lnTo>
                  <a:lnTo>
                    <a:pt x="179" y="359"/>
                  </a:lnTo>
                  <a:lnTo>
                    <a:pt x="182" y="326"/>
                  </a:lnTo>
                  <a:lnTo>
                    <a:pt x="200" y="302"/>
                  </a:lnTo>
                  <a:lnTo>
                    <a:pt x="223" y="287"/>
                  </a:lnTo>
                  <a:lnTo>
                    <a:pt x="260" y="304"/>
                  </a:lnTo>
                  <a:lnTo>
                    <a:pt x="288" y="321"/>
                  </a:lnTo>
                  <a:lnTo>
                    <a:pt x="321" y="326"/>
                  </a:lnTo>
                  <a:lnTo>
                    <a:pt x="355" y="334"/>
                  </a:lnTo>
                  <a:lnTo>
                    <a:pt x="368" y="306"/>
                  </a:lnTo>
                  <a:lnTo>
                    <a:pt x="374" y="302"/>
                  </a:lnTo>
                  <a:lnTo>
                    <a:pt x="394" y="307"/>
                  </a:lnTo>
                  <a:lnTo>
                    <a:pt x="443" y="283"/>
                  </a:lnTo>
                  <a:lnTo>
                    <a:pt x="462" y="293"/>
                  </a:lnTo>
                  <a:lnTo>
                    <a:pt x="475" y="292"/>
                  </a:lnTo>
                  <a:lnTo>
                    <a:pt x="482" y="281"/>
                  </a:lnTo>
                  <a:lnTo>
                    <a:pt x="498" y="276"/>
                  </a:lnTo>
                  <a:lnTo>
                    <a:pt x="532" y="281"/>
                  </a:lnTo>
                  <a:lnTo>
                    <a:pt x="561" y="283"/>
                  </a:lnTo>
                  <a:lnTo>
                    <a:pt x="576" y="278"/>
                  </a:lnTo>
                  <a:lnTo>
                    <a:pt x="569" y="263"/>
                  </a:lnTo>
                  <a:lnTo>
                    <a:pt x="535" y="244"/>
                  </a:lnTo>
                  <a:lnTo>
                    <a:pt x="523" y="216"/>
                  </a:lnTo>
                  <a:lnTo>
                    <a:pt x="504" y="196"/>
                  </a:lnTo>
                  <a:lnTo>
                    <a:pt x="474" y="171"/>
                  </a:lnTo>
                  <a:lnTo>
                    <a:pt x="474" y="156"/>
                  </a:lnTo>
                  <a:lnTo>
                    <a:pt x="449" y="137"/>
                  </a:lnTo>
                  <a:lnTo>
                    <a:pt x="418" y="11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0" name="Côte d'Ivoire">
              <a:extLst>
                <a:ext uri="{FF2B5EF4-FFF2-40B4-BE49-F238E27FC236}">
                  <a16:creationId xmlns:a16="http://schemas.microsoft.com/office/drawing/2014/main" id="{E0FA99B0-5DFA-1FD5-419D-28C2969813C3}"/>
                </a:ext>
              </a:extLst>
            </p:cNvPr>
            <p:cNvSpPr>
              <a:spLocks/>
            </p:cNvSpPr>
            <p:nvPr/>
          </p:nvSpPr>
          <p:spPr bwMode="auto">
            <a:xfrm>
              <a:off x="5482529" y="2779050"/>
              <a:ext cx="428625" cy="461963"/>
            </a:xfrm>
            <a:custGeom>
              <a:avLst/>
              <a:gdLst>
                <a:gd name="T0" fmla="*/ 144 w 270"/>
                <a:gd name="T1" fmla="*/ 7 h 291"/>
                <a:gd name="T2" fmla="*/ 125 w 270"/>
                <a:gd name="T3" fmla="*/ 15 h 291"/>
                <a:gd name="T4" fmla="*/ 114 w 270"/>
                <a:gd name="T5" fmla="*/ 20 h 291"/>
                <a:gd name="T6" fmla="*/ 108 w 270"/>
                <a:gd name="T7" fmla="*/ 0 h 291"/>
                <a:gd name="T8" fmla="*/ 95 w 270"/>
                <a:gd name="T9" fmla="*/ 5 h 291"/>
                <a:gd name="T10" fmla="*/ 87 w 270"/>
                <a:gd name="T11" fmla="*/ 5 h 291"/>
                <a:gd name="T12" fmla="*/ 79 w 270"/>
                <a:gd name="T13" fmla="*/ 18 h 291"/>
                <a:gd name="T14" fmla="*/ 45 w 270"/>
                <a:gd name="T15" fmla="*/ 18 h 291"/>
                <a:gd name="T16" fmla="*/ 32 w 270"/>
                <a:gd name="T17" fmla="*/ 11 h 291"/>
                <a:gd name="T18" fmla="*/ 27 w 270"/>
                <a:gd name="T19" fmla="*/ 15 h 291"/>
                <a:gd name="T20" fmla="*/ 18 w 270"/>
                <a:gd name="T21" fmla="*/ 19 h 291"/>
                <a:gd name="T22" fmla="*/ 14 w 270"/>
                <a:gd name="T23" fmla="*/ 35 h 291"/>
                <a:gd name="T24" fmla="*/ 24 w 270"/>
                <a:gd name="T25" fmla="*/ 54 h 291"/>
                <a:gd name="T26" fmla="*/ 35 w 270"/>
                <a:gd name="T27" fmla="*/ 92 h 291"/>
                <a:gd name="T28" fmla="*/ 18 w 270"/>
                <a:gd name="T29" fmla="*/ 97 h 291"/>
                <a:gd name="T30" fmla="*/ 14 w 270"/>
                <a:gd name="T31" fmla="*/ 104 h 291"/>
                <a:gd name="T32" fmla="*/ 18 w 270"/>
                <a:gd name="T33" fmla="*/ 113 h 291"/>
                <a:gd name="T34" fmla="*/ 15 w 270"/>
                <a:gd name="T35" fmla="*/ 134 h 291"/>
                <a:gd name="T36" fmla="*/ 7 w 270"/>
                <a:gd name="T37" fmla="*/ 134 h 291"/>
                <a:gd name="T38" fmla="*/ 6 w 270"/>
                <a:gd name="T39" fmla="*/ 147 h 291"/>
                <a:gd name="T40" fmla="*/ 10 w 270"/>
                <a:gd name="T41" fmla="*/ 170 h 291"/>
                <a:gd name="T42" fmla="*/ 0 w 270"/>
                <a:gd name="T43" fmla="*/ 191 h 291"/>
                <a:gd name="T44" fmla="*/ 13 w 270"/>
                <a:gd name="T45" fmla="*/ 203 h 291"/>
                <a:gd name="T46" fmla="*/ 27 w 270"/>
                <a:gd name="T47" fmla="*/ 207 h 291"/>
                <a:gd name="T48" fmla="*/ 46 w 270"/>
                <a:gd name="T49" fmla="*/ 226 h 291"/>
                <a:gd name="T50" fmla="*/ 47 w 270"/>
                <a:gd name="T51" fmla="*/ 245 h 291"/>
                <a:gd name="T52" fmla="*/ 43 w 270"/>
                <a:gd name="T53" fmla="*/ 251 h 291"/>
                <a:gd name="T54" fmla="*/ 39 w 270"/>
                <a:gd name="T55" fmla="*/ 290 h 291"/>
                <a:gd name="T56" fmla="*/ 48 w 270"/>
                <a:gd name="T57" fmla="*/ 291 h 291"/>
                <a:gd name="T58" fmla="*/ 92 w 270"/>
                <a:gd name="T59" fmla="*/ 274 h 291"/>
                <a:gd name="T60" fmla="*/ 123 w 270"/>
                <a:gd name="T61" fmla="*/ 260 h 291"/>
                <a:gd name="T62" fmla="*/ 176 w 270"/>
                <a:gd name="T63" fmla="*/ 252 h 291"/>
                <a:gd name="T64" fmla="*/ 205 w 270"/>
                <a:gd name="T65" fmla="*/ 251 h 291"/>
                <a:gd name="T66" fmla="*/ 236 w 270"/>
                <a:gd name="T67" fmla="*/ 260 h 291"/>
                <a:gd name="T68" fmla="*/ 256 w 270"/>
                <a:gd name="T69" fmla="*/ 260 h 291"/>
                <a:gd name="T70" fmla="*/ 258 w 270"/>
                <a:gd name="T71" fmla="*/ 241 h 291"/>
                <a:gd name="T72" fmla="*/ 239 w 270"/>
                <a:gd name="T73" fmla="*/ 201 h 291"/>
                <a:gd name="T74" fmla="*/ 250 w 270"/>
                <a:gd name="T75" fmla="*/ 148 h 291"/>
                <a:gd name="T76" fmla="*/ 270 w 270"/>
                <a:gd name="T77" fmla="*/ 108 h 291"/>
                <a:gd name="T78" fmla="*/ 258 w 270"/>
                <a:gd name="T79" fmla="*/ 42 h 291"/>
                <a:gd name="T80" fmla="*/ 228 w 270"/>
                <a:gd name="T81" fmla="*/ 29 h 291"/>
                <a:gd name="T82" fmla="*/ 207 w 270"/>
                <a:gd name="T83" fmla="*/ 32 h 291"/>
                <a:gd name="T84" fmla="*/ 191 w 270"/>
                <a:gd name="T85" fmla="*/ 43 h 291"/>
                <a:gd name="T86" fmla="*/ 171 w 270"/>
                <a:gd name="T87" fmla="*/ 33 h 291"/>
                <a:gd name="T88" fmla="*/ 164 w 270"/>
                <a:gd name="T89" fmla="*/ 17 h 291"/>
                <a:gd name="T90" fmla="*/ 144 w 270"/>
                <a:gd name="T91" fmla="*/ 7 h 291"/>
                <a:gd name="T92" fmla="*/ 144 w 270"/>
                <a:gd name="T93" fmla="*/ 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91">
                  <a:moveTo>
                    <a:pt x="144" y="7"/>
                  </a:moveTo>
                  <a:lnTo>
                    <a:pt x="125" y="15"/>
                  </a:lnTo>
                  <a:lnTo>
                    <a:pt x="114" y="20"/>
                  </a:lnTo>
                  <a:lnTo>
                    <a:pt x="108" y="0"/>
                  </a:lnTo>
                  <a:lnTo>
                    <a:pt x="95" y="5"/>
                  </a:lnTo>
                  <a:lnTo>
                    <a:pt x="87" y="5"/>
                  </a:lnTo>
                  <a:lnTo>
                    <a:pt x="79" y="18"/>
                  </a:lnTo>
                  <a:lnTo>
                    <a:pt x="45" y="18"/>
                  </a:lnTo>
                  <a:lnTo>
                    <a:pt x="32" y="11"/>
                  </a:lnTo>
                  <a:lnTo>
                    <a:pt x="27" y="15"/>
                  </a:lnTo>
                  <a:lnTo>
                    <a:pt x="18" y="19"/>
                  </a:lnTo>
                  <a:lnTo>
                    <a:pt x="14" y="35"/>
                  </a:lnTo>
                  <a:lnTo>
                    <a:pt x="24" y="54"/>
                  </a:lnTo>
                  <a:lnTo>
                    <a:pt x="35" y="92"/>
                  </a:lnTo>
                  <a:lnTo>
                    <a:pt x="18" y="97"/>
                  </a:lnTo>
                  <a:lnTo>
                    <a:pt x="14" y="104"/>
                  </a:lnTo>
                  <a:lnTo>
                    <a:pt x="18" y="113"/>
                  </a:lnTo>
                  <a:lnTo>
                    <a:pt x="15" y="134"/>
                  </a:lnTo>
                  <a:lnTo>
                    <a:pt x="7" y="134"/>
                  </a:lnTo>
                  <a:lnTo>
                    <a:pt x="6" y="147"/>
                  </a:lnTo>
                  <a:lnTo>
                    <a:pt x="10" y="170"/>
                  </a:lnTo>
                  <a:lnTo>
                    <a:pt x="0" y="191"/>
                  </a:lnTo>
                  <a:lnTo>
                    <a:pt x="13" y="203"/>
                  </a:lnTo>
                  <a:lnTo>
                    <a:pt x="27" y="207"/>
                  </a:lnTo>
                  <a:lnTo>
                    <a:pt x="46" y="226"/>
                  </a:lnTo>
                  <a:lnTo>
                    <a:pt x="47" y="245"/>
                  </a:lnTo>
                  <a:lnTo>
                    <a:pt x="43" y="251"/>
                  </a:lnTo>
                  <a:lnTo>
                    <a:pt x="39" y="290"/>
                  </a:lnTo>
                  <a:lnTo>
                    <a:pt x="48" y="291"/>
                  </a:lnTo>
                  <a:lnTo>
                    <a:pt x="92" y="274"/>
                  </a:lnTo>
                  <a:lnTo>
                    <a:pt x="123" y="260"/>
                  </a:lnTo>
                  <a:lnTo>
                    <a:pt x="176" y="252"/>
                  </a:lnTo>
                  <a:lnTo>
                    <a:pt x="205" y="251"/>
                  </a:lnTo>
                  <a:lnTo>
                    <a:pt x="236" y="260"/>
                  </a:lnTo>
                  <a:lnTo>
                    <a:pt x="256" y="260"/>
                  </a:lnTo>
                  <a:lnTo>
                    <a:pt x="258" y="241"/>
                  </a:lnTo>
                  <a:lnTo>
                    <a:pt x="239" y="201"/>
                  </a:lnTo>
                  <a:lnTo>
                    <a:pt x="250" y="148"/>
                  </a:lnTo>
                  <a:lnTo>
                    <a:pt x="270" y="108"/>
                  </a:lnTo>
                  <a:lnTo>
                    <a:pt x="258" y="42"/>
                  </a:lnTo>
                  <a:lnTo>
                    <a:pt x="228" y="29"/>
                  </a:lnTo>
                  <a:lnTo>
                    <a:pt x="207" y="32"/>
                  </a:lnTo>
                  <a:lnTo>
                    <a:pt x="191" y="43"/>
                  </a:lnTo>
                  <a:lnTo>
                    <a:pt x="171" y="33"/>
                  </a:lnTo>
                  <a:lnTo>
                    <a:pt x="164" y="17"/>
                  </a:lnTo>
                  <a:lnTo>
                    <a:pt x="144" y="7"/>
                  </a:lnTo>
                  <a:lnTo>
                    <a:pt x="144" y="7"/>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1" name="Cameroon">
              <a:extLst>
                <a:ext uri="{FF2B5EF4-FFF2-40B4-BE49-F238E27FC236}">
                  <a16:creationId xmlns:a16="http://schemas.microsoft.com/office/drawing/2014/main" id="{7864A340-F6EA-31A3-81A6-632AD595E011}"/>
                </a:ext>
              </a:extLst>
            </p:cNvPr>
            <p:cNvSpPr>
              <a:spLocks/>
            </p:cNvSpPr>
            <p:nvPr/>
          </p:nvSpPr>
          <p:spPr bwMode="auto">
            <a:xfrm>
              <a:off x="6692204" y="2606012"/>
              <a:ext cx="533400" cy="830263"/>
            </a:xfrm>
            <a:custGeom>
              <a:avLst/>
              <a:gdLst>
                <a:gd name="T0" fmla="*/ 284 w 336"/>
                <a:gd name="T1" fmla="*/ 92 h 523"/>
                <a:gd name="T2" fmla="*/ 286 w 336"/>
                <a:gd name="T3" fmla="*/ 61 h 523"/>
                <a:gd name="T4" fmla="*/ 282 w 336"/>
                <a:gd name="T5" fmla="*/ 30 h 523"/>
                <a:gd name="T6" fmla="*/ 264 w 336"/>
                <a:gd name="T7" fmla="*/ 0 h 523"/>
                <a:gd name="T8" fmla="*/ 251 w 336"/>
                <a:gd name="T9" fmla="*/ 2 h 523"/>
                <a:gd name="T10" fmla="*/ 250 w 336"/>
                <a:gd name="T11" fmla="*/ 17 h 523"/>
                <a:gd name="T12" fmla="*/ 267 w 336"/>
                <a:gd name="T13" fmla="*/ 35 h 523"/>
                <a:gd name="T14" fmla="*/ 263 w 336"/>
                <a:gd name="T15" fmla="*/ 44 h 523"/>
                <a:gd name="T16" fmla="*/ 261 w 336"/>
                <a:gd name="T17" fmla="*/ 60 h 523"/>
                <a:gd name="T18" fmla="*/ 224 w 336"/>
                <a:gd name="T19" fmla="*/ 97 h 523"/>
                <a:gd name="T20" fmla="*/ 213 w 336"/>
                <a:gd name="T21" fmla="*/ 126 h 523"/>
                <a:gd name="T22" fmla="*/ 207 w 336"/>
                <a:gd name="T23" fmla="*/ 151 h 523"/>
                <a:gd name="T24" fmla="*/ 197 w 336"/>
                <a:gd name="T25" fmla="*/ 161 h 523"/>
                <a:gd name="T26" fmla="*/ 189 w 336"/>
                <a:gd name="T27" fmla="*/ 194 h 523"/>
                <a:gd name="T28" fmla="*/ 165 w 336"/>
                <a:gd name="T29" fmla="*/ 214 h 523"/>
                <a:gd name="T30" fmla="*/ 158 w 336"/>
                <a:gd name="T31" fmla="*/ 238 h 523"/>
                <a:gd name="T32" fmla="*/ 149 w 336"/>
                <a:gd name="T33" fmla="*/ 256 h 523"/>
                <a:gd name="T34" fmla="*/ 144 w 336"/>
                <a:gd name="T35" fmla="*/ 276 h 523"/>
                <a:gd name="T36" fmla="*/ 114 w 336"/>
                <a:gd name="T37" fmla="*/ 292 h 523"/>
                <a:gd name="T38" fmla="*/ 88 w 336"/>
                <a:gd name="T39" fmla="*/ 272 h 523"/>
                <a:gd name="T40" fmla="*/ 72 w 336"/>
                <a:gd name="T41" fmla="*/ 273 h 523"/>
                <a:gd name="T42" fmla="*/ 45 w 336"/>
                <a:gd name="T43" fmla="*/ 300 h 523"/>
                <a:gd name="T44" fmla="*/ 33 w 336"/>
                <a:gd name="T45" fmla="*/ 300 h 523"/>
                <a:gd name="T46" fmla="*/ 12 w 336"/>
                <a:gd name="T47" fmla="*/ 346 h 523"/>
                <a:gd name="T48" fmla="*/ 1 w 336"/>
                <a:gd name="T49" fmla="*/ 379 h 523"/>
                <a:gd name="T50" fmla="*/ 0 w 336"/>
                <a:gd name="T51" fmla="*/ 392 h 523"/>
                <a:gd name="T52" fmla="*/ 12 w 336"/>
                <a:gd name="T53" fmla="*/ 399 h 523"/>
                <a:gd name="T54" fmla="*/ 21 w 336"/>
                <a:gd name="T55" fmla="*/ 420 h 523"/>
                <a:gd name="T56" fmla="*/ 41 w 336"/>
                <a:gd name="T57" fmla="*/ 428 h 523"/>
                <a:gd name="T58" fmla="*/ 58 w 336"/>
                <a:gd name="T59" fmla="*/ 459 h 523"/>
                <a:gd name="T60" fmla="*/ 52 w 336"/>
                <a:gd name="T61" fmla="*/ 496 h 523"/>
                <a:gd name="T62" fmla="*/ 125 w 336"/>
                <a:gd name="T63" fmla="*/ 497 h 523"/>
                <a:gd name="T64" fmla="*/ 146 w 336"/>
                <a:gd name="T65" fmla="*/ 494 h 523"/>
                <a:gd name="T66" fmla="*/ 172 w 336"/>
                <a:gd name="T67" fmla="*/ 501 h 523"/>
                <a:gd name="T68" fmla="*/ 200 w 336"/>
                <a:gd name="T69" fmla="*/ 495 h 523"/>
                <a:gd name="T70" fmla="*/ 205 w 336"/>
                <a:gd name="T71" fmla="*/ 497 h 523"/>
                <a:gd name="T72" fmla="*/ 261 w 336"/>
                <a:gd name="T73" fmla="*/ 499 h 523"/>
                <a:gd name="T74" fmla="*/ 298 w 336"/>
                <a:gd name="T75" fmla="*/ 511 h 523"/>
                <a:gd name="T76" fmla="*/ 333 w 336"/>
                <a:gd name="T77" fmla="*/ 523 h 523"/>
                <a:gd name="T78" fmla="*/ 336 w 336"/>
                <a:gd name="T79" fmla="*/ 497 h 523"/>
                <a:gd name="T80" fmla="*/ 331 w 336"/>
                <a:gd name="T81" fmla="*/ 484 h 523"/>
                <a:gd name="T82" fmla="*/ 330 w 336"/>
                <a:gd name="T83" fmla="*/ 462 h 523"/>
                <a:gd name="T84" fmla="*/ 309 w 336"/>
                <a:gd name="T85" fmla="*/ 447 h 523"/>
                <a:gd name="T86" fmla="*/ 292 w 336"/>
                <a:gd name="T87" fmla="*/ 423 h 523"/>
                <a:gd name="T88" fmla="*/ 288 w 336"/>
                <a:gd name="T89" fmla="*/ 406 h 523"/>
                <a:gd name="T90" fmla="*/ 267 w 336"/>
                <a:gd name="T91" fmla="*/ 381 h 523"/>
                <a:gd name="T92" fmla="*/ 270 w 336"/>
                <a:gd name="T93" fmla="*/ 367 h 523"/>
                <a:gd name="T94" fmla="*/ 266 w 336"/>
                <a:gd name="T95" fmla="*/ 348 h 523"/>
                <a:gd name="T96" fmla="*/ 269 w 336"/>
                <a:gd name="T97" fmla="*/ 311 h 523"/>
                <a:gd name="T98" fmla="*/ 279 w 336"/>
                <a:gd name="T99" fmla="*/ 302 h 523"/>
                <a:gd name="T100" fmla="*/ 302 w 336"/>
                <a:gd name="T101" fmla="*/ 255 h 523"/>
                <a:gd name="T102" fmla="*/ 309 w 336"/>
                <a:gd name="T103" fmla="*/ 243 h 523"/>
                <a:gd name="T104" fmla="*/ 294 w 336"/>
                <a:gd name="T105" fmla="*/ 210 h 523"/>
                <a:gd name="T106" fmla="*/ 288 w 336"/>
                <a:gd name="T107" fmla="*/ 190 h 523"/>
                <a:gd name="T108" fmla="*/ 268 w 336"/>
                <a:gd name="T109" fmla="*/ 182 h 523"/>
                <a:gd name="T110" fmla="*/ 242 w 336"/>
                <a:gd name="T111" fmla="*/ 155 h 523"/>
                <a:gd name="T112" fmla="*/ 251 w 336"/>
                <a:gd name="T113" fmla="*/ 133 h 523"/>
                <a:gd name="T114" fmla="*/ 271 w 336"/>
                <a:gd name="T115" fmla="*/ 137 h 523"/>
                <a:gd name="T116" fmla="*/ 284 w 336"/>
                <a:gd name="T117" fmla="*/ 134 h 523"/>
                <a:gd name="T118" fmla="*/ 309 w 336"/>
                <a:gd name="T119" fmla="*/ 135 h 523"/>
                <a:gd name="T120" fmla="*/ 284 w 336"/>
                <a:gd name="T121" fmla="*/ 92 h 523"/>
                <a:gd name="T122" fmla="*/ 284 w 336"/>
                <a:gd name="T123"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523">
                  <a:moveTo>
                    <a:pt x="284" y="92"/>
                  </a:moveTo>
                  <a:lnTo>
                    <a:pt x="286" y="61"/>
                  </a:lnTo>
                  <a:lnTo>
                    <a:pt x="282" y="30"/>
                  </a:lnTo>
                  <a:lnTo>
                    <a:pt x="264" y="0"/>
                  </a:lnTo>
                  <a:lnTo>
                    <a:pt x="251" y="2"/>
                  </a:lnTo>
                  <a:lnTo>
                    <a:pt x="250" y="17"/>
                  </a:lnTo>
                  <a:lnTo>
                    <a:pt x="267" y="35"/>
                  </a:lnTo>
                  <a:lnTo>
                    <a:pt x="263" y="44"/>
                  </a:lnTo>
                  <a:lnTo>
                    <a:pt x="261" y="60"/>
                  </a:lnTo>
                  <a:lnTo>
                    <a:pt x="224" y="97"/>
                  </a:lnTo>
                  <a:lnTo>
                    <a:pt x="213" y="126"/>
                  </a:lnTo>
                  <a:lnTo>
                    <a:pt x="207" y="151"/>
                  </a:lnTo>
                  <a:lnTo>
                    <a:pt x="197" y="161"/>
                  </a:lnTo>
                  <a:lnTo>
                    <a:pt x="189" y="194"/>
                  </a:lnTo>
                  <a:lnTo>
                    <a:pt x="165" y="214"/>
                  </a:lnTo>
                  <a:lnTo>
                    <a:pt x="158" y="238"/>
                  </a:lnTo>
                  <a:lnTo>
                    <a:pt x="149" y="256"/>
                  </a:lnTo>
                  <a:lnTo>
                    <a:pt x="144" y="276"/>
                  </a:lnTo>
                  <a:lnTo>
                    <a:pt x="114" y="292"/>
                  </a:lnTo>
                  <a:lnTo>
                    <a:pt x="88" y="272"/>
                  </a:lnTo>
                  <a:lnTo>
                    <a:pt x="72" y="273"/>
                  </a:lnTo>
                  <a:lnTo>
                    <a:pt x="45" y="300"/>
                  </a:lnTo>
                  <a:lnTo>
                    <a:pt x="33" y="300"/>
                  </a:lnTo>
                  <a:lnTo>
                    <a:pt x="12" y="346"/>
                  </a:lnTo>
                  <a:lnTo>
                    <a:pt x="1" y="379"/>
                  </a:lnTo>
                  <a:lnTo>
                    <a:pt x="0" y="392"/>
                  </a:lnTo>
                  <a:lnTo>
                    <a:pt x="12" y="399"/>
                  </a:lnTo>
                  <a:lnTo>
                    <a:pt x="21" y="420"/>
                  </a:lnTo>
                  <a:lnTo>
                    <a:pt x="41" y="428"/>
                  </a:lnTo>
                  <a:lnTo>
                    <a:pt x="58" y="459"/>
                  </a:lnTo>
                  <a:lnTo>
                    <a:pt x="52" y="496"/>
                  </a:lnTo>
                  <a:lnTo>
                    <a:pt x="125" y="497"/>
                  </a:lnTo>
                  <a:lnTo>
                    <a:pt x="146" y="494"/>
                  </a:lnTo>
                  <a:lnTo>
                    <a:pt x="172" y="501"/>
                  </a:lnTo>
                  <a:lnTo>
                    <a:pt x="200" y="495"/>
                  </a:lnTo>
                  <a:lnTo>
                    <a:pt x="205" y="497"/>
                  </a:lnTo>
                  <a:lnTo>
                    <a:pt x="261" y="499"/>
                  </a:lnTo>
                  <a:lnTo>
                    <a:pt x="298" y="511"/>
                  </a:lnTo>
                  <a:lnTo>
                    <a:pt x="333" y="523"/>
                  </a:lnTo>
                  <a:lnTo>
                    <a:pt x="336" y="497"/>
                  </a:lnTo>
                  <a:lnTo>
                    <a:pt x="331" y="484"/>
                  </a:lnTo>
                  <a:lnTo>
                    <a:pt x="330" y="462"/>
                  </a:lnTo>
                  <a:lnTo>
                    <a:pt x="309" y="447"/>
                  </a:lnTo>
                  <a:lnTo>
                    <a:pt x="292" y="423"/>
                  </a:lnTo>
                  <a:lnTo>
                    <a:pt x="288" y="406"/>
                  </a:lnTo>
                  <a:lnTo>
                    <a:pt x="267" y="381"/>
                  </a:lnTo>
                  <a:lnTo>
                    <a:pt x="270" y="367"/>
                  </a:lnTo>
                  <a:lnTo>
                    <a:pt x="266" y="348"/>
                  </a:lnTo>
                  <a:lnTo>
                    <a:pt x="269" y="311"/>
                  </a:lnTo>
                  <a:lnTo>
                    <a:pt x="279" y="302"/>
                  </a:lnTo>
                  <a:lnTo>
                    <a:pt x="302" y="255"/>
                  </a:lnTo>
                  <a:lnTo>
                    <a:pt x="309" y="243"/>
                  </a:lnTo>
                  <a:lnTo>
                    <a:pt x="294" y="210"/>
                  </a:lnTo>
                  <a:lnTo>
                    <a:pt x="288" y="190"/>
                  </a:lnTo>
                  <a:lnTo>
                    <a:pt x="268" y="182"/>
                  </a:lnTo>
                  <a:lnTo>
                    <a:pt x="242" y="155"/>
                  </a:lnTo>
                  <a:lnTo>
                    <a:pt x="251" y="133"/>
                  </a:lnTo>
                  <a:lnTo>
                    <a:pt x="271" y="137"/>
                  </a:lnTo>
                  <a:lnTo>
                    <a:pt x="284" y="134"/>
                  </a:lnTo>
                  <a:lnTo>
                    <a:pt x="309" y="135"/>
                  </a:lnTo>
                  <a:lnTo>
                    <a:pt x="284" y="92"/>
                  </a:lnTo>
                  <a:lnTo>
                    <a:pt x="284" y="92"/>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2" name="The Democratic Republic of the Congo">
              <a:extLst>
                <a:ext uri="{FF2B5EF4-FFF2-40B4-BE49-F238E27FC236}">
                  <a16:creationId xmlns:a16="http://schemas.microsoft.com/office/drawing/2014/main" id="{34903855-F4DA-F402-8D8E-E9332C97651B}"/>
                </a:ext>
              </a:extLst>
            </p:cNvPr>
            <p:cNvSpPr>
              <a:spLocks/>
            </p:cNvSpPr>
            <p:nvPr/>
          </p:nvSpPr>
          <p:spPr bwMode="auto">
            <a:xfrm>
              <a:off x="6952554" y="3171162"/>
              <a:ext cx="1347788" cy="1382713"/>
            </a:xfrm>
            <a:custGeom>
              <a:avLst/>
              <a:gdLst>
                <a:gd name="T0" fmla="*/ 584 w 849"/>
                <a:gd name="T1" fmla="*/ 5 h 871"/>
                <a:gd name="T2" fmla="*/ 545 w 849"/>
                <a:gd name="T3" fmla="*/ 7 h 871"/>
                <a:gd name="T4" fmla="*/ 470 w 849"/>
                <a:gd name="T5" fmla="*/ 30 h 871"/>
                <a:gd name="T6" fmla="*/ 390 w 849"/>
                <a:gd name="T7" fmla="*/ 45 h 871"/>
                <a:gd name="T8" fmla="*/ 302 w 849"/>
                <a:gd name="T9" fmla="*/ 26 h 871"/>
                <a:gd name="T10" fmla="*/ 278 w 849"/>
                <a:gd name="T11" fmla="*/ 112 h 871"/>
                <a:gd name="T12" fmla="*/ 250 w 849"/>
                <a:gd name="T13" fmla="*/ 208 h 871"/>
                <a:gd name="T14" fmla="*/ 245 w 849"/>
                <a:gd name="T15" fmla="*/ 268 h 871"/>
                <a:gd name="T16" fmla="*/ 189 w 849"/>
                <a:gd name="T17" fmla="*/ 330 h 871"/>
                <a:gd name="T18" fmla="*/ 160 w 849"/>
                <a:gd name="T19" fmla="*/ 428 h 871"/>
                <a:gd name="T20" fmla="*/ 91 w 849"/>
                <a:gd name="T21" fmla="*/ 472 h 871"/>
                <a:gd name="T22" fmla="*/ 49 w 849"/>
                <a:gd name="T23" fmla="*/ 478 h 871"/>
                <a:gd name="T24" fmla="*/ 13 w 849"/>
                <a:gd name="T25" fmla="*/ 494 h 871"/>
                <a:gd name="T26" fmla="*/ 7 w 849"/>
                <a:gd name="T27" fmla="*/ 534 h 871"/>
                <a:gd name="T28" fmla="*/ 53 w 849"/>
                <a:gd name="T29" fmla="*/ 523 h 871"/>
                <a:gd name="T30" fmla="*/ 208 w 849"/>
                <a:gd name="T31" fmla="*/ 587 h 871"/>
                <a:gd name="T32" fmla="*/ 264 w 849"/>
                <a:gd name="T33" fmla="*/ 623 h 871"/>
                <a:gd name="T34" fmla="*/ 311 w 849"/>
                <a:gd name="T35" fmla="*/ 612 h 871"/>
                <a:gd name="T36" fmla="*/ 352 w 849"/>
                <a:gd name="T37" fmla="*/ 574 h 871"/>
                <a:gd name="T38" fmla="*/ 425 w 849"/>
                <a:gd name="T39" fmla="*/ 590 h 871"/>
                <a:gd name="T40" fmla="*/ 427 w 849"/>
                <a:gd name="T41" fmla="*/ 666 h 871"/>
                <a:gd name="T42" fmla="*/ 441 w 849"/>
                <a:gd name="T43" fmla="*/ 769 h 871"/>
                <a:gd name="T44" fmla="*/ 499 w 849"/>
                <a:gd name="T45" fmla="*/ 759 h 871"/>
                <a:gd name="T46" fmla="*/ 536 w 849"/>
                <a:gd name="T47" fmla="*/ 776 h 871"/>
                <a:gd name="T48" fmla="*/ 600 w 849"/>
                <a:gd name="T49" fmla="*/ 801 h 871"/>
                <a:gd name="T50" fmla="*/ 672 w 849"/>
                <a:gd name="T51" fmla="*/ 818 h 871"/>
                <a:gd name="T52" fmla="*/ 739 w 849"/>
                <a:gd name="T53" fmla="*/ 870 h 871"/>
                <a:gd name="T54" fmla="*/ 758 w 849"/>
                <a:gd name="T55" fmla="*/ 828 h 871"/>
                <a:gd name="T56" fmla="*/ 723 w 849"/>
                <a:gd name="T57" fmla="*/ 754 h 871"/>
                <a:gd name="T58" fmla="*/ 735 w 849"/>
                <a:gd name="T59" fmla="*/ 648 h 871"/>
                <a:gd name="T60" fmla="*/ 816 w 849"/>
                <a:gd name="T61" fmla="*/ 637 h 871"/>
                <a:gd name="T62" fmla="*/ 799 w 849"/>
                <a:gd name="T63" fmla="*/ 590 h 871"/>
                <a:gd name="T64" fmla="*/ 766 w 849"/>
                <a:gd name="T65" fmla="*/ 511 h 871"/>
                <a:gd name="T66" fmla="*/ 764 w 849"/>
                <a:gd name="T67" fmla="*/ 410 h 871"/>
                <a:gd name="T68" fmla="*/ 757 w 849"/>
                <a:gd name="T69" fmla="*/ 355 h 871"/>
                <a:gd name="T70" fmla="*/ 777 w 849"/>
                <a:gd name="T71" fmla="*/ 311 h 871"/>
                <a:gd name="T72" fmla="*/ 791 w 849"/>
                <a:gd name="T73" fmla="*/ 219 h 871"/>
                <a:gd name="T74" fmla="*/ 834 w 849"/>
                <a:gd name="T75" fmla="*/ 161 h 871"/>
                <a:gd name="T76" fmla="*/ 833 w 849"/>
                <a:gd name="T77" fmla="*/ 83 h 871"/>
                <a:gd name="T78" fmla="*/ 783 w 849"/>
                <a:gd name="T79" fmla="*/ 32 h 871"/>
                <a:gd name="T80" fmla="*/ 725 w 849"/>
                <a:gd name="T81" fmla="*/ 46 h 871"/>
                <a:gd name="T82" fmla="*/ 663 w 849"/>
                <a:gd name="T83" fmla="*/ 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9" h="871">
                  <a:moveTo>
                    <a:pt x="634" y="5"/>
                  </a:moveTo>
                  <a:lnTo>
                    <a:pt x="600" y="0"/>
                  </a:lnTo>
                  <a:lnTo>
                    <a:pt x="584" y="5"/>
                  </a:lnTo>
                  <a:lnTo>
                    <a:pt x="577" y="16"/>
                  </a:lnTo>
                  <a:lnTo>
                    <a:pt x="564" y="17"/>
                  </a:lnTo>
                  <a:lnTo>
                    <a:pt x="545" y="7"/>
                  </a:lnTo>
                  <a:lnTo>
                    <a:pt x="496" y="31"/>
                  </a:lnTo>
                  <a:lnTo>
                    <a:pt x="476" y="26"/>
                  </a:lnTo>
                  <a:lnTo>
                    <a:pt x="470" y="30"/>
                  </a:lnTo>
                  <a:lnTo>
                    <a:pt x="457" y="58"/>
                  </a:lnTo>
                  <a:lnTo>
                    <a:pt x="423" y="50"/>
                  </a:lnTo>
                  <a:lnTo>
                    <a:pt x="390" y="45"/>
                  </a:lnTo>
                  <a:lnTo>
                    <a:pt x="362" y="28"/>
                  </a:lnTo>
                  <a:lnTo>
                    <a:pt x="325" y="11"/>
                  </a:lnTo>
                  <a:lnTo>
                    <a:pt x="302" y="26"/>
                  </a:lnTo>
                  <a:lnTo>
                    <a:pt x="284" y="50"/>
                  </a:lnTo>
                  <a:lnTo>
                    <a:pt x="281" y="83"/>
                  </a:lnTo>
                  <a:lnTo>
                    <a:pt x="278" y="112"/>
                  </a:lnTo>
                  <a:lnTo>
                    <a:pt x="265" y="136"/>
                  </a:lnTo>
                  <a:lnTo>
                    <a:pt x="256" y="166"/>
                  </a:lnTo>
                  <a:lnTo>
                    <a:pt x="250" y="208"/>
                  </a:lnTo>
                  <a:lnTo>
                    <a:pt x="253" y="234"/>
                  </a:lnTo>
                  <a:lnTo>
                    <a:pt x="246" y="250"/>
                  </a:lnTo>
                  <a:lnTo>
                    <a:pt x="245" y="268"/>
                  </a:lnTo>
                  <a:lnTo>
                    <a:pt x="239" y="282"/>
                  </a:lnTo>
                  <a:lnTo>
                    <a:pt x="210" y="305"/>
                  </a:lnTo>
                  <a:lnTo>
                    <a:pt x="189" y="330"/>
                  </a:lnTo>
                  <a:lnTo>
                    <a:pt x="170" y="375"/>
                  </a:lnTo>
                  <a:lnTo>
                    <a:pt x="171" y="414"/>
                  </a:lnTo>
                  <a:lnTo>
                    <a:pt x="160" y="428"/>
                  </a:lnTo>
                  <a:lnTo>
                    <a:pt x="134" y="452"/>
                  </a:lnTo>
                  <a:lnTo>
                    <a:pt x="107" y="481"/>
                  </a:lnTo>
                  <a:lnTo>
                    <a:pt x="91" y="472"/>
                  </a:lnTo>
                  <a:lnTo>
                    <a:pt x="88" y="460"/>
                  </a:lnTo>
                  <a:lnTo>
                    <a:pt x="64" y="459"/>
                  </a:lnTo>
                  <a:lnTo>
                    <a:pt x="49" y="478"/>
                  </a:lnTo>
                  <a:lnTo>
                    <a:pt x="37" y="472"/>
                  </a:lnTo>
                  <a:lnTo>
                    <a:pt x="20" y="483"/>
                  </a:lnTo>
                  <a:lnTo>
                    <a:pt x="13" y="494"/>
                  </a:lnTo>
                  <a:lnTo>
                    <a:pt x="12" y="515"/>
                  </a:lnTo>
                  <a:lnTo>
                    <a:pt x="0" y="520"/>
                  </a:lnTo>
                  <a:lnTo>
                    <a:pt x="7" y="534"/>
                  </a:lnTo>
                  <a:lnTo>
                    <a:pt x="25" y="528"/>
                  </a:lnTo>
                  <a:lnTo>
                    <a:pt x="38" y="528"/>
                  </a:lnTo>
                  <a:lnTo>
                    <a:pt x="53" y="523"/>
                  </a:lnTo>
                  <a:lnTo>
                    <a:pt x="185" y="523"/>
                  </a:lnTo>
                  <a:lnTo>
                    <a:pt x="196" y="559"/>
                  </a:lnTo>
                  <a:lnTo>
                    <a:pt x="208" y="587"/>
                  </a:lnTo>
                  <a:lnTo>
                    <a:pt x="218" y="602"/>
                  </a:lnTo>
                  <a:lnTo>
                    <a:pt x="235" y="627"/>
                  </a:lnTo>
                  <a:lnTo>
                    <a:pt x="264" y="623"/>
                  </a:lnTo>
                  <a:lnTo>
                    <a:pt x="279" y="617"/>
                  </a:lnTo>
                  <a:lnTo>
                    <a:pt x="303" y="623"/>
                  </a:lnTo>
                  <a:lnTo>
                    <a:pt x="311" y="612"/>
                  </a:lnTo>
                  <a:lnTo>
                    <a:pt x="322" y="584"/>
                  </a:lnTo>
                  <a:lnTo>
                    <a:pt x="350" y="582"/>
                  </a:lnTo>
                  <a:lnTo>
                    <a:pt x="352" y="574"/>
                  </a:lnTo>
                  <a:lnTo>
                    <a:pt x="375" y="573"/>
                  </a:lnTo>
                  <a:lnTo>
                    <a:pt x="371" y="590"/>
                  </a:lnTo>
                  <a:lnTo>
                    <a:pt x="425" y="590"/>
                  </a:lnTo>
                  <a:lnTo>
                    <a:pt x="425" y="620"/>
                  </a:lnTo>
                  <a:lnTo>
                    <a:pt x="434" y="638"/>
                  </a:lnTo>
                  <a:lnTo>
                    <a:pt x="427" y="666"/>
                  </a:lnTo>
                  <a:lnTo>
                    <a:pt x="430" y="695"/>
                  </a:lnTo>
                  <a:lnTo>
                    <a:pt x="444" y="713"/>
                  </a:lnTo>
                  <a:lnTo>
                    <a:pt x="441" y="769"/>
                  </a:lnTo>
                  <a:lnTo>
                    <a:pt x="452" y="764"/>
                  </a:lnTo>
                  <a:lnTo>
                    <a:pt x="471" y="765"/>
                  </a:lnTo>
                  <a:lnTo>
                    <a:pt x="499" y="759"/>
                  </a:lnTo>
                  <a:lnTo>
                    <a:pt x="519" y="761"/>
                  </a:lnTo>
                  <a:lnTo>
                    <a:pt x="534" y="762"/>
                  </a:lnTo>
                  <a:lnTo>
                    <a:pt x="536" y="776"/>
                  </a:lnTo>
                  <a:lnTo>
                    <a:pt x="557" y="775"/>
                  </a:lnTo>
                  <a:lnTo>
                    <a:pt x="586" y="780"/>
                  </a:lnTo>
                  <a:lnTo>
                    <a:pt x="600" y="801"/>
                  </a:lnTo>
                  <a:lnTo>
                    <a:pt x="635" y="808"/>
                  </a:lnTo>
                  <a:lnTo>
                    <a:pt x="662" y="793"/>
                  </a:lnTo>
                  <a:lnTo>
                    <a:pt x="672" y="818"/>
                  </a:lnTo>
                  <a:lnTo>
                    <a:pt x="706" y="824"/>
                  </a:lnTo>
                  <a:lnTo>
                    <a:pt x="722" y="844"/>
                  </a:lnTo>
                  <a:lnTo>
                    <a:pt x="739" y="870"/>
                  </a:lnTo>
                  <a:lnTo>
                    <a:pt x="773" y="871"/>
                  </a:lnTo>
                  <a:lnTo>
                    <a:pt x="771" y="820"/>
                  </a:lnTo>
                  <a:lnTo>
                    <a:pt x="758" y="828"/>
                  </a:lnTo>
                  <a:lnTo>
                    <a:pt x="728" y="810"/>
                  </a:lnTo>
                  <a:lnTo>
                    <a:pt x="716" y="802"/>
                  </a:lnTo>
                  <a:lnTo>
                    <a:pt x="723" y="754"/>
                  </a:lnTo>
                  <a:lnTo>
                    <a:pt x="732" y="699"/>
                  </a:lnTo>
                  <a:lnTo>
                    <a:pt x="723" y="678"/>
                  </a:lnTo>
                  <a:lnTo>
                    <a:pt x="735" y="648"/>
                  </a:lnTo>
                  <a:lnTo>
                    <a:pt x="748" y="642"/>
                  </a:lnTo>
                  <a:lnTo>
                    <a:pt x="808" y="635"/>
                  </a:lnTo>
                  <a:lnTo>
                    <a:pt x="816" y="637"/>
                  </a:lnTo>
                  <a:lnTo>
                    <a:pt x="818" y="629"/>
                  </a:lnTo>
                  <a:lnTo>
                    <a:pt x="805" y="617"/>
                  </a:lnTo>
                  <a:lnTo>
                    <a:pt x="799" y="590"/>
                  </a:lnTo>
                  <a:lnTo>
                    <a:pt x="773" y="565"/>
                  </a:lnTo>
                  <a:lnTo>
                    <a:pt x="758" y="531"/>
                  </a:lnTo>
                  <a:lnTo>
                    <a:pt x="766" y="511"/>
                  </a:lnTo>
                  <a:lnTo>
                    <a:pt x="755" y="485"/>
                  </a:lnTo>
                  <a:lnTo>
                    <a:pt x="764" y="410"/>
                  </a:lnTo>
                  <a:lnTo>
                    <a:pt x="764" y="410"/>
                  </a:lnTo>
                  <a:lnTo>
                    <a:pt x="764" y="403"/>
                  </a:lnTo>
                  <a:lnTo>
                    <a:pt x="753" y="381"/>
                  </a:lnTo>
                  <a:lnTo>
                    <a:pt x="757" y="355"/>
                  </a:lnTo>
                  <a:lnTo>
                    <a:pt x="763" y="352"/>
                  </a:lnTo>
                  <a:lnTo>
                    <a:pt x="765" y="324"/>
                  </a:lnTo>
                  <a:lnTo>
                    <a:pt x="777" y="311"/>
                  </a:lnTo>
                  <a:lnTo>
                    <a:pt x="778" y="275"/>
                  </a:lnTo>
                  <a:lnTo>
                    <a:pt x="788" y="257"/>
                  </a:lnTo>
                  <a:lnTo>
                    <a:pt x="791" y="219"/>
                  </a:lnTo>
                  <a:lnTo>
                    <a:pt x="800" y="197"/>
                  </a:lnTo>
                  <a:lnTo>
                    <a:pt x="818" y="174"/>
                  </a:lnTo>
                  <a:lnTo>
                    <a:pt x="834" y="161"/>
                  </a:lnTo>
                  <a:lnTo>
                    <a:pt x="849" y="144"/>
                  </a:lnTo>
                  <a:lnTo>
                    <a:pt x="830" y="138"/>
                  </a:lnTo>
                  <a:lnTo>
                    <a:pt x="833" y="83"/>
                  </a:lnTo>
                  <a:lnTo>
                    <a:pt x="833" y="83"/>
                  </a:lnTo>
                  <a:lnTo>
                    <a:pt x="793" y="51"/>
                  </a:lnTo>
                  <a:lnTo>
                    <a:pt x="783" y="32"/>
                  </a:lnTo>
                  <a:lnTo>
                    <a:pt x="757" y="41"/>
                  </a:lnTo>
                  <a:lnTo>
                    <a:pt x="737" y="39"/>
                  </a:lnTo>
                  <a:lnTo>
                    <a:pt x="725" y="46"/>
                  </a:lnTo>
                  <a:lnTo>
                    <a:pt x="705" y="40"/>
                  </a:lnTo>
                  <a:lnTo>
                    <a:pt x="678" y="2"/>
                  </a:lnTo>
                  <a:lnTo>
                    <a:pt x="663" y="7"/>
                  </a:lnTo>
                  <a:lnTo>
                    <a:pt x="634" y="5"/>
                  </a:lnTo>
                  <a:lnTo>
                    <a:pt x="634" y="5"/>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3" name="Congo">
              <a:extLst>
                <a:ext uri="{FF2B5EF4-FFF2-40B4-BE49-F238E27FC236}">
                  <a16:creationId xmlns:a16="http://schemas.microsoft.com/office/drawing/2014/main" id="{AE65B396-F837-D6F2-EA34-269DFEE4614B}"/>
                </a:ext>
              </a:extLst>
            </p:cNvPr>
            <p:cNvSpPr>
              <a:spLocks/>
            </p:cNvSpPr>
            <p:nvPr/>
          </p:nvSpPr>
          <p:spPr bwMode="auto">
            <a:xfrm>
              <a:off x="6876354" y="3287050"/>
              <a:ext cx="522288" cy="652463"/>
            </a:xfrm>
            <a:custGeom>
              <a:avLst/>
              <a:gdLst>
                <a:gd name="T0" fmla="*/ 329 w 329"/>
                <a:gd name="T1" fmla="*/ 10 h 411"/>
                <a:gd name="T2" fmla="*/ 299 w 329"/>
                <a:gd name="T3" fmla="*/ 7 h 411"/>
                <a:gd name="T4" fmla="*/ 270 w 329"/>
                <a:gd name="T5" fmla="*/ 0 h 411"/>
                <a:gd name="T6" fmla="*/ 243 w 329"/>
                <a:gd name="T7" fmla="*/ 24 h 411"/>
                <a:gd name="T8" fmla="*/ 220 w 329"/>
                <a:gd name="T9" fmla="*/ 68 h 411"/>
                <a:gd name="T10" fmla="*/ 217 w 329"/>
                <a:gd name="T11" fmla="*/ 94 h 411"/>
                <a:gd name="T12" fmla="*/ 182 w 329"/>
                <a:gd name="T13" fmla="*/ 82 h 411"/>
                <a:gd name="T14" fmla="*/ 145 w 329"/>
                <a:gd name="T15" fmla="*/ 70 h 411"/>
                <a:gd name="T16" fmla="*/ 89 w 329"/>
                <a:gd name="T17" fmla="*/ 68 h 411"/>
                <a:gd name="T18" fmla="*/ 86 w 329"/>
                <a:gd name="T19" fmla="*/ 89 h 411"/>
                <a:gd name="T20" fmla="*/ 98 w 329"/>
                <a:gd name="T21" fmla="*/ 112 h 411"/>
                <a:gd name="T22" fmla="*/ 131 w 329"/>
                <a:gd name="T23" fmla="*/ 109 h 411"/>
                <a:gd name="T24" fmla="*/ 142 w 329"/>
                <a:gd name="T25" fmla="*/ 118 h 411"/>
                <a:gd name="T26" fmla="*/ 123 w 329"/>
                <a:gd name="T27" fmla="*/ 173 h 411"/>
                <a:gd name="T28" fmla="*/ 144 w 329"/>
                <a:gd name="T29" fmla="*/ 201 h 411"/>
                <a:gd name="T30" fmla="*/ 150 w 329"/>
                <a:gd name="T31" fmla="*/ 237 h 411"/>
                <a:gd name="T32" fmla="*/ 143 w 329"/>
                <a:gd name="T33" fmla="*/ 269 h 411"/>
                <a:gd name="T34" fmla="*/ 129 w 329"/>
                <a:gd name="T35" fmla="*/ 291 h 411"/>
                <a:gd name="T36" fmla="*/ 90 w 329"/>
                <a:gd name="T37" fmla="*/ 289 h 411"/>
                <a:gd name="T38" fmla="*/ 66 w 329"/>
                <a:gd name="T39" fmla="*/ 266 h 411"/>
                <a:gd name="T40" fmla="*/ 63 w 329"/>
                <a:gd name="T41" fmla="*/ 287 h 411"/>
                <a:gd name="T42" fmla="*/ 33 w 329"/>
                <a:gd name="T43" fmla="*/ 292 h 411"/>
                <a:gd name="T44" fmla="*/ 17 w 329"/>
                <a:gd name="T45" fmla="*/ 304 h 411"/>
                <a:gd name="T46" fmla="*/ 35 w 329"/>
                <a:gd name="T47" fmla="*/ 336 h 411"/>
                <a:gd name="T48" fmla="*/ 0 w 329"/>
                <a:gd name="T49" fmla="*/ 362 h 411"/>
                <a:gd name="T50" fmla="*/ 36 w 329"/>
                <a:gd name="T51" fmla="*/ 411 h 411"/>
                <a:gd name="T52" fmla="*/ 55 w 329"/>
                <a:gd name="T53" fmla="*/ 391 h 411"/>
                <a:gd name="T54" fmla="*/ 68 w 329"/>
                <a:gd name="T55" fmla="*/ 383 h 411"/>
                <a:gd name="T56" fmla="*/ 85 w 329"/>
                <a:gd name="T57" fmla="*/ 399 h 411"/>
                <a:gd name="T58" fmla="*/ 97 w 329"/>
                <a:gd name="T59" fmla="*/ 405 h 411"/>
                <a:gd name="T60" fmla="*/ 112 w 329"/>
                <a:gd name="T61" fmla="*/ 386 h 411"/>
                <a:gd name="T62" fmla="*/ 136 w 329"/>
                <a:gd name="T63" fmla="*/ 387 h 411"/>
                <a:gd name="T64" fmla="*/ 139 w 329"/>
                <a:gd name="T65" fmla="*/ 399 h 411"/>
                <a:gd name="T66" fmla="*/ 155 w 329"/>
                <a:gd name="T67" fmla="*/ 408 h 411"/>
                <a:gd name="T68" fmla="*/ 182 w 329"/>
                <a:gd name="T69" fmla="*/ 379 h 411"/>
                <a:gd name="T70" fmla="*/ 208 w 329"/>
                <a:gd name="T71" fmla="*/ 355 h 411"/>
                <a:gd name="T72" fmla="*/ 219 w 329"/>
                <a:gd name="T73" fmla="*/ 341 h 411"/>
                <a:gd name="T74" fmla="*/ 218 w 329"/>
                <a:gd name="T75" fmla="*/ 302 h 411"/>
                <a:gd name="T76" fmla="*/ 237 w 329"/>
                <a:gd name="T77" fmla="*/ 257 h 411"/>
                <a:gd name="T78" fmla="*/ 258 w 329"/>
                <a:gd name="T79" fmla="*/ 232 h 411"/>
                <a:gd name="T80" fmla="*/ 287 w 329"/>
                <a:gd name="T81" fmla="*/ 209 h 411"/>
                <a:gd name="T82" fmla="*/ 293 w 329"/>
                <a:gd name="T83" fmla="*/ 195 h 411"/>
                <a:gd name="T84" fmla="*/ 294 w 329"/>
                <a:gd name="T85" fmla="*/ 177 h 411"/>
                <a:gd name="T86" fmla="*/ 301 w 329"/>
                <a:gd name="T87" fmla="*/ 161 h 411"/>
                <a:gd name="T88" fmla="*/ 298 w 329"/>
                <a:gd name="T89" fmla="*/ 135 h 411"/>
                <a:gd name="T90" fmla="*/ 304 w 329"/>
                <a:gd name="T91" fmla="*/ 93 h 411"/>
                <a:gd name="T92" fmla="*/ 313 w 329"/>
                <a:gd name="T93" fmla="*/ 63 h 411"/>
                <a:gd name="T94" fmla="*/ 326 w 329"/>
                <a:gd name="T95" fmla="*/ 39 h 411"/>
                <a:gd name="T96" fmla="*/ 329 w 329"/>
                <a:gd name="T97" fmla="*/ 10 h 411"/>
                <a:gd name="T98" fmla="*/ 329 w 329"/>
                <a:gd name="T99" fmla="*/ 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411">
                  <a:moveTo>
                    <a:pt x="329" y="10"/>
                  </a:moveTo>
                  <a:lnTo>
                    <a:pt x="299" y="7"/>
                  </a:lnTo>
                  <a:lnTo>
                    <a:pt x="270" y="0"/>
                  </a:lnTo>
                  <a:lnTo>
                    <a:pt x="243" y="24"/>
                  </a:lnTo>
                  <a:lnTo>
                    <a:pt x="220" y="68"/>
                  </a:lnTo>
                  <a:lnTo>
                    <a:pt x="217" y="94"/>
                  </a:lnTo>
                  <a:lnTo>
                    <a:pt x="182" y="82"/>
                  </a:lnTo>
                  <a:lnTo>
                    <a:pt x="145" y="70"/>
                  </a:lnTo>
                  <a:lnTo>
                    <a:pt x="89" y="68"/>
                  </a:lnTo>
                  <a:lnTo>
                    <a:pt x="86" y="89"/>
                  </a:lnTo>
                  <a:lnTo>
                    <a:pt x="98" y="112"/>
                  </a:lnTo>
                  <a:lnTo>
                    <a:pt x="131" y="109"/>
                  </a:lnTo>
                  <a:lnTo>
                    <a:pt x="142" y="118"/>
                  </a:lnTo>
                  <a:lnTo>
                    <a:pt x="123" y="173"/>
                  </a:lnTo>
                  <a:lnTo>
                    <a:pt x="144" y="201"/>
                  </a:lnTo>
                  <a:lnTo>
                    <a:pt x="150" y="237"/>
                  </a:lnTo>
                  <a:lnTo>
                    <a:pt x="143" y="269"/>
                  </a:lnTo>
                  <a:lnTo>
                    <a:pt x="129" y="291"/>
                  </a:lnTo>
                  <a:lnTo>
                    <a:pt x="90" y="289"/>
                  </a:lnTo>
                  <a:lnTo>
                    <a:pt x="66" y="266"/>
                  </a:lnTo>
                  <a:lnTo>
                    <a:pt x="63" y="287"/>
                  </a:lnTo>
                  <a:lnTo>
                    <a:pt x="33" y="292"/>
                  </a:lnTo>
                  <a:lnTo>
                    <a:pt x="17" y="304"/>
                  </a:lnTo>
                  <a:lnTo>
                    <a:pt x="35" y="336"/>
                  </a:lnTo>
                  <a:lnTo>
                    <a:pt x="0" y="362"/>
                  </a:lnTo>
                  <a:lnTo>
                    <a:pt x="36" y="411"/>
                  </a:lnTo>
                  <a:lnTo>
                    <a:pt x="55" y="391"/>
                  </a:lnTo>
                  <a:lnTo>
                    <a:pt x="68" y="383"/>
                  </a:lnTo>
                  <a:lnTo>
                    <a:pt x="85" y="399"/>
                  </a:lnTo>
                  <a:lnTo>
                    <a:pt x="97" y="405"/>
                  </a:lnTo>
                  <a:lnTo>
                    <a:pt x="112" y="386"/>
                  </a:lnTo>
                  <a:lnTo>
                    <a:pt x="136" y="387"/>
                  </a:lnTo>
                  <a:lnTo>
                    <a:pt x="139" y="399"/>
                  </a:lnTo>
                  <a:lnTo>
                    <a:pt x="155" y="408"/>
                  </a:lnTo>
                  <a:lnTo>
                    <a:pt x="182" y="379"/>
                  </a:lnTo>
                  <a:lnTo>
                    <a:pt x="208" y="355"/>
                  </a:lnTo>
                  <a:lnTo>
                    <a:pt x="219" y="341"/>
                  </a:lnTo>
                  <a:lnTo>
                    <a:pt x="218" y="302"/>
                  </a:lnTo>
                  <a:lnTo>
                    <a:pt x="237" y="257"/>
                  </a:lnTo>
                  <a:lnTo>
                    <a:pt x="258" y="232"/>
                  </a:lnTo>
                  <a:lnTo>
                    <a:pt x="287" y="209"/>
                  </a:lnTo>
                  <a:lnTo>
                    <a:pt x="293" y="195"/>
                  </a:lnTo>
                  <a:lnTo>
                    <a:pt x="294" y="177"/>
                  </a:lnTo>
                  <a:lnTo>
                    <a:pt x="301" y="161"/>
                  </a:lnTo>
                  <a:lnTo>
                    <a:pt x="298" y="135"/>
                  </a:lnTo>
                  <a:lnTo>
                    <a:pt x="304" y="93"/>
                  </a:lnTo>
                  <a:lnTo>
                    <a:pt x="313" y="63"/>
                  </a:lnTo>
                  <a:lnTo>
                    <a:pt x="326" y="39"/>
                  </a:lnTo>
                  <a:lnTo>
                    <a:pt x="329" y="10"/>
                  </a:lnTo>
                  <a:lnTo>
                    <a:pt x="329" y="1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4" name="Djibouti">
              <a:extLst>
                <a:ext uri="{FF2B5EF4-FFF2-40B4-BE49-F238E27FC236}">
                  <a16:creationId xmlns:a16="http://schemas.microsoft.com/office/drawing/2014/main" id="{0ABFC490-84C7-2C6C-2ADB-56A793F4041C}"/>
                </a:ext>
              </a:extLst>
            </p:cNvPr>
            <p:cNvSpPr>
              <a:spLocks/>
            </p:cNvSpPr>
            <p:nvPr/>
          </p:nvSpPr>
          <p:spPr bwMode="auto">
            <a:xfrm>
              <a:off x="9025829" y="2617125"/>
              <a:ext cx="114300" cy="131763"/>
            </a:xfrm>
            <a:custGeom>
              <a:avLst/>
              <a:gdLst>
                <a:gd name="T0" fmla="*/ 66 w 72"/>
                <a:gd name="T1" fmla="*/ 58 h 83"/>
                <a:gd name="T2" fmla="*/ 47 w 72"/>
                <a:gd name="T3" fmla="*/ 45 h 83"/>
                <a:gd name="T4" fmla="*/ 71 w 72"/>
                <a:gd name="T5" fmla="*/ 34 h 83"/>
                <a:gd name="T6" fmla="*/ 72 w 72"/>
                <a:gd name="T7" fmla="*/ 15 h 83"/>
                <a:gd name="T8" fmla="*/ 61 w 72"/>
                <a:gd name="T9" fmla="*/ 0 h 83"/>
                <a:gd name="T10" fmla="*/ 48 w 72"/>
                <a:gd name="T11" fmla="*/ 11 h 83"/>
                <a:gd name="T12" fmla="*/ 28 w 72"/>
                <a:gd name="T13" fmla="*/ 7 h 83"/>
                <a:gd name="T14" fmla="*/ 14 w 72"/>
                <a:gd name="T15" fmla="*/ 28 h 83"/>
                <a:gd name="T16" fmla="*/ 0 w 72"/>
                <a:gd name="T17" fmla="*/ 51 h 83"/>
                <a:gd name="T18" fmla="*/ 4 w 72"/>
                <a:gd name="T19" fmla="*/ 63 h 83"/>
                <a:gd name="T20" fmla="*/ 5 w 72"/>
                <a:gd name="T21" fmla="*/ 78 h 83"/>
                <a:gd name="T22" fmla="*/ 30 w 72"/>
                <a:gd name="T23" fmla="*/ 78 h 83"/>
                <a:gd name="T24" fmla="*/ 40 w 72"/>
                <a:gd name="T25" fmla="*/ 75 h 83"/>
                <a:gd name="T26" fmla="*/ 50 w 72"/>
                <a:gd name="T27" fmla="*/ 83 h 83"/>
                <a:gd name="T28" fmla="*/ 66 w 72"/>
                <a:gd name="T29" fmla="*/ 58 h 83"/>
                <a:gd name="T30" fmla="*/ 66 w 72"/>
                <a:gd name="T31" fmla="*/ 5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3">
                  <a:moveTo>
                    <a:pt x="66" y="58"/>
                  </a:moveTo>
                  <a:lnTo>
                    <a:pt x="47" y="45"/>
                  </a:lnTo>
                  <a:lnTo>
                    <a:pt x="71" y="34"/>
                  </a:lnTo>
                  <a:lnTo>
                    <a:pt x="72" y="15"/>
                  </a:lnTo>
                  <a:lnTo>
                    <a:pt x="61" y="0"/>
                  </a:lnTo>
                  <a:lnTo>
                    <a:pt x="48" y="11"/>
                  </a:lnTo>
                  <a:lnTo>
                    <a:pt x="28" y="7"/>
                  </a:lnTo>
                  <a:lnTo>
                    <a:pt x="14" y="28"/>
                  </a:lnTo>
                  <a:lnTo>
                    <a:pt x="0" y="51"/>
                  </a:lnTo>
                  <a:lnTo>
                    <a:pt x="4" y="63"/>
                  </a:lnTo>
                  <a:lnTo>
                    <a:pt x="5" y="78"/>
                  </a:lnTo>
                  <a:lnTo>
                    <a:pt x="30" y="78"/>
                  </a:lnTo>
                  <a:lnTo>
                    <a:pt x="40" y="75"/>
                  </a:lnTo>
                  <a:lnTo>
                    <a:pt x="50" y="83"/>
                  </a:lnTo>
                  <a:lnTo>
                    <a:pt x="66" y="58"/>
                  </a:lnTo>
                  <a:lnTo>
                    <a:pt x="66" y="5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5" name="Algeria">
              <a:extLst>
                <a:ext uri="{FF2B5EF4-FFF2-40B4-BE49-F238E27FC236}">
                  <a16:creationId xmlns:a16="http://schemas.microsoft.com/office/drawing/2014/main" id="{8BCD99A4-C4F9-A25A-B9DE-7B7E4818064E}"/>
                </a:ext>
              </a:extLst>
            </p:cNvPr>
            <p:cNvSpPr>
              <a:spLocks/>
            </p:cNvSpPr>
            <p:nvPr/>
          </p:nvSpPr>
          <p:spPr bwMode="auto">
            <a:xfrm>
              <a:off x="5495229" y="793087"/>
              <a:ext cx="1425575" cy="1349375"/>
            </a:xfrm>
            <a:custGeom>
              <a:avLst/>
              <a:gdLst>
                <a:gd name="T0" fmla="*/ 727 w 898"/>
                <a:gd name="T1" fmla="*/ 8 h 850"/>
                <a:gd name="T2" fmla="*/ 698 w 898"/>
                <a:gd name="T3" fmla="*/ 11 h 850"/>
                <a:gd name="T4" fmla="*/ 681 w 898"/>
                <a:gd name="T5" fmla="*/ 0 h 850"/>
                <a:gd name="T6" fmla="*/ 636 w 898"/>
                <a:gd name="T7" fmla="*/ 1 h 850"/>
                <a:gd name="T8" fmla="*/ 598 w 898"/>
                <a:gd name="T9" fmla="*/ 19 h 850"/>
                <a:gd name="T10" fmla="*/ 577 w 898"/>
                <a:gd name="T11" fmla="*/ 12 h 850"/>
                <a:gd name="T12" fmla="*/ 507 w 898"/>
                <a:gd name="T13" fmla="*/ 16 h 850"/>
                <a:gd name="T14" fmla="*/ 437 w 898"/>
                <a:gd name="T15" fmla="*/ 25 h 850"/>
                <a:gd name="T16" fmla="*/ 397 w 898"/>
                <a:gd name="T17" fmla="*/ 39 h 850"/>
                <a:gd name="T18" fmla="*/ 370 w 898"/>
                <a:gd name="T19" fmla="*/ 59 h 850"/>
                <a:gd name="T20" fmla="*/ 325 w 898"/>
                <a:gd name="T21" fmla="*/ 67 h 850"/>
                <a:gd name="T22" fmla="*/ 284 w 898"/>
                <a:gd name="T23" fmla="*/ 93 h 850"/>
                <a:gd name="T24" fmla="*/ 300 w 898"/>
                <a:gd name="T25" fmla="*/ 124 h 850"/>
                <a:gd name="T26" fmla="*/ 302 w 898"/>
                <a:gd name="T27" fmla="*/ 152 h 850"/>
                <a:gd name="T28" fmla="*/ 316 w 898"/>
                <a:gd name="T29" fmla="*/ 202 h 850"/>
                <a:gd name="T30" fmla="*/ 327 w 898"/>
                <a:gd name="T31" fmla="*/ 212 h 850"/>
                <a:gd name="T32" fmla="*/ 320 w 898"/>
                <a:gd name="T33" fmla="*/ 230 h 850"/>
                <a:gd name="T34" fmla="*/ 264 w 898"/>
                <a:gd name="T35" fmla="*/ 239 h 850"/>
                <a:gd name="T36" fmla="*/ 244 w 898"/>
                <a:gd name="T37" fmla="*/ 255 h 850"/>
                <a:gd name="T38" fmla="*/ 220 w 898"/>
                <a:gd name="T39" fmla="*/ 260 h 850"/>
                <a:gd name="T40" fmla="*/ 218 w 898"/>
                <a:gd name="T41" fmla="*/ 295 h 850"/>
                <a:gd name="T42" fmla="*/ 168 w 898"/>
                <a:gd name="T43" fmla="*/ 312 h 850"/>
                <a:gd name="T44" fmla="*/ 150 w 898"/>
                <a:gd name="T45" fmla="*/ 336 h 850"/>
                <a:gd name="T46" fmla="*/ 115 w 898"/>
                <a:gd name="T47" fmla="*/ 349 h 850"/>
                <a:gd name="T48" fmla="*/ 73 w 898"/>
                <a:gd name="T49" fmla="*/ 356 h 850"/>
                <a:gd name="T50" fmla="*/ 2 w 898"/>
                <a:gd name="T51" fmla="*/ 390 h 850"/>
                <a:gd name="T52" fmla="*/ 1 w 898"/>
                <a:gd name="T53" fmla="*/ 446 h 850"/>
                <a:gd name="T54" fmla="*/ 1 w 898"/>
                <a:gd name="T55" fmla="*/ 449 h 850"/>
                <a:gd name="T56" fmla="*/ 0 w 898"/>
                <a:gd name="T57" fmla="*/ 458 h 850"/>
                <a:gd name="T58" fmla="*/ 161 w 898"/>
                <a:gd name="T59" fmla="*/ 572 h 850"/>
                <a:gd name="T60" fmla="*/ 307 w 898"/>
                <a:gd name="T61" fmla="*/ 675 h 850"/>
                <a:gd name="T62" fmla="*/ 455 w 898"/>
                <a:gd name="T63" fmla="*/ 778 h 850"/>
                <a:gd name="T64" fmla="*/ 466 w 898"/>
                <a:gd name="T65" fmla="*/ 799 h 850"/>
                <a:gd name="T66" fmla="*/ 494 w 898"/>
                <a:gd name="T67" fmla="*/ 812 h 850"/>
                <a:gd name="T68" fmla="*/ 514 w 898"/>
                <a:gd name="T69" fmla="*/ 820 h 850"/>
                <a:gd name="T70" fmla="*/ 514 w 898"/>
                <a:gd name="T71" fmla="*/ 850 h 850"/>
                <a:gd name="T72" fmla="*/ 563 w 898"/>
                <a:gd name="T73" fmla="*/ 846 h 850"/>
                <a:gd name="T74" fmla="*/ 624 w 898"/>
                <a:gd name="T75" fmla="*/ 824 h 850"/>
                <a:gd name="T76" fmla="*/ 750 w 898"/>
                <a:gd name="T77" fmla="*/ 733 h 850"/>
                <a:gd name="T78" fmla="*/ 898 w 898"/>
                <a:gd name="T79" fmla="*/ 643 h 850"/>
                <a:gd name="T80" fmla="*/ 879 w 898"/>
                <a:gd name="T81" fmla="*/ 614 h 850"/>
                <a:gd name="T82" fmla="*/ 843 w 898"/>
                <a:gd name="T83" fmla="*/ 592 h 850"/>
                <a:gd name="T84" fmla="*/ 823 w 898"/>
                <a:gd name="T85" fmla="*/ 600 h 850"/>
                <a:gd name="T86" fmla="*/ 808 w 898"/>
                <a:gd name="T87" fmla="*/ 574 h 850"/>
                <a:gd name="T88" fmla="*/ 806 w 898"/>
                <a:gd name="T89" fmla="*/ 554 h 850"/>
                <a:gd name="T90" fmla="*/ 779 w 898"/>
                <a:gd name="T91" fmla="*/ 520 h 850"/>
                <a:gd name="T92" fmla="*/ 796 w 898"/>
                <a:gd name="T93" fmla="*/ 500 h 850"/>
                <a:gd name="T94" fmla="*/ 791 w 898"/>
                <a:gd name="T95" fmla="*/ 470 h 850"/>
                <a:gd name="T96" fmla="*/ 797 w 898"/>
                <a:gd name="T97" fmla="*/ 445 h 850"/>
                <a:gd name="T98" fmla="*/ 793 w 898"/>
                <a:gd name="T99" fmla="*/ 424 h 850"/>
                <a:gd name="T100" fmla="*/ 799 w 898"/>
                <a:gd name="T101" fmla="*/ 385 h 850"/>
                <a:gd name="T102" fmla="*/ 797 w 898"/>
                <a:gd name="T103" fmla="*/ 363 h 850"/>
                <a:gd name="T104" fmla="*/ 781 w 898"/>
                <a:gd name="T105" fmla="*/ 322 h 850"/>
                <a:gd name="T106" fmla="*/ 760 w 898"/>
                <a:gd name="T107" fmla="*/ 238 h 850"/>
                <a:gd name="T108" fmla="*/ 734 w 898"/>
                <a:gd name="T109" fmla="*/ 219 h 850"/>
                <a:gd name="T110" fmla="*/ 733 w 898"/>
                <a:gd name="T111" fmla="*/ 208 h 850"/>
                <a:gd name="T112" fmla="*/ 698 w 898"/>
                <a:gd name="T113" fmla="*/ 179 h 850"/>
                <a:gd name="T114" fmla="*/ 693 w 898"/>
                <a:gd name="T115" fmla="*/ 144 h 850"/>
                <a:gd name="T116" fmla="*/ 718 w 898"/>
                <a:gd name="T117" fmla="*/ 118 h 850"/>
                <a:gd name="T118" fmla="*/ 727 w 898"/>
                <a:gd name="T119" fmla="*/ 78 h 850"/>
                <a:gd name="T120" fmla="*/ 719 w 898"/>
                <a:gd name="T121" fmla="*/ 33 h 850"/>
                <a:gd name="T122" fmla="*/ 727 w 898"/>
                <a:gd name="T123" fmla="*/ 8 h 850"/>
                <a:gd name="T124" fmla="*/ 727 w 898"/>
                <a:gd name="T125" fmla="*/ 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850">
                  <a:moveTo>
                    <a:pt x="727" y="8"/>
                  </a:moveTo>
                  <a:lnTo>
                    <a:pt x="698" y="11"/>
                  </a:lnTo>
                  <a:lnTo>
                    <a:pt x="681" y="0"/>
                  </a:lnTo>
                  <a:lnTo>
                    <a:pt x="636" y="1"/>
                  </a:lnTo>
                  <a:lnTo>
                    <a:pt x="598" y="19"/>
                  </a:lnTo>
                  <a:lnTo>
                    <a:pt x="577" y="12"/>
                  </a:lnTo>
                  <a:lnTo>
                    <a:pt x="507" y="16"/>
                  </a:lnTo>
                  <a:lnTo>
                    <a:pt x="437" y="25"/>
                  </a:lnTo>
                  <a:lnTo>
                    <a:pt x="397" y="39"/>
                  </a:lnTo>
                  <a:lnTo>
                    <a:pt x="370" y="59"/>
                  </a:lnTo>
                  <a:lnTo>
                    <a:pt x="325" y="67"/>
                  </a:lnTo>
                  <a:lnTo>
                    <a:pt x="284" y="93"/>
                  </a:lnTo>
                  <a:lnTo>
                    <a:pt x="300" y="124"/>
                  </a:lnTo>
                  <a:lnTo>
                    <a:pt x="302" y="152"/>
                  </a:lnTo>
                  <a:lnTo>
                    <a:pt x="316" y="202"/>
                  </a:lnTo>
                  <a:lnTo>
                    <a:pt x="327" y="212"/>
                  </a:lnTo>
                  <a:lnTo>
                    <a:pt x="320" y="230"/>
                  </a:lnTo>
                  <a:lnTo>
                    <a:pt x="264" y="239"/>
                  </a:lnTo>
                  <a:lnTo>
                    <a:pt x="244" y="255"/>
                  </a:lnTo>
                  <a:lnTo>
                    <a:pt x="220" y="260"/>
                  </a:lnTo>
                  <a:lnTo>
                    <a:pt x="218" y="295"/>
                  </a:lnTo>
                  <a:lnTo>
                    <a:pt x="168" y="312"/>
                  </a:lnTo>
                  <a:lnTo>
                    <a:pt x="150" y="336"/>
                  </a:lnTo>
                  <a:lnTo>
                    <a:pt x="115" y="349"/>
                  </a:lnTo>
                  <a:lnTo>
                    <a:pt x="73" y="356"/>
                  </a:lnTo>
                  <a:lnTo>
                    <a:pt x="2" y="390"/>
                  </a:lnTo>
                  <a:lnTo>
                    <a:pt x="1" y="446"/>
                  </a:lnTo>
                  <a:lnTo>
                    <a:pt x="1" y="449"/>
                  </a:lnTo>
                  <a:lnTo>
                    <a:pt x="0" y="458"/>
                  </a:lnTo>
                  <a:lnTo>
                    <a:pt x="161" y="572"/>
                  </a:lnTo>
                  <a:lnTo>
                    <a:pt x="307" y="675"/>
                  </a:lnTo>
                  <a:lnTo>
                    <a:pt x="455" y="778"/>
                  </a:lnTo>
                  <a:lnTo>
                    <a:pt x="466" y="799"/>
                  </a:lnTo>
                  <a:lnTo>
                    <a:pt x="494" y="812"/>
                  </a:lnTo>
                  <a:lnTo>
                    <a:pt x="514" y="820"/>
                  </a:lnTo>
                  <a:lnTo>
                    <a:pt x="514" y="850"/>
                  </a:lnTo>
                  <a:lnTo>
                    <a:pt x="563" y="846"/>
                  </a:lnTo>
                  <a:lnTo>
                    <a:pt x="624" y="824"/>
                  </a:lnTo>
                  <a:lnTo>
                    <a:pt x="750" y="733"/>
                  </a:lnTo>
                  <a:lnTo>
                    <a:pt x="898" y="643"/>
                  </a:lnTo>
                  <a:lnTo>
                    <a:pt x="879" y="614"/>
                  </a:lnTo>
                  <a:lnTo>
                    <a:pt x="843" y="592"/>
                  </a:lnTo>
                  <a:lnTo>
                    <a:pt x="823" y="600"/>
                  </a:lnTo>
                  <a:lnTo>
                    <a:pt x="808" y="574"/>
                  </a:lnTo>
                  <a:lnTo>
                    <a:pt x="806" y="554"/>
                  </a:lnTo>
                  <a:lnTo>
                    <a:pt x="779" y="520"/>
                  </a:lnTo>
                  <a:lnTo>
                    <a:pt x="796" y="500"/>
                  </a:lnTo>
                  <a:lnTo>
                    <a:pt x="791" y="470"/>
                  </a:lnTo>
                  <a:lnTo>
                    <a:pt x="797" y="445"/>
                  </a:lnTo>
                  <a:lnTo>
                    <a:pt x="793" y="424"/>
                  </a:lnTo>
                  <a:lnTo>
                    <a:pt x="799" y="385"/>
                  </a:lnTo>
                  <a:lnTo>
                    <a:pt x="797" y="363"/>
                  </a:lnTo>
                  <a:lnTo>
                    <a:pt x="781" y="322"/>
                  </a:lnTo>
                  <a:lnTo>
                    <a:pt x="760" y="238"/>
                  </a:lnTo>
                  <a:lnTo>
                    <a:pt x="734" y="219"/>
                  </a:lnTo>
                  <a:lnTo>
                    <a:pt x="733" y="208"/>
                  </a:lnTo>
                  <a:lnTo>
                    <a:pt x="698" y="179"/>
                  </a:lnTo>
                  <a:lnTo>
                    <a:pt x="693" y="144"/>
                  </a:lnTo>
                  <a:lnTo>
                    <a:pt x="718" y="118"/>
                  </a:lnTo>
                  <a:lnTo>
                    <a:pt x="727" y="78"/>
                  </a:lnTo>
                  <a:lnTo>
                    <a:pt x="719" y="33"/>
                  </a:lnTo>
                  <a:lnTo>
                    <a:pt x="727" y="8"/>
                  </a:lnTo>
                  <a:lnTo>
                    <a:pt x="727" y="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6" name="Egypt">
              <a:extLst>
                <a:ext uri="{FF2B5EF4-FFF2-40B4-BE49-F238E27FC236}">
                  <a16:creationId xmlns:a16="http://schemas.microsoft.com/office/drawing/2014/main" id="{6C3BD63C-5BBC-4614-5901-1BB58FBF8F4B}"/>
                </a:ext>
              </a:extLst>
            </p:cNvPr>
            <p:cNvSpPr>
              <a:spLocks/>
            </p:cNvSpPr>
            <p:nvPr/>
          </p:nvSpPr>
          <p:spPr bwMode="auto">
            <a:xfrm>
              <a:off x="7771704" y="1209012"/>
              <a:ext cx="876300" cy="714375"/>
            </a:xfrm>
            <a:custGeom>
              <a:avLst/>
              <a:gdLst>
                <a:gd name="T0" fmla="*/ 156 w 552"/>
                <a:gd name="T1" fmla="*/ 26 h 450"/>
                <a:gd name="T2" fmla="*/ 113 w 552"/>
                <a:gd name="T3" fmla="*/ 12 h 450"/>
                <a:gd name="T4" fmla="*/ 71 w 552"/>
                <a:gd name="T5" fmla="*/ 0 h 450"/>
                <a:gd name="T6" fmla="*/ 14 w 552"/>
                <a:gd name="T7" fmla="*/ 0 h 450"/>
                <a:gd name="T8" fmla="*/ 0 w 552"/>
                <a:gd name="T9" fmla="*/ 23 h 450"/>
                <a:gd name="T10" fmla="*/ 8 w 552"/>
                <a:gd name="T11" fmla="*/ 43 h 450"/>
                <a:gd name="T12" fmla="*/ 0 w 552"/>
                <a:gd name="T13" fmla="*/ 72 h 450"/>
                <a:gd name="T14" fmla="*/ 15 w 552"/>
                <a:gd name="T15" fmla="*/ 110 h 450"/>
                <a:gd name="T16" fmla="*/ 26 w 552"/>
                <a:gd name="T17" fmla="*/ 277 h 450"/>
                <a:gd name="T18" fmla="*/ 34 w 552"/>
                <a:gd name="T19" fmla="*/ 450 h 450"/>
                <a:gd name="T20" fmla="*/ 209 w 552"/>
                <a:gd name="T21" fmla="*/ 450 h 450"/>
                <a:gd name="T22" fmla="*/ 379 w 552"/>
                <a:gd name="T23" fmla="*/ 450 h 450"/>
                <a:gd name="T24" fmla="*/ 552 w 552"/>
                <a:gd name="T25" fmla="*/ 450 h 450"/>
                <a:gd name="T26" fmla="*/ 544 w 552"/>
                <a:gd name="T27" fmla="*/ 440 h 450"/>
                <a:gd name="T28" fmla="*/ 491 w 552"/>
                <a:gd name="T29" fmla="*/ 398 h 450"/>
                <a:gd name="T30" fmla="*/ 487 w 552"/>
                <a:gd name="T31" fmla="*/ 368 h 450"/>
                <a:gd name="T32" fmla="*/ 495 w 552"/>
                <a:gd name="T33" fmla="*/ 359 h 450"/>
                <a:gd name="T34" fmla="*/ 453 w 552"/>
                <a:gd name="T35" fmla="*/ 308 h 450"/>
                <a:gd name="T36" fmla="*/ 437 w 552"/>
                <a:gd name="T37" fmla="*/ 280 h 450"/>
                <a:gd name="T38" fmla="*/ 418 w 552"/>
                <a:gd name="T39" fmla="*/ 255 h 450"/>
                <a:gd name="T40" fmla="*/ 380 w 552"/>
                <a:gd name="T41" fmla="*/ 182 h 450"/>
                <a:gd name="T42" fmla="*/ 350 w 552"/>
                <a:gd name="T43" fmla="*/ 134 h 450"/>
                <a:gd name="T44" fmla="*/ 327 w 552"/>
                <a:gd name="T45" fmla="*/ 85 h 450"/>
                <a:gd name="T46" fmla="*/ 332 w 552"/>
                <a:gd name="T47" fmla="*/ 81 h 450"/>
                <a:gd name="T48" fmla="*/ 368 w 552"/>
                <a:gd name="T49" fmla="*/ 148 h 450"/>
                <a:gd name="T50" fmla="*/ 389 w 552"/>
                <a:gd name="T51" fmla="*/ 169 h 450"/>
                <a:gd name="T52" fmla="*/ 406 w 552"/>
                <a:gd name="T53" fmla="*/ 185 h 450"/>
                <a:gd name="T54" fmla="*/ 415 w 552"/>
                <a:gd name="T55" fmla="*/ 176 h 450"/>
                <a:gd name="T56" fmla="*/ 424 w 552"/>
                <a:gd name="T57" fmla="*/ 151 h 450"/>
                <a:gd name="T58" fmla="*/ 430 w 552"/>
                <a:gd name="T59" fmla="*/ 117 h 450"/>
                <a:gd name="T60" fmla="*/ 440 w 552"/>
                <a:gd name="T61" fmla="*/ 97 h 450"/>
                <a:gd name="T62" fmla="*/ 435 w 552"/>
                <a:gd name="T63" fmla="*/ 85 h 450"/>
                <a:gd name="T64" fmla="*/ 404 w 552"/>
                <a:gd name="T65" fmla="*/ 17 h 450"/>
                <a:gd name="T66" fmla="*/ 404 w 552"/>
                <a:gd name="T67" fmla="*/ 17 h 450"/>
                <a:gd name="T68" fmla="*/ 384 w 552"/>
                <a:gd name="T69" fmla="*/ 29 h 450"/>
                <a:gd name="T70" fmla="*/ 351 w 552"/>
                <a:gd name="T71" fmla="*/ 26 h 450"/>
                <a:gd name="T72" fmla="*/ 315 w 552"/>
                <a:gd name="T73" fmla="*/ 16 h 450"/>
                <a:gd name="T74" fmla="*/ 307 w 552"/>
                <a:gd name="T75" fmla="*/ 31 h 450"/>
                <a:gd name="T76" fmla="*/ 293 w 552"/>
                <a:gd name="T77" fmla="*/ 7 h 450"/>
                <a:gd name="T78" fmla="*/ 262 w 552"/>
                <a:gd name="T79" fmla="*/ 1 h 450"/>
                <a:gd name="T80" fmla="*/ 225 w 552"/>
                <a:gd name="T81" fmla="*/ 5 h 450"/>
                <a:gd name="T82" fmla="*/ 208 w 552"/>
                <a:gd name="T83" fmla="*/ 19 h 450"/>
                <a:gd name="T84" fmla="*/ 177 w 552"/>
                <a:gd name="T85" fmla="*/ 33 h 450"/>
                <a:gd name="T86" fmla="*/ 156 w 552"/>
                <a:gd name="T87" fmla="*/ 26 h 450"/>
                <a:gd name="T88" fmla="*/ 156 w 552"/>
                <a:gd name="T89" fmla="*/ 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450">
                  <a:moveTo>
                    <a:pt x="156" y="26"/>
                  </a:moveTo>
                  <a:lnTo>
                    <a:pt x="113" y="12"/>
                  </a:lnTo>
                  <a:lnTo>
                    <a:pt x="71" y="0"/>
                  </a:lnTo>
                  <a:lnTo>
                    <a:pt x="14" y="0"/>
                  </a:lnTo>
                  <a:lnTo>
                    <a:pt x="0" y="23"/>
                  </a:lnTo>
                  <a:lnTo>
                    <a:pt x="8" y="43"/>
                  </a:lnTo>
                  <a:lnTo>
                    <a:pt x="0" y="72"/>
                  </a:lnTo>
                  <a:lnTo>
                    <a:pt x="15" y="110"/>
                  </a:lnTo>
                  <a:lnTo>
                    <a:pt x="26" y="277"/>
                  </a:lnTo>
                  <a:lnTo>
                    <a:pt x="34" y="450"/>
                  </a:lnTo>
                  <a:lnTo>
                    <a:pt x="209" y="450"/>
                  </a:lnTo>
                  <a:lnTo>
                    <a:pt x="379" y="450"/>
                  </a:lnTo>
                  <a:lnTo>
                    <a:pt x="552" y="450"/>
                  </a:lnTo>
                  <a:lnTo>
                    <a:pt x="544" y="440"/>
                  </a:lnTo>
                  <a:lnTo>
                    <a:pt x="491" y="398"/>
                  </a:lnTo>
                  <a:lnTo>
                    <a:pt x="487" y="368"/>
                  </a:lnTo>
                  <a:lnTo>
                    <a:pt x="495" y="359"/>
                  </a:lnTo>
                  <a:lnTo>
                    <a:pt x="453" y="308"/>
                  </a:lnTo>
                  <a:lnTo>
                    <a:pt x="437" y="280"/>
                  </a:lnTo>
                  <a:lnTo>
                    <a:pt x="418" y="255"/>
                  </a:lnTo>
                  <a:lnTo>
                    <a:pt x="380" y="182"/>
                  </a:lnTo>
                  <a:lnTo>
                    <a:pt x="350" y="134"/>
                  </a:lnTo>
                  <a:lnTo>
                    <a:pt x="327" y="85"/>
                  </a:lnTo>
                  <a:lnTo>
                    <a:pt x="332" y="81"/>
                  </a:lnTo>
                  <a:lnTo>
                    <a:pt x="368" y="148"/>
                  </a:lnTo>
                  <a:lnTo>
                    <a:pt x="389" y="169"/>
                  </a:lnTo>
                  <a:lnTo>
                    <a:pt x="406" y="185"/>
                  </a:lnTo>
                  <a:lnTo>
                    <a:pt x="415" y="176"/>
                  </a:lnTo>
                  <a:lnTo>
                    <a:pt x="424" y="151"/>
                  </a:lnTo>
                  <a:lnTo>
                    <a:pt x="430" y="117"/>
                  </a:lnTo>
                  <a:lnTo>
                    <a:pt x="440" y="97"/>
                  </a:lnTo>
                  <a:lnTo>
                    <a:pt x="435" y="85"/>
                  </a:lnTo>
                  <a:lnTo>
                    <a:pt x="404" y="17"/>
                  </a:lnTo>
                  <a:lnTo>
                    <a:pt x="404" y="17"/>
                  </a:lnTo>
                  <a:lnTo>
                    <a:pt x="384" y="29"/>
                  </a:lnTo>
                  <a:lnTo>
                    <a:pt x="351" y="26"/>
                  </a:lnTo>
                  <a:lnTo>
                    <a:pt x="315" y="16"/>
                  </a:lnTo>
                  <a:lnTo>
                    <a:pt x="307" y="31"/>
                  </a:lnTo>
                  <a:lnTo>
                    <a:pt x="293" y="7"/>
                  </a:lnTo>
                  <a:lnTo>
                    <a:pt x="262" y="1"/>
                  </a:lnTo>
                  <a:lnTo>
                    <a:pt x="225" y="5"/>
                  </a:lnTo>
                  <a:lnTo>
                    <a:pt x="208" y="19"/>
                  </a:lnTo>
                  <a:lnTo>
                    <a:pt x="177" y="33"/>
                  </a:lnTo>
                  <a:lnTo>
                    <a:pt x="156" y="26"/>
                  </a:lnTo>
                  <a:lnTo>
                    <a:pt x="156" y="26"/>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7" name="Eritrea">
              <a:extLst>
                <a:ext uri="{FF2B5EF4-FFF2-40B4-BE49-F238E27FC236}">
                  <a16:creationId xmlns:a16="http://schemas.microsoft.com/office/drawing/2014/main" id="{D0D9718F-97C3-3FDA-9BE0-A9ADAFB5D53B}"/>
                </a:ext>
              </a:extLst>
            </p:cNvPr>
            <p:cNvSpPr>
              <a:spLocks/>
            </p:cNvSpPr>
            <p:nvPr/>
          </p:nvSpPr>
          <p:spPr bwMode="auto">
            <a:xfrm>
              <a:off x="8640066" y="2221837"/>
              <a:ext cx="482600" cy="412750"/>
            </a:xfrm>
            <a:custGeom>
              <a:avLst/>
              <a:gdLst>
                <a:gd name="T0" fmla="*/ 153 w 304"/>
                <a:gd name="T1" fmla="*/ 120 h 260"/>
                <a:gd name="T2" fmla="*/ 127 w 304"/>
                <a:gd name="T3" fmla="*/ 97 h 260"/>
                <a:gd name="T4" fmla="*/ 113 w 304"/>
                <a:gd name="T5" fmla="*/ 54 h 260"/>
                <a:gd name="T6" fmla="*/ 84 w 304"/>
                <a:gd name="T7" fmla="*/ 0 h 260"/>
                <a:gd name="T8" fmla="*/ 63 w 304"/>
                <a:gd name="T9" fmla="*/ 27 h 260"/>
                <a:gd name="T10" fmla="*/ 31 w 304"/>
                <a:gd name="T11" fmla="*/ 35 h 260"/>
                <a:gd name="T12" fmla="*/ 18 w 304"/>
                <a:gd name="T13" fmla="*/ 49 h 260"/>
                <a:gd name="T14" fmla="*/ 16 w 304"/>
                <a:gd name="T15" fmla="*/ 81 h 260"/>
                <a:gd name="T16" fmla="*/ 0 w 304"/>
                <a:gd name="T17" fmla="*/ 149 h 260"/>
                <a:gd name="T18" fmla="*/ 6 w 304"/>
                <a:gd name="T19" fmla="*/ 168 h 260"/>
                <a:gd name="T20" fmla="*/ 58 w 304"/>
                <a:gd name="T21" fmla="*/ 178 h 260"/>
                <a:gd name="T22" fmla="*/ 70 w 304"/>
                <a:gd name="T23" fmla="*/ 142 h 260"/>
                <a:gd name="T24" fmla="*/ 98 w 304"/>
                <a:gd name="T25" fmla="*/ 164 h 260"/>
                <a:gd name="T26" fmla="*/ 124 w 304"/>
                <a:gd name="T27" fmla="*/ 154 h 260"/>
                <a:gd name="T28" fmla="*/ 134 w 304"/>
                <a:gd name="T29" fmla="*/ 163 h 260"/>
                <a:gd name="T30" fmla="*/ 165 w 304"/>
                <a:gd name="T31" fmla="*/ 164 h 260"/>
                <a:gd name="T32" fmla="*/ 204 w 304"/>
                <a:gd name="T33" fmla="*/ 182 h 260"/>
                <a:gd name="T34" fmla="*/ 217 w 304"/>
                <a:gd name="T35" fmla="*/ 199 h 260"/>
                <a:gd name="T36" fmla="*/ 237 w 304"/>
                <a:gd name="T37" fmla="*/ 214 h 260"/>
                <a:gd name="T38" fmla="*/ 256 w 304"/>
                <a:gd name="T39" fmla="*/ 241 h 260"/>
                <a:gd name="T40" fmla="*/ 271 w 304"/>
                <a:gd name="T41" fmla="*/ 256 h 260"/>
                <a:gd name="T42" fmla="*/ 291 w 304"/>
                <a:gd name="T43" fmla="*/ 260 h 260"/>
                <a:gd name="T44" fmla="*/ 304 w 304"/>
                <a:gd name="T45" fmla="*/ 249 h 260"/>
                <a:gd name="T46" fmla="*/ 282 w 304"/>
                <a:gd name="T47" fmla="*/ 235 h 260"/>
                <a:gd name="T48" fmla="*/ 267 w 304"/>
                <a:gd name="T49" fmla="*/ 219 h 260"/>
                <a:gd name="T50" fmla="*/ 241 w 304"/>
                <a:gd name="T51" fmla="*/ 192 h 260"/>
                <a:gd name="T52" fmla="*/ 216 w 304"/>
                <a:gd name="T53" fmla="*/ 165 h 260"/>
                <a:gd name="T54" fmla="*/ 153 w 304"/>
                <a:gd name="T55" fmla="*/ 120 h 260"/>
                <a:gd name="T56" fmla="*/ 153 w 304"/>
                <a:gd name="T57" fmla="*/ 12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4" h="260">
                  <a:moveTo>
                    <a:pt x="153" y="120"/>
                  </a:moveTo>
                  <a:lnTo>
                    <a:pt x="127" y="97"/>
                  </a:lnTo>
                  <a:lnTo>
                    <a:pt x="113" y="54"/>
                  </a:lnTo>
                  <a:lnTo>
                    <a:pt x="84" y="0"/>
                  </a:lnTo>
                  <a:lnTo>
                    <a:pt x="63" y="27"/>
                  </a:lnTo>
                  <a:lnTo>
                    <a:pt x="31" y="35"/>
                  </a:lnTo>
                  <a:lnTo>
                    <a:pt x="18" y="49"/>
                  </a:lnTo>
                  <a:lnTo>
                    <a:pt x="16" y="81"/>
                  </a:lnTo>
                  <a:lnTo>
                    <a:pt x="0" y="149"/>
                  </a:lnTo>
                  <a:lnTo>
                    <a:pt x="6" y="168"/>
                  </a:lnTo>
                  <a:lnTo>
                    <a:pt x="58" y="178"/>
                  </a:lnTo>
                  <a:lnTo>
                    <a:pt x="70" y="142"/>
                  </a:lnTo>
                  <a:lnTo>
                    <a:pt x="98" y="164"/>
                  </a:lnTo>
                  <a:lnTo>
                    <a:pt x="124" y="154"/>
                  </a:lnTo>
                  <a:lnTo>
                    <a:pt x="134" y="163"/>
                  </a:lnTo>
                  <a:lnTo>
                    <a:pt x="165" y="164"/>
                  </a:lnTo>
                  <a:lnTo>
                    <a:pt x="204" y="182"/>
                  </a:lnTo>
                  <a:lnTo>
                    <a:pt x="217" y="199"/>
                  </a:lnTo>
                  <a:lnTo>
                    <a:pt x="237" y="214"/>
                  </a:lnTo>
                  <a:lnTo>
                    <a:pt x="256" y="241"/>
                  </a:lnTo>
                  <a:lnTo>
                    <a:pt x="271" y="256"/>
                  </a:lnTo>
                  <a:lnTo>
                    <a:pt x="291" y="260"/>
                  </a:lnTo>
                  <a:lnTo>
                    <a:pt x="304" y="249"/>
                  </a:lnTo>
                  <a:lnTo>
                    <a:pt x="282" y="235"/>
                  </a:lnTo>
                  <a:lnTo>
                    <a:pt x="267" y="219"/>
                  </a:lnTo>
                  <a:lnTo>
                    <a:pt x="241" y="192"/>
                  </a:lnTo>
                  <a:lnTo>
                    <a:pt x="216" y="165"/>
                  </a:lnTo>
                  <a:lnTo>
                    <a:pt x="153" y="120"/>
                  </a:lnTo>
                  <a:lnTo>
                    <a:pt x="153" y="12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8" name="Ethiopia">
              <a:extLst>
                <a:ext uri="{FF2B5EF4-FFF2-40B4-BE49-F238E27FC236}">
                  <a16:creationId xmlns:a16="http://schemas.microsoft.com/office/drawing/2014/main" id="{5F84FA6E-ABBB-34AA-6845-ED6DF89C7D76}"/>
                </a:ext>
              </a:extLst>
            </p:cNvPr>
            <p:cNvSpPr>
              <a:spLocks/>
            </p:cNvSpPr>
            <p:nvPr/>
          </p:nvSpPr>
          <p:spPr bwMode="auto">
            <a:xfrm>
              <a:off x="8419746" y="2446808"/>
              <a:ext cx="1049338" cy="862013"/>
            </a:xfrm>
            <a:custGeom>
              <a:avLst/>
              <a:gdLst>
                <a:gd name="T0" fmla="*/ 209 w 661"/>
                <a:gd name="T1" fmla="*/ 0 h 543"/>
                <a:gd name="T2" fmla="*/ 197 w 661"/>
                <a:gd name="T3" fmla="*/ 36 h 543"/>
                <a:gd name="T4" fmla="*/ 145 w 661"/>
                <a:gd name="T5" fmla="*/ 26 h 543"/>
                <a:gd name="T6" fmla="*/ 139 w 661"/>
                <a:gd name="T7" fmla="*/ 67 h 543"/>
                <a:gd name="T8" fmla="*/ 123 w 661"/>
                <a:gd name="T9" fmla="*/ 113 h 543"/>
                <a:gd name="T10" fmla="*/ 97 w 661"/>
                <a:gd name="T11" fmla="*/ 135 h 543"/>
                <a:gd name="T12" fmla="*/ 80 w 661"/>
                <a:gd name="T13" fmla="*/ 172 h 543"/>
                <a:gd name="T14" fmla="*/ 75 w 661"/>
                <a:gd name="T15" fmla="*/ 192 h 543"/>
                <a:gd name="T16" fmla="*/ 55 w 661"/>
                <a:gd name="T17" fmla="*/ 204 h 543"/>
                <a:gd name="T18" fmla="*/ 43 w 661"/>
                <a:gd name="T19" fmla="*/ 253 h 543"/>
                <a:gd name="T20" fmla="*/ 43 w 661"/>
                <a:gd name="T21" fmla="*/ 259 h 543"/>
                <a:gd name="T22" fmla="*/ 45 w 661"/>
                <a:gd name="T23" fmla="*/ 296 h 543"/>
                <a:gd name="T24" fmla="*/ 38 w 661"/>
                <a:gd name="T25" fmla="*/ 310 h 543"/>
                <a:gd name="T26" fmla="*/ 15 w 661"/>
                <a:gd name="T27" fmla="*/ 311 h 543"/>
                <a:gd name="T28" fmla="*/ 0 w 661"/>
                <a:gd name="T29" fmla="*/ 338 h 543"/>
                <a:gd name="T30" fmla="*/ 28 w 661"/>
                <a:gd name="T31" fmla="*/ 341 h 543"/>
                <a:gd name="T32" fmla="*/ 51 w 661"/>
                <a:gd name="T33" fmla="*/ 364 h 543"/>
                <a:gd name="T34" fmla="*/ 59 w 661"/>
                <a:gd name="T35" fmla="*/ 383 h 543"/>
                <a:gd name="T36" fmla="*/ 80 w 661"/>
                <a:gd name="T37" fmla="*/ 394 h 543"/>
                <a:gd name="T38" fmla="*/ 106 w 661"/>
                <a:gd name="T39" fmla="*/ 445 h 543"/>
                <a:gd name="T40" fmla="*/ 130 w 661"/>
                <a:gd name="T41" fmla="*/ 453 h 543"/>
                <a:gd name="T42" fmla="*/ 130 w 661"/>
                <a:gd name="T43" fmla="*/ 479 h 543"/>
                <a:gd name="T44" fmla="*/ 146 w 661"/>
                <a:gd name="T45" fmla="*/ 495 h 543"/>
                <a:gd name="T46" fmla="*/ 177 w 661"/>
                <a:gd name="T47" fmla="*/ 495 h 543"/>
                <a:gd name="T48" fmla="*/ 234 w 661"/>
                <a:gd name="T49" fmla="*/ 534 h 543"/>
                <a:gd name="T50" fmla="*/ 248 w 661"/>
                <a:gd name="T51" fmla="*/ 535 h 543"/>
                <a:gd name="T52" fmla="*/ 259 w 661"/>
                <a:gd name="T53" fmla="*/ 534 h 543"/>
                <a:gd name="T54" fmla="*/ 268 w 661"/>
                <a:gd name="T55" fmla="*/ 540 h 543"/>
                <a:gd name="T56" fmla="*/ 298 w 661"/>
                <a:gd name="T57" fmla="*/ 543 h 543"/>
                <a:gd name="T58" fmla="*/ 311 w 661"/>
                <a:gd name="T59" fmla="*/ 523 h 543"/>
                <a:gd name="T60" fmla="*/ 352 w 661"/>
                <a:gd name="T61" fmla="*/ 504 h 543"/>
                <a:gd name="T62" fmla="*/ 369 w 661"/>
                <a:gd name="T63" fmla="*/ 519 h 543"/>
                <a:gd name="T64" fmla="*/ 400 w 661"/>
                <a:gd name="T65" fmla="*/ 519 h 543"/>
                <a:gd name="T66" fmla="*/ 412 w 661"/>
                <a:gd name="T67" fmla="*/ 505 h 543"/>
                <a:gd name="T68" fmla="*/ 441 w 661"/>
                <a:gd name="T69" fmla="*/ 504 h 543"/>
                <a:gd name="T70" fmla="*/ 480 w 661"/>
                <a:gd name="T71" fmla="*/ 471 h 543"/>
                <a:gd name="T72" fmla="*/ 538 w 661"/>
                <a:gd name="T73" fmla="*/ 468 h 543"/>
                <a:gd name="T74" fmla="*/ 661 w 661"/>
                <a:gd name="T75" fmla="*/ 327 h 543"/>
                <a:gd name="T76" fmla="*/ 622 w 661"/>
                <a:gd name="T77" fmla="*/ 328 h 543"/>
                <a:gd name="T78" fmla="*/ 475 w 661"/>
                <a:gd name="T79" fmla="*/ 272 h 543"/>
                <a:gd name="T80" fmla="*/ 458 w 661"/>
                <a:gd name="T81" fmla="*/ 255 h 543"/>
                <a:gd name="T82" fmla="*/ 442 w 661"/>
                <a:gd name="T83" fmla="*/ 233 h 543"/>
                <a:gd name="T84" fmla="*/ 423 w 661"/>
                <a:gd name="T85" fmla="*/ 207 h 543"/>
                <a:gd name="T86" fmla="*/ 432 w 661"/>
                <a:gd name="T87" fmla="*/ 190 h 543"/>
                <a:gd name="T88" fmla="*/ 422 w 661"/>
                <a:gd name="T89" fmla="*/ 182 h 543"/>
                <a:gd name="T90" fmla="*/ 412 w 661"/>
                <a:gd name="T91" fmla="*/ 185 h 543"/>
                <a:gd name="T92" fmla="*/ 387 w 661"/>
                <a:gd name="T93" fmla="*/ 185 h 543"/>
                <a:gd name="T94" fmla="*/ 386 w 661"/>
                <a:gd name="T95" fmla="*/ 170 h 543"/>
                <a:gd name="T96" fmla="*/ 382 w 661"/>
                <a:gd name="T97" fmla="*/ 158 h 543"/>
                <a:gd name="T98" fmla="*/ 396 w 661"/>
                <a:gd name="T99" fmla="*/ 135 h 543"/>
                <a:gd name="T100" fmla="*/ 410 w 661"/>
                <a:gd name="T101" fmla="*/ 114 h 543"/>
                <a:gd name="T102" fmla="*/ 395 w 661"/>
                <a:gd name="T103" fmla="*/ 99 h 543"/>
                <a:gd name="T104" fmla="*/ 376 w 661"/>
                <a:gd name="T105" fmla="*/ 72 h 543"/>
                <a:gd name="T106" fmla="*/ 356 w 661"/>
                <a:gd name="T107" fmla="*/ 57 h 543"/>
                <a:gd name="T108" fmla="*/ 343 w 661"/>
                <a:gd name="T109" fmla="*/ 40 h 543"/>
                <a:gd name="T110" fmla="*/ 304 w 661"/>
                <a:gd name="T111" fmla="*/ 22 h 543"/>
                <a:gd name="T112" fmla="*/ 273 w 661"/>
                <a:gd name="T113" fmla="*/ 21 h 543"/>
                <a:gd name="T114" fmla="*/ 263 w 661"/>
                <a:gd name="T115" fmla="*/ 12 h 543"/>
                <a:gd name="T116" fmla="*/ 237 w 661"/>
                <a:gd name="T117" fmla="*/ 22 h 543"/>
                <a:gd name="T118" fmla="*/ 209 w 661"/>
                <a:gd name="T119" fmla="*/ 0 h 543"/>
                <a:gd name="T120" fmla="*/ 209 w 661"/>
                <a:gd name="T1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1" h="543">
                  <a:moveTo>
                    <a:pt x="209" y="0"/>
                  </a:moveTo>
                  <a:lnTo>
                    <a:pt x="197" y="36"/>
                  </a:lnTo>
                  <a:lnTo>
                    <a:pt x="145" y="26"/>
                  </a:lnTo>
                  <a:lnTo>
                    <a:pt x="139" y="67"/>
                  </a:lnTo>
                  <a:lnTo>
                    <a:pt x="123" y="113"/>
                  </a:lnTo>
                  <a:lnTo>
                    <a:pt x="97" y="135"/>
                  </a:lnTo>
                  <a:lnTo>
                    <a:pt x="80" y="172"/>
                  </a:lnTo>
                  <a:lnTo>
                    <a:pt x="75" y="192"/>
                  </a:lnTo>
                  <a:lnTo>
                    <a:pt x="55" y="204"/>
                  </a:lnTo>
                  <a:lnTo>
                    <a:pt x="43" y="253"/>
                  </a:lnTo>
                  <a:lnTo>
                    <a:pt x="43" y="259"/>
                  </a:lnTo>
                  <a:lnTo>
                    <a:pt x="45" y="296"/>
                  </a:lnTo>
                  <a:lnTo>
                    <a:pt x="38" y="310"/>
                  </a:lnTo>
                  <a:lnTo>
                    <a:pt x="15" y="311"/>
                  </a:lnTo>
                  <a:lnTo>
                    <a:pt x="0" y="338"/>
                  </a:lnTo>
                  <a:lnTo>
                    <a:pt x="28" y="341"/>
                  </a:lnTo>
                  <a:lnTo>
                    <a:pt x="51" y="364"/>
                  </a:lnTo>
                  <a:lnTo>
                    <a:pt x="59" y="383"/>
                  </a:lnTo>
                  <a:lnTo>
                    <a:pt x="80" y="394"/>
                  </a:lnTo>
                  <a:lnTo>
                    <a:pt x="106" y="445"/>
                  </a:lnTo>
                  <a:lnTo>
                    <a:pt x="130" y="453"/>
                  </a:lnTo>
                  <a:lnTo>
                    <a:pt x="130" y="479"/>
                  </a:lnTo>
                  <a:lnTo>
                    <a:pt x="146" y="495"/>
                  </a:lnTo>
                  <a:lnTo>
                    <a:pt x="177" y="495"/>
                  </a:lnTo>
                  <a:lnTo>
                    <a:pt x="234" y="534"/>
                  </a:lnTo>
                  <a:lnTo>
                    <a:pt x="248" y="535"/>
                  </a:lnTo>
                  <a:lnTo>
                    <a:pt x="259" y="534"/>
                  </a:lnTo>
                  <a:lnTo>
                    <a:pt x="268" y="540"/>
                  </a:lnTo>
                  <a:lnTo>
                    <a:pt x="298" y="543"/>
                  </a:lnTo>
                  <a:lnTo>
                    <a:pt x="311" y="523"/>
                  </a:lnTo>
                  <a:lnTo>
                    <a:pt x="352" y="504"/>
                  </a:lnTo>
                  <a:lnTo>
                    <a:pt x="369" y="519"/>
                  </a:lnTo>
                  <a:lnTo>
                    <a:pt x="400" y="519"/>
                  </a:lnTo>
                  <a:lnTo>
                    <a:pt x="412" y="505"/>
                  </a:lnTo>
                  <a:lnTo>
                    <a:pt x="441" y="504"/>
                  </a:lnTo>
                  <a:lnTo>
                    <a:pt x="480" y="471"/>
                  </a:lnTo>
                  <a:lnTo>
                    <a:pt x="538" y="468"/>
                  </a:lnTo>
                  <a:lnTo>
                    <a:pt x="661" y="327"/>
                  </a:lnTo>
                  <a:lnTo>
                    <a:pt x="622" y="328"/>
                  </a:lnTo>
                  <a:lnTo>
                    <a:pt x="475" y="272"/>
                  </a:lnTo>
                  <a:lnTo>
                    <a:pt x="458" y="255"/>
                  </a:lnTo>
                  <a:lnTo>
                    <a:pt x="442" y="233"/>
                  </a:lnTo>
                  <a:lnTo>
                    <a:pt x="423" y="207"/>
                  </a:lnTo>
                  <a:lnTo>
                    <a:pt x="432" y="190"/>
                  </a:lnTo>
                  <a:lnTo>
                    <a:pt x="422" y="182"/>
                  </a:lnTo>
                  <a:lnTo>
                    <a:pt x="412" y="185"/>
                  </a:lnTo>
                  <a:lnTo>
                    <a:pt x="387" y="185"/>
                  </a:lnTo>
                  <a:lnTo>
                    <a:pt x="386" y="170"/>
                  </a:lnTo>
                  <a:lnTo>
                    <a:pt x="382" y="158"/>
                  </a:lnTo>
                  <a:lnTo>
                    <a:pt x="396" y="135"/>
                  </a:lnTo>
                  <a:lnTo>
                    <a:pt x="410" y="114"/>
                  </a:lnTo>
                  <a:lnTo>
                    <a:pt x="395" y="99"/>
                  </a:lnTo>
                  <a:lnTo>
                    <a:pt x="376" y="72"/>
                  </a:lnTo>
                  <a:lnTo>
                    <a:pt x="356" y="57"/>
                  </a:lnTo>
                  <a:lnTo>
                    <a:pt x="343" y="40"/>
                  </a:lnTo>
                  <a:lnTo>
                    <a:pt x="304" y="22"/>
                  </a:lnTo>
                  <a:lnTo>
                    <a:pt x="273" y="21"/>
                  </a:lnTo>
                  <a:lnTo>
                    <a:pt x="263" y="12"/>
                  </a:lnTo>
                  <a:lnTo>
                    <a:pt x="237" y="22"/>
                  </a:lnTo>
                  <a:lnTo>
                    <a:pt x="209" y="0"/>
                  </a:lnTo>
                  <a:lnTo>
                    <a:pt x="209" y="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59" name="Gabon">
              <a:extLst>
                <a:ext uri="{FF2B5EF4-FFF2-40B4-BE49-F238E27FC236}">
                  <a16:creationId xmlns:a16="http://schemas.microsoft.com/office/drawing/2014/main" id="{0E3A7EE6-3FBA-F075-4EA6-1E674991697F}"/>
                </a:ext>
              </a:extLst>
            </p:cNvPr>
            <p:cNvSpPr>
              <a:spLocks/>
            </p:cNvSpPr>
            <p:nvPr/>
          </p:nvSpPr>
          <p:spPr bwMode="auto">
            <a:xfrm>
              <a:off x="6714429" y="3390237"/>
              <a:ext cx="400050" cy="471488"/>
            </a:xfrm>
            <a:custGeom>
              <a:avLst/>
              <a:gdLst>
                <a:gd name="T0" fmla="*/ 191 w 252"/>
                <a:gd name="T1" fmla="*/ 3 h 297"/>
                <a:gd name="T2" fmla="*/ 186 w 252"/>
                <a:gd name="T3" fmla="*/ 1 h 297"/>
                <a:gd name="T4" fmla="*/ 158 w 252"/>
                <a:gd name="T5" fmla="*/ 7 h 297"/>
                <a:gd name="T6" fmla="*/ 132 w 252"/>
                <a:gd name="T7" fmla="*/ 0 h 297"/>
                <a:gd name="T8" fmla="*/ 111 w 252"/>
                <a:gd name="T9" fmla="*/ 3 h 297"/>
                <a:gd name="T10" fmla="*/ 111 w 252"/>
                <a:gd name="T11" fmla="*/ 60 h 297"/>
                <a:gd name="T12" fmla="*/ 46 w 252"/>
                <a:gd name="T13" fmla="*/ 59 h 297"/>
                <a:gd name="T14" fmla="*/ 31 w 252"/>
                <a:gd name="T15" fmla="*/ 62 h 297"/>
                <a:gd name="T16" fmla="*/ 22 w 252"/>
                <a:gd name="T17" fmla="*/ 97 h 297"/>
                <a:gd name="T18" fmla="*/ 11 w 252"/>
                <a:gd name="T19" fmla="*/ 132 h 297"/>
                <a:gd name="T20" fmla="*/ 1 w 252"/>
                <a:gd name="T21" fmla="*/ 146 h 297"/>
                <a:gd name="T22" fmla="*/ 0 w 252"/>
                <a:gd name="T23" fmla="*/ 162 h 297"/>
                <a:gd name="T24" fmla="*/ 27 w 252"/>
                <a:gd name="T25" fmla="*/ 210 h 297"/>
                <a:gd name="T26" fmla="*/ 56 w 252"/>
                <a:gd name="T27" fmla="*/ 250 h 297"/>
                <a:gd name="T28" fmla="*/ 102 w 252"/>
                <a:gd name="T29" fmla="*/ 297 h 297"/>
                <a:gd name="T30" fmla="*/ 137 w 252"/>
                <a:gd name="T31" fmla="*/ 271 h 297"/>
                <a:gd name="T32" fmla="*/ 119 w 252"/>
                <a:gd name="T33" fmla="*/ 239 h 297"/>
                <a:gd name="T34" fmla="*/ 135 w 252"/>
                <a:gd name="T35" fmla="*/ 227 h 297"/>
                <a:gd name="T36" fmla="*/ 165 w 252"/>
                <a:gd name="T37" fmla="*/ 222 h 297"/>
                <a:gd name="T38" fmla="*/ 168 w 252"/>
                <a:gd name="T39" fmla="*/ 201 h 297"/>
                <a:gd name="T40" fmla="*/ 192 w 252"/>
                <a:gd name="T41" fmla="*/ 224 h 297"/>
                <a:gd name="T42" fmla="*/ 231 w 252"/>
                <a:gd name="T43" fmla="*/ 226 h 297"/>
                <a:gd name="T44" fmla="*/ 245 w 252"/>
                <a:gd name="T45" fmla="*/ 204 h 297"/>
                <a:gd name="T46" fmla="*/ 252 w 252"/>
                <a:gd name="T47" fmla="*/ 172 h 297"/>
                <a:gd name="T48" fmla="*/ 246 w 252"/>
                <a:gd name="T49" fmla="*/ 136 h 297"/>
                <a:gd name="T50" fmla="*/ 225 w 252"/>
                <a:gd name="T51" fmla="*/ 108 h 297"/>
                <a:gd name="T52" fmla="*/ 244 w 252"/>
                <a:gd name="T53" fmla="*/ 53 h 297"/>
                <a:gd name="T54" fmla="*/ 233 w 252"/>
                <a:gd name="T55" fmla="*/ 44 h 297"/>
                <a:gd name="T56" fmla="*/ 200 w 252"/>
                <a:gd name="T57" fmla="*/ 47 h 297"/>
                <a:gd name="T58" fmla="*/ 188 w 252"/>
                <a:gd name="T59" fmla="*/ 24 h 297"/>
                <a:gd name="T60" fmla="*/ 191 w 252"/>
                <a:gd name="T61" fmla="*/ 3 h 297"/>
                <a:gd name="T62" fmla="*/ 191 w 252"/>
                <a:gd name="T6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97">
                  <a:moveTo>
                    <a:pt x="191" y="3"/>
                  </a:moveTo>
                  <a:lnTo>
                    <a:pt x="186" y="1"/>
                  </a:lnTo>
                  <a:lnTo>
                    <a:pt x="158" y="7"/>
                  </a:lnTo>
                  <a:lnTo>
                    <a:pt x="132" y="0"/>
                  </a:lnTo>
                  <a:lnTo>
                    <a:pt x="111" y="3"/>
                  </a:lnTo>
                  <a:lnTo>
                    <a:pt x="111" y="60"/>
                  </a:lnTo>
                  <a:lnTo>
                    <a:pt x="46" y="59"/>
                  </a:lnTo>
                  <a:lnTo>
                    <a:pt x="31" y="62"/>
                  </a:lnTo>
                  <a:lnTo>
                    <a:pt x="22" y="97"/>
                  </a:lnTo>
                  <a:lnTo>
                    <a:pt x="11" y="132"/>
                  </a:lnTo>
                  <a:lnTo>
                    <a:pt x="1" y="146"/>
                  </a:lnTo>
                  <a:lnTo>
                    <a:pt x="0" y="162"/>
                  </a:lnTo>
                  <a:lnTo>
                    <a:pt x="27" y="210"/>
                  </a:lnTo>
                  <a:lnTo>
                    <a:pt x="56" y="250"/>
                  </a:lnTo>
                  <a:lnTo>
                    <a:pt x="102" y="297"/>
                  </a:lnTo>
                  <a:lnTo>
                    <a:pt x="137" y="271"/>
                  </a:lnTo>
                  <a:lnTo>
                    <a:pt x="119" y="239"/>
                  </a:lnTo>
                  <a:lnTo>
                    <a:pt x="135" y="227"/>
                  </a:lnTo>
                  <a:lnTo>
                    <a:pt x="165" y="222"/>
                  </a:lnTo>
                  <a:lnTo>
                    <a:pt x="168" y="201"/>
                  </a:lnTo>
                  <a:lnTo>
                    <a:pt x="192" y="224"/>
                  </a:lnTo>
                  <a:lnTo>
                    <a:pt x="231" y="226"/>
                  </a:lnTo>
                  <a:lnTo>
                    <a:pt x="245" y="204"/>
                  </a:lnTo>
                  <a:lnTo>
                    <a:pt x="252" y="172"/>
                  </a:lnTo>
                  <a:lnTo>
                    <a:pt x="246" y="136"/>
                  </a:lnTo>
                  <a:lnTo>
                    <a:pt x="225" y="108"/>
                  </a:lnTo>
                  <a:lnTo>
                    <a:pt x="244" y="53"/>
                  </a:lnTo>
                  <a:lnTo>
                    <a:pt x="233" y="44"/>
                  </a:lnTo>
                  <a:lnTo>
                    <a:pt x="200" y="47"/>
                  </a:lnTo>
                  <a:lnTo>
                    <a:pt x="188" y="24"/>
                  </a:lnTo>
                  <a:lnTo>
                    <a:pt x="191" y="3"/>
                  </a:lnTo>
                  <a:lnTo>
                    <a:pt x="191" y="3"/>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0" name="Ghana">
              <a:extLst>
                <a:ext uri="{FF2B5EF4-FFF2-40B4-BE49-F238E27FC236}">
                  <a16:creationId xmlns:a16="http://schemas.microsoft.com/office/drawing/2014/main" id="{B54A98C2-CB8E-EE28-D38E-AEFBE71B4D61}"/>
                </a:ext>
              </a:extLst>
            </p:cNvPr>
            <p:cNvSpPr>
              <a:spLocks/>
            </p:cNvSpPr>
            <p:nvPr/>
          </p:nvSpPr>
          <p:spPr bwMode="auto">
            <a:xfrm>
              <a:off x="5861941" y="2736187"/>
              <a:ext cx="303213" cy="476250"/>
            </a:xfrm>
            <a:custGeom>
              <a:avLst/>
              <a:gdLst>
                <a:gd name="T0" fmla="*/ 146 w 191"/>
                <a:gd name="T1" fmla="*/ 4 h 300"/>
                <a:gd name="T2" fmla="*/ 125 w 191"/>
                <a:gd name="T3" fmla="*/ 0 h 300"/>
                <a:gd name="T4" fmla="*/ 111 w 191"/>
                <a:gd name="T5" fmla="*/ 8 h 300"/>
                <a:gd name="T6" fmla="*/ 91 w 191"/>
                <a:gd name="T7" fmla="*/ 4 h 300"/>
                <a:gd name="T8" fmla="*/ 14 w 191"/>
                <a:gd name="T9" fmla="*/ 6 h 300"/>
                <a:gd name="T10" fmla="*/ 12 w 191"/>
                <a:gd name="T11" fmla="*/ 33 h 300"/>
                <a:gd name="T12" fmla="*/ 19 w 191"/>
                <a:gd name="T13" fmla="*/ 69 h 300"/>
                <a:gd name="T14" fmla="*/ 31 w 191"/>
                <a:gd name="T15" fmla="*/ 135 h 300"/>
                <a:gd name="T16" fmla="*/ 11 w 191"/>
                <a:gd name="T17" fmla="*/ 175 h 300"/>
                <a:gd name="T18" fmla="*/ 0 w 191"/>
                <a:gd name="T19" fmla="*/ 228 h 300"/>
                <a:gd name="T20" fmla="*/ 19 w 191"/>
                <a:gd name="T21" fmla="*/ 268 h 300"/>
                <a:gd name="T22" fmla="*/ 17 w 191"/>
                <a:gd name="T23" fmla="*/ 287 h 300"/>
                <a:gd name="T24" fmla="*/ 57 w 191"/>
                <a:gd name="T25" fmla="*/ 300 h 300"/>
                <a:gd name="T26" fmla="*/ 97 w 191"/>
                <a:gd name="T27" fmla="*/ 286 h 300"/>
                <a:gd name="T28" fmla="*/ 122 w 191"/>
                <a:gd name="T29" fmla="*/ 271 h 300"/>
                <a:gd name="T30" fmla="*/ 191 w 191"/>
                <a:gd name="T31" fmla="*/ 243 h 300"/>
                <a:gd name="T32" fmla="*/ 181 w 191"/>
                <a:gd name="T33" fmla="*/ 227 h 300"/>
                <a:gd name="T34" fmla="*/ 169 w 191"/>
                <a:gd name="T35" fmla="*/ 196 h 300"/>
                <a:gd name="T36" fmla="*/ 166 w 191"/>
                <a:gd name="T37" fmla="*/ 173 h 300"/>
                <a:gd name="T38" fmla="*/ 176 w 191"/>
                <a:gd name="T39" fmla="*/ 131 h 300"/>
                <a:gd name="T40" fmla="*/ 165 w 191"/>
                <a:gd name="T41" fmla="*/ 114 h 300"/>
                <a:gd name="T42" fmla="*/ 160 w 191"/>
                <a:gd name="T43" fmla="*/ 77 h 300"/>
                <a:gd name="T44" fmla="*/ 160 w 191"/>
                <a:gd name="T45" fmla="*/ 43 h 300"/>
                <a:gd name="T46" fmla="*/ 142 w 191"/>
                <a:gd name="T47" fmla="*/ 19 h 300"/>
                <a:gd name="T48" fmla="*/ 146 w 191"/>
                <a:gd name="T49" fmla="*/ 4 h 300"/>
                <a:gd name="T50" fmla="*/ 146 w 191"/>
                <a:gd name="T5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00">
                  <a:moveTo>
                    <a:pt x="146" y="4"/>
                  </a:moveTo>
                  <a:lnTo>
                    <a:pt x="125" y="0"/>
                  </a:lnTo>
                  <a:lnTo>
                    <a:pt x="111" y="8"/>
                  </a:lnTo>
                  <a:lnTo>
                    <a:pt x="91" y="4"/>
                  </a:lnTo>
                  <a:lnTo>
                    <a:pt x="14" y="6"/>
                  </a:lnTo>
                  <a:lnTo>
                    <a:pt x="12" y="33"/>
                  </a:lnTo>
                  <a:lnTo>
                    <a:pt x="19" y="69"/>
                  </a:lnTo>
                  <a:lnTo>
                    <a:pt x="31" y="135"/>
                  </a:lnTo>
                  <a:lnTo>
                    <a:pt x="11" y="175"/>
                  </a:lnTo>
                  <a:lnTo>
                    <a:pt x="0" y="228"/>
                  </a:lnTo>
                  <a:lnTo>
                    <a:pt x="19" y="268"/>
                  </a:lnTo>
                  <a:lnTo>
                    <a:pt x="17" y="287"/>
                  </a:lnTo>
                  <a:lnTo>
                    <a:pt x="57" y="300"/>
                  </a:lnTo>
                  <a:lnTo>
                    <a:pt x="97" y="286"/>
                  </a:lnTo>
                  <a:lnTo>
                    <a:pt x="122" y="271"/>
                  </a:lnTo>
                  <a:lnTo>
                    <a:pt x="191" y="243"/>
                  </a:lnTo>
                  <a:lnTo>
                    <a:pt x="181" y="227"/>
                  </a:lnTo>
                  <a:lnTo>
                    <a:pt x="169" y="196"/>
                  </a:lnTo>
                  <a:lnTo>
                    <a:pt x="166" y="173"/>
                  </a:lnTo>
                  <a:lnTo>
                    <a:pt x="176" y="131"/>
                  </a:lnTo>
                  <a:lnTo>
                    <a:pt x="165" y="114"/>
                  </a:lnTo>
                  <a:lnTo>
                    <a:pt x="160" y="77"/>
                  </a:lnTo>
                  <a:lnTo>
                    <a:pt x="160" y="43"/>
                  </a:lnTo>
                  <a:lnTo>
                    <a:pt x="142" y="19"/>
                  </a:lnTo>
                  <a:lnTo>
                    <a:pt x="146" y="4"/>
                  </a:lnTo>
                  <a:lnTo>
                    <a:pt x="146" y="4"/>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1" name="Guinea">
              <a:extLst>
                <a:ext uri="{FF2B5EF4-FFF2-40B4-BE49-F238E27FC236}">
                  <a16:creationId xmlns:a16="http://schemas.microsoft.com/office/drawing/2014/main" id="{EAA37CB6-35F8-ACBA-9F05-A3D17D9119BD}"/>
                </a:ext>
              </a:extLst>
            </p:cNvPr>
            <p:cNvSpPr>
              <a:spLocks/>
            </p:cNvSpPr>
            <p:nvPr/>
          </p:nvSpPr>
          <p:spPr bwMode="auto">
            <a:xfrm>
              <a:off x="5025329" y="2626650"/>
              <a:ext cx="512763" cy="392113"/>
            </a:xfrm>
            <a:custGeom>
              <a:avLst/>
              <a:gdLst>
                <a:gd name="T0" fmla="*/ 154 w 323"/>
                <a:gd name="T1" fmla="*/ 9 h 247"/>
                <a:gd name="T2" fmla="*/ 127 w 323"/>
                <a:gd name="T3" fmla="*/ 11 h 247"/>
                <a:gd name="T4" fmla="*/ 85 w 323"/>
                <a:gd name="T5" fmla="*/ 0 h 247"/>
                <a:gd name="T6" fmla="*/ 63 w 323"/>
                <a:gd name="T7" fmla="*/ 16 h 247"/>
                <a:gd name="T8" fmla="*/ 62 w 323"/>
                <a:gd name="T9" fmla="*/ 36 h 247"/>
                <a:gd name="T10" fmla="*/ 44 w 323"/>
                <a:gd name="T11" fmla="*/ 42 h 247"/>
                <a:gd name="T12" fmla="*/ 20 w 323"/>
                <a:gd name="T13" fmla="*/ 49 h 247"/>
                <a:gd name="T14" fmla="*/ 12 w 323"/>
                <a:gd name="T15" fmla="*/ 79 h 247"/>
                <a:gd name="T16" fmla="*/ 23 w 323"/>
                <a:gd name="T17" fmla="*/ 111 h 247"/>
                <a:gd name="T18" fmla="*/ 46 w 323"/>
                <a:gd name="T19" fmla="*/ 126 h 247"/>
                <a:gd name="T20" fmla="*/ 83 w 323"/>
                <a:gd name="T21" fmla="*/ 172 h 247"/>
                <a:gd name="T22" fmla="*/ 112 w 323"/>
                <a:gd name="T23" fmla="*/ 139 h 247"/>
                <a:gd name="T24" fmla="*/ 131 w 323"/>
                <a:gd name="T25" fmla="*/ 128 h 247"/>
                <a:gd name="T26" fmla="*/ 178 w 323"/>
                <a:gd name="T27" fmla="*/ 118 h 247"/>
                <a:gd name="T28" fmla="*/ 199 w 323"/>
                <a:gd name="T29" fmla="*/ 155 h 247"/>
                <a:gd name="T30" fmla="*/ 204 w 323"/>
                <a:gd name="T31" fmla="*/ 181 h 247"/>
                <a:gd name="T32" fmla="*/ 216 w 323"/>
                <a:gd name="T33" fmla="*/ 196 h 247"/>
                <a:gd name="T34" fmla="*/ 237 w 323"/>
                <a:gd name="T35" fmla="*/ 189 h 247"/>
                <a:gd name="T36" fmla="*/ 253 w 323"/>
                <a:gd name="T37" fmla="*/ 237 h 247"/>
                <a:gd name="T38" fmla="*/ 274 w 323"/>
                <a:gd name="T39" fmla="*/ 247 h 247"/>
                <a:gd name="T40" fmla="*/ 295 w 323"/>
                <a:gd name="T41" fmla="*/ 230 h 247"/>
                <a:gd name="T42" fmla="*/ 306 w 323"/>
                <a:gd name="T43" fmla="*/ 209 h 247"/>
                <a:gd name="T44" fmla="*/ 306 w 323"/>
                <a:gd name="T45" fmla="*/ 193 h 247"/>
                <a:gd name="T46" fmla="*/ 312 w 323"/>
                <a:gd name="T47" fmla="*/ 150 h 247"/>
                <a:gd name="T48" fmla="*/ 306 w 323"/>
                <a:gd name="T49" fmla="*/ 115 h 247"/>
                <a:gd name="T50" fmla="*/ 301 w 323"/>
                <a:gd name="T51" fmla="*/ 97 h 247"/>
                <a:gd name="T52" fmla="*/ 298 w 323"/>
                <a:gd name="T53" fmla="*/ 79 h 247"/>
                <a:gd name="T54" fmla="*/ 291 w 323"/>
                <a:gd name="T55" fmla="*/ 67 h 247"/>
                <a:gd name="T56" fmla="*/ 282 w 323"/>
                <a:gd name="T57" fmla="*/ 36 h 247"/>
                <a:gd name="T58" fmla="*/ 266 w 323"/>
                <a:gd name="T59" fmla="*/ 12 h 247"/>
                <a:gd name="T60" fmla="*/ 247 w 323"/>
                <a:gd name="T61" fmla="*/ 17 h 247"/>
                <a:gd name="T62" fmla="*/ 221 w 323"/>
                <a:gd name="T63" fmla="*/ 34 h 247"/>
                <a:gd name="T64" fmla="*/ 190 w 323"/>
                <a:gd name="T65" fmla="*/ 18 h 247"/>
                <a:gd name="T66" fmla="*/ 170 w 323"/>
                <a:gd name="T67" fmla="*/ 23 h 247"/>
                <a:gd name="T68" fmla="*/ 161 w 323"/>
                <a:gd name="T69"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47">
                  <a:moveTo>
                    <a:pt x="161" y="6"/>
                  </a:moveTo>
                  <a:lnTo>
                    <a:pt x="154" y="9"/>
                  </a:lnTo>
                  <a:lnTo>
                    <a:pt x="130" y="5"/>
                  </a:lnTo>
                  <a:lnTo>
                    <a:pt x="127" y="11"/>
                  </a:lnTo>
                  <a:lnTo>
                    <a:pt x="117" y="11"/>
                  </a:lnTo>
                  <a:lnTo>
                    <a:pt x="85" y="0"/>
                  </a:lnTo>
                  <a:lnTo>
                    <a:pt x="64" y="0"/>
                  </a:lnTo>
                  <a:lnTo>
                    <a:pt x="63" y="16"/>
                  </a:lnTo>
                  <a:lnTo>
                    <a:pt x="58" y="20"/>
                  </a:lnTo>
                  <a:lnTo>
                    <a:pt x="62" y="36"/>
                  </a:lnTo>
                  <a:lnTo>
                    <a:pt x="54" y="42"/>
                  </a:lnTo>
                  <a:lnTo>
                    <a:pt x="44" y="42"/>
                  </a:lnTo>
                  <a:lnTo>
                    <a:pt x="33" y="50"/>
                  </a:lnTo>
                  <a:lnTo>
                    <a:pt x="20" y="49"/>
                  </a:lnTo>
                  <a:lnTo>
                    <a:pt x="0" y="72"/>
                  </a:lnTo>
                  <a:lnTo>
                    <a:pt x="12" y="79"/>
                  </a:lnTo>
                  <a:lnTo>
                    <a:pt x="19" y="90"/>
                  </a:lnTo>
                  <a:lnTo>
                    <a:pt x="23" y="111"/>
                  </a:lnTo>
                  <a:lnTo>
                    <a:pt x="34" y="120"/>
                  </a:lnTo>
                  <a:lnTo>
                    <a:pt x="46" y="126"/>
                  </a:lnTo>
                  <a:lnTo>
                    <a:pt x="63" y="145"/>
                  </a:lnTo>
                  <a:lnTo>
                    <a:pt x="83" y="172"/>
                  </a:lnTo>
                  <a:lnTo>
                    <a:pt x="106" y="152"/>
                  </a:lnTo>
                  <a:lnTo>
                    <a:pt x="112" y="139"/>
                  </a:lnTo>
                  <a:lnTo>
                    <a:pt x="119" y="129"/>
                  </a:lnTo>
                  <a:lnTo>
                    <a:pt x="131" y="128"/>
                  </a:lnTo>
                  <a:lnTo>
                    <a:pt x="142" y="118"/>
                  </a:lnTo>
                  <a:lnTo>
                    <a:pt x="178" y="118"/>
                  </a:lnTo>
                  <a:lnTo>
                    <a:pt x="190" y="135"/>
                  </a:lnTo>
                  <a:lnTo>
                    <a:pt x="199" y="155"/>
                  </a:lnTo>
                  <a:lnTo>
                    <a:pt x="198" y="168"/>
                  </a:lnTo>
                  <a:lnTo>
                    <a:pt x="204" y="181"/>
                  </a:lnTo>
                  <a:lnTo>
                    <a:pt x="204" y="198"/>
                  </a:lnTo>
                  <a:lnTo>
                    <a:pt x="216" y="196"/>
                  </a:lnTo>
                  <a:lnTo>
                    <a:pt x="225" y="195"/>
                  </a:lnTo>
                  <a:lnTo>
                    <a:pt x="237" y="189"/>
                  </a:lnTo>
                  <a:lnTo>
                    <a:pt x="256" y="218"/>
                  </a:lnTo>
                  <a:lnTo>
                    <a:pt x="253" y="237"/>
                  </a:lnTo>
                  <a:lnTo>
                    <a:pt x="262" y="247"/>
                  </a:lnTo>
                  <a:lnTo>
                    <a:pt x="274" y="247"/>
                  </a:lnTo>
                  <a:lnTo>
                    <a:pt x="284" y="228"/>
                  </a:lnTo>
                  <a:lnTo>
                    <a:pt x="295" y="230"/>
                  </a:lnTo>
                  <a:lnTo>
                    <a:pt x="303" y="230"/>
                  </a:lnTo>
                  <a:lnTo>
                    <a:pt x="306" y="209"/>
                  </a:lnTo>
                  <a:lnTo>
                    <a:pt x="302" y="200"/>
                  </a:lnTo>
                  <a:lnTo>
                    <a:pt x="306" y="193"/>
                  </a:lnTo>
                  <a:lnTo>
                    <a:pt x="323" y="188"/>
                  </a:lnTo>
                  <a:lnTo>
                    <a:pt x="312" y="150"/>
                  </a:lnTo>
                  <a:lnTo>
                    <a:pt x="302" y="131"/>
                  </a:lnTo>
                  <a:lnTo>
                    <a:pt x="306" y="115"/>
                  </a:lnTo>
                  <a:lnTo>
                    <a:pt x="315" y="111"/>
                  </a:lnTo>
                  <a:lnTo>
                    <a:pt x="301" y="97"/>
                  </a:lnTo>
                  <a:lnTo>
                    <a:pt x="304" y="84"/>
                  </a:lnTo>
                  <a:lnTo>
                    <a:pt x="298" y="79"/>
                  </a:lnTo>
                  <a:lnTo>
                    <a:pt x="288" y="83"/>
                  </a:lnTo>
                  <a:lnTo>
                    <a:pt x="291" y="67"/>
                  </a:lnTo>
                  <a:lnTo>
                    <a:pt x="300" y="56"/>
                  </a:lnTo>
                  <a:lnTo>
                    <a:pt x="282" y="36"/>
                  </a:lnTo>
                  <a:lnTo>
                    <a:pt x="276" y="22"/>
                  </a:lnTo>
                  <a:lnTo>
                    <a:pt x="266" y="12"/>
                  </a:lnTo>
                  <a:lnTo>
                    <a:pt x="258" y="11"/>
                  </a:lnTo>
                  <a:lnTo>
                    <a:pt x="247" y="17"/>
                  </a:lnTo>
                  <a:lnTo>
                    <a:pt x="232" y="24"/>
                  </a:lnTo>
                  <a:lnTo>
                    <a:pt x="221" y="34"/>
                  </a:lnTo>
                  <a:lnTo>
                    <a:pt x="201" y="30"/>
                  </a:lnTo>
                  <a:lnTo>
                    <a:pt x="190" y="18"/>
                  </a:lnTo>
                  <a:lnTo>
                    <a:pt x="182" y="17"/>
                  </a:lnTo>
                  <a:lnTo>
                    <a:pt x="170" y="23"/>
                  </a:lnTo>
                  <a:lnTo>
                    <a:pt x="163" y="23"/>
                  </a:lnTo>
                  <a:lnTo>
                    <a:pt x="161" y="6"/>
                  </a:lnTo>
                  <a:lnTo>
                    <a:pt x="161" y="6"/>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2" name="Gambia">
              <a:extLst>
                <a:ext uri="{FF2B5EF4-FFF2-40B4-BE49-F238E27FC236}">
                  <a16:creationId xmlns:a16="http://schemas.microsoft.com/office/drawing/2014/main" id="{F9D0EF79-DE2F-3AA6-AAA9-0F0E0DBA9EAE}"/>
                </a:ext>
              </a:extLst>
            </p:cNvPr>
            <p:cNvSpPr>
              <a:spLocks/>
            </p:cNvSpPr>
            <p:nvPr/>
          </p:nvSpPr>
          <p:spPr bwMode="auto">
            <a:xfrm>
              <a:off x="4909407" y="2522706"/>
              <a:ext cx="209550" cy="55563"/>
            </a:xfrm>
            <a:custGeom>
              <a:avLst/>
              <a:gdLst>
                <a:gd name="T0" fmla="*/ 0 w 132"/>
                <a:gd name="T1" fmla="*/ 35 h 35"/>
                <a:gd name="T2" fmla="*/ 40 w 132"/>
                <a:gd name="T3" fmla="*/ 35 h 35"/>
                <a:gd name="T4" fmla="*/ 51 w 132"/>
                <a:gd name="T5" fmla="*/ 29 h 35"/>
                <a:gd name="T6" fmla="*/ 58 w 132"/>
                <a:gd name="T7" fmla="*/ 28 h 35"/>
                <a:gd name="T8" fmla="*/ 75 w 132"/>
                <a:gd name="T9" fmla="*/ 18 h 35"/>
                <a:gd name="T10" fmla="*/ 94 w 132"/>
                <a:gd name="T11" fmla="*/ 28 h 35"/>
                <a:gd name="T12" fmla="*/ 113 w 132"/>
                <a:gd name="T13" fmla="*/ 28 h 35"/>
                <a:gd name="T14" fmla="*/ 132 w 132"/>
                <a:gd name="T15" fmla="*/ 18 h 35"/>
                <a:gd name="T16" fmla="*/ 124 w 132"/>
                <a:gd name="T17" fmla="*/ 5 h 35"/>
                <a:gd name="T18" fmla="*/ 109 w 132"/>
                <a:gd name="T19" fmla="*/ 12 h 35"/>
                <a:gd name="T20" fmla="*/ 95 w 132"/>
                <a:gd name="T21" fmla="*/ 12 h 35"/>
                <a:gd name="T22" fmla="*/ 78 w 132"/>
                <a:gd name="T23" fmla="*/ 0 h 35"/>
                <a:gd name="T24" fmla="*/ 64 w 132"/>
                <a:gd name="T25" fmla="*/ 1 h 35"/>
                <a:gd name="T26" fmla="*/ 54 w 132"/>
                <a:gd name="T27" fmla="*/ 12 h 35"/>
                <a:gd name="T28" fmla="*/ 5 w 132"/>
                <a:gd name="T29" fmla="*/ 14 h 35"/>
                <a:gd name="T30" fmla="*/ 0 w 132"/>
                <a:gd name="T31" fmla="*/ 35 h 35"/>
                <a:gd name="T32" fmla="*/ 0 w 1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35">
                  <a:moveTo>
                    <a:pt x="0" y="35"/>
                  </a:moveTo>
                  <a:lnTo>
                    <a:pt x="40" y="35"/>
                  </a:lnTo>
                  <a:lnTo>
                    <a:pt x="51" y="29"/>
                  </a:lnTo>
                  <a:lnTo>
                    <a:pt x="58" y="28"/>
                  </a:lnTo>
                  <a:lnTo>
                    <a:pt x="75" y="18"/>
                  </a:lnTo>
                  <a:lnTo>
                    <a:pt x="94" y="28"/>
                  </a:lnTo>
                  <a:lnTo>
                    <a:pt x="113" y="28"/>
                  </a:lnTo>
                  <a:lnTo>
                    <a:pt x="132" y="18"/>
                  </a:lnTo>
                  <a:lnTo>
                    <a:pt x="124" y="5"/>
                  </a:lnTo>
                  <a:lnTo>
                    <a:pt x="109" y="12"/>
                  </a:lnTo>
                  <a:lnTo>
                    <a:pt x="95" y="12"/>
                  </a:lnTo>
                  <a:lnTo>
                    <a:pt x="78" y="0"/>
                  </a:lnTo>
                  <a:lnTo>
                    <a:pt x="64" y="1"/>
                  </a:lnTo>
                  <a:lnTo>
                    <a:pt x="54" y="12"/>
                  </a:lnTo>
                  <a:lnTo>
                    <a:pt x="5" y="14"/>
                  </a:lnTo>
                  <a:lnTo>
                    <a:pt x="0" y="35"/>
                  </a:lnTo>
                  <a:lnTo>
                    <a:pt x="0" y="35"/>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3" name="Guinea-Bissau">
              <a:extLst>
                <a:ext uri="{FF2B5EF4-FFF2-40B4-BE49-F238E27FC236}">
                  <a16:creationId xmlns:a16="http://schemas.microsoft.com/office/drawing/2014/main" id="{041425D1-DE28-2ADD-7CBF-FE493FE9B1F5}"/>
                </a:ext>
              </a:extLst>
            </p:cNvPr>
            <p:cNvSpPr>
              <a:spLocks/>
            </p:cNvSpPr>
            <p:nvPr/>
          </p:nvSpPr>
          <p:spPr bwMode="auto">
            <a:xfrm>
              <a:off x="4917379" y="2621887"/>
              <a:ext cx="209550" cy="119063"/>
            </a:xfrm>
            <a:custGeom>
              <a:avLst/>
              <a:gdLst>
                <a:gd name="T0" fmla="*/ 132 w 132"/>
                <a:gd name="T1" fmla="*/ 3 h 75"/>
                <a:gd name="T2" fmla="*/ 50 w 132"/>
                <a:gd name="T3" fmla="*/ 0 h 75"/>
                <a:gd name="T4" fmla="*/ 38 w 132"/>
                <a:gd name="T5" fmla="*/ 6 h 75"/>
                <a:gd name="T6" fmla="*/ 24 w 132"/>
                <a:gd name="T7" fmla="*/ 4 h 75"/>
                <a:gd name="T8" fmla="*/ 0 w 132"/>
                <a:gd name="T9" fmla="*/ 12 h 75"/>
                <a:gd name="T10" fmla="*/ 3 w 132"/>
                <a:gd name="T11" fmla="*/ 22 h 75"/>
                <a:gd name="T12" fmla="*/ 16 w 132"/>
                <a:gd name="T13" fmla="*/ 32 h 75"/>
                <a:gd name="T14" fmla="*/ 16 w 132"/>
                <a:gd name="T15" fmla="*/ 39 h 75"/>
                <a:gd name="T16" fmla="*/ 26 w 132"/>
                <a:gd name="T17" fmla="*/ 53 h 75"/>
                <a:gd name="T18" fmla="*/ 44 w 132"/>
                <a:gd name="T19" fmla="*/ 55 h 75"/>
                <a:gd name="T20" fmla="*/ 68 w 132"/>
                <a:gd name="T21" fmla="*/ 75 h 75"/>
                <a:gd name="T22" fmla="*/ 88 w 132"/>
                <a:gd name="T23" fmla="*/ 52 h 75"/>
                <a:gd name="T24" fmla="*/ 101 w 132"/>
                <a:gd name="T25" fmla="*/ 53 h 75"/>
                <a:gd name="T26" fmla="*/ 112 w 132"/>
                <a:gd name="T27" fmla="*/ 45 h 75"/>
                <a:gd name="T28" fmla="*/ 122 w 132"/>
                <a:gd name="T29" fmla="*/ 45 h 75"/>
                <a:gd name="T30" fmla="*/ 130 w 132"/>
                <a:gd name="T31" fmla="*/ 39 h 75"/>
                <a:gd name="T32" fmla="*/ 126 w 132"/>
                <a:gd name="T33" fmla="*/ 23 h 75"/>
                <a:gd name="T34" fmla="*/ 131 w 132"/>
                <a:gd name="T35" fmla="*/ 19 h 75"/>
                <a:gd name="T36" fmla="*/ 132 w 132"/>
                <a:gd name="T37" fmla="*/ 3 h 75"/>
                <a:gd name="T38" fmla="*/ 132 w 132"/>
                <a:gd name="T39"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75">
                  <a:moveTo>
                    <a:pt x="132" y="3"/>
                  </a:moveTo>
                  <a:lnTo>
                    <a:pt x="50" y="0"/>
                  </a:lnTo>
                  <a:lnTo>
                    <a:pt x="38" y="6"/>
                  </a:lnTo>
                  <a:lnTo>
                    <a:pt x="24" y="4"/>
                  </a:lnTo>
                  <a:lnTo>
                    <a:pt x="0" y="12"/>
                  </a:lnTo>
                  <a:lnTo>
                    <a:pt x="3" y="22"/>
                  </a:lnTo>
                  <a:lnTo>
                    <a:pt x="16" y="32"/>
                  </a:lnTo>
                  <a:lnTo>
                    <a:pt x="16" y="39"/>
                  </a:lnTo>
                  <a:lnTo>
                    <a:pt x="26" y="53"/>
                  </a:lnTo>
                  <a:lnTo>
                    <a:pt x="44" y="55"/>
                  </a:lnTo>
                  <a:lnTo>
                    <a:pt x="68" y="75"/>
                  </a:lnTo>
                  <a:lnTo>
                    <a:pt x="88" y="52"/>
                  </a:lnTo>
                  <a:lnTo>
                    <a:pt x="101" y="53"/>
                  </a:lnTo>
                  <a:lnTo>
                    <a:pt x="112" y="45"/>
                  </a:lnTo>
                  <a:lnTo>
                    <a:pt x="122" y="45"/>
                  </a:lnTo>
                  <a:lnTo>
                    <a:pt x="130" y="39"/>
                  </a:lnTo>
                  <a:lnTo>
                    <a:pt x="126" y="23"/>
                  </a:lnTo>
                  <a:lnTo>
                    <a:pt x="131" y="19"/>
                  </a:lnTo>
                  <a:lnTo>
                    <a:pt x="132" y="3"/>
                  </a:lnTo>
                  <a:lnTo>
                    <a:pt x="132" y="3"/>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4" name="Equatorial Guinea">
              <a:extLst>
                <a:ext uri="{FF2B5EF4-FFF2-40B4-BE49-F238E27FC236}">
                  <a16:creationId xmlns:a16="http://schemas.microsoft.com/office/drawing/2014/main" id="{D7235DAE-BE77-BDF8-7128-5469B2322F4D}"/>
                </a:ext>
              </a:extLst>
            </p:cNvPr>
            <p:cNvSpPr>
              <a:spLocks/>
            </p:cNvSpPr>
            <p:nvPr/>
          </p:nvSpPr>
          <p:spPr bwMode="auto">
            <a:xfrm>
              <a:off x="6750941" y="3393412"/>
              <a:ext cx="139700" cy="95250"/>
            </a:xfrm>
            <a:custGeom>
              <a:avLst/>
              <a:gdLst>
                <a:gd name="T0" fmla="*/ 88 w 88"/>
                <a:gd name="T1" fmla="*/ 1 h 60"/>
                <a:gd name="T2" fmla="*/ 15 w 88"/>
                <a:gd name="T3" fmla="*/ 0 h 60"/>
                <a:gd name="T4" fmla="*/ 0 w 88"/>
                <a:gd name="T5" fmla="*/ 53 h 60"/>
                <a:gd name="T6" fmla="*/ 8 w 88"/>
                <a:gd name="T7" fmla="*/ 60 h 60"/>
                <a:gd name="T8" fmla="*/ 23 w 88"/>
                <a:gd name="T9" fmla="*/ 57 h 60"/>
                <a:gd name="T10" fmla="*/ 88 w 88"/>
                <a:gd name="T11" fmla="*/ 58 h 60"/>
                <a:gd name="T12" fmla="*/ 88 w 88"/>
                <a:gd name="T13" fmla="*/ 1 h 60"/>
                <a:gd name="T14" fmla="*/ 88 w 88"/>
                <a:gd name="T15" fmla="*/ 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0">
                  <a:moveTo>
                    <a:pt x="88" y="1"/>
                  </a:moveTo>
                  <a:lnTo>
                    <a:pt x="15" y="0"/>
                  </a:lnTo>
                  <a:lnTo>
                    <a:pt x="0" y="53"/>
                  </a:lnTo>
                  <a:lnTo>
                    <a:pt x="8" y="60"/>
                  </a:lnTo>
                  <a:lnTo>
                    <a:pt x="23" y="57"/>
                  </a:lnTo>
                  <a:lnTo>
                    <a:pt x="88" y="58"/>
                  </a:lnTo>
                  <a:lnTo>
                    <a:pt x="88" y="1"/>
                  </a:lnTo>
                  <a:lnTo>
                    <a:pt x="88" y="1"/>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5" name="Kenya">
              <a:extLst>
                <a:ext uri="{FF2B5EF4-FFF2-40B4-BE49-F238E27FC236}">
                  <a16:creationId xmlns:a16="http://schemas.microsoft.com/office/drawing/2014/main" id="{3971134F-98EB-142C-2983-9931597083C9}"/>
                </a:ext>
              </a:extLst>
            </p:cNvPr>
            <p:cNvSpPr>
              <a:spLocks/>
            </p:cNvSpPr>
            <p:nvPr/>
          </p:nvSpPr>
          <p:spPr bwMode="auto">
            <a:xfrm>
              <a:off x="8494016" y="3153700"/>
              <a:ext cx="560388" cy="758825"/>
            </a:xfrm>
            <a:custGeom>
              <a:avLst/>
              <a:gdLst>
                <a:gd name="T0" fmla="*/ 353 w 353"/>
                <a:gd name="T1" fmla="*/ 74 h 478"/>
                <a:gd name="T2" fmla="*/ 322 w 353"/>
                <a:gd name="T3" fmla="*/ 74 h 478"/>
                <a:gd name="T4" fmla="*/ 305 w 353"/>
                <a:gd name="T5" fmla="*/ 59 h 478"/>
                <a:gd name="T6" fmla="*/ 264 w 353"/>
                <a:gd name="T7" fmla="*/ 78 h 478"/>
                <a:gd name="T8" fmla="*/ 251 w 353"/>
                <a:gd name="T9" fmla="*/ 98 h 478"/>
                <a:gd name="T10" fmla="*/ 221 w 353"/>
                <a:gd name="T11" fmla="*/ 95 h 478"/>
                <a:gd name="T12" fmla="*/ 212 w 353"/>
                <a:gd name="T13" fmla="*/ 89 h 478"/>
                <a:gd name="T14" fmla="*/ 201 w 353"/>
                <a:gd name="T15" fmla="*/ 90 h 478"/>
                <a:gd name="T16" fmla="*/ 187 w 353"/>
                <a:gd name="T17" fmla="*/ 89 h 478"/>
                <a:gd name="T18" fmla="*/ 130 w 353"/>
                <a:gd name="T19" fmla="*/ 50 h 478"/>
                <a:gd name="T20" fmla="*/ 99 w 353"/>
                <a:gd name="T21" fmla="*/ 50 h 478"/>
                <a:gd name="T22" fmla="*/ 83 w 353"/>
                <a:gd name="T23" fmla="*/ 34 h 478"/>
                <a:gd name="T24" fmla="*/ 83 w 353"/>
                <a:gd name="T25" fmla="*/ 8 h 478"/>
                <a:gd name="T26" fmla="*/ 59 w 353"/>
                <a:gd name="T27" fmla="*/ 0 h 478"/>
                <a:gd name="T28" fmla="*/ 30 w 353"/>
                <a:gd name="T29" fmla="*/ 31 h 478"/>
                <a:gd name="T30" fmla="*/ 3 w 353"/>
                <a:gd name="T31" fmla="*/ 59 h 478"/>
                <a:gd name="T32" fmla="*/ 25 w 353"/>
                <a:gd name="T33" fmla="*/ 91 h 478"/>
                <a:gd name="T34" fmla="*/ 30 w 353"/>
                <a:gd name="T35" fmla="*/ 115 h 478"/>
                <a:gd name="T36" fmla="*/ 50 w 353"/>
                <a:gd name="T37" fmla="*/ 169 h 478"/>
                <a:gd name="T38" fmla="*/ 34 w 353"/>
                <a:gd name="T39" fmla="*/ 203 h 478"/>
                <a:gd name="T40" fmla="*/ 13 w 353"/>
                <a:gd name="T41" fmla="*/ 235 h 478"/>
                <a:gd name="T42" fmla="*/ 0 w 353"/>
                <a:gd name="T43" fmla="*/ 253 h 478"/>
                <a:gd name="T44" fmla="*/ 0 w 353"/>
                <a:gd name="T45" fmla="*/ 256 h 478"/>
                <a:gd name="T46" fmla="*/ 10 w 353"/>
                <a:gd name="T47" fmla="*/ 274 h 478"/>
                <a:gd name="T48" fmla="*/ 7 w 353"/>
                <a:gd name="T49" fmla="*/ 309 h 478"/>
                <a:gd name="T50" fmla="*/ 168 w 353"/>
                <a:gd name="T51" fmla="*/ 404 h 478"/>
                <a:gd name="T52" fmla="*/ 171 w 353"/>
                <a:gd name="T53" fmla="*/ 432 h 478"/>
                <a:gd name="T54" fmla="*/ 234 w 353"/>
                <a:gd name="T55" fmla="*/ 478 h 478"/>
                <a:gd name="T56" fmla="*/ 252 w 353"/>
                <a:gd name="T57" fmla="*/ 463 h 478"/>
                <a:gd name="T58" fmla="*/ 261 w 353"/>
                <a:gd name="T59" fmla="*/ 432 h 478"/>
                <a:gd name="T60" fmla="*/ 276 w 353"/>
                <a:gd name="T61" fmla="*/ 413 h 478"/>
                <a:gd name="T62" fmla="*/ 283 w 353"/>
                <a:gd name="T63" fmla="*/ 380 h 478"/>
                <a:gd name="T64" fmla="*/ 300 w 353"/>
                <a:gd name="T65" fmla="*/ 376 h 478"/>
                <a:gd name="T66" fmla="*/ 311 w 353"/>
                <a:gd name="T67" fmla="*/ 356 h 478"/>
                <a:gd name="T68" fmla="*/ 342 w 353"/>
                <a:gd name="T69" fmla="*/ 337 h 478"/>
                <a:gd name="T70" fmla="*/ 316 w 353"/>
                <a:gd name="T71" fmla="*/ 299 h 478"/>
                <a:gd name="T72" fmla="*/ 315 w 353"/>
                <a:gd name="T73" fmla="*/ 128 h 478"/>
                <a:gd name="T74" fmla="*/ 353 w 353"/>
                <a:gd name="T75" fmla="*/ 74 h 478"/>
                <a:gd name="T76" fmla="*/ 353 w 353"/>
                <a:gd name="T77"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3" h="478">
                  <a:moveTo>
                    <a:pt x="353" y="74"/>
                  </a:moveTo>
                  <a:lnTo>
                    <a:pt x="322" y="74"/>
                  </a:lnTo>
                  <a:lnTo>
                    <a:pt x="305" y="59"/>
                  </a:lnTo>
                  <a:lnTo>
                    <a:pt x="264" y="78"/>
                  </a:lnTo>
                  <a:lnTo>
                    <a:pt x="251" y="98"/>
                  </a:lnTo>
                  <a:lnTo>
                    <a:pt x="221" y="95"/>
                  </a:lnTo>
                  <a:lnTo>
                    <a:pt x="212" y="89"/>
                  </a:lnTo>
                  <a:lnTo>
                    <a:pt x="201" y="90"/>
                  </a:lnTo>
                  <a:lnTo>
                    <a:pt x="187" y="89"/>
                  </a:lnTo>
                  <a:lnTo>
                    <a:pt x="130" y="50"/>
                  </a:lnTo>
                  <a:lnTo>
                    <a:pt x="99" y="50"/>
                  </a:lnTo>
                  <a:lnTo>
                    <a:pt x="83" y="34"/>
                  </a:lnTo>
                  <a:lnTo>
                    <a:pt x="83" y="8"/>
                  </a:lnTo>
                  <a:lnTo>
                    <a:pt x="59" y="0"/>
                  </a:lnTo>
                  <a:lnTo>
                    <a:pt x="30" y="31"/>
                  </a:lnTo>
                  <a:lnTo>
                    <a:pt x="3" y="59"/>
                  </a:lnTo>
                  <a:lnTo>
                    <a:pt x="25" y="91"/>
                  </a:lnTo>
                  <a:lnTo>
                    <a:pt x="30" y="115"/>
                  </a:lnTo>
                  <a:lnTo>
                    <a:pt x="50" y="169"/>
                  </a:lnTo>
                  <a:lnTo>
                    <a:pt x="34" y="203"/>
                  </a:lnTo>
                  <a:lnTo>
                    <a:pt x="13" y="235"/>
                  </a:lnTo>
                  <a:lnTo>
                    <a:pt x="0" y="253"/>
                  </a:lnTo>
                  <a:lnTo>
                    <a:pt x="0" y="256"/>
                  </a:lnTo>
                  <a:lnTo>
                    <a:pt x="10" y="274"/>
                  </a:lnTo>
                  <a:lnTo>
                    <a:pt x="7" y="309"/>
                  </a:lnTo>
                  <a:lnTo>
                    <a:pt x="168" y="404"/>
                  </a:lnTo>
                  <a:lnTo>
                    <a:pt x="171" y="432"/>
                  </a:lnTo>
                  <a:lnTo>
                    <a:pt x="234" y="478"/>
                  </a:lnTo>
                  <a:lnTo>
                    <a:pt x="252" y="463"/>
                  </a:lnTo>
                  <a:lnTo>
                    <a:pt x="261" y="432"/>
                  </a:lnTo>
                  <a:lnTo>
                    <a:pt x="276" y="413"/>
                  </a:lnTo>
                  <a:lnTo>
                    <a:pt x="283" y="380"/>
                  </a:lnTo>
                  <a:lnTo>
                    <a:pt x="300" y="376"/>
                  </a:lnTo>
                  <a:lnTo>
                    <a:pt x="311" y="356"/>
                  </a:lnTo>
                  <a:lnTo>
                    <a:pt x="342" y="337"/>
                  </a:lnTo>
                  <a:lnTo>
                    <a:pt x="316" y="299"/>
                  </a:lnTo>
                  <a:lnTo>
                    <a:pt x="315" y="128"/>
                  </a:lnTo>
                  <a:lnTo>
                    <a:pt x="353" y="74"/>
                  </a:lnTo>
                  <a:lnTo>
                    <a:pt x="353" y="74"/>
                  </a:lnTo>
                  <a:close/>
                </a:path>
              </a:pathLst>
            </a:custGeom>
            <a:solidFill>
              <a:srgbClr val="860C1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6" name="Liberia">
              <a:extLst>
                <a:ext uri="{FF2B5EF4-FFF2-40B4-BE49-F238E27FC236}">
                  <a16:creationId xmlns:a16="http://schemas.microsoft.com/office/drawing/2014/main" id="{1CE3E157-1682-404A-87C2-C03BFB7653A6}"/>
                </a:ext>
              </a:extLst>
            </p:cNvPr>
            <p:cNvSpPr>
              <a:spLocks/>
            </p:cNvSpPr>
            <p:nvPr/>
          </p:nvSpPr>
          <p:spPr bwMode="auto">
            <a:xfrm>
              <a:off x="5282504" y="2926687"/>
              <a:ext cx="274638" cy="312738"/>
            </a:xfrm>
            <a:custGeom>
              <a:avLst/>
              <a:gdLst>
                <a:gd name="T0" fmla="*/ 133 w 173"/>
                <a:gd name="T1" fmla="*/ 41 h 197"/>
                <a:gd name="T2" fmla="*/ 122 w 173"/>
                <a:gd name="T3" fmla="*/ 39 h 197"/>
                <a:gd name="T4" fmla="*/ 112 w 173"/>
                <a:gd name="T5" fmla="*/ 58 h 197"/>
                <a:gd name="T6" fmla="*/ 100 w 173"/>
                <a:gd name="T7" fmla="*/ 58 h 197"/>
                <a:gd name="T8" fmla="*/ 91 w 173"/>
                <a:gd name="T9" fmla="*/ 48 h 197"/>
                <a:gd name="T10" fmla="*/ 94 w 173"/>
                <a:gd name="T11" fmla="*/ 29 h 197"/>
                <a:gd name="T12" fmla="*/ 75 w 173"/>
                <a:gd name="T13" fmla="*/ 0 h 197"/>
                <a:gd name="T14" fmla="*/ 63 w 173"/>
                <a:gd name="T15" fmla="*/ 6 h 197"/>
                <a:gd name="T16" fmla="*/ 54 w 173"/>
                <a:gd name="T17" fmla="*/ 7 h 197"/>
                <a:gd name="T18" fmla="*/ 33 w 173"/>
                <a:gd name="T19" fmla="*/ 29 h 197"/>
                <a:gd name="T20" fmla="*/ 13 w 173"/>
                <a:gd name="T21" fmla="*/ 54 h 197"/>
                <a:gd name="T22" fmla="*/ 10 w 173"/>
                <a:gd name="T23" fmla="*/ 68 h 197"/>
                <a:gd name="T24" fmla="*/ 0 w 173"/>
                <a:gd name="T25" fmla="*/ 83 h 197"/>
                <a:gd name="T26" fmla="*/ 29 w 173"/>
                <a:gd name="T27" fmla="*/ 113 h 197"/>
                <a:gd name="T28" fmla="*/ 68 w 173"/>
                <a:gd name="T29" fmla="*/ 139 h 197"/>
                <a:gd name="T30" fmla="*/ 108 w 173"/>
                <a:gd name="T31" fmla="*/ 175 h 197"/>
                <a:gd name="T32" fmla="*/ 154 w 173"/>
                <a:gd name="T33" fmla="*/ 197 h 197"/>
                <a:gd name="T34" fmla="*/ 165 w 173"/>
                <a:gd name="T35" fmla="*/ 197 h 197"/>
                <a:gd name="T36" fmla="*/ 169 w 173"/>
                <a:gd name="T37" fmla="*/ 158 h 197"/>
                <a:gd name="T38" fmla="*/ 173 w 173"/>
                <a:gd name="T39" fmla="*/ 152 h 197"/>
                <a:gd name="T40" fmla="*/ 172 w 173"/>
                <a:gd name="T41" fmla="*/ 133 h 197"/>
                <a:gd name="T42" fmla="*/ 153 w 173"/>
                <a:gd name="T43" fmla="*/ 114 h 197"/>
                <a:gd name="T44" fmla="*/ 139 w 173"/>
                <a:gd name="T45" fmla="*/ 110 h 197"/>
                <a:gd name="T46" fmla="*/ 126 w 173"/>
                <a:gd name="T47" fmla="*/ 98 h 197"/>
                <a:gd name="T48" fmla="*/ 136 w 173"/>
                <a:gd name="T49" fmla="*/ 77 h 197"/>
                <a:gd name="T50" fmla="*/ 132 w 173"/>
                <a:gd name="T51" fmla="*/ 54 h 197"/>
                <a:gd name="T52" fmla="*/ 133 w 173"/>
                <a:gd name="T53" fmla="*/ 41 h 197"/>
                <a:gd name="T54" fmla="*/ 133 w 173"/>
                <a:gd name="T55" fmla="*/ 4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97">
                  <a:moveTo>
                    <a:pt x="133" y="41"/>
                  </a:moveTo>
                  <a:lnTo>
                    <a:pt x="122" y="39"/>
                  </a:lnTo>
                  <a:lnTo>
                    <a:pt x="112" y="58"/>
                  </a:lnTo>
                  <a:lnTo>
                    <a:pt x="100" y="58"/>
                  </a:lnTo>
                  <a:lnTo>
                    <a:pt x="91" y="48"/>
                  </a:lnTo>
                  <a:lnTo>
                    <a:pt x="94" y="29"/>
                  </a:lnTo>
                  <a:lnTo>
                    <a:pt x="75" y="0"/>
                  </a:lnTo>
                  <a:lnTo>
                    <a:pt x="63" y="6"/>
                  </a:lnTo>
                  <a:lnTo>
                    <a:pt x="54" y="7"/>
                  </a:lnTo>
                  <a:lnTo>
                    <a:pt x="33" y="29"/>
                  </a:lnTo>
                  <a:lnTo>
                    <a:pt x="13" y="54"/>
                  </a:lnTo>
                  <a:lnTo>
                    <a:pt x="10" y="68"/>
                  </a:lnTo>
                  <a:lnTo>
                    <a:pt x="0" y="83"/>
                  </a:lnTo>
                  <a:lnTo>
                    <a:pt x="29" y="113"/>
                  </a:lnTo>
                  <a:lnTo>
                    <a:pt x="68" y="139"/>
                  </a:lnTo>
                  <a:lnTo>
                    <a:pt x="108" y="175"/>
                  </a:lnTo>
                  <a:lnTo>
                    <a:pt x="154" y="197"/>
                  </a:lnTo>
                  <a:lnTo>
                    <a:pt x="165" y="197"/>
                  </a:lnTo>
                  <a:lnTo>
                    <a:pt x="169" y="158"/>
                  </a:lnTo>
                  <a:lnTo>
                    <a:pt x="173" y="152"/>
                  </a:lnTo>
                  <a:lnTo>
                    <a:pt x="172" y="133"/>
                  </a:lnTo>
                  <a:lnTo>
                    <a:pt x="153" y="114"/>
                  </a:lnTo>
                  <a:lnTo>
                    <a:pt x="139" y="110"/>
                  </a:lnTo>
                  <a:lnTo>
                    <a:pt x="126" y="98"/>
                  </a:lnTo>
                  <a:lnTo>
                    <a:pt x="136" y="77"/>
                  </a:lnTo>
                  <a:lnTo>
                    <a:pt x="132" y="54"/>
                  </a:lnTo>
                  <a:lnTo>
                    <a:pt x="133" y="41"/>
                  </a:lnTo>
                  <a:lnTo>
                    <a:pt x="133" y="41"/>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7" name="Libya">
              <a:extLst>
                <a:ext uri="{FF2B5EF4-FFF2-40B4-BE49-F238E27FC236}">
                  <a16:creationId xmlns:a16="http://schemas.microsoft.com/office/drawing/2014/main" id="{74844C3D-439C-7DBA-6E8F-55D0F6F9A209}"/>
                </a:ext>
              </a:extLst>
            </p:cNvPr>
            <p:cNvSpPr>
              <a:spLocks/>
            </p:cNvSpPr>
            <p:nvPr/>
          </p:nvSpPr>
          <p:spPr bwMode="auto">
            <a:xfrm>
              <a:off x="6731891" y="1093125"/>
              <a:ext cx="1100138" cy="1011238"/>
            </a:xfrm>
            <a:custGeom>
              <a:avLst/>
              <a:gdLst>
                <a:gd name="T0" fmla="*/ 669 w 693"/>
                <a:gd name="T1" fmla="*/ 73 h 637"/>
                <a:gd name="T2" fmla="*/ 658 w 693"/>
                <a:gd name="T3" fmla="*/ 58 h 637"/>
                <a:gd name="T4" fmla="*/ 615 w 693"/>
                <a:gd name="T5" fmla="*/ 53 h 637"/>
                <a:gd name="T6" fmla="*/ 600 w 693"/>
                <a:gd name="T7" fmla="*/ 44 h 637"/>
                <a:gd name="T8" fmla="*/ 585 w 693"/>
                <a:gd name="T9" fmla="*/ 44 h 637"/>
                <a:gd name="T10" fmla="*/ 568 w 693"/>
                <a:gd name="T11" fmla="*/ 24 h 637"/>
                <a:gd name="T12" fmla="*/ 511 w 693"/>
                <a:gd name="T13" fmla="*/ 14 h 637"/>
                <a:gd name="T14" fmla="*/ 482 w 693"/>
                <a:gd name="T15" fmla="*/ 21 h 637"/>
                <a:gd name="T16" fmla="*/ 452 w 693"/>
                <a:gd name="T17" fmla="*/ 43 h 637"/>
                <a:gd name="T18" fmla="*/ 441 w 693"/>
                <a:gd name="T19" fmla="*/ 65 h 637"/>
                <a:gd name="T20" fmla="*/ 453 w 693"/>
                <a:gd name="T21" fmla="*/ 101 h 637"/>
                <a:gd name="T22" fmla="*/ 434 w 693"/>
                <a:gd name="T23" fmla="*/ 123 h 637"/>
                <a:gd name="T24" fmla="*/ 414 w 693"/>
                <a:gd name="T25" fmla="*/ 134 h 637"/>
                <a:gd name="T26" fmla="*/ 367 w 693"/>
                <a:gd name="T27" fmla="*/ 111 h 637"/>
                <a:gd name="T28" fmla="*/ 305 w 693"/>
                <a:gd name="T29" fmla="*/ 92 h 637"/>
                <a:gd name="T30" fmla="*/ 267 w 693"/>
                <a:gd name="T31" fmla="*/ 83 h 637"/>
                <a:gd name="T32" fmla="*/ 244 w 693"/>
                <a:gd name="T33" fmla="*/ 41 h 637"/>
                <a:gd name="T34" fmla="*/ 188 w 693"/>
                <a:gd name="T35" fmla="*/ 21 h 637"/>
                <a:gd name="T36" fmla="*/ 151 w 693"/>
                <a:gd name="T37" fmla="*/ 12 h 637"/>
                <a:gd name="T38" fmla="*/ 134 w 693"/>
                <a:gd name="T39" fmla="*/ 16 h 637"/>
                <a:gd name="T40" fmla="*/ 84 w 693"/>
                <a:gd name="T41" fmla="*/ 0 h 637"/>
                <a:gd name="T42" fmla="*/ 83 w 693"/>
                <a:gd name="T43" fmla="*/ 36 h 637"/>
                <a:gd name="T44" fmla="*/ 62 w 693"/>
                <a:gd name="T45" fmla="*/ 50 h 637"/>
                <a:gd name="T46" fmla="*/ 50 w 693"/>
                <a:gd name="T47" fmla="*/ 65 h 637"/>
                <a:gd name="T48" fmla="*/ 20 w 693"/>
                <a:gd name="T49" fmla="*/ 83 h 637"/>
                <a:gd name="T50" fmla="*/ 26 w 693"/>
                <a:gd name="T51" fmla="*/ 102 h 637"/>
                <a:gd name="T52" fmla="*/ 23 w 693"/>
                <a:gd name="T53" fmla="*/ 122 h 637"/>
                <a:gd name="T54" fmla="*/ 2 w 693"/>
                <a:gd name="T55" fmla="*/ 133 h 637"/>
                <a:gd name="T56" fmla="*/ 18 w 693"/>
                <a:gd name="T57" fmla="*/ 174 h 637"/>
                <a:gd name="T58" fmla="*/ 20 w 693"/>
                <a:gd name="T59" fmla="*/ 196 h 637"/>
                <a:gd name="T60" fmla="*/ 14 w 693"/>
                <a:gd name="T61" fmla="*/ 235 h 637"/>
                <a:gd name="T62" fmla="*/ 18 w 693"/>
                <a:gd name="T63" fmla="*/ 256 h 637"/>
                <a:gd name="T64" fmla="*/ 12 w 693"/>
                <a:gd name="T65" fmla="*/ 281 h 637"/>
                <a:gd name="T66" fmla="*/ 17 w 693"/>
                <a:gd name="T67" fmla="*/ 311 h 637"/>
                <a:gd name="T68" fmla="*/ 0 w 693"/>
                <a:gd name="T69" fmla="*/ 331 h 637"/>
                <a:gd name="T70" fmla="*/ 27 w 693"/>
                <a:gd name="T71" fmla="*/ 365 h 637"/>
                <a:gd name="T72" fmla="*/ 29 w 693"/>
                <a:gd name="T73" fmla="*/ 385 h 637"/>
                <a:gd name="T74" fmla="*/ 44 w 693"/>
                <a:gd name="T75" fmla="*/ 411 h 637"/>
                <a:gd name="T76" fmla="*/ 64 w 693"/>
                <a:gd name="T77" fmla="*/ 403 h 637"/>
                <a:gd name="T78" fmla="*/ 100 w 693"/>
                <a:gd name="T79" fmla="*/ 425 h 637"/>
                <a:gd name="T80" fmla="*/ 119 w 693"/>
                <a:gd name="T81" fmla="*/ 454 h 637"/>
                <a:gd name="T82" fmla="*/ 189 w 693"/>
                <a:gd name="T83" fmla="*/ 474 h 637"/>
                <a:gd name="T84" fmla="*/ 214 w 693"/>
                <a:gd name="T85" fmla="*/ 499 h 637"/>
                <a:gd name="T86" fmla="*/ 244 w 693"/>
                <a:gd name="T87" fmla="*/ 482 h 637"/>
                <a:gd name="T88" fmla="*/ 288 w 693"/>
                <a:gd name="T89" fmla="*/ 457 h 637"/>
                <a:gd name="T90" fmla="*/ 464 w 693"/>
                <a:gd name="T91" fmla="*/ 547 h 637"/>
                <a:gd name="T92" fmla="*/ 642 w 693"/>
                <a:gd name="T93" fmla="*/ 637 h 637"/>
                <a:gd name="T94" fmla="*/ 642 w 693"/>
                <a:gd name="T95" fmla="*/ 617 h 637"/>
                <a:gd name="T96" fmla="*/ 693 w 693"/>
                <a:gd name="T97" fmla="*/ 617 h 637"/>
                <a:gd name="T98" fmla="*/ 689 w 693"/>
                <a:gd name="T99" fmla="*/ 523 h 637"/>
                <a:gd name="T100" fmla="*/ 681 w 693"/>
                <a:gd name="T101" fmla="*/ 350 h 637"/>
                <a:gd name="T102" fmla="*/ 670 w 693"/>
                <a:gd name="T103" fmla="*/ 183 h 637"/>
                <a:gd name="T104" fmla="*/ 655 w 693"/>
                <a:gd name="T105" fmla="*/ 145 h 637"/>
                <a:gd name="T106" fmla="*/ 663 w 693"/>
                <a:gd name="T107" fmla="*/ 116 h 637"/>
                <a:gd name="T108" fmla="*/ 655 w 693"/>
                <a:gd name="T109" fmla="*/ 96 h 637"/>
                <a:gd name="T110" fmla="*/ 669 w 693"/>
                <a:gd name="T111" fmla="*/ 73 h 637"/>
                <a:gd name="T112" fmla="*/ 669 w 693"/>
                <a:gd name="T113" fmla="*/ 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 h="637">
                  <a:moveTo>
                    <a:pt x="669" y="73"/>
                  </a:moveTo>
                  <a:lnTo>
                    <a:pt x="658" y="58"/>
                  </a:lnTo>
                  <a:lnTo>
                    <a:pt x="615" y="53"/>
                  </a:lnTo>
                  <a:lnTo>
                    <a:pt x="600" y="44"/>
                  </a:lnTo>
                  <a:lnTo>
                    <a:pt x="585" y="44"/>
                  </a:lnTo>
                  <a:lnTo>
                    <a:pt x="568" y="24"/>
                  </a:lnTo>
                  <a:lnTo>
                    <a:pt x="511" y="14"/>
                  </a:lnTo>
                  <a:lnTo>
                    <a:pt x="482" y="21"/>
                  </a:lnTo>
                  <a:lnTo>
                    <a:pt x="452" y="43"/>
                  </a:lnTo>
                  <a:lnTo>
                    <a:pt x="441" y="65"/>
                  </a:lnTo>
                  <a:lnTo>
                    <a:pt x="453" y="101"/>
                  </a:lnTo>
                  <a:lnTo>
                    <a:pt x="434" y="123"/>
                  </a:lnTo>
                  <a:lnTo>
                    <a:pt x="414" y="134"/>
                  </a:lnTo>
                  <a:lnTo>
                    <a:pt x="367" y="111"/>
                  </a:lnTo>
                  <a:lnTo>
                    <a:pt x="305" y="92"/>
                  </a:lnTo>
                  <a:lnTo>
                    <a:pt x="267" y="83"/>
                  </a:lnTo>
                  <a:lnTo>
                    <a:pt x="244" y="41"/>
                  </a:lnTo>
                  <a:lnTo>
                    <a:pt x="188" y="21"/>
                  </a:lnTo>
                  <a:lnTo>
                    <a:pt x="151" y="12"/>
                  </a:lnTo>
                  <a:lnTo>
                    <a:pt x="134" y="16"/>
                  </a:lnTo>
                  <a:lnTo>
                    <a:pt x="84" y="0"/>
                  </a:lnTo>
                  <a:lnTo>
                    <a:pt x="83" y="36"/>
                  </a:lnTo>
                  <a:lnTo>
                    <a:pt x="62" y="50"/>
                  </a:lnTo>
                  <a:lnTo>
                    <a:pt x="50" y="65"/>
                  </a:lnTo>
                  <a:lnTo>
                    <a:pt x="20" y="83"/>
                  </a:lnTo>
                  <a:lnTo>
                    <a:pt x="26" y="102"/>
                  </a:lnTo>
                  <a:lnTo>
                    <a:pt x="23" y="122"/>
                  </a:lnTo>
                  <a:lnTo>
                    <a:pt x="2" y="133"/>
                  </a:lnTo>
                  <a:lnTo>
                    <a:pt x="18" y="174"/>
                  </a:lnTo>
                  <a:lnTo>
                    <a:pt x="20" y="196"/>
                  </a:lnTo>
                  <a:lnTo>
                    <a:pt x="14" y="235"/>
                  </a:lnTo>
                  <a:lnTo>
                    <a:pt x="18" y="256"/>
                  </a:lnTo>
                  <a:lnTo>
                    <a:pt x="12" y="281"/>
                  </a:lnTo>
                  <a:lnTo>
                    <a:pt x="17" y="311"/>
                  </a:lnTo>
                  <a:lnTo>
                    <a:pt x="0" y="331"/>
                  </a:lnTo>
                  <a:lnTo>
                    <a:pt x="27" y="365"/>
                  </a:lnTo>
                  <a:lnTo>
                    <a:pt x="29" y="385"/>
                  </a:lnTo>
                  <a:lnTo>
                    <a:pt x="44" y="411"/>
                  </a:lnTo>
                  <a:lnTo>
                    <a:pt x="64" y="403"/>
                  </a:lnTo>
                  <a:lnTo>
                    <a:pt x="100" y="425"/>
                  </a:lnTo>
                  <a:lnTo>
                    <a:pt x="119" y="454"/>
                  </a:lnTo>
                  <a:lnTo>
                    <a:pt x="189" y="474"/>
                  </a:lnTo>
                  <a:lnTo>
                    <a:pt x="214" y="499"/>
                  </a:lnTo>
                  <a:lnTo>
                    <a:pt x="244" y="482"/>
                  </a:lnTo>
                  <a:lnTo>
                    <a:pt x="288" y="457"/>
                  </a:lnTo>
                  <a:lnTo>
                    <a:pt x="464" y="547"/>
                  </a:lnTo>
                  <a:lnTo>
                    <a:pt x="642" y="637"/>
                  </a:lnTo>
                  <a:lnTo>
                    <a:pt x="642" y="617"/>
                  </a:lnTo>
                  <a:lnTo>
                    <a:pt x="693" y="617"/>
                  </a:lnTo>
                  <a:lnTo>
                    <a:pt x="689" y="523"/>
                  </a:lnTo>
                  <a:lnTo>
                    <a:pt x="681" y="350"/>
                  </a:lnTo>
                  <a:lnTo>
                    <a:pt x="670" y="183"/>
                  </a:lnTo>
                  <a:lnTo>
                    <a:pt x="655" y="145"/>
                  </a:lnTo>
                  <a:lnTo>
                    <a:pt x="663" y="116"/>
                  </a:lnTo>
                  <a:lnTo>
                    <a:pt x="655" y="96"/>
                  </a:lnTo>
                  <a:lnTo>
                    <a:pt x="669" y="73"/>
                  </a:lnTo>
                  <a:lnTo>
                    <a:pt x="669" y="73"/>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8" name="Lesotho">
              <a:extLst>
                <a:ext uri="{FF2B5EF4-FFF2-40B4-BE49-F238E27FC236}">
                  <a16:creationId xmlns:a16="http://schemas.microsoft.com/office/drawing/2014/main" id="{A557CF71-6B90-9069-D959-7526CA848FE7}"/>
                </a:ext>
              </a:extLst>
            </p:cNvPr>
            <p:cNvSpPr>
              <a:spLocks/>
            </p:cNvSpPr>
            <p:nvPr/>
          </p:nvSpPr>
          <p:spPr bwMode="auto">
            <a:xfrm>
              <a:off x="7928866" y="5701637"/>
              <a:ext cx="161925" cy="147638"/>
            </a:xfrm>
            <a:custGeom>
              <a:avLst/>
              <a:gdLst>
                <a:gd name="T0" fmla="*/ 45 w 102"/>
                <a:gd name="T1" fmla="*/ 89 h 93"/>
                <a:gd name="T2" fmla="*/ 54 w 102"/>
                <a:gd name="T3" fmla="*/ 74 h 93"/>
                <a:gd name="T4" fmla="*/ 78 w 102"/>
                <a:gd name="T5" fmla="*/ 66 h 93"/>
                <a:gd name="T6" fmla="*/ 87 w 102"/>
                <a:gd name="T7" fmla="*/ 51 h 93"/>
                <a:gd name="T8" fmla="*/ 102 w 102"/>
                <a:gd name="T9" fmla="*/ 28 h 93"/>
                <a:gd name="T10" fmla="*/ 88 w 102"/>
                <a:gd name="T11" fmla="*/ 14 h 93"/>
                <a:gd name="T12" fmla="*/ 71 w 102"/>
                <a:gd name="T13" fmla="*/ 0 h 93"/>
                <a:gd name="T14" fmla="*/ 50 w 102"/>
                <a:gd name="T15" fmla="*/ 9 h 93"/>
                <a:gd name="T16" fmla="*/ 25 w 102"/>
                <a:gd name="T17" fmla="*/ 28 h 93"/>
                <a:gd name="T18" fmla="*/ 0 w 102"/>
                <a:gd name="T19" fmla="*/ 57 h 93"/>
                <a:gd name="T20" fmla="*/ 29 w 102"/>
                <a:gd name="T21" fmla="*/ 93 h 93"/>
                <a:gd name="T22" fmla="*/ 45 w 102"/>
                <a:gd name="T23" fmla="*/ 89 h 93"/>
                <a:gd name="T24" fmla="*/ 45 w 102"/>
                <a:gd name="T25"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93">
                  <a:moveTo>
                    <a:pt x="45" y="89"/>
                  </a:moveTo>
                  <a:lnTo>
                    <a:pt x="54" y="74"/>
                  </a:lnTo>
                  <a:lnTo>
                    <a:pt x="78" y="66"/>
                  </a:lnTo>
                  <a:lnTo>
                    <a:pt x="87" y="51"/>
                  </a:lnTo>
                  <a:lnTo>
                    <a:pt x="102" y="28"/>
                  </a:lnTo>
                  <a:lnTo>
                    <a:pt x="88" y="14"/>
                  </a:lnTo>
                  <a:lnTo>
                    <a:pt x="71" y="0"/>
                  </a:lnTo>
                  <a:lnTo>
                    <a:pt x="50" y="9"/>
                  </a:lnTo>
                  <a:lnTo>
                    <a:pt x="25" y="28"/>
                  </a:lnTo>
                  <a:lnTo>
                    <a:pt x="0" y="57"/>
                  </a:lnTo>
                  <a:lnTo>
                    <a:pt x="29" y="93"/>
                  </a:lnTo>
                  <a:lnTo>
                    <a:pt x="45" y="89"/>
                  </a:lnTo>
                  <a:lnTo>
                    <a:pt x="45" y="89"/>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69" name="Morocco">
              <a:extLst>
                <a:ext uri="{FF2B5EF4-FFF2-40B4-BE49-F238E27FC236}">
                  <a16:creationId xmlns:a16="http://schemas.microsoft.com/office/drawing/2014/main" id="{992EE9CE-1687-3F57-7D8B-737F8322EA5E}"/>
                </a:ext>
              </a:extLst>
            </p:cNvPr>
            <p:cNvSpPr>
              <a:spLocks/>
            </p:cNvSpPr>
            <p:nvPr/>
          </p:nvSpPr>
          <p:spPr bwMode="auto">
            <a:xfrm>
              <a:off x="4909441" y="896275"/>
              <a:ext cx="1104900" cy="1069975"/>
            </a:xfrm>
            <a:custGeom>
              <a:avLst/>
              <a:gdLst>
                <a:gd name="T0" fmla="*/ 635 w 696"/>
                <a:gd name="T1" fmla="*/ 27 h 674"/>
                <a:gd name="T2" fmla="*/ 551 w 696"/>
                <a:gd name="T3" fmla="*/ 21 h 674"/>
                <a:gd name="T4" fmla="*/ 495 w 696"/>
                <a:gd name="T5" fmla="*/ 0 h 674"/>
                <a:gd name="T6" fmla="*/ 453 w 696"/>
                <a:gd name="T7" fmla="*/ 78 h 674"/>
                <a:gd name="T8" fmla="*/ 378 w 696"/>
                <a:gd name="T9" fmla="*/ 119 h 674"/>
                <a:gd name="T10" fmla="*/ 343 w 696"/>
                <a:gd name="T11" fmla="*/ 176 h 674"/>
                <a:gd name="T12" fmla="*/ 335 w 696"/>
                <a:gd name="T13" fmla="*/ 275 h 674"/>
                <a:gd name="T14" fmla="*/ 275 w 696"/>
                <a:gd name="T15" fmla="*/ 326 h 674"/>
                <a:gd name="T16" fmla="*/ 200 w 696"/>
                <a:gd name="T17" fmla="*/ 364 h 674"/>
                <a:gd name="T18" fmla="*/ 178 w 696"/>
                <a:gd name="T19" fmla="*/ 382 h 674"/>
                <a:gd name="T20" fmla="*/ 119 w 696"/>
                <a:gd name="T21" fmla="*/ 447 h 674"/>
                <a:gd name="T22" fmla="*/ 101 w 696"/>
                <a:gd name="T23" fmla="*/ 501 h 674"/>
                <a:gd name="T24" fmla="*/ 74 w 696"/>
                <a:gd name="T25" fmla="*/ 536 h 674"/>
                <a:gd name="T26" fmla="*/ 32 w 696"/>
                <a:gd name="T27" fmla="*/ 600 h 674"/>
                <a:gd name="T28" fmla="*/ 20 w 696"/>
                <a:gd name="T29" fmla="*/ 640 h 674"/>
                <a:gd name="T30" fmla="*/ 0 w 696"/>
                <a:gd name="T31" fmla="*/ 674 h 674"/>
                <a:gd name="T32" fmla="*/ 99 w 696"/>
                <a:gd name="T33" fmla="*/ 671 h 674"/>
                <a:gd name="T34" fmla="*/ 123 w 696"/>
                <a:gd name="T35" fmla="*/ 633 h 674"/>
                <a:gd name="T36" fmla="*/ 201 w 696"/>
                <a:gd name="T37" fmla="*/ 517 h 674"/>
                <a:gd name="T38" fmla="*/ 236 w 696"/>
                <a:gd name="T39" fmla="*/ 454 h 674"/>
                <a:gd name="T40" fmla="*/ 288 w 696"/>
                <a:gd name="T41" fmla="*/ 413 h 674"/>
                <a:gd name="T42" fmla="*/ 324 w 696"/>
                <a:gd name="T43" fmla="*/ 419 h 674"/>
                <a:gd name="T44" fmla="*/ 364 w 696"/>
                <a:gd name="T45" fmla="*/ 406 h 674"/>
                <a:gd name="T46" fmla="*/ 364 w 696"/>
                <a:gd name="T47" fmla="*/ 381 h 674"/>
                <a:gd name="T48" fmla="*/ 371 w 696"/>
                <a:gd name="T49" fmla="*/ 325 h 674"/>
                <a:gd name="T50" fmla="*/ 484 w 696"/>
                <a:gd name="T51" fmla="*/ 284 h 674"/>
                <a:gd name="T52" fmla="*/ 537 w 696"/>
                <a:gd name="T53" fmla="*/ 247 h 674"/>
                <a:gd name="T54" fmla="*/ 589 w 696"/>
                <a:gd name="T55" fmla="*/ 195 h 674"/>
                <a:gd name="T56" fmla="*/ 633 w 696"/>
                <a:gd name="T57" fmla="*/ 174 h 674"/>
                <a:gd name="T58" fmla="*/ 696 w 696"/>
                <a:gd name="T59" fmla="*/ 147 h 674"/>
                <a:gd name="T60" fmla="*/ 671 w 696"/>
                <a:gd name="T61" fmla="*/ 87 h 674"/>
                <a:gd name="T62" fmla="*/ 653 w 696"/>
                <a:gd name="T63" fmla="*/ 2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6" h="674">
                  <a:moveTo>
                    <a:pt x="653" y="28"/>
                  </a:moveTo>
                  <a:lnTo>
                    <a:pt x="635" y="27"/>
                  </a:lnTo>
                  <a:lnTo>
                    <a:pt x="591" y="17"/>
                  </a:lnTo>
                  <a:lnTo>
                    <a:pt x="551" y="21"/>
                  </a:lnTo>
                  <a:lnTo>
                    <a:pt x="526" y="0"/>
                  </a:lnTo>
                  <a:lnTo>
                    <a:pt x="495" y="0"/>
                  </a:lnTo>
                  <a:lnTo>
                    <a:pt x="482" y="29"/>
                  </a:lnTo>
                  <a:lnTo>
                    <a:pt x="453" y="78"/>
                  </a:lnTo>
                  <a:lnTo>
                    <a:pt x="421" y="98"/>
                  </a:lnTo>
                  <a:lnTo>
                    <a:pt x="378" y="119"/>
                  </a:lnTo>
                  <a:lnTo>
                    <a:pt x="349" y="151"/>
                  </a:lnTo>
                  <a:lnTo>
                    <a:pt x="343" y="176"/>
                  </a:lnTo>
                  <a:lnTo>
                    <a:pt x="326" y="216"/>
                  </a:lnTo>
                  <a:lnTo>
                    <a:pt x="335" y="275"/>
                  </a:lnTo>
                  <a:lnTo>
                    <a:pt x="297" y="314"/>
                  </a:lnTo>
                  <a:lnTo>
                    <a:pt x="275" y="326"/>
                  </a:lnTo>
                  <a:lnTo>
                    <a:pt x="241" y="358"/>
                  </a:lnTo>
                  <a:lnTo>
                    <a:pt x="200" y="364"/>
                  </a:lnTo>
                  <a:lnTo>
                    <a:pt x="178" y="382"/>
                  </a:lnTo>
                  <a:lnTo>
                    <a:pt x="178" y="382"/>
                  </a:lnTo>
                  <a:lnTo>
                    <a:pt x="148" y="430"/>
                  </a:lnTo>
                  <a:lnTo>
                    <a:pt x="119" y="447"/>
                  </a:lnTo>
                  <a:lnTo>
                    <a:pt x="103" y="476"/>
                  </a:lnTo>
                  <a:lnTo>
                    <a:pt x="101" y="501"/>
                  </a:lnTo>
                  <a:lnTo>
                    <a:pt x="88" y="528"/>
                  </a:lnTo>
                  <a:lnTo>
                    <a:pt x="74" y="536"/>
                  </a:lnTo>
                  <a:lnTo>
                    <a:pt x="48" y="566"/>
                  </a:lnTo>
                  <a:lnTo>
                    <a:pt x="32" y="600"/>
                  </a:lnTo>
                  <a:lnTo>
                    <a:pt x="35" y="615"/>
                  </a:lnTo>
                  <a:lnTo>
                    <a:pt x="20" y="640"/>
                  </a:lnTo>
                  <a:lnTo>
                    <a:pt x="2" y="652"/>
                  </a:lnTo>
                  <a:lnTo>
                    <a:pt x="0" y="674"/>
                  </a:lnTo>
                  <a:lnTo>
                    <a:pt x="0" y="674"/>
                  </a:lnTo>
                  <a:lnTo>
                    <a:pt x="99" y="671"/>
                  </a:lnTo>
                  <a:lnTo>
                    <a:pt x="105" y="654"/>
                  </a:lnTo>
                  <a:lnTo>
                    <a:pt x="123" y="633"/>
                  </a:lnTo>
                  <a:lnTo>
                    <a:pt x="139" y="567"/>
                  </a:lnTo>
                  <a:lnTo>
                    <a:pt x="201" y="517"/>
                  </a:lnTo>
                  <a:lnTo>
                    <a:pt x="223" y="458"/>
                  </a:lnTo>
                  <a:lnTo>
                    <a:pt x="236" y="454"/>
                  </a:lnTo>
                  <a:lnTo>
                    <a:pt x="252" y="417"/>
                  </a:lnTo>
                  <a:lnTo>
                    <a:pt x="288" y="413"/>
                  </a:lnTo>
                  <a:lnTo>
                    <a:pt x="304" y="419"/>
                  </a:lnTo>
                  <a:lnTo>
                    <a:pt x="324" y="419"/>
                  </a:lnTo>
                  <a:lnTo>
                    <a:pt x="337" y="408"/>
                  </a:lnTo>
                  <a:lnTo>
                    <a:pt x="364" y="406"/>
                  </a:lnTo>
                  <a:lnTo>
                    <a:pt x="364" y="381"/>
                  </a:lnTo>
                  <a:lnTo>
                    <a:pt x="364" y="381"/>
                  </a:lnTo>
                  <a:lnTo>
                    <a:pt x="370" y="381"/>
                  </a:lnTo>
                  <a:lnTo>
                    <a:pt x="371" y="325"/>
                  </a:lnTo>
                  <a:lnTo>
                    <a:pt x="442" y="291"/>
                  </a:lnTo>
                  <a:lnTo>
                    <a:pt x="484" y="284"/>
                  </a:lnTo>
                  <a:lnTo>
                    <a:pt x="519" y="271"/>
                  </a:lnTo>
                  <a:lnTo>
                    <a:pt x="537" y="247"/>
                  </a:lnTo>
                  <a:lnTo>
                    <a:pt x="587" y="230"/>
                  </a:lnTo>
                  <a:lnTo>
                    <a:pt x="589" y="195"/>
                  </a:lnTo>
                  <a:lnTo>
                    <a:pt x="613" y="190"/>
                  </a:lnTo>
                  <a:lnTo>
                    <a:pt x="633" y="174"/>
                  </a:lnTo>
                  <a:lnTo>
                    <a:pt x="689" y="165"/>
                  </a:lnTo>
                  <a:lnTo>
                    <a:pt x="696" y="147"/>
                  </a:lnTo>
                  <a:lnTo>
                    <a:pt x="685" y="137"/>
                  </a:lnTo>
                  <a:lnTo>
                    <a:pt x="671" y="87"/>
                  </a:lnTo>
                  <a:lnTo>
                    <a:pt x="669" y="59"/>
                  </a:lnTo>
                  <a:lnTo>
                    <a:pt x="653" y="28"/>
                  </a:lnTo>
                  <a:lnTo>
                    <a:pt x="653" y="2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0" name="Madagascar">
              <a:extLst>
                <a:ext uri="{FF2B5EF4-FFF2-40B4-BE49-F238E27FC236}">
                  <a16:creationId xmlns:a16="http://schemas.microsoft.com/office/drawing/2014/main" id="{1136A520-0E37-5807-6EB3-3FCEB9F6A5A6}"/>
                </a:ext>
              </a:extLst>
            </p:cNvPr>
            <p:cNvSpPr>
              <a:spLocks/>
            </p:cNvSpPr>
            <p:nvPr/>
          </p:nvSpPr>
          <p:spPr bwMode="auto">
            <a:xfrm>
              <a:off x="9090916" y="4463387"/>
              <a:ext cx="541338" cy="1009650"/>
            </a:xfrm>
            <a:custGeom>
              <a:avLst/>
              <a:gdLst>
                <a:gd name="T0" fmla="*/ 327 w 341"/>
                <a:gd name="T1" fmla="*/ 70 h 636"/>
                <a:gd name="T2" fmla="*/ 318 w 341"/>
                <a:gd name="T3" fmla="*/ 40 h 636"/>
                <a:gd name="T4" fmla="*/ 307 w 341"/>
                <a:gd name="T5" fmla="*/ 19 h 636"/>
                <a:gd name="T6" fmla="*/ 292 w 341"/>
                <a:gd name="T7" fmla="*/ 0 h 636"/>
                <a:gd name="T8" fmla="*/ 277 w 341"/>
                <a:gd name="T9" fmla="*/ 20 h 636"/>
                <a:gd name="T10" fmla="*/ 274 w 341"/>
                <a:gd name="T11" fmla="*/ 49 h 636"/>
                <a:gd name="T12" fmla="*/ 249 w 341"/>
                <a:gd name="T13" fmla="*/ 81 h 636"/>
                <a:gd name="T14" fmla="*/ 229 w 341"/>
                <a:gd name="T15" fmla="*/ 75 h 636"/>
                <a:gd name="T16" fmla="*/ 234 w 341"/>
                <a:gd name="T17" fmla="*/ 96 h 636"/>
                <a:gd name="T18" fmla="*/ 219 w 341"/>
                <a:gd name="T19" fmla="*/ 119 h 636"/>
                <a:gd name="T20" fmla="*/ 182 w 341"/>
                <a:gd name="T21" fmla="*/ 148 h 636"/>
                <a:gd name="T22" fmla="*/ 155 w 341"/>
                <a:gd name="T23" fmla="*/ 175 h 636"/>
                <a:gd name="T24" fmla="*/ 135 w 341"/>
                <a:gd name="T25" fmla="*/ 175 h 636"/>
                <a:gd name="T26" fmla="*/ 119 w 341"/>
                <a:gd name="T27" fmla="*/ 184 h 636"/>
                <a:gd name="T28" fmla="*/ 93 w 341"/>
                <a:gd name="T29" fmla="*/ 193 h 636"/>
                <a:gd name="T30" fmla="*/ 71 w 341"/>
                <a:gd name="T31" fmla="*/ 196 h 636"/>
                <a:gd name="T32" fmla="*/ 63 w 341"/>
                <a:gd name="T33" fmla="*/ 226 h 636"/>
                <a:gd name="T34" fmla="*/ 46 w 341"/>
                <a:gd name="T35" fmla="*/ 252 h 636"/>
                <a:gd name="T36" fmla="*/ 47 w 341"/>
                <a:gd name="T37" fmla="*/ 295 h 636"/>
                <a:gd name="T38" fmla="*/ 53 w 341"/>
                <a:gd name="T39" fmla="*/ 324 h 636"/>
                <a:gd name="T40" fmla="*/ 62 w 341"/>
                <a:gd name="T41" fmla="*/ 347 h 636"/>
                <a:gd name="T42" fmla="*/ 56 w 341"/>
                <a:gd name="T43" fmla="*/ 377 h 636"/>
                <a:gd name="T44" fmla="*/ 32 w 341"/>
                <a:gd name="T45" fmla="*/ 412 h 636"/>
                <a:gd name="T46" fmla="*/ 31 w 341"/>
                <a:gd name="T47" fmla="*/ 428 h 636"/>
                <a:gd name="T48" fmla="*/ 10 w 341"/>
                <a:gd name="T49" fmla="*/ 436 h 636"/>
                <a:gd name="T50" fmla="*/ 0 w 341"/>
                <a:gd name="T51" fmla="*/ 470 h 636"/>
                <a:gd name="T52" fmla="*/ 2 w 341"/>
                <a:gd name="T53" fmla="*/ 504 h 636"/>
                <a:gd name="T54" fmla="*/ 14 w 341"/>
                <a:gd name="T55" fmla="*/ 541 h 636"/>
                <a:gd name="T56" fmla="*/ 14 w 341"/>
                <a:gd name="T57" fmla="*/ 583 h 636"/>
                <a:gd name="T58" fmla="*/ 23 w 341"/>
                <a:gd name="T59" fmla="*/ 608 h 636"/>
                <a:gd name="T60" fmla="*/ 57 w 341"/>
                <a:gd name="T61" fmla="*/ 625 h 636"/>
                <a:gd name="T62" fmla="*/ 81 w 341"/>
                <a:gd name="T63" fmla="*/ 636 h 636"/>
                <a:gd name="T64" fmla="*/ 120 w 341"/>
                <a:gd name="T65" fmla="*/ 617 h 636"/>
                <a:gd name="T66" fmla="*/ 156 w 341"/>
                <a:gd name="T67" fmla="*/ 606 h 636"/>
                <a:gd name="T68" fmla="*/ 181 w 341"/>
                <a:gd name="T69" fmla="*/ 551 h 636"/>
                <a:gd name="T70" fmla="*/ 203 w 341"/>
                <a:gd name="T71" fmla="*/ 485 h 636"/>
                <a:gd name="T72" fmla="*/ 238 w 341"/>
                <a:gd name="T73" fmla="*/ 397 h 636"/>
                <a:gd name="T74" fmla="*/ 264 w 341"/>
                <a:gd name="T75" fmla="*/ 332 h 636"/>
                <a:gd name="T76" fmla="*/ 285 w 341"/>
                <a:gd name="T77" fmla="*/ 277 h 636"/>
                <a:gd name="T78" fmla="*/ 292 w 341"/>
                <a:gd name="T79" fmla="*/ 237 h 636"/>
                <a:gd name="T80" fmla="*/ 304 w 341"/>
                <a:gd name="T81" fmla="*/ 226 h 636"/>
                <a:gd name="T82" fmla="*/ 310 w 341"/>
                <a:gd name="T83" fmla="*/ 207 h 636"/>
                <a:gd name="T84" fmla="*/ 303 w 341"/>
                <a:gd name="T85" fmla="*/ 172 h 636"/>
                <a:gd name="T86" fmla="*/ 313 w 341"/>
                <a:gd name="T87" fmla="*/ 158 h 636"/>
                <a:gd name="T88" fmla="*/ 325 w 341"/>
                <a:gd name="T89" fmla="*/ 186 h 636"/>
                <a:gd name="T90" fmla="*/ 334 w 341"/>
                <a:gd name="T91" fmla="*/ 171 h 636"/>
                <a:gd name="T92" fmla="*/ 341 w 341"/>
                <a:gd name="T93" fmla="*/ 149 h 636"/>
                <a:gd name="T94" fmla="*/ 331 w 341"/>
                <a:gd name="T95" fmla="*/ 127 h 636"/>
                <a:gd name="T96" fmla="*/ 327 w 341"/>
                <a:gd name="T97" fmla="*/ 7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636">
                  <a:moveTo>
                    <a:pt x="327" y="70"/>
                  </a:moveTo>
                  <a:lnTo>
                    <a:pt x="318" y="40"/>
                  </a:lnTo>
                  <a:lnTo>
                    <a:pt x="307" y="19"/>
                  </a:lnTo>
                  <a:lnTo>
                    <a:pt x="292" y="0"/>
                  </a:lnTo>
                  <a:lnTo>
                    <a:pt x="277" y="20"/>
                  </a:lnTo>
                  <a:lnTo>
                    <a:pt x="274" y="49"/>
                  </a:lnTo>
                  <a:lnTo>
                    <a:pt x="249" y="81"/>
                  </a:lnTo>
                  <a:lnTo>
                    <a:pt x="229" y="75"/>
                  </a:lnTo>
                  <a:lnTo>
                    <a:pt x="234" y="96"/>
                  </a:lnTo>
                  <a:lnTo>
                    <a:pt x="219" y="119"/>
                  </a:lnTo>
                  <a:lnTo>
                    <a:pt x="182" y="148"/>
                  </a:lnTo>
                  <a:lnTo>
                    <a:pt x="155" y="175"/>
                  </a:lnTo>
                  <a:lnTo>
                    <a:pt x="135" y="175"/>
                  </a:lnTo>
                  <a:lnTo>
                    <a:pt x="119" y="184"/>
                  </a:lnTo>
                  <a:lnTo>
                    <a:pt x="93" y="193"/>
                  </a:lnTo>
                  <a:lnTo>
                    <a:pt x="71" y="196"/>
                  </a:lnTo>
                  <a:lnTo>
                    <a:pt x="63" y="226"/>
                  </a:lnTo>
                  <a:lnTo>
                    <a:pt x="46" y="252"/>
                  </a:lnTo>
                  <a:lnTo>
                    <a:pt x="47" y="295"/>
                  </a:lnTo>
                  <a:lnTo>
                    <a:pt x="53" y="324"/>
                  </a:lnTo>
                  <a:lnTo>
                    <a:pt x="62" y="347"/>
                  </a:lnTo>
                  <a:lnTo>
                    <a:pt x="56" y="377"/>
                  </a:lnTo>
                  <a:lnTo>
                    <a:pt x="32" y="412"/>
                  </a:lnTo>
                  <a:lnTo>
                    <a:pt x="31" y="428"/>
                  </a:lnTo>
                  <a:lnTo>
                    <a:pt x="10" y="436"/>
                  </a:lnTo>
                  <a:lnTo>
                    <a:pt x="0" y="470"/>
                  </a:lnTo>
                  <a:lnTo>
                    <a:pt x="2" y="504"/>
                  </a:lnTo>
                  <a:lnTo>
                    <a:pt x="14" y="541"/>
                  </a:lnTo>
                  <a:lnTo>
                    <a:pt x="14" y="583"/>
                  </a:lnTo>
                  <a:lnTo>
                    <a:pt x="23" y="608"/>
                  </a:lnTo>
                  <a:lnTo>
                    <a:pt x="57" y="625"/>
                  </a:lnTo>
                  <a:lnTo>
                    <a:pt x="81" y="636"/>
                  </a:lnTo>
                  <a:lnTo>
                    <a:pt x="120" y="617"/>
                  </a:lnTo>
                  <a:lnTo>
                    <a:pt x="156" y="606"/>
                  </a:lnTo>
                  <a:lnTo>
                    <a:pt x="181" y="551"/>
                  </a:lnTo>
                  <a:lnTo>
                    <a:pt x="203" y="485"/>
                  </a:lnTo>
                  <a:lnTo>
                    <a:pt x="238" y="397"/>
                  </a:lnTo>
                  <a:lnTo>
                    <a:pt x="264" y="332"/>
                  </a:lnTo>
                  <a:lnTo>
                    <a:pt x="285" y="277"/>
                  </a:lnTo>
                  <a:lnTo>
                    <a:pt x="292" y="237"/>
                  </a:lnTo>
                  <a:lnTo>
                    <a:pt x="304" y="226"/>
                  </a:lnTo>
                  <a:lnTo>
                    <a:pt x="310" y="207"/>
                  </a:lnTo>
                  <a:lnTo>
                    <a:pt x="303" y="172"/>
                  </a:lnTo>
                  <a:lnTo>
                    <a:pt x="313" y="158"/>
                  </a:lnTo>
                  <a:lnTo>
                    <a:pt x="325" y="186"/>
                  </a:lnTo>
                  <a:lnTo>
                    <a:pt x="334" y="171"/>
                  </a:lnTo>
                  <a:lnTo>
                    <a:pt x="341" y="149"/>
                  </a:lnTo>
                  <a:lnTo>
                    <a:pt x="331" y="127"/>
                  </a:lnTo>
                  <a:lnTo>
                    <a:pt x="327" y="7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1" name="Mali">
              <a:extLst>
                <a:ext uri="{FF2B5EF4-FFF2-40B4-BE49-F238E27FC236}">
                  <a16:creationId xmlns:a16="http://schemas.microsoft.com/office/drawing/2014/main" id="{025ABFA3-DFA8-B993-D88A-E0D43947FC94}"/>
                </a:ext>
              </a:extLst>
            </p:cNvPr>
            <p:cNvSpPr>
              <a:spLocks/>
            </p:cNvSpPr>
            <p:nvPr/>
          </p:nvSpPr>
          <p:spPr bwMode="auto">
            <a:xfrm>
              <a:off x="5236466" y="1701137"/>
              <a:ext cx="1154113" cy="1109663"/>
            </a:xfrm>
            <a:custGeom>
              <a:avLst/>
              <a:gdLst>
                <a:gd name="T0" fmla="*/ 677 w 727"/>
                <a:gd name="T1" fmla="*/ 278 h 699"/>
                <a:gd name="T2" fmla="*/ 657 w 727"/>
                <a:gd name="T3" fmla="*/ 240 h 699"/>
                <a:gd name="T4" fmla="*/ 618 w 727"/>
                <a:gd name="T5" fmla="*/ 206 h 699"/>
                <a:gd name="T6" fmla="*/ 324 w 727"/>
                <a:gd name="T7" fmla="*/ 0 h 699"/>
                <a:gd name="T8" fmla="*/ 277 w 727"/>
                <a:gd name="T9" fmla="*/ 204 h 699"/>
                <a:gd name="T10" fmla="*/ 304 w 727"/>
                <a:gd name="T11" fmla="*/ 413 h 699"/>
                <a:gd name="T12" fmla="*/ 117 w 727"/>
                <a:gd name="T13" fmla="*/ 446 h 699"/>
                <a:gd name="T14" fmla="*/ 93 w 727"/>
                <a:gd name="T15" fmla="*/ 454 h 699"/>
                <a:gd name="T16" fmla="*/ 37 w 727"/>
                <a:gd name="T17" fmla="*/ 449 h 699"/>
                <a:gd name="T18" fmla="*/ 15 w 727"/>
                <a:gd name="T19" fmla="*/ 478 h 699"/>
                <a:gd name="T20" fmla="*/ 2 w 727"/>
                <a:gd name="T21" fmla="*/ 516 h 699"/>
                <a:gd name="T22" fmla="*/ 26 w 727"/>
                <a:gd name="T23" fmla="*/ 556 h 699"/>
                <a:gd name="T24" fmla="*/ 28 w 727"/>
                <a:gd name="T25" fmla="*/ 589 h 699"/>
                <a:gd name="T26" fmla="*/ 37 w 727"/>
                <a:gd name="T27" fmla="*/ 606 h 699"/>
                <a:gd name="T28" fmla="*/ 57 w 727"/>
                <a:gd name="T29" fmla="*/ 601 h 699"/>
                <a:gd name="T30" fmla="*/ 88 w 727"/>
                <a:gd name="T31" fmla="*/ 617 h 699"/>
                <a:gd name="T32" fmla="*/ 114 w 727"/>
                <a:gd name="T33" fmla="*/ 600 h 699"/>
                <a:gd name="T34" fmla="*/ 133 w 727"/>
                <a:gd name="T35" fmla="*/ 595 h 699"/>
                <a:gd name="T36" fmla="*/ 149 w 727"/>
                <a:gd name="T37" fmla="*/ 619 h 699"/>
                <a:gd name="T38" fmla="*/ 158 w 727"/>
                <a:gd name="T39" fmla="*/ 650 h 699"/>
                <a:gd name="T40" fmla="*/ 165 w 727"/>
                <a:gd name="T41" fmla="*/ 662 h 699"/>
                <a:gd name="T42" fmla="*/ 168 w 727"/>
                <a:gd name="T43" fmla="*/ 680 h 699"/>
                <a:gd name="T44" fmla="*/ 187 w 727"/>
                <a:gd name="T45" fmla="*/ 690 h 699"/>
                <a:gd name="T46" fmla="*/ 234 w 727"/>
                <a:gd name="T47" fmla="*/ 697 h 699"/>
                <a:gd name="T48" fmla="*/ 250 w 727"/>
                <a:gd name="T49" fmla="*/ 684 h 699"/>
                <a:gd name="T50" fmla="*/ 269 w 727"/>
                <a:gd name="T51" fmla="*/ 699 h 699"/>
                <a:gd name="T52" fmla="*/ 299 w 727"/>
                <a:gd name="T53" fmla="*/ 686 h 699"/>
                <a:gd name="T54" fmla="*/ 308 w 727"/>
                <a:gd name="T55" fmla="*/ 639 h 699"/>
                <a:gd name="T56" fmla="*/ 342 w 727"/>
                <a:gd name="T57" fmla="*/ 584 h 699"/>
                <a:gd name="T58" fmla="*/ 361 w 727"/>
                <a:gd name="T59" fmla="*/ 541 h 699"/>
                <a:gd name="T60" fmla="*/ 401 w 727"/>
                <a:gd name="T61" fmla="*/ 538 h 699"/>
                <a:gd name="T62" fmla="*/ 441 w 727"/>
                <a:gd name="T63" fmla="*/ 504 h 699"/>
                <a:gd name="T64" fmla="*/ 491 w 727"/>
                <a:gd name="T65" fmla="*/ 470 h 699"/>
                <a:gd name="T66" fmla="*/ 527 w 727"/>
                <a:gd name="T67" fmla="*/ 472 h 699"/>
                <a:gd name="T68" fmla="*/ 583 w 727"/>
                <a:gd name="T69" fmla="*/ 470 h 699"/>
                <a:gd name="T70" fmla="*/ 660 w 727"/>
                <a:gd name="T71" fmla="*/ 449 h 699"/>
                <a:gd name="T72" fmla="*/ 702 w 727"/>
                <a:gd name="T73" fmla="*/ 414 h 699"/>
                <a:gd name="T74" fmla="*/ 726 w 727"/>
                <a:gd name="T75" fmla="*/ 274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7" h="699">
                  <a:moveTo>
                    <a:pt x="726" y="274"/>
                  </a:moveTo>
                  <a:lnTo>
                    <a:pt x="677" y="278"/>
                  </a:lnTo>
                  <a:lnTo>
                    <a:pt x="677" y="248"/>
                  </a:lnTo>
                  <a:lnTo>
                    <a:pt x="657" y="240"/>
                  </a:lnTo>
                  <a:lnTo>
                    <a:pt x="629" y="227"/>
                  </a:lnTo>
                  <a:lnTo>
                    <a:pt x="618" y="206"/>
                  </a:lnTo>
                  <a:lnTo>
                    <a:pt x="470" y="103"/>
                  </a:lnTo>
                  <a:lnTo>
                    <a:pt x="324" y="0"/>
                  </a:lnTo>
                  <a:lnTo>
                    <a:pt x="258" y="1"/>
                  </a:lnTo>
                  <a:lnTo>
                    <a:pt x="277" y="204"/>
                  </a:lnTo>
                  <a:lnTo>
                    <a:pt x="297" y="407"/>
                  </a:lnTo>
                  <a:lnTo>
                    <a:pt x="304" y="413"/>
                  </a:lnTo>
                  <a:lnTo>
                    <a:pt x="294" y="445"/>
                  </a:lnTo>
                  <a:lnTo>
                    <a:pt x="117" y="446"/>
                  </a:lnTo>
                  <a:lnTo>
                    <a:pt x="110" y="456"/>
                  </a:lnTo>
                  <a:lnTo>
                    <a:pt x="93" y="454"/>
                  </a:lnTo>
                  <a:lnTo>
                    <a:pt x="68" y="463"/>
                  </a:lnTo>
                  <a:lnTo>
                    <a:pt x="37" y="449"/>
                  </a:lnTo>
                  <a:lnTo>
                    <a:pt x="23" y="451"/>
                  </a:lnTo>
                  <a:lnTo>
                    <a:pt x="15" y="478"/>
                  </a:lnTo>
                  <a:lnTo>
                    <a:pt x="0" y="487"/>
                  </a:lnTo>
                  <a:lnTo>
                    <a:pt x="2" y="516"/>
                  </a:lnTo>
                  <a:lnTo>
                    <a:pt x="10" y="543"/>
                  </a:lnTo>
                  <a:lnTo>
                    <a:pt x="26" y="556"/>
                  </a:lnTo>
                  <a:lnTo>
                    <a:pt x="30" y="574"/>
                  </a:lnTo>
                  <a:lnTo>
                    <a:pt x="28" y="589"/>
                  </a:lnTo>
                  <a:lnTo>
                    <a:pt x="30" y="606"/>
                  </a:lnTo>
                  <a:lnTo>
                    <a:pt x="37" y="606"/>
                  </a:lnTo>
                  <a:lnTo>
                    <a:pt x="49" y="600"/>
                  </a:lnTo>
                  <a:lnTo>
                    <a:pt x="57" y="601"/>
                  </a:lnTo>
                  <a:lnTo>
                    <a:pt x="68" y="613"/>
                  </a:lnTo>
                  <a:lnTo>
                    <a:pt x="88" y="617"/>
                  </a:lnTo>
                  <a:lnTo>
                    <a:pt x="99" y="607"/>
                  </a:lnTo>
                  <a:lnTo>
                    <a:pt x="114" y="600"/>
                  </a:lnTo>
                  <a:lnTo>
                    <a:pt x="125" y="594"/>
                  </a:lnTo>
                  <a:lnTo>
                    <a:pt x="133" y="595"/>
                  </a:lnTo>
                  <a:lnTo>
                    <a:pt x="143" y="605"/>
                  </a:lnTo>
                  <a:lnTo>
                    <a:pt x="149" y="619"/>
                  </a:lnTo>
                  <a:lnTo>
                    <a:pt x="167" y="639"/>
                  </a:lnTo>
                  <a:lnTo>
                    <a:pt x="158" y="650"/>
                  </a:lnTo>
                  <a:lnTo>
                    <a:pt x="155" y="666"/>
                  </a:lnTo>
                  <a:lnTo>
                    <a:pt x="165" y="662"/>
                  </a:lnTo>
                  <a:lnTo>
                    <a:pt x="171" y="667"/>
                  </a:lnTo>
                  <a:lnTo>
                    <a:pt x="168" y="680"/>
                  </a:lnTo>
                  <a:lnTo>
                    <a:pt x="182" y="694"/>
                  </a:lnTo>
                  <a:lnTo>
                    <a:pt x="187" y="690"/>
                  </a:lnTo>
                  <a:lnTo>
                    <a:pt x="200" y="697"/>
                  </a:lnTo>
                  <a:lnTo>
                    <a:pt x="234" y="697"/>
                  </a:lnTo>
                  <a:lnTo>
                    <a:pt x="242" y="684"/>
                  </a:lnTo>
                  <a:lnTo>
                    <a:pt x="250" y="684"/>
                  </a:lnTo>
                  <a:lnTo>
                    <a:pt x="263" y="679"/>
                  </a:lnTo>
                  <a:lnTo>
                    <a:pt x="269" y="699"/>
                  </a:lnTo>
                  <a:lnTo>
                    <a:pt x="280" y="694"/>
                  </a:lnTo>
                  <a:lnTo>
                    <a:pt x="299" y="686"/>
                  </a:lnTo>
                  <a:lnTo>
                    <a:pt x="295" y="659"/>
                  </a:lnTo>
                  <a:lnTo>
                    <a:pt x="308" y="639"/>
                  </a:lnTo>
                  <a:lnTo>
                    <a:pt x="307" y="623"/>
                  </a:lnTo>
                  <a:lnTo>
                    <a:pt x="342" y="584"/>
                  </a:lnTo>
                  <a:lnTo>
                    <a:pt x="349" y="552"/>
                  </a:lnTo>
                  <a:lnTo>
                    <a:pt x="361" y="541"/>
                  </a:lnTo>
                  <a:lnTo>
                    <a:pt x="383" y="547"/>
                  </a:lnTo>
                  <a:lnTo>
                    <a:pt x="401" y="538"/>
                  </a:lnTo>
                  <a:lnTo>
                    <a:pt x="407" y="526"/>
                  </a:lnTo>
                  <a:lnTo>
                    <a:pt x="441" y="504"/>
                  </a:lnTo>
                  <a:lnTo>
                    <a:pt x="450" y="490"/>
                  </a:lnTo>
                  <a:lnTo>
                    <a:pt x="491" y="470"/>
                  </a:lnTo>
                  <a:lnTo>
                    <a:pt x="516" y="464"/>
                  </a:lnTo>
                  <a:lnTo>
                    <a:pt x="527" y="472"/>
                  </a:lnTo>
                  <a:lnTo>
                    <a:pt x="555" y="472"/>
                  </a:lnTo>
                  <a:lnTo>
                    <a:pt x="583" y="470"/>
                  </a:lnTo>
                  <a:lnTo>
                    <a:pt x="600" y="454"/>
                  </a:lnTo>
                  <a:lnTo>
                    <a:pt x="660" y="449"/>
                  </a:lnTo>
                  <a:lnTo>
                    <a:pt x="699" y="442"/>
                  </a:lnTo>
                  <a:lnTo>
                    <a:pt x="702" y="414"/>
                  </a:lnTo>
                  <a:lnTo>
                    <a:pt x="727" y="382"/>
                  </a:lnTo>
                  <a:lnTo>
                    <a:pt x="726" y="274"/>
                  </a:lnTo>
                  <a:lnTo>
                    <a:pt x="726" y="274"/>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2" name="Mozambique">
              <a:extLst>
                <a:ext uri="{FF2B5EF4-FFF2-40B4-BE49-F238E27FC236}">
                  <a16:creationId xmlns:a16="http://schemas.microsoft.com/office/drawing/2014/main" id="{08F978DD-1456-9EBB-54D8-88FA9CE70740}"/>
                </a:ext>
              </a:extLst>
            </p:cNvPr>
            <p:cNvSpPr>
              <a:spLocks/>
            </p:cNvSpPr>
            <p:nvPr/>
          </p:nvSpPr>
          <p:spPr bwMode="auto">
            <a:xfrm>
              <a:off x="8209854" y="4333212"/>
              <a:ext cx="742950" cy="1225550"/>
            </a:xfrm>
            <a:custGeom>
              <a:avLst/>
              <a:gdLst>
                <a:gd name="T0" fmla="*/ 457 w 468"/>
                <a:gd name="T1" fmla="*/ 0 h 772"/>
                <a:gd name="T2" fmla="*/ 457 w 468"/>
                <a:gd name="T3" fmla="*/ 0 h 772"/>
                <a:gd name="T4" fmla="*/ 371 w 468"/>
                <a:gd name="T5" fmla="*/ 46 h 772"/>
                <a:gd name="T6" fmla="*/ 328 w 468"/>
                <a:gd name="T7" fmla="*/ 60 h 772"/>
                <a:gd name="T8" fmla="*/ 285 w 468"/>
                <a:gd name="T9" fmla="*/ 66 h 772"/>
                <a:gd name="T10" fmla="*/ 216 w 468"/>
                <a:gd name="T11" fmla="*/ 55 h 772"/>
                <a:gd name="T12" fmla="*/ 208 w 468"/>
                <a:gd name="T13" fmla="*/ 153 h 772"/>
                <a:gd name="T14" fmla="*/ 226 w 468"/>
                <a:gd name="T15" fmla="*/ 168 h 772"/>
                <a:gd name="T16" fmla="*/ 245 w 468"/>
                <a:gd name="T17" fmla="*/ 263 h 772"/>
                <a:gd name="T18" fmla="*/ 210 w 468"/>
                <a:gd name="T19" fmla="*/ 305 h 772"/>
                <a:gd name="T20" fmla="*/ 181 w 468"/>
                <a:gd name="T21" fmla="*/ 243 h 772"/>
                <a:gd name="T22" fmla="*/ 189 w 468"/>
                <a:gd name="T23" fmla="*/ 202 h 772"/>
                <a:gd name="T24" fmla="*/ 160 w 468"/>
                <a:gd name="T25" fmla="*/ 195 h 772"/>
                <a:gd name="T26" fmla="*/ 0 w 468"/>
                <a:gd name="T27" fmla="*/ 211 h 772"/>
                <a:gd name="T28" fmla="*/ 5 w 468"/>
                <a:gd name="T29" fmla="*/ 262 h 772"/>
                <a:gd name="T30" fmla="*/ 61 w 468"/>
                <a:gd name="T31" fmla="*/ 271 h 772"/>
                <a:gd name="T32" fmla="*/ 91 w 468"/>
                <a:gd name="T33" fmla="*/ 285 h 772"/>
                <a:gd name="T34" fmla="*/ 110 w 468"/>
                <a:gd name="T35" fmla="*/ 360 h 772"/>
                <a:gd name="T36" fmla="*/ 97 w 468"/>
                <a:gd name="T37" fmla="*/ 428 h 772"/>
                <a:gd name="T38" fmla="*/ 97 w 468"/>
                <a:gd name="T39" fmla="*/ 470 h 772"/>
                <a:gd name="T40" fmla="*/ 77 w 468"/>
                <a:gd name="T41" fmla="*/ 508 h 772"/>
                <a:gd name="T42" fmla="*/ 45 w 468"/>
                <a:gd name="T43" fmla="*/ 627 h 772"/>
                <a:gd name="T44" fmla="*/ 43 w 468"/>
                <a:gd name="T45" fmla="*/ 713 h 772"/>
                <a:gd name="T46" fmla="*/ 50 w 468"/>
                <a:gd name="T47" fmla="*/ 751 h 772"/>
                <a:gd name="T48" fmla="*/ 86 w 468"/>
                <a:gd name="T49" fmla="*/ 772 h 772"/>
                <a:gd name="T50" fmla="*/ 80 w 468"/>
                <a:gd name="T51" fmla="*/ 744 h 772"/>
                <a:gd name="T52" fmla="*/ 99 w 468"/>
                <a:gd name="T53" fmla="*/ 707 h 772"/>
                <a:gd name="T54" fmla="*/ 189 w 468"/>
                <a:gd name="T55" fmla="*/ 666 h 772"/>
                <a:gd name="T56" fmla="*/ 216 w 468"/>
                <a:gd name="T57" fmla="*/ 629 h 772"/>
                <a:gd name="T58" fmla="*/ 216 w 468"/>
                <a:gd name="T59" fmla="*/ 600 h 772"/>
                <a:gd name="T60" fmla="*/ 211 w 468"/>
                <a:gd name="T61" fmla="*/ 555 h 772"/>
                <a:gd name="T62" fmla="*/ 205 w 468"/>
                <a:gd name="T63" fmla="*/ 515 h 772"/>
                <a:gd name="T64" fmla="*/ 192 w 468"/>
                <a:gd name="T65" fmla="*/ 445 h 772"/>
                <a:gd name="T66" fmla="*/ 243 w 468"/>
                <a:gd name="T67" fmla="*/ 401 h 772"/>
                <a:gd name="T68" fmla="*/ 312 w 468"/>
                <a:gd name="T69" fmla="*/ 341 h 772"/>
                <a:gd name="T70" fmla="*/ 405 w 468"/>
                <a:gd name="T71" fmla="*/ 301 h 772"/>
                <a:gd name="T72" fmla="*/ 453 w 468"/>
                <a:gd name="T73" fmla="*/ 240 h 772"/>
                <a:gd name="T74" fmla="*/ 462 w 468"/>
                <a:gd name="T75" fmla="*/ 183 h 772"/>
                <a:gd name="T76" fmla="*/ 459 w 468"/>
                <a:gd name="T77" fmla="*/ 68 h 772"/>
                <a:gd name="T78" fmla="*/ 463 w 468"/>
                <a:gd name="T79" fmla="*/ 2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8" h="772">
                  <a:moveTo>
                    <a:pt x="463" y="21"/>
                  </a:moveTo>
                  <a:lnTo>
                    <a:pt x="457" y="0"/>
                  </a:lnTo>
                  <a:lnTo>
                    <a:pt x="457" y="0"/>
                  </a:lnTo>
                  <a:lnTo>
                    <a:pt x="457" y="0"/>
                  </a:lnTo>
                  <a:lnTo>
                    <a:pt x="420" y="27"/>
                  </a:lnTo>
                  <a:lnTo>
                    <a:pt x="371" y="46"/>
                  </a:lnTo>
                  <a:lnTo>
                    <a:pt x="344" y="45"/>
                  </a:lnTo>
                  <a:lnTo>
                    <a:pt x="328" y="60"/>
                  </a:lnTo>
                  <a:lnTo>
                    <a:pt x="298" y="60"/>
                  </a:lnTo>
                  <a:lnTo>
                    <a:pt x="285" y="66"/>
                  </a:lnTo>
                  <a:lnTo>
                    <a:pt x="233" y="53"/>
                  </a:lnTo>
                  <a:lnTo>
                    <a:pt x="216" y="55"/>
                  </a:lnTo>
                  <a:lnTo>
                    <a:pt x="204" y="100"/>
                  </a:lnTo>
                  <a:lnTo>
                    <a:pt x="208" y="153"/>
                  </a:lnTo>
                  <a:lnTo>
                    <a:pt x="211" y="153"/>
                  </a:lnTo>
                  <a:lnTo>
                    <a:pt x="226" y="168"/>
                  </a:lnTo>
                  <a:lnTo>
                    <a:pt x="243" y="202"/>
                  </a:lnTo>
                  <a:lnTo>
                    <a:pt x="245" y="263"/>
                  </a:lnTo>
                  <a:lnTo>
                    <a:pt x="225" y="273"/>
                  </a:lnTo>
                  <a:lnTo>
                    <a:pt x="210" y="305"/>
                  </a:lnTo>
                  <a:lnTo>
                    <a:pt x="183" y="276"/>
                  </a:lnTo>
                  <a:lnTo>
                    <a:pt x="181" y="243"/>
                  </a:lnTo>
                  <a:lnTo>
                    <a:pt x="191" y="221"/>
                  </a:lnTo>
                  <a:lnTo>
                    <a:pt x="189" y="202"/>
                  </a:lnTo>
                  <a:lnTo>
                    <a:pt x="172" y="190"/>
                  </a:lnTo>
                  <a:lnTo>
                    <a:pt x="160" y="195"/>
                  </a:lnTo>
                  <a:lnTo>
                    <a:pt x="135" y="172"/>
                  </a:lnTo>
                  <a:lnTo>
                    <a:pt x="0" y="211"/>
                  </a:lnTo>
                  <a:lnTo>
                    <a:pt x="3" y="245"/>
                  </a:lnTo>
                  <a:lnTo>
                    <a:pt x="5" y="262"/>
                  </a:lnTo>
                  <a:lnTo>
                    <a:pt x="41" y="261"/>
                  </a:lnTo>
                  <a:lnTo>
                    <a:pt x="61" y="271"/>
                  </a:lnTo>
                  <a:lnTo>
                    <a:pt x="70" y="282"/>
                  </a:lnTo>
                  <a:lnTo>
                    <a:pt x="91" y="285"/>
                  </a:lnTo>
                  <a:lnTo>
                    <a:pt x="113" y="301"/>
                  </a:lnTo>
                  <a:lnTo>
                    <a:pt x="110" y="360"/>
                  </a:lnTo>
                  <a:lnTo>
                    <a:pt x="100" y="392"/>
                  </a:lnTo>
                  <a:lnTo>
                    <a:pt x="97" y="428"/>
                  </a:lnTo>
                  <a:lnTo>
                    <a:pt x="103" y="442"/>
                  </a:lnTo>
                  <a:lnTo>
                    <a:pt x="97" y="470"/>
                  </a:lnTo>
                  <a:lnTo>
                    <a:pt x="89" y="474"/>
                  </a:lnTo>
                  <a:lnTo>
                    <a:pt x="77" y="508"/>
                  </a:lnTo>
                  <a:lnTo>
                    <a:pt x="27" y="561"/>
                  </a:lnTo>
                  <a:lnTo>
                    <a:pt x="45" y="627"/>
                  </a:lnTo>
                  <a:lnTo>
                    <a:pt x="54" y="661"/>
                  </a:lnTo>
                  <a:lnTo>
                    <a:pt x="43" y="713"/>
                  </a:lnTo>
                  <a:lnTo>
                    <a:pt x="46" y="730"/>
                  </a:lnTo>
                  <a:lnTo>
                    <a:pt x="50" y="751"/>
                  </a:lnTo>
                  <a:lnTo>
                    <a:pt x="53" y="772"/>
                  </a:lnTo>
                  <a:lnTo>
                    <a:pt x="86" y="772"/>
                  </a:lnTo>
                  <a:lnTo>
                    <a:pt x="91" y="747"/>
                  </a:lnTo>
                  <a:lnTo>
                    <a:pt x="80" y="744"/>
                  </a:lnTo>
                  <a:lnTo>
                    <a:pt x="79" y="724"/>
                  </a:lnTo>
                  <a:lnTo>
                    <a:pt x="99" y="707"/>
                  </a:lnTo>
                  <a:lnTo>
                    <a:pt x="153" y="681"/>
                  </a:lnTo>
                  <a:lnTo>
                    <a:pt x="189" y="666"/>
                  </a:lnTo>
                  <a:lnTo>
                    <a:pt x="208" y="649"/>
                  </a:lnTo>
                  <a:lnTo>
                    <a:pt x="216" y="629"/>
                  </a:lnTo>
                  <a:lnTo>
                    <a:pt x="206" y="622"/>
                  </a:lnTo>
                  <a:lnTo>
                    <a:pt x="216" y="600"/>
                  </a:lnTo>
                  <a:lnTo>
                    <a:pt x="219" y="554"/>
                  </a:lnTo>
                  <a:lnTo>
                    <a:pt x="211" y="555"/>
                  </a:lnTo>
                  <a:lnTo>
                    <a:pt x="212" y="542"/>
                  </a:lnTo>
                  <a:lnTo>
                    <a:pt x="205" y="515"/>
                  </a:lnTo>
                  <a:lnTo>
                    <a:pt x="185" y="479"/>
                  </a:lnTo>
                  <a:lnTo>
                    <a:pt x="192" y="445"/>
                  </a:lnTo>
                  <a:lnTo>
                    <a:pt x="210" y="434"/>
                  </a:lnTo>
                  <a:lnTo>
                    <a:pt x="243" y="401"/>
                  </a:lnTo>
                  <a:lnTo>
                    <a:pt x="259" y="392"/>
                  </a:lnTo>
                  <a:lnTo>
                    <a:pt x="312" y="341"/>
                  </a:lnTo>
                  <a:lnTo>
                    <a:pt x="363" y="319"/>
                  </a:lnTo>
                  <a:lnTo>
                    <a:pt x="405" y="301"/>
                  </a:lnTo>
                  <a:lnTo>
                    <a:pt x="435" y="272"/>
                  </a:lnTo>
                  <a:lnTo>
                    <a:pt x="453" y="240"/>
                  </a:lnTo>
                  <a:lnTo>
                    <a:pt x="468" y="206"/>
                  </a:lnTo>
                  <a:lnTo>
                    <a:pt x="462" y="183"/>
                  </a:lnTo>
                  <a:lnTo>
                    <a:pt x="463" y="110"/>
                  </a:lnTo>
                  <a:lnTo>
                    <a:pt x="459" y="68"/>
                  </a:lnTo>
                  <a:lnTo>
                    <a:pt x="463" y="21"/>
                  </a:lnTo>
                  <a:lnTo>
                    <a:pt x="463" y="21"/>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3" name="Mauritania">
              <a:extLst>
                <a:ext uri="{FF2B5EF4-FFF2-40B4-BE49-F238E27FC236}">
                  <a16:creationId xmlns:a16="http://schemas.microsoft.com/office/drawing/2014/main" id="{9E357ECC-7CF6-7C64-BEFA-134D4A2CD84A}"/>
                </a:ext>
              </a:extLst>
            </p:cNvPr>
            <p:cNvSpPr>
              <a:spLocks/>
            </p:cNvSpPr>
            <p:nvPr/>
          </p:nvSpPr>
          <p:spPr bwMode="auto">
            <a:xfrm>
              <a:off x="4906266" y="1520162"/>
              <a:ext cx="844550" cy="954088"/>
            </a:xfrm>
            <a:custGeom>
              <a:avLst/>
              <a:gdLst>
                <a:gd name="T0" fmla="*/ 532 w 532"/>
                <a:gd name="T1" fmla="*/ 114 h 601"/>
                <a:gd name="T2" fmla="*/ 371 w 532"/>
                <a:gd name="T3" fmla="*/ 0 h 601"/>
                <a:gd name="T4" fmla="*/ 370 w 532"/>
                <a:gd name="T5" fmla="*/ 72 h 601"/>
                <a:gd name="T6" fmla="*/ 227 w 532"/>
                <a:gd name="T7" fmla="*/ 69 h 601"/>
                <a:gd name="T8" fmla="*/ 226 w 532"/>
                <a:gd name="T9" fmla="*/ 190 h 601"/>
                <a:gd name="T10" fmla="*/ 185 w 532"/>
                <a:gd name="T11" fmla="*/ 194 h 601"/>
                <a:gd name="T12" fmla="*/ 174 w 532"/>
                <a:gd name="T13" fmla="*/ 218 h 601"/>
                <a:gd name="T14" fmla="*/ 181 w 532"/>
                <a:gd name="T15" fmla="*/ 286 h 601"/>
                <a:gd name="T16" fmla="*/ 10 w 532"/>
                <a:gd name="T17" fmla="*/ 286 h 601"/>
                <a:gd name="T18" fmla="*/ 0 w 532"/>
                <a:gd name="T19" fmla="*/ 301 h 601"/>
                <a:gd name="T20" fmla="*/ 22 w 532"/>
                <a:gd name="T21" fmla="*/ 321 h 601"/>
                <a:gd name="T22" fmla="*/ 33 w 532"/>
                <a:gd name="T23" fmla="*/ 343 h 601"/>
                <a:gd name="T24" fmla="*/ 28 w 532"/>
                <a:gd name="T25" fmla="*/ 367 h 601"/>
                <a:gd name="T26" fmla="*/ 33 w 532"/>
                <a:gd name="T27" fmla="*/ 390 h 601"/>
                <a:gd name="T28" fmla="*/ 36 w 532"/>
                <a:gd name="T29" fmla="*/ 437 h 601"/>
                <a:gd name="T30" fmla="*/ 30 w 532"/>
                <a:gd name="T31" fmla="*/ 481 h 601"/>
                <a:gd name="T32" fmla="*/ 17 w 532"/>
                <a:gd name="T33" fmla="*/ 504 h 601"/>
                <a:gd name="T34" fmla="*/ 20 w 532"/>
                <a:gd name="T35" fmla="*/ 529 h 601"/>
                <a:gd name="T36" fmla="*/ 35 w 532"/>
                <a:gd name="T37" fmla="*/ 514 h 601"/>
                <a:gd name="T38" fmla="*/ 57 w 532"/>
                <a:gd name="T39" fmla="*/ 518 h 601"/>
                <a:gd name="T40" fmla="*/ 79 w 532"/>
                <a:gd name="T41" fmla="*/ 508 h 601"/>
                <a:gd name="T42" fmla="*/ 104 w 532"/>
                <a:gd name="T43" fmla="*/ 508 h 601"/>
                <a:gd name="T44" fmla="*/ 125 w 532"/>
                <a:gd name="T45" fmla="*/ 522 h 601"/>
                <a:gd name="T46" fmla="*/ 153 w 532"/>
                <a:gd name="T47" fmla="*/ 534 h 601"/>
                <a:gd name="T48" fmla="*/ 180 w 532"/>
                <a:gd name="T49" fmla="*/ 568 h 601"/>
                <a:gd name="T50" fmla="*/ 208 w 532"/>
                <a:gd name="T51" fmla="*/ 601 h 601"/>
                <a:gd name="T52" fmla="*/ 223 w 532"/>
                <a:gd name="T53" fmla="*/ 592 h 601"/>
                <a:gd name="T54" fmla="*/ 231 w 532"/>
                <a:gd name="T55" fmla="*/ 565 h 601"/>
                <a:gd name="T56" fmla="*/ 245 w 532"/>
                <a:gd name="T57" fmla="*/ 563 h 601"/>
                <a:gd name="T58" fmla="*/ 276 w 532"/>
                <a:gd name="T59" fmla="*/ 577 h 601"/>
                <a:gd name="T60" fmla="*/ 301 w 532"/>
                <a:gd name="T61" fmla="*/ 568 h 601"/>
                <a:gd name="T62" fmla="*/ 318 w 532"/>
                <a:gd name="T63" fmla="*/ 570 h 601"/>
                <a:gd name="T64" fmla="*/ 325 w 532"/>
                <a:gd name="T65" fmla="*/ 560 h 601"/>
                <a:gd name="T66" fmla="*/ 502 w 532"/>
                <a:gd name="T67" fmla="*/ 559 h 601"/>
                <a:gd name="T68" fmla="*/ 512 w 532"/>
                <a:gd name="T69" fmla="*/ 527 h 601"/>
                <a:gd name="T70" fmla="*/ 505 w 532"/>
                <a:gd name="T71" fmla="*/ 521 h 601"/>
                <a:gd name="T72" fmla="*/ 485 w 532"/>
                <a:gd name="T73" fmla="*/ 318 h 601"/>
                <a:gd name="T74" fmla="*/ 466 w 532"/>
                <a:gd name="T75" fmla="*/ 115 h 601"/>
                <a:gd name="T76" fmla="*/ 532 w 532"/>
                <a:gd name="T77" fmla="*/ 114 h 601"/>
                <a:gd name="T78" fmla="*/ 532 w 532"/>
                <a:gd name="T79" fmla="*/ 11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2" h="601">
                  <a:moveTo>
                    <a:pt x="532" y="114"/>
                  </a:moveTo>
                  <a:lnTo>
                    <a:pt x="371" y="0"/>
                  </a:lnTo>
                  <a:lnTo>
                    <a:pt x="370" y="72"/>
                  </a:lnTo>
                  <a:lnTo>
                    <a:pt x="227" y="69"/>
                  </a:lnTo>
                  <a:lnTo>
                    <a:pt x="226" y="190"/>
                  </a:lnTo>
                  <a:lnTo>
                    <a:pt x="185" y="194"/>
                  </a:lnTo>
                  <a:lnTo>
                    <a:pt x="174" y="218"/>
                  </a:lnTo>
                  <a:lnTo>
                    <a:pt x="181" y="286"/>
                  </a:lnTo>
                  <a:lnTo>
                    <a:pt x="10" y="286"/>
                  </a:lnTo>
                  <a:lnTo>
                    <a:pt x="0" y="301"/>
                  </a:lnTo>
                  <a:lnTo>
                    <a:pt x="22" y="321"/>
                  </a:lnTo>
                  <a:lnTo>
                    <a:pt x="33" y="343"/>
                  </a:lnTo>
                  <a:lnTo>
                    <a:pt x="28" y="367"/>
                  </a:lnTo>
                  <a:lnTo>
                    <a:pt x="33" y="390"/>
                  </a:lnTo>
                  <a:lnTo>
                    <a:pt x="36" y="437"/>
                  </a:lnTo>
                  <a:lnTo>
                    <a:pt x="30" y="481"/>
                  </a:lnTo>
                  <a:lnTo>
                    <a:pt x="17" y="504"/>
                  </a:lnTo>
                  <a:lnTo>
                    <a:pt x="20" y="529"/>
                  </a:lnTo>
                  <a:lnTo>
                    <a:pt x="35" y="514"/>
                  </a:lnTo>
                  <a:lnTo>
                    <a:pt x="57" y="518"/>
                  </a:lnTo>
                  <a:lnTo>
                    <a:pt x="79" y="508"/>
                  </a:lnTo>
                  <a:lnTo>
                    <a:pt x="104" y="508"/>
                  </a:lnTo>
                  <a:lnTo>
                    <a:pt x="125" y="522"/>
                  </a:lnTo>
                  <a:lnTo>
                    <a:pt x="153" y="534"/>
                  </a:lnTo>
                  <a:lnTo>
                    <a:pt x="180" y="568"/>
                  </a:lnTo>
                  <a:lnTo>
                    <a:pt x="208" y="601"/>
                  </a:lnTo>
                  <a:lnTo>
                    <a:pt x="223" y="592"/>
                  </a:lnTo>
                  <a:lnTo>
                    <a:pt x="231" y="565"/>
                  </a:lnTo>
                  <a:lnTo>
                    <a:pt x="245" y="563"/>
                  </a:lnTo>
                  <a:lnTo>
                    <a:pt x="276" y="577"/>
                  </a:lnTo>
                  <a:lnTo>
                    <a:pt x="301" y="568"/>
                  </a:lnTo>
                  <a:lnTo>
                    <a:pt x="318" y="570"/>
                  </a:lnTo>
                  <a:lnTo>
                    <a:pt x="325" y="560"/>
                  </a:lnTo>
                  <a:lnTo>
                    <a:pt x="502" y="559"/>
                  </a:lnTo>
                  <a:lnTo>
                    <a:pt x="512" y="527"/>
                  </a:lnTo>
                  <a:lnTo>
                    <a:pt x="505" y="521"/>
                  </a:lnTo>
                  <a:lnTo>
                    <a:pt x="485" y="318"/>
                  </a:lnTo>
                  <a:lnTo>
                    <a:pt x="466" y="115"/>
                  </a:lnTo>
                  <a:lnTo>
                    <a:pt x="532" y="114"/>
                  </a:lnTo>
                  <a:lnTo>
                    <a:pt x="532" y="114"/>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4" name="Malawi">
              <a:extLst>
                <a:ext uri="{FF2B5EF4-FFF2-40B4-BE49-F238E27FC236}">
                  <a16:creationId xmlns:a16="http://schemas.microsoft.com/office/drawing/2014/main" id="{74384140-D844-EFCF-3E71-025A2F0E9BB2}"/>
                </a:ext>
              </a:extLst>
            </p:cNvPr>
            <p:cNvSpPr>
              <a:spLocks/>
            </p:cNvSpPr>
            <p:nvPr/>
          </p:nvSpPr>
          <p:spPr bwMode="auto">
            <a:xfrm>
              <a:off x="8387654" y="4252250"/>
              <a:ext cx="211138" cy="565150"/>
            </a:xfrm>
            <a:custGeom>
              <a:avLst/>
              <a:gdLst>
                <a:gd name="T0" fmla="*/ 82 w 133"/>
                <a:gd name="T1" fmla="*/ 227 h 356"/>
                <a:gd name="T2" fmla="*/ 83 w 133"/>
                <a:gd name="T3" fmla="*/ 209 h 356"/>
                <a:gd name="T4" fmla="*/ 73 w 133"/>
                <a:gd name="T5" fmla="*/ 196 h 356"/>
                <a:gd name="T6" fmla="*/ 74 w 133"/>
                <a:gd name="T7" fmla="*/ 175 h 356"/>
                <a:gd name="T8" fmla="*/ 62 w 133"/>
                <a:gd name="T9" fmla="*/ 140 h 356"/>
                <a:gd name="T10" fmla="*/ 76 w 133"/>
                <a:gd name="T11" fmla="*/ 114 h 356"/>
                <a:gd name="T12" fmla="*/ 75 w 133"/>
                <a:gd name="T13" fmla="*/ 57 h 356"/>
                <a:gd name="T14" fmla="*/ 61 w 133"/>
                <a:gd name="T15" fmla="*/ 27 h 356"/>
                <a:gd name="T16" fmla="*/ 62 w 133"/>
                <a:gd name="T17" fmla="*/ 22 h 356"/>
                <a:gd name="T18" fmla="*/ 62 w 133"/>
                <a:gd name="T19" fmla="*/ 22 h 356"/>
                <a:gd name="T20" fmla="*/ 53 w 133"/>
                <a:gd name="T21" fmla="*/ 9 h 356"/>
                <a:gd name="T22" fmla="*/ 10 w 133"/>
                <a:gd name="T23" fmla="*/ 0 h 356"/>
                <a:gd name="T24" fmla="*/ 30 w 133"/>
                <a:gd name="T25" fmla="*/ 21 h 356"/>
                <a:gd name="T26" fmla="*/ 41 w 133"/>
                <a:gd name="T27" fmla="*/ 61 h 356"/>
                <a:gd name="T28" fmla="*/ 32 w 133"/>
                <a:gd name="T29" fmla="*/ 74 h 356"/>
                <a:gd name="T30" fmla="*/ 23 w 133"/>
                <a:gd name="T31" fmla="*/ 112 h 356"/>
                <a:gd name="T32" fmla="*/ 30 w 133"/>
                <a:gd name="T33" fmla="*/ 151 h 356"/>
                <a:gd name="T34" fmla="*/ 16 w 133"/>
                <a:gd name="T35" fmla="*/ 168 h 356"/>
                <a:gd name="T36" fmla="*/ 0 w 133"/>
                <a:gd name="T37" fmla="*/ 211 h 356"/>
                <a:gd name="T38" fmla="*/ 23 w 133"/>
                <a:gd name="T39" fmla="*/ 223 h 356"/>
                <a:gd name="T40" fmla="*/ 48 w 133"/>
                <a:gd name="T41" fmla="*/ 246 h 356"/>
                <a:gd name="T42" fmla="*/ 60 w 133"/>
                <a:gd name="T43" fmla="*/ 241 h 356"/>
                <a:gd name="T44" fmla="*/ 77 w 133"/>
                <a:gd name="T45" fmla="*/ 253 h 356"/>
                <a:gd name="T46" fmla="*/ 79 w 133"/>
                <a:gd name="T47" fmla="*/ 272 h 356"/>
                <a:gd name="T48" fmla="*/ 69 w 133"/>
                <a:gd name="T49" fmla="*/ 294 h 356"/>
                <a:gd name="T50" fmla="*/ 71 w 133"/>
                <a:gd name="T51" fmla="*/ 327 h 356"/>
                <a:gd name="T52" fmla="*/ 98 w 133"/>
                <a:gd name="T53" fmla="*/ 356 h 356"/>
                <a:gd name="T54" fmla="*/ 113 w 133"/>
                <a:gd name="T55" fmla="*/ 324 h 356"/>
                <a:gd name="T56" fmla="*/ 133 w 133"/>
                <a:gd name="T57" fmla="*/ 314 h 356"/>
                <a:gd name="T58" fmla="*/ 131 w 133"/>
                <a:gd name="T59" fmla="*/ 253 h 356"/>
                <a:gd name="T60" fmla="*/ 114 w 133"/>
                <a:gd name="T61" fmla="*/ 219 h 356"/>
                <a:gd name="T62" fmla="*/ 99 w 133"/>
                <a:gd name="T63" fmla="*/ 204 h 356"/>
                <a:gd name="T64" fmla="*/ 96 w 133"/>
                <a:gd name="T65" fmla="*/ 204 h 356"/>
                <a:gd name="T66" fmla="*/ 97 w 133"/>
                <a:gd name="T67" fmla="*/ 211 h 356"/>
                <a:gd name="T68" fmla="*/ 105 w 133"/>
                <a:gd name="T69" fmla="*/ 212 h 356"/>
                <a:gd name="T70" fmla="*/ 114 w 133"/>
                <a:gd name="T71" fmla="*/ 237 h 356"/>
                <a:gd name="T72" fmla="*/ 112 w 133"/>
                <a:gd name="T73" fmla="*/ 243 h 356"/>
                <a:gd name="T74" fmla="*/ 97 w 133"/>
                <a:gd name="T75" fmla="*/ 225 h 356"/>
                <a:gd name="T76" fmla="*/ 89 w 133"/>
                <a:gd name="T77" fmla="*/ 236 h 356"/>
                <a:gd name="T78" fmla="*/ 82 w 133"/>
                <a:gd name="T79" fmla="*/ 227 h 356"/>
                <a:gd name="T80" fmla="*/ 82 w 133"/>
                <a:gd name="T81" fmla="*/ 22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356">
                  <a:moveTo>
                    <a:pt x="82" y="227"/>
                  </a:moveTo>
                  <a:lnTo>
                    <a:pt x="83" y="209"/>
                  </a:lnTo>
                  <a:lnTo>
                    <a:pt x="73" y="196"/>
                  </a:lnTo>
                  <a:lnTo>
                    <a:pt x="74" y="175"/>
                  </a:lnTo>
                  <a:lnTo>
                    <a:pt x="62" y="140"/>
                  </a:lnTo>
                  <a:lnTo>
                    <a:pt x="76" y="114"/>
                  </a:lnTo>
                  <a:lnTo>
                    <a:pt x="75" y="57"/>
                  </a:lnTo>
                  <a:lnTo>
                    <a:pt x="61" y="27"/>
                  </a:lnTo>
                  <a:lnTo>
                    <a:pt x="62" y="22"/>
                  </a:lnTo>
                  <a:lnTo>
                    <a:pt x="62" y="22"/>
                  </a:lnTo>
                  <a:lnTo>
                    <a:pt x="53" y="9"/>
                  </a:lnTo>
                  <a:lnTo>
                    <a:pt x="10" y="0"/>
                  </a:lnTo>
                  <a:lnTo>
                    <a:pt x="30" y="21"/>
                  </a:lnTo>
                  <a:lnTo>
                    <a:pt x="41" y="61"/>
                  </a:lnTo>
                  <a:lnTo>
                    <a:pt x="32" y="74"/>
                  </a:lnTo>
                  <a:lnTo>
                    <a:pt x="23" y="112"/>
                  </a:lnTo>
                  <a:lnTo>
                    <a:pt x="30" y="151"/>
                  </a:lnTo>
                  <a:lnTo>
                    <a:pt x="16" y="168"/>
                  </a:lnTo>
                  <a:lnTo>
                    <a:pt x="0" y="211"/>
                  </a:lnTo>
                  <a:lnTo>
                    <a:pt x="23" y="223"/>
                  </a:lnTo>
                  <a:lnTo>
                    <a:pt x="48" y="246"/>
                  </a:lnTo>
                  <a:lnTo>
                    <a:pt x="60" y="241"/>
                  </a:lnTo>
                  <a:lnTo>
                    <a:pt x="77" y="253"/>
                  </a:lnTo>
                  <a:lnTo>
                    <a:pt x="79" y="272"/>
                  </a:lnTo>
                  <a:lnTo>
                    <a:pt x="69" y="294"/>
                  </a:lnTo>
                  <a:lnTo>
                    <a:pt x="71" y="327"/>
                  </a:lnTo>
                  <a:lnTo>
                    <a:pt x="98" y="356"/>
                  </a:lnTo>
                  <a:lnTo>
                    <a:pt x="113" y="324"/>
                  </a:lnTo>
                  <a:lnTo>
                    <a:pt x="133" y="314"/>
                  </a:lnTo>
                  <a:lnTo>
                    <a:pt x="131" y="253"/>
                  </a:lnTo>
                  <a:lnTo>
                    <a:pt x="114" y="219"/>
                  </a:lnTo>
                  <a:lnTo>
                    <a:pt x="99" y="204"/>
                  </a:lnTo>
                  <a:lnTo>
                    <a:pt x="96" y="204"/>
                  </a:lnTo>
                  <a:lnTo>
                    <a:pt x="97" y="211"/>
                  </a:lnTo>
                  <a:lnTo>
                    <a:pt x="105" y="212"/>
                  </a:lnTo>
                  <a:lnTo>
                    <a:pt x="114" y="237"/>
                  </a:lnTo>
                  <a:lnTo>
                    <a:pt x="112" y="243"/>
                  </a:lnTo>
                  <a:lnTo>
                    <a:pt x="97" y="225"/>
                  </a:lnTo>
                  <a:lnTo>
                    <a:pt x="89" y="236"/>
                  </a:lnTo>
                  <a:lnTo>
                    <a:pt x="82" y="227"/>
                  </a:lnTo>
                  <a:lnTo>
                    <a:pt x="82" y="227"/>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5" name="Namibia">
              <a:extLst>
                <a:ext uri="{FF2B5EF4-FFF2-40B4-BE49-F238E27FC236}">
                  <a16:creationId xmlns:a16="http://schemas.microsoft.com/office/drawing/2014/main" id="{B2D1F0EA-186C-56F1-BABB-838603484D7D}"/>
                </a:ext>
              </a:extLst>
            </p:cNvPr>
            <p:cNvSpPr>
              <a:spLocks/>
            </p:cNvSpPr>
            <p:nvPr/>
          </p:nvSpPr>
          <p:spPr bwMode="auto">
            <a:xfrm>
              <a:off x="6911279" y="4828512"/>
              <a:ext cx="933450" cy="903288"/>
            </a:xfrm>
            <a:custGeom>
              <a:avLst/>
              <a:gdLst>
                <a:gd name="T0" fmla="*/ 506 w 588"/>
                <a:gd name="T1" fmla="*/ 27 h 569"/>
                <a:gd name="T2" fmla="*/ 423 w 588"/>
                <a:gd name="T3" fmla="*/ 46 h 569"/>
                <a:gd name="T4" fmla="*/ 318 w 588"/>
                <a:gd name="T5" fmla="*/ 40 h 569"/>
                <a:gd name="T6" fmla="*/ 287 w 588"/>
                <a:gd name="T7" fmla="*/ 17 h 569"/>
                <a:gd name="T8" fmla="*/ 109 w 588"/>
                <a:gd name="T9" fmla="*/ 19 h 569"/>
                <a:gd name="T10" fmla="*/ 102 w 588"/>
                <a:gd name="T11" fmla="*/ 23 h 569"/>
                <a:gd name="T12" fmla="*/ 76 w 588"/>
                <a:gd name="T13" fmla="*/ 1 h 569"/>
                <a:gd name="T14" fmla="*/ 48 w 588"/>
                <a:gd name="T15" fmla="*/ 0 h 569"/>
                <a:gd name="T16" fmla="*/ 22 w 588"/>
                <a:gd name="T17" fmla="*/ 7 h 569"/>
                <a:gd name="T18" fmla="*/ 0 w 588"/>
                <a:gd name="T19" fmla="*/ 17 h 569"/>
                <a:gd name="T20" fmla="*/ 2 w 588"/>
                <a:gd name="T21" fmla="*/ 52 h 569"/>
                <a:gd name="T22" fmla="*/ 37 w 588"/>
                <a:gd name="T23" fmla="*/ 98 h 569"/>
                <a:gd name="T24" fmla="*/ 46 w 588"/>
                <a:gd name="T25" fmla="*/ 128 h 569"/>
                <a:gd name="T26" fmla="*/ 68 w 588"/>
                <a:gd name="T27" fmla="*/ 184 h 569"/>
                <a:gd name="T28" fmla="*/ 89 w 588"/>
                <a:gd name="T29" fmla="*/ 223 h 569"/>
                <a:gd name="T30" fmla="*/ 107 w 588"/>
                <a:gd name="T31" fmla="*/ 243 h 569"/>
                <a:gd name="T32" fmla="*/ 111 w 588"/>
                <a:gd name="T33" fmla="*/ 268 h 569"/>
                <a:gd name="T34" fmla="*/ 111 w 588"/>
                <a:gd name="T35" fmla="*/ 324 h 569"/>
                <a:gd name="T36" fmla="*/ 123 w 588"/>
                <a:gd name="T37" fmla="*/ 396 h 569"/>
                <a:gd name="T38" fmla="*/ 133 w 588"/>
                <a:gd name="T39" fmla="*/ 431 h 569"/>
                <a:gd name="T40" fmla="*/ 140 w 588"/>
                <a:gd name="T41" fmla="*/ 476 h 569"/>
                <a:gd name="T42" fmla="*/ 157 w 588"/>
                <a:gd name="T43" fmla="*/ 511 h 569"/>
                <a:gd name="T44" fmla="*/ 187 w 588"/>
                <a:gd name="T45" fmla="*/ 547 h 569"/>
                <a:gd name="T46" fmla="*/ 209 w 588"/>
                <a:gd name="T47" fmla="*/ 524 h 569"/>
                <a:gd name="T48" fmla="*/ 225 w 588"/>
                <a:gd name="T49" fmla="*/ 535 h 569"/>
                <a:gd name="T50" fmla="*/ 232 w 588"/>
                <a:gd name="T51" fmla="*/ 556 h 569"/>
                <a:gd name="T52" fmla="*/ 250 w 588"/>
                <a:gd name="T53" fmla="*/ 559 h 569"/>
                <a:gd name="T54" fmla="*/ 277 w 588"/>
                <a:gd name="T55" fmla="*/ 569 h 569"/>
                <a:gd name="T56" fmla="*/ 300 w 588"/>
                <a:gd name="T57" fmla="*/ 565 h 569"/>
                <a:gd name="T58" fmla="*/ 339 w 588"/>
                <a:gd name="T59" fmla="*/ 541 h 569"/>
                <a:gd name="T60" fmla="*/ 348 w 588"/>
                <a:gd name="T61" fmla="*/ 367 h 569"/>
                <a:gd name="T62" fmla="*/ 353 w 588"/>
                <a:gd name="T63" fmla="*/ 230 h 569"/>
                <a:gd name="T64" fmla="*/ 396 w 588"/>
                <a:gd name="T65" fmla="*/ 228 h 569"/>
                <a:gd name="T66" fmla="*/ 403 w 588"/>
                <a:gd name="T67" fmla="*/ 61 h 569"/>
                <a:gd name="T68" fmla="*/ 436 w 588"/>
                <a:gd name="T69" fmla="*/ 60 h 569"/>
                <a:gd name="T70" fmla="*/ 504 w 588"/>
                <a:gd name="T71" fmla="*/ 43 h 569"/>
                <a:gd name="T72" fmla="*/ 520 w 588"/>
                <a:gd name="T73" fmla="*/ 63 h 569"/>
                <a:gd name="T74" fmla="*/ 550 w 588"/>
                <a:gd name="T75" fmla="*/ 44 h 569"/>
                <a:gd name="T76" fmla="*/ 562 w 588"/>
                <a:gd name="T77" fmla="*/ 44 h 569"/>
                <a:gd name="T78" fmla="*/ 588 w 588"/>
                <a:gd name="T79" fmla="*/ 34 h 569"/>
                <a:gd name="T80" fmla="*/ 588 w 588"/>
                <a:gd name="T81" fmla="*/ 29 h 569"/>
                <a:gd name="T82" fmla="*/ 571 w 588"/>
                <a:gd name="T83" fmla="*/ 19 h 569"/>
                <a:gd name="T84" fmla="*/ 542 w 588"/>
                <a:gd name="T85" fmla="*/ 16 h 569"/>
                <a:gd name="T86" fmla="*/ 506 w 588"/>
                <a:gd name="T87" fmla="*/ 27 h 569"/>
                <a:gd name="T88" fmla="*/ 506 w 588"/>
                <a:gd name="T89" fmla="*/ 2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8" h="569">
                  <a:moveTo>
                    <a:pt x="506" y="27"/>
                  </a:moveTo>
                  <a:lnTo>
                    <a:pt x="423" y="46"/>
                  </a:lnTo>
                  <a:lnTo>
                    <a:pt x="318" y="40"/>
                  </a:lnTo>
                  <a:lnTo>
                    <a:pt x="287" y="17"/>
                  </a:lnTo>
                  <a:lnTo>
                    <a:pt x="109" y="19"/>
                  </a:lnTo>
                  <a:lnTo>
                    <a:pt x="102" y="23"/>
                  </a:lnTo>
                  <a:lnTo>
                    <a:pt x="76" y="1"/>
                  </a:lnTo>
                  <a:lnTo>
                    <a:pt x="48" y="0"/>
                  </a:lnTo>
                  <a:lnTo>
                    <a:pt x="22" y="7"/>
                  </a:lnTo>
                  <a:lnTo>
                    <a:pt x="0" y="17"/>
                  </a:lnTo>
                  <a:lnTo>
                    <a:pt x="2" y="52"/>
                  </a:lnTo>
                  <a:lnTo>
                    <a:pt x="37" y="98"/>
                  </a:lnTo>
                  <a:lnTo>
                    <a:pt x="46" y="128"/>
                  </a:lnTo>
                  <a:lnTo>
                    <a:pt x="68" y="184"/>
                  </a:lnTo>
                  <a:lnTo>
                    <a:pt x="89" y="223"/>
                  </a:lnTo>
                  <a:lnTo>
                    <a:pt x="107" y="243"/>
                  </a:lnTo>
                  <a:lnTo>
                    <a:pt x="111" y="268"/>
                  </a:lnTo>
                  <a:lnTo>
                    <a:pt x="111" y="324"/>
                  </a:lnTo>
                  <a:lnTo>
                    <a:pt x="123" y="396"/>
                  </a:lnTo>
                  <a:lnTo>
                    <a:pt x="133" y="431"/>
                  </a:lnTo>
                  <a:lnTo>
                    <a:pt x="140" y="476"/>
                  </a:lnTo>
                  <a:lnTo>
                    <a:pt x="157" y="511"/>
                  </a:lnTo>
                  <a:lnTo>
                    <a:pt x="187" y="547"/>
                  </a:lnTo>
                  <a:lnTo>
                    <a:pt x="209" y="524"/>
                  </a:lnTo>
                  <a:lnTo>
                    <a:pt x="225" y="535"/>
                  </a:lnTo>
                  <a:lnTo>
                    <a:pt x="232" y="556"/>
                  </a:lnTo>
                  <a:lnTo>
                    <a:pt x="250" y="559"/>
                  </a:lnTo>
                  <a:lnTo>
                    <a:pt x="277" y="569"/>
                  </a:lnTo>
                  <a:lnTo>
                    <a:pt x="300" y="565"/>
                  </a:lnTo>
                  <a:lnTo>
                    <a:pt x="339" y="541"/>
                  </a:lnTo>
                  <a:lnTo>
                    <a:pt x="348" y="367"/>
                  </a:lnTo>
                  <a:lnTo>
                    <a:pt x="353" y="230"/>
                  </a:lnTo>
                  <a:lnTo>
                    <a:pt x="396" y="228"/>
                  </a:lnTo>
                  <a:lnTo>
                    <a:pt x="403" y="61"/>
                  </a:lnTo>
                  <a:lnTo>
                    <a:pt x="436" y="60"/>
                  </a:lnTo>
                  <a:lnTo>
                    <a:pt x="504" y="43"/>
                  </a:lnTo>
                  <a:lnTo>
                    <a:pt x="520" y="63"/>
                  </a:lnTo>
                  <a:lnTo>
                    <a:pt x="550" y="44"/>
                  </a:lnTo>
                  <a:lnTo>
                    <a:pt x="562" y="44"/>
                  </a:lnTo>
                  <a:lnTo>
                    <a:pt x="588" y="34"/>
                  </a:lnTo>
                  <a:lnTo>
                    <a:pt x="588" y="29"/>
                  </a:lnTo>
                  <a:lnTo>
                    <a:pt x="571" y="19"/>
                  </a:lnTo>
                  <a:lnTo>
                    <a:pt x="542" y="16"/>
                  </a:lnTo>
                  <a:lnTo>
                    <a:pt x="506" y="27"/>
                  </a:lnTo>
                  <a:lnTo>
                    <a:pt x="506" y="27"/>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6" name="Niger">
              <a:extLst>
                <a:ext uri="{FF2B5EF4-FFF2-40B4-BE49-F238E27FC236}">
                  <a16:creationId xmlns:a16="http://schemas.microsoft.com/office/drawing/2014/main" id="{53DFC1F9-D4C7-C8C8-D18B-ACE7184BA714}"/>
                </a:ext>
              </a:extLst>
            </p:cNvPr>
            <p:cNvSpPr>
              <a:spLocks/>
            </p:cNvSpPr>
            <p:nvPr/>
          </p:nvSpPr>
          <p:spPr bwMode="auto">
            <a:xfrm>
              <a:off x="6112766" y="1813850"/>
              <a:ext cx="1085850" cy="881063"/>
            </a:xfrm>
            <a:custGeom>
              <a:avLst/>
              <a:gdLst>
                <a:gd name="T0" fmla="*/ 579 w 684"/>
                <a:gd name="T1" fmla="*/ 20 h 555"/>
                <a:gd name="T2" fmla="*/ 509 w 684"/>
                <a:gd name="T3" fmla="*/ 0 h 555"/>
                <a:gd name="T4" fmla="*/ 361 w 684"/>
                <a:gd name="T5" fmla="*/ 90 h 555"/>
                <a:gd name="T6" fmla="*/ 235 w 684"/>
                <a:gd name="T7" fmla="*/ 181 h 555"/>
                <a:gd name="T8" fmla="*/ 174 w 684"/>
                <a:gd name="T9" fmla="*/ 203 h 555"/>
                <a:gd name="T10" fmla="*/ 175 w 684"/>
                <a:gd name="T11" fmla="*/ 311 h 555"/>
                <a:gd name="T12" fmla="*/ 150 w 684"/>
                <a:gd name="T13" fmla="*/ 343 h 555"/>
                <a:gd name="T14" fmla="*/ 147 w 684"/>
                <a:gd name="T15" fmla="*/ 371 h 555"/>
                <a:gd name="T16" fmla="*/ 108 w 684"/>
                <a:gd name="T17" fmla="*/ 378 h 555"/>
                <a:gd name="T18" fmla="*/ 48 w 684"/>
                <a:gd name="T19" fmla="*/ 383 h 555"/>
                <a:gd name="T20" fmla="*/ 31 w 684"/>
                <a:gd name="T21" fmla="*/ 399 h 555"/>
                <a:gd name="T22" fmla="*/ 3 w 684"/>
                <a:gd name="T23" fmla="*/ 401 h 555"/>
                <a:gd name="T24" fmla="*/ 0 w 684"/>
                <a:gd name="T25" fmla="*/ 424 h 555"/>
                <a:gd name="T26" fmla="*/ 5 w 684"/>
                <a:gd name="T27" fmla="*/ 445 h 555"/>
                <a:gd name="T28" fmla="*/ 31 w 684"/>
                <a:gd name="T29" fmla="*/ 476 h 555"/>
                <a:gd name="T30" fmla="*/ 31 w 684"/>
                <a:gd name="T31" fmla="*/ 499 h 555"/>
                <a:gd name="T32" fmla="*/ 83 w 684"/>
                <a:gd name="T33" fmla="*/ 509 h 555"/>
                <a:gd name="T34" fmla="*/ 82 w 684"/>
                <a:gd name="T35" fmla="*/ 541 h 555"/>
                <a:gd name="T36" fmla="*/ 97 w 684"/>
                <a:gd name="T37" fmla="*/ 528 h 555"/>
                <a:gd name="T38" fmla="*/ 113 w 684"/>
                <a:gd name="T39" fmla="*/ 528 h 555"/>
                <a:gd name="T40" fmla="*/ 147 w 684"/>
                <a:gd name="T41" fmla="*/ 555 h 555"/>
                <a:gd name="T42" fmla="*/ 149 w 684"/>
                <a:gd name="T43" fmla="*/ 512 h 555"/>
                <a:gd name="T44" fmla="*/ 162 w 684"/>
                <a:gd name="T45" fmla="*/ 494 h 555"/>
                <a:gd name="T46" fmla="*/ 168 w 684"/>
                <a:gd name="T47" fmla="*/ 467 h 555"/>
                <a:gd name="T48" fmla="*/ 179 w 684"/>
                <a:gd name="T49" fmla="*/ 456 h 555"/>
                <a:gd name="T50" fmla="*/ 227 w 684"/>
                <a:gd name="T51" fmla="*/ 451 h 555"/>
                <a:gd name="T52" fmla="*/ 272 w 684"/>
                <a:gd name="T53" fmla="*/ 468 h 555"/>
                <a:gd name="T54" fmla="*/ 289 w 684"/>
                <a:gd name="T55" fmla="*/ 487 h 555"/>
                <a:gd name="T56" fmla="*/ 311 w 684"/>
                <a:gd name="T57" fmla="*/ 487 h 555"/>
                <a:gd name="T58" fmla="*/ 332 w 684"/>
                <a:gd name="T59" fmla="*/ 476 h 555"/>
                <a:gd name="T60" fmla="*/ 386 w 684"/>
                <a:gd name="T61" fmla="*/ 500 h 555"/>
                <a:gd name="T62" fmla="*/ 409 w 684"/>
                <a:gd name="T63" fmla="*/ 499 h 555"/>
                <a:gd name="T64" fmla="*/ 434 w 684"/>
                <a:gd name="T65" fmla="*/ 478 h 555"/>
                <a:gd name="T66" fmla="*/ 461 w 684"/>
                <a:gd name="T67" fmla="*/ 480 h 555"/>
                <a:gd name="T68" fmla="*/ 474 w 684"/>
                <a:gd name="T69" fmla="*/ 473 h 555"/>
                <a:gd name="T70" fmla="*/ 497 w 684"/>
                <a:gd name="T71" fmla="*/ 477 h 555"/>
                <a:gd name="T72" fmla="*/ 531 w 684"/>
                <a:gd name="T73" fmla="*/ 490 h 555"/>
                <a:gd name="T74" fmla="*/ 566 w 684"/>
                <a:gd name="T75" fmla="*/ 464 h 555"/>
                <a:gd name="T76" fmla="*/ 576 w 684"/>
                <a:gd name="T77" fmla="*/ 466 h 555"/>
                <a:gd name="T78" fmla="*/ 607 w 684"/>
                <a:gd name="T79" fmla="*/ 517 h 555"/>
                <a:gd name="T80" fmla="*/ 615 w 684"/>
                <a:gd name="T81" fmla="*/ 516 h 555"/>
                <a:gd name="T82" fmla="*/ 616 w 684"/>
                <a:gd name="T83" fmla="*/ 501 h 555"/>
                <a:gd name="T84" fmla="*/ 629 w 684"/>
                <a:gd name="T85" fmla="*/ 499 h 555"/>
                <a:gd name="T86" fmla="*/ 632 w 684"/>
                <a:gd name="T87" fmla="*/ 477 h 555"/>
                <a:gd name="T88" fmla="*/ 604 w 684"/>
                <a:gd name="T89" fmla="*/ 475 h 555"/>
                <a:gd name="T90" fmla="*/ 604 w 684"/>
                <a:gd name="T91" fmla="*/ 445 h 555"/>
                <a:gd name="T92" fmla="*/ 585 w 684"/>
                <a:gd name="T93" fmla="*/ 428 h 555"/>
                <a:gd name="T94" fmla="*/ 603 w 684"/>
                <a:gd name="T95" fmla="*/ 366 h 555"/>
                <a:gd name="T96" fmla="*/ 659 w 684"/>
                <a:gd name="T97" fmla="*/ 321 h 555"/>
                <a:gd name="T98" fmla="*/ 660 w 684"/>
                <a:gd name="T99" fmla="*/ 260 h 555"/>
                <a:gd name="T100" fmla="*/ 674 w 684"/>
                <a:gd name="T101" fmla="*/ 165 h 555"/>
                <a:gd name="T102" fmla="*/ 684 w 684"/>
                <a:gd name="T103" fmla="*/ 145 h 555"/>
                <a:gd name="T104" fmla="*/ 664 w 684"/>
                <a:gd name="T105" fmla="*/ 129 h 555"/>
                <a:gd name="T106" fmla="*/ 663 w 684"/>
                <a:gd name="T107" fmla="*/ 113 h 555"/>
                <a:gd name="T108" fmla="*/ 647 w 684"/>
                <a:gd name="T109" fmla="*/ 102 h 555"/>
                <a:gd name="T110" fmla="*/ 634 w 684"/>
                <a:gd name="T111" fmla="*/ 28 h 555"/>
                <a:gd name="T112" fmla="*/ 604 w 684"/>
                <a:gd name="T113" fmla="*/ 45 h 555"/>
                <a:gd name="T114" fmla="*/ 579 w 684"/>
                <a:gd name="T115" fmla="*/ 20 h 555"/>
                <a:gd name="T116" fmla="*/ 579 w 684"/>
                <a:gd name="T117" fmla="*/ 2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555">
                  <a:moveTo>
                    <a:pt x="579" y="20"/>
                  </a:moveTo>
                  <a:lnTo>
                    <a:pt x="509" y="0"/>
                  </a:lnTo>
                  <a:lnTo>
                    <a:pt x="361" y="90"/>
                  </a:lnTo>
                  <a:lnTo>
                    <a:pt x="235" y="181"/>
                  </a:lnTo>
                  <a:lnTo>
                    <a:pt x="174" y="203"/>
                  </a:lnTo>
                  <a:lnTo>
                    <a:pt x="175" y="311"/>
                  </a:lnTo>
                  <a:lnTo>
                    <a:pt x="150" y="343"/>
                  </a:lnTo>
                  <a:lnTo>
                    <a:pt x="147" y="371"/>
                  </a:lnTo>
                  <a:lnTo>
                    <a:pt x="108" y="378"/>
                  </a:lnTo>
                  <a:lnTo>
                    <a:pt x="48" y="383"/>
                  </a:lnTo>
                  <a:lnTo>
                    <a:pt x="31" y="399"/>
                  </a:lnTo>
                  <a:lnTo>
                    <a:pt x="3" y="401"/>
                  </a:lnTo>
                  <a:lnTo>
                    <a:pt x="0" y="424"/>
                  </a:lnTo>
                  <a:lnTo>
                    <a:pt x="5" y="445"/>
                  </a:lnTo>
                  <a:lnTo>
                    <a:pt x="31" y="476"/>
                  </a:lnTo>
                  <a:lnTo>
                    <a:pt x="31" y="499"/>
                  </a:lnTo>
                  <a:lnTo>
                    <a:pt x="83" y="509"/>
                  </a:lnTo>
                  <a:lnTo>
                    <a:pt x="82" y="541"/>
                  </a:lnTo>
                  <a:lnTo>
                    <a:pt x="97" y="528"/>
                  </a:lnTo>
                  <a:lnTo>
                    <a:pt x="113" y="528"/>
                  </a:lnTo>
                  <a:lnTo>
                    <a:pt x="147" y="555"/>
                  </a:lnTo>
                  <a:lnTo>
                    <a:pt x="149" y="512"/>
                  </a:lnTo>
                  <a:lnTo>
                    <a:pt x="162" y="494"/>
                  </a:lnTo>
                  <a:lnTo>
                    <a:pt x="168" y="467"/>
                  </a:lnTo>
                  <a:lnTo>
                    <a:pt x="179" y="456"/>
                  </a:lnTo>
                  <a:lnTo>
                    <a:pt x="227" y="451"/>
                  </a:lnTo>
                  <a:lnTo>
                    <a:pt x="272" y="468"/>
                  </a:lnTo>
                  <a:lnTo>
                    <a:pt x="289" y="487"/>
                  </a:lnTo>
                  <a:lnTo>
                    <a:pt x="311" y="487"/>
                  </a:lnTo>
                  <a:lnTo>
                    <a:pt x="332" y="476"/>
                  </a:lnTo>
                  <a:lnTo>
                    <a:pt x="386" y="500"/>
                  </a:lnTo>
                  <a:lnTo>
                    <a:pt x="409" y="499"/>
                  </a:lnTo>
                  <a:lnTo>
                    <a:pt x="434" y="478"/>
                  </a:lnTo>
                  <a:lnTo>
                    <a:pt x="461" y="480"/>
                  </a:lnTo>
                  <a:lnTo>
                    <a:pt x="474" y="473"/>
                  </a:lnTo>
                  <a:lnTo>
                    <a:pt x="497" y="477"/>
                  </a:lnTo>
                  <a:lnTo>
                    <a:pt x="531" y="490"/>
                  </a:lnTo>
                  <a:lnTo>
                    <a:pt x="566" y="464"/>
                  </a:lnTo>
                  <a:lnTo>
                    <a:pt x="576" y="466"/>
                  </a:lnTo>
                  <a:lnTo>
                    <a:pt x="607" y="517"/>
                  </a:lnTo>
                  <a:lnTo>
                    <a:pt x="615" y="516"/>
                  </a:lnTo>
                  <a:lnTo>
                    <a:pt x="616" y="501"/>
                  </a:lnTo>
                  <a:lnTo>
                    <a:pt x="629" y="499"/>
                  </a:lnTo>
                  <a:lnTo>
                    <a:pt x="632" y="477"/>
                  </a:lnTo>
                  <a:lnTo>
                    <a:pt x="604" y="475"/>
                  </a:lnTo>
                  <a:lnTo>
                    <a:pt x="604" y="445"/>
                  </a:lnTo>
                  <a:lnTo>
                    <a:pt x="585" y="428"/>
                  </a:lnTo>
                  <a:lnTo>
                    <a:pt x="603" y="366"/>
                  </a:lnTo>
                  <a:lnTo>
                    <a:pt x="659" y="321"/>
                  </a:lnTo>
                  <a:lnTo>
                    <a:pt x="660" y="260"/>
                  </a:lnTo>
                  <a:lnTo>
                    <a:pt x="674" y="165"/>
                  </a:lnTo>
                  <a:lnTo>
                    <a:pt x="684" y="145"/>
                  </a:lnTo>
                  <a:lnTo>
                    <a:pt x="664" y="129"/>
                  </a:lnTo>
                  <a:lnTo>
                    <a:pt x="663" y="113"/>
                  </a:lnTo>
                  <a:lnTo>
                    <a:pt x="647" y="102"/>
                  </a:lnTo>
                  <a:lnTo>
                    <a:pt x="634" y="28"/>
                  </a:lnTo>
                  <a:lnTo>
                    <a:pt x="604" y="45"/>
                  </a:lnTo>
                  <a:lnTo>
                    <a:pt x="579" y="20"/>
                  </a:lnTo>
                  <a:lnTo>
                    <a:pt x="579" y="2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7" name="Nigeria">
              <a:extLst>
                <a:ext uri="{FF2B5EF4-FFF2-40B4-BE49-F238E27FC236}">
                  <a16:creationId xmlns:a16="http://schemas.microsoft.com/office/drawing/2014/main" id="{D5587CC0-6AB8-6D3A-F5BF-AC84E90719FF}"/>
                </a:ext>
              </a:extLst>
            </p:cNvPr>
            <p:cNvSpPr>
              <a:spLocks/>
            </p:cNvSpPr>
            <p:nvPr/>
          </p:nvSpPr>
          <p:spPr bwMode="auto">
            <a:xfrm>
              <a:off x="6281041" y="2529812"/>
              <a:ext cx="835025" cy="717550"/>
            </a:xfrm>
            <a:custGeom>
              <a:avLst/>
              <a:gdLst>
                <a:gd name="T0" fmla="*/ 509 w 526"/>
                <a:gd name="T1" fmla="*/ 65 h 452"/>
                <a:gd name="T2" fmla="*/ 501 w 526"/>
                <a:gd name="T3" fmla="*/ 66 h 452"/>
                <a:gd name="T4" fmla="*/ 470 w 526"/>
                <a:gd name="T5" fmla="*/ 15 h 452"/>
                <a:gd name="T6" fmla="*/ 460 w 526"/>
                <a:gd name="T7" fmla="*/ 13 h 452"/>
                <a:gd name="T8" fmla="*/ 425 w 526"/>
                <a:gd name="T9" fmla="*/ 39 h 452"/>
                <a:gd name="T10" fmla="*/ 391 w 526"/>
                <a:gd name="T11" fmla="*/ 26 h 452"/>
                <a:gd name="T12" fmla="*/ 368 w 526"/>
                <a:gd name="T13" fmla="*/ 22 h 452"/>
                <a:gd name="T14" fmla="*/ 355 w 526"/>
                <a:gd name="T15" fmla="*/ 29 h 452"/>
                <a:gd name="T16" fmla="*/ 328 w 526"/>
                <a:gd name="T17" fmla="*/ 27 h 452"/>
                <a:gd name="T18" fmla="*/ 303 w 526"/>
                <a:gd name="T19" fmla="*/ 48 h 452"/>
                <a:gd name="T20" fmla="*/ 280 w 526"/>
                <a:gd name="T21" fmla="*/ 49 h 452"/>
                <a:gd name="T22" fmla="*/ 226 w 526"/>
                <a:gd name="T23" fmla="*/ 25 h 452"/>
                <a:gd name="T24" fmla="*/ 205 w 526"/>
                <a:gd name="T25" fmla="*/ 36 h 452"/>
                <a:gd name="T26" fmla="*/ 183 w 526"/>
                <a:gd name="T27" fmla="*/ 36 h 452"/>
                <a:gd name="T28" fmla="*/ 166 w 526"/>
                <a:gd name="T29" fmla="*/ 17 h 452"/>
                <a:gd name="T30" fmla="*/ 121 w 526"/>
                <a:gd name="T31" fmla="*/ 0 h 452"/>
                <a:gd name="T32" fmla="*/ 73 w 526"/>
                <a:gd name="T33" fmla="*/ 5 h 452"/>
                <a:gd name="T34" fmla="*/ 62 w 526"/>
                <a:gd name="T35" fmla="*/ 16 h 452"/>
                <a:gd name="T36" fmla="*/ 56 w 526"/>
                <a:gd name="T37" fmla="*/ 43 h 452"/>
                <a:gd name="T38" fmla="*/ 43 w 526"/>
                <a:gd name="T39" fmla="*/ 61 h 452"/>
                <a:gd name="T40" fmla="*/ 41 w 526"/>
                <a:gd name="T41" fmla="*/ 104 h 452"/>
                <a:gd name="T42" fmla="*/ 39 w 526"/>
                <a:gd name="T43" fmla="*/ 119 h 452"/>
                <a:gd name="T44" fmla="*/ 49 w 526"/>
                <a:gd name="T45" fmla="*/ 147 h 452"/>
                <a:gd name="T46" fmla="*/ 41 w 526"/>
                <a:gd name="T47" fmla="*/ 167 h 452"/>
                <a:gd name="T48" fmla="*/ 45 w 526"/>
                <a:gd name="T49" fmla="*/ 179 h 452"/>
                <a:gd name="T50" fmla="*/ 23 w 526"/>
                <a:gd name="T51" fmla="*/ 207 h 452"/>
                <a:gd name="T52" fmla="*/ 10 w 526"/>
                <a:gd name="T53" fmla="*/ 223 h 452"/>
                <a:gd name="T54" fmla="*/ 1 w 526"/>
                <a:gd name="T55" fmla="*/ 252 h 452"/>
                <a:gd name="T56" fmla="*/ 2 w 526"/>
                <a:gd name="T57" fmla="*/ 282 h 452"/>
                <a:gd name="T58" fmla="*/ 0 w 526"/>
                <a:gd name="T59" fmla="*/ 358 h 452"/>
                <a:gd name="T60" fmla="*/ 40 w 526"/>
                <a:gd name="T61" fmla="*/ 358 h 452"/>
                <a:gd name="T62" fmla="*/ 73 w 526"/>
                <a:gd name="T63" fmla="*/ 357 h 452"/>
                <a:gd name="T64" fmla="*/ 104 w 526"/>
                <a:gd name="T65" fmla="*/ 388 h 452"/>
                <a:gd name="T66" fmla="*/ 119 w 526"/>
                <a:gd name="T67" fmla="*/ 422 h 452"/>
                <a:gd name="T68" fmla="*/ 143 w 526"/>
                <a:gd name="T69" fmla="*/ 451 h 452"/>
                <a:gd name="T70" fmla="*/ 179 w 526"/>
                <a:gd name="T71" fmla="*/ 452 h 452"/>
                <a:gd name="T72" fmla="*/ 196 w 526"/>
                <a:gd name="T73" fmla="*/ 442 h 452"/>
                <a:gd name="T74" fmla="*/ 213 w 526"/>
                <a:gd name="T75" fmla="*/ 444 h 452"/>
                <a:gd name="T76" fmla="*/ 260 w 526"/>
                <a:gd name="T77" fmla="*/ 427 h 452"/>
                <a:gd name="T78" fmla="*/ 271 w 526"/>
                <a:gd name="T79" fmla="*/ 394 h 452"/>
                <a:gd name="T80" fmla="*/ 292 w 526"/>
                <a:gd name="T81" fmla="*/ 348 h 452"/>
                <a:gd name="T82" fmla="*/ 304 w 526"/>
                <a:gd name="T83" fmla="*/ 348 h 452"/>
                <a:gd name="T84" fmla="*/ 331 w 526"/>
                <a:gd name="T85" fmla="*/ 321 h 452"/>
                <a:gd name="T86" fmla="*/ 347 w 526"/>
                <a:gd name="T87" fmla="*/ 320 h 452"/>
                <a:gd name="T88" fmla="*/ 373 w 526"/>
                <a:gd name="T89" fmla="*/ 340 h 452"/>
                <a:gd name="T90" fmla="*/ 403 w 526"/>
                <a:gd name="T91" fmla="*/ 324 h 452"/>
                <a:gd name="T92" fmla="*/ 408 w 526"/>
                <a:gd name="T93" fmla="*/ 304 h 452"/>
                <a:gd name="T94" fmla="*/ 417 w 526"/>
                <a:gd name="T95" fmla="*/ 286 h 452"/>
                <a:gd name="T96" fmla="*/ 424 w 526"/>
                <a:gd name="T97" fmla="*/ 262 h 452"/>
                <a:gd name="T98" fmla="*/ 448 w 526"/>
                <a:gd name="T99" fmla="*/ 242 h 452"/>
                <a:gd name="T100" fmla="*/ 456 w 526"/>
                <a:gd name="T101" fmla="*/ 209 h 452"/>
                <a:gd name="T102" fmla="*/ 466 w 526"/>
                <a:gd name="T103" fmla="*/ 199 h 452"/>
                <a:gd name="T104" fmla="*/ 472 w 526"/>
                <a:gd name="T105" fmla="*/ 174 h 452"/>
                <a:gd name="T106" fmla="*/ 483 w 526"/>
                <a:gd name="T107" fmla="*/ 145 h 452"/>
                <a:gd name="T108" fmla="*/ 520 w 526"/>
                <a:gd name="T109" fmla="*/ 108 h 452"/>
                <a:gd name="T110" fmla="*/ 522 w 526"/>
                <a:gd name="T111" fmla="*/ 92 h 452"/>
                <a:gd name="T112" fmla="*/ 526 w 526"/>
                <a:gd name="T113" fmla="*/ 83 h 452"/>
                <a:gd name="T114" fmla="*/ 509 w 526"/>
                <a:gd name="T115" fmla="*/ 65 h 452"/>
                <a:gd name="T116" fmla="*/ 509 w 526"/>
                <a:gd name="T117" fmla="*/ 6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452">
                  <a:moveTo>
                    <a:pt x="509" y="65"/>
                  </a:moveTo>
                  <a:lnTo>
                    <a:pt x="501" y="66"/>
                  </a:lnTo>
                  <a:lnTo>
                    <a:pt x="470" y="15"/>
                  </a:lnTo>
                  <a:lnTo>
                    <a:pt x="460" y="13"/>
                  </a:lnTo>
                  <a:lnTo>
                    <a:pt x="425" y="39"/>
                  </a:lnTo>
                  <a:lnTo>
                    <a:pt x="391" y="26"/>
                  </a:lnTo>
                  <a:lnTo>
                    <a:pt x="368" y="22"/>
                  </a:lnTo>
                  <a:lnTo>
                    <a:pt x="355" y="29"/>
                  </a:lnTo>
                  <a:lnTo>
                    <a:pt x="328" y="27"/>
                  </a:lnTo>
                  <a:lnTo>
                    <a:pt x="303" y="48"/>
                  </a:lnTo>
                  <a:lnTo>
                    <a:pt x="280" y="49"/>
                  </a:lnTo>
                  <a:lnTo>
                    <a:pt x="226" y="25"/>
                  </a:lnTo>
                  <a:lnTo>
                    <a:pt x="205" y="36"/>
                  </a:lnTo>
                  <a:lnTo>
                    <a:pt x="183" y="36"/>
                  </a:lnTo>
                  <a:lnTo>
                    <a:pt x="166" y="17"/>
                  </a:lnTo>
                  <a:lnTo>
                    <a:pt x="121" y="0"/>
                  </a:lnTo>
                  <a:lnTo>
                    <a:pt x="73" y="5"/>
                  </a:lnTo>
                  <a:lnTo>
                    <a:pt x="62" y="16"/>
                  </a:lnTo>
                  <a:lnTo>
                    <a:pt x="56" y="43"/>
                  </a:lnTo>
                  <a:lnTo>
                    <a:pt x="43" y="61"/>
                  </a:lnTo>
                  <a:lnTo>
                    <a:pt x="41" y="104"/>
                  </a:lnTo>
                  <a:lnTo>
                    <a:pt x="39" y="119"/>
                  </a:lnTo>
                  <a:lnTo>
                    <a:pt x="49" y="147"/>
                  </a:lnTo>
                  <a:lnTo>
                    <a:pt x="41" y="167"/>
                  </a:lnTo>
                  <a:lnTo>
                    <a:pt x="45" y="179"/>
                  </a:lnTo>
                  <a:lnTo>
                    <a:pt x="23" y="207"/>
                  </a:lnTo>
                  <a:lnTo>
                    <a:pt x="10" y="223"/>
                  </a:lnTo>
                  <a:lnTo>
                    <a:pt x="1" y="252"/>
                  </a:lnTo>
                  <a:lnTo>
                    <a:pt x="2" y="282"/>
                  </a:lnTo>
                  <a:lnTo>
                    <a:pt x="0" y="358"/>
                  </a:lnTo>
                  <a:lnTo>
                    <a:pt x="40" y="358"/>
                  </a:lnTo>
                  <a:lnTo>
                    <a:pt x="73" y="357"/>
                  </a:lnTo>
                  <a:lnTo>
                    <a:pt x="104" y="388"/>
                  </a:lnTo>
                  <a:lnTo>
                    <a:pt x="119" y="422"/>
                  </a:lnTo>
                  <a:lnTo>
                    <a:pt x="143" y="451"/>
                  </a:lnTo>
                  <a:lnTo>
                    <a:pt x="179" y="452"/>
                  </a:lnTo>
                  <a:lnTo>
                    <a:pt x="196" y="442"/>
                  </a:lnTo>
                  <a:lnTo>
                    <a:pt x="213" y="444"/>
                  </a:lnTo>
                  <a:lnTo>
                    <a:pt x="260" y="427"/>
                  </a:lnTo>
                  <a:lnTo>
                    <a:pt x="271" y="394"/>
                  </a:lnTo>
                  <a:lnTo>
                    <a:pt x="292" y="348"/>
                  </a:lnTo>
                  <a:lnTo>
                    <a:pt x="304" y="348"/>
                  </a:lnTo>
                  <a:lnTo>
                    <a:pt x="331" y="321"/>
                  </a:lnTo>
                  <a:lnTo>
                    <a:pt x="347" y="320"/>
                  </a:lnTo>
                  <a:lnTo>
                    <a:pt x="373" y="340"/>
                  </a:lnTo>
                  <a:lnTo>
                    <a:pt x="403" y="324"/>
                  </a:lnTo>
                  <a:lnTo>
                    <a:pt x="408" y="304"/>
                  </a:lnTo>
                  <a:lnTo>
                    <a:pt x="417" y="286"/>
                  </a:lnTo>
                  <a:lnTo>
                    <a:pt x="424" y="262"/>
                  </a:lnTo>
                  <a:lnTo>
                    <a:pt x="448" y="242"/>
                  </a:lnTo>
                  <a:lnTo>
                    <a:pt x="456" y="209"/>
                  </a:lnTo>
                  <a:lnTo>
                    <a:pt x="466" y="199"/>
                  </a:lnTo>
                  <a:lnTo>
                    <a:pt x="472" y="174"/>
                  </a:lnTo>
                  <a:lnTo>
                    <a:pt x="483" y="145"/>
                  </a:lnTo>
                  <a:lnTo>
                    <a:pt x="520" y="108"/>
                  </a:lnTo>
                  <a:lnTo>
                    <a:pt x="522" y="92"/>
                  </a:lnTo>
                  <a:lnTo>
                    <a:pt x="526" y="83"/>
                  </a:lnTo>
                  <a:lnTo>
                    <a:pt x="509" y="65"/>
                  </a:lnTo>
                  <a:lnTo>
                    <a:pt x="509" y="65"/>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8" name="Rwanda">
              <a:extLst>
                <a:ext uri="{FF2B5EF4-FFF2-40B4-BE49-F238E27FC236}">
                  <a16:creationId xmlns:a16="http://schemas.microsoft.com/office/drawing/2014/main" id="{FA28B7A5-BE53-2DEB-A0A9-EDB4342B8874}"/>
                </a:ext>
              </a:extLst>
            </p:cNvPr>
            <p:cNvSpPr>
              <a:spLocks/>
            </p:cNvSpPr>
            <p:nvPr/>
          </p:nvSpPr>
          <p:spPr bwMode="auto">
            <a:xfrm>
              <a:off x="8147941" y="3649000"/>
              <a:ext cx="127000" cy="133350"/>
            </a:xfrm>
            <a:custGeom>
              <a:avLst/>
              <a:gdLst>
                <a:gd name="T0" fmla="*/ 63 w 80"/>
                <a:gd name="T1" fmla="*/ 0 h 84"/>
                <a:gd name="T2" fmla="*/ 35 w 80"/>
                <a:gd name="T3" fmla="*/ 14 h 84"/>
                <a:gd name="T4" fmla="*/ 24 w 80"/>
                <a:gd name="T5" fmla="*/ 10 h 84"/>
                <a:gd name="T6" fmla="*/ 12 w 80"/>
                <a:gd name="T7" fmla="*/ 23 h 84"/>
                <a:gd name="T8" fmla="*/ 10 w 80"/>
                <a:gd name="T9" fmla="*/ 51 h 84"/>
                <a:gd name="T10" fmla="*/ 4 w 80"/>
                <a:gd name="T11" fmla="*/ 54 h 84"/>
                <a:gd name="T12" fmla="*/ 0 w 80"/>
                <a:gd name="T13" fmla="*/ 80 h 84"/>
                <a:gd name="T14" fmla="*/ 26 w 80"/>
                <a:gd name="T15" fmla="*/ 84 h 84"/>
                <a:gd name="T16" fmla="*/ 41 w 80"/>
                <a:gd name="T17" fmla="*/ 57 h 84"/>
                <a:gd name="T18" fmla="*/ 65 w 80"/>
                <a:gd name="T19" fmla="*/ 60 h 84"/>
                <a:gd name="T20" fmla="*/ 65 w 80"/>
                <a:gd name="T21" fmla="*/ 60 h 84"/>
                <a:gd name="T22" fmla="*/ 77 w 80"/>
                <a:gd name="T23" fmla="*/ 54 h 84"/>
                <a:gd name="T24" fmla="*/ 80 w 80"/>
                <a:gd name="T25" fmla="*/ 26 h 84"/>
                <a:gd name="T26" fmla="*/ 63 w 80"/>
                <a:gd name="T27" fmla="*/ 0 h 84"/>
                <a:gd name="T28" fmla="*/ 63 w 80"/>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4">
                  <a:moveTo>
                    <a:pt x="63" y="0"/>
                  </a:moveTo>
                  <a:lnTo>
                    <a:pt x="35" y="14"/>
                  </a:lnTo>
                  <a:lnTo>
                    <a:pt x="24" y="10"/>
                  </a:lnTo>
                  <a:lnTo>
                    <a:pt x="12" y="23"/>
                  </a:lnTo>
                  <a:lnTo>
                    <a:pt x="10" y="51"/>
                  </a:lnTo>
                  <a:lnTo>
                    <a:pt x="4" y="54"/>
                  </a:lnTo>
                  <a:lnTo>
                    <a:pt x="0" y="80"/>
                  </a:lnTo>
                  <a:lnTo>
                    <a:pt x="26" y="84"/>
                  </a:lnTo>
                  <a:lnTo>
                    <a:pt x="41" y="57"/>
                  </a:lnTo>
                  <a:lnTo>
                    <a:pt x="65" y="60"/>
                  </a:lnTo>
                  <a:lnTo>
                    <a:pt x="65" y="60"/>
                  </a:lnTo>
                  <a:lnTo>
                    <a:pt x="77" y="54"/>
                  </a:lnTo>
                  <a:lnTo>
                    <a:pt x="80" y="26"/>
                  </a:lnTo>
                  <a:lnTo>
                    <a:pt x="63" y="0"/>
                  </a:lnTo>
                  <a:lnTo>
                    <a:pt x="63" y="0"/>
                  </a:lnTo>
                  <a:close/>
                </a:path>
              </a:pathLst>
            </a:custGeom>
            <a:solidFill>
              <a:srgbClr val="334591"/>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79" name="Western Sahara">
              <a:extLst>
                <a:ext uri="{FF2B5EF4-FFF2-40B4-BE49-F238E27FC236}">
                  <a16:creationId xmlns:a16="http://schemas.microsoft.com/office/drawing/2014/main" id="{D8039CA2-9A95-FD8C-9449-695CDB7EA905}"/>
                </a:ext>
              </a:extLst>
            </p:cNvPr>
            <p:cNvSpPr>
              <a:spLocks/>
            </p:cNvSpPr>
            <p:nvPr/>
          </p:nvSpPr>
          <p:spPr bwMode="auto">
            <a:xfrm>
              <a:off x="4906266" y="1501111"/>
              <a:ext cx="590550" cy="496888"/>
            </a:xfrm>
            <a:custGeom>
              <a:avLst/>
              <a:gdLst>
                <a:gd name="T0" fmla="*/ 372 w 372"/>
                <a:gd name="T1" fmla="*/ 0 h 313"/>
                <a:gd name="T2" fmla="*/ 366 w 372"/>
                <a:gd name="T3" fmla="*/ 0 h 313"/>
                <a:gd name="T4" fmla="*/ 366 w 372"/>
                <a:gd name="T5" fmla="*/ 0 h 313"/>
                <a:gd name="T6" fmla="*/ 366 w 372"/>
                <a:gd name="T7" fmla="*/ 25 h 313"/>
                <a:gd name="T8" fmla="*/ 339 w 372"/>
                <a:gd name="T9" fmla="*/ 27 h 313"/>
                <a:gd name="T10" fmla="*/ 326 w 372"/>
                <a:gd name="T11" fmla="*/ 38 h 313"/>
                <a:gd name="T12" fmla="*/ 306 w 372"/>
                <a:gd name="T13" fmla="*/ 38 h 313"/>
                <a:gd name="T14" fmla="*/ 290 w 372"/>
                <a:gd name="T15" fmla="*/ 32 h 313"/>
                <a:gd name="T16" fmla="*/ 254 w 372"/>
                <a:gd name="T17" fmla="*/ 36 h 313"/>
                <a:gd name="T18" fmla="*/ 238 w 372"/>
                <a:gd name="T19" fmla="*/ 73 h 313"/>
                <a:gd name="T20" fmla="*/ 225 w 372"/>
                <a:gd name="T21" fmla="*/ 77 h 313"/>
                <a:gd name="T22" fmla="*/ 203 w 372"/>
                <a:gd name="T23" fmla="*/ 136 h 313"/>
                <a:gd name="T24" fmla="*/ 141 w 372"/>
                <a:gd name="T25" fmla="*/ 186 h 313"/>
                <a:gd name="T26" fmla="*/ 125 w 372"/>
                <a:gd name="T27" fmla="*/ 252 h 313"/>
                <a:gd name="T28" fmla="*/ 107 w 372"/>
                <a:gd name="T29" fmla="*/ 273 h 313"/>
                <a:gd name="T30" fmla="*/ 101 w 372"/>
                <a:gd name="T31" fmla="*/ 290 h 313"/>
                <a:gd name="T32" fmla="*/ 2 w 372"/>
                <a:gd name="T33" fmla="*/ 293 h 313"/>
                <a:gd name="T34" fmla="*/ 2 w 372"/>
                <a:gd name="T35" fmla="*/ 293 h 313"/>
                <a:gd name="T36" fmla="*/ 0 w 372"/>
                <a:gd name="T37" fmla="*/ 313 h 313"/>
                <a:gd name="T38" fmla="*/ 10 w 372"/>
                <a:gd name="T39" fmla="*/ 298 h 313"/>
                <a:gd name="T40" fmla="*/ 181 w 372"/>
                <a:gd name="T41" fmla="*/ 298 h 313"/>
                <a:gd name="T42" fmla="*/ 174 w 372"/>
                <a:gd name="T43" fmla="*/ 230 h 313"/>
                <a:gd name="T44" fmla="*/ 185 w 372"/>
                <a:gd name="T45" fmla="*/ 206 h 313"/>
                <a:gd name="T46" fmla="*/ 226 w 372"/>
                <a:gd name="T47" fmla="*/ 202 h 313"/>
                <a:gd name="T48" fmla="*/ 227 w 372"/>
                <a:gd name="T49" fmla="*/ 81 h 313"/>
                <a:gd name="T50" fmla="*/ 370 w 372"/>
                <a:gd name="T51" fmla="*/ 84 h 313"/>
                <a:gd name="T52" fmla="*/ 371 w 372"/>
                <a:gd name="T53" fmla="*/ 12 h 313"/>
                <a:gd name="T54" fmla="*/ 372 w 372"/>
                <a:gd name="T55" fmla="*/ 3 h 313"/>
                <a:gd name="T56" fmla="*/ 372 w 372"/>
                <a:gd name="T57" fmla="*/ 0 h 313"/>
                <a:gd name="T58" fmla="*/ 372 w 372"/>
                <a:gd name="T5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313">
                  <a:moveTo>
                    <a:pt x="372" y="0"/>
                  </a:moveTo>
                  <a:lnTo>
                    <a:pt x="366" y="0"/>
                  </a:lnTo>
                  <a:lnTo>
                    <a:pt x="366" y="0"/>
                  </a:lnTo>
                  <a:lnTo>
                    <a:pt x="366" y="25"/>
                  </a:lnTo>
                  <a:lnTo>
                    <a:pt x="339" y="27"/>
                  </a:lnTo>
                  <a:lnTo>
                    <a:pt x="326" y="38"/>
                  </a:lnTo>
                  <a:lnTo>
                    <a:pt x="306" y="38"/>
                  </a:lnTo>
                  <a:lnTo>
                    <a:pt x="290" y="32"/>
                  </a:lnTo>
                  <a:lnTo>
                    <a:pt x="254" y="36"/>
                  </a:lnTo>
                  <a:lnTo>
                    <a:pt x="238" y="73"/>
                  </a:lnTo>
                  <a:lnTo>
                    <a:pt x="225" y="77"/>
                  </a:lnTo>
                  <a:lnTo>
                    <a:pt x="203" y="136"/>
                  </a:lnTo>
                  <a:lnTo>
                    <a:pt x="141" y="186"/>
                  </a:lnTo>
                  <a:lnTo>
                    <a:pt x="125" y="252"/>
                  </a:lnTo>
                  <a:lnTo>
                    <a:pt x="107" y="273"/>
                  </a:lnTo>
                  <a:lnTo>
                    <a:pt x="101" y="290"/>
                  </a:lnTo>
                  <a:lnTo>
                    <a:pt x="2" y="293"/>
                  </a:lnTo>
                  <a:lnTo>
                    <a:pt x="2" y="293"/>
                  </a:lnTo>
                  <a:lnTo>
                    <a:pt x="0" y="313"/>
                  </a:lnTo>
                  <a:lnTo>
                    <a:pt x="10" y="298"/>
                  </a:lnTo>
                  <a:lnTo>
                    <a:pt x="181" y="298"/>
                  </a:lnTo>
                  <a:lnTo>
                    <a:pt x="174" y="230"/>
                  </a:lnTo>
                  <a:lnTo>
                    <a:pt x="185" y="206"/>
                  </a:lnTo>
                  <a:lnTo>
                    <a:pt x="226" y="202"/>
                  </a:lnTo>
                  <a:lnTo>
                    <a:pt x="227" y="81"/>
                  </a:lnTo>
                  <a:lnTo>
                    <a:pt x="370" y="84"/>
                  </a:lnTo>
                  <a:lnTo>
                    <a:pt x="371" y="12"/>
                  </a:lnTo>
                  <a:lnTo>
                    <a:pt x="372" y="3"/>
                  </a:lnTo>
                  <a:lnTo>
                    <a:pt x="372" y="0"/>
                  </a:lnTo>
                  <a:lnTo>
                    <a:pt x="372" y="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0" name="Sudan">
              <a:extLst>
                <a:ext uri="{FF2B5EF4-FFF2-40B4-BE49-F238E27FC236}">
                  <a16:creationId xmlns:a16="http://schemas.microsoft.com/office/drawing/2014/main" id="{75EF430F-D0F3-CD50-8FFF-383D779A5194}"/>
                </a:ext>
              </a:extLst>
            </p:cNvPr>
            <p:cNvSpPr>
              <a:spLocks/>
            </p:cNvSpPr>
            <p:nvPr/>
          </p:nvSpPr>
          <p:spPr bwMode="auto">
            <a:xfrm>
              <a:off x="7633591" y="1923387"/>
              <a:ext cx="1139825" cy="996950"/>
            </a:xfrm>
            <a:custGeom>
              <a:avLst/>
              <a:gdLst>
                <a:gd name="T0" fmla="*/ 652 w 718"/>
                <a:gd name="T1" fmla="*/ 237 h 628"/>
                <a:gd name="T2" fmla="*/ 697 w 718"/>
                <a:gd name="T3" fmla="*/ 215 h 628"/>
                <a:gd name="T4" fmla="*/ 694 w 718"/>
                <a:gd name="T5" fmla="*/ 171 h 628"/>
                <a:gd name="T6" fmla="*/ 656 w 718"/>
                <a:gd name="T7" fmla="*/ 103 h 628"/>
                <a:gd name="T8" fmla="*/ 656 w 718"/>
                <a:gd name="T9" fmla="*/ 46 h 628"/>
                <a:gd name="T10" fmla="*/ 466 w 718"/>
                <a:gd name="T11" fmla="*/ 0 h 628"/>
                <a:gd name="T12" fmla="*/ 121 w 718"/>
                <a:gd name="T13" fmla="*/ 0 h 628"/>
                <a:gd name="T14" fmla="*/ 74 w 718"/>
                <a:gd name="T15" fmla="*/ 94 h 628"/>
                <a:gd name="T16" fmla="*/ 84 w 718"/>
                <a:gd name="T17" fmla="*/ 300 h 628"/>
                <a:gd name="T18" fmla="*/ 26 w 718"/>
                <a:gd name="T19" fmla="*/ 331 h 628"/>
                <a:gd name="T20" fmla="*/ 24 w 718"/>
                <a:gd name="T21" fmla="*/ 371 h 628"/>
                <a:gd name="T22" fmla="*/ 16 w 718"/>
                <a:gd name="T23" fmla="*/ 405 h 628"/>
                <a:gd name="T24" fmla="*/ 0 w 718"/>
                <a:gd name="T25" fmla="*/ 442 h 628"/>
                <a:gd name="T26" fmla="*/ 26 w 718"/>
                <a:gd name="T27" fmla="*/ 458 h 628"/>
                <a:gd name="T28" fmla="*/ 43 w 718"/>
                <a:gd name="T29" fmla="*/ 499 h 628"/>
                <a:gd name="T30" fmla="*/ 49 w 718"/>
                <a:gd name="T31" fmla="*/ 530 h 628"/>
                <a:gd name="T32" fmla="*/ 75 w 718"/>
                <a:gd name="T33" fmla="*/ 579 h 628"/>
                <a:gd name="T34" fmla="*/ 72 w 718"/>
                <a:gd name="T35" fmla="*/ 613 h 628"/>
                <a:gd name="T36" fmla="*/ 91 w 718"/>
                <a:gd name="T37" fmla="*/ 628 h 628"/>
                <a:gd name="T38" fmla="*/ 120 w 718"/>
                <a:gd name="T39" fmla="*/ 615 h 628"/>
                <a:gd name="T40" fmla="*/ 142 w 718"/>
                <a:gd name="T41" fmla="*/ 551 h 628"/>
                <a:gd name="T42" fmla="*/ 182 w 718"/>
                <a:gd name="T43" fmla="*/ 557 h 628"/>
                <a:gd name="T44" fmla="*/ 218 w 718"/>
                <a:gd name="T45" fmla="*/ 589 h 628"/>
                <a:gd name="T46" fmla="*/ 265 w 718"/>
                <a:gd name="T47" fmla="*/ 583 h 628"/>
                <a:gd name="T48" fmla="*/ 316 w 718"/>
                <a:gd name="T49" fmla="*/ 592 h 628"/>
                <a:gd name="T50" fmla="*/ 340 w 718"/>
                <a:gd name="T51" fmla="*/ 573 h 628"/>
                <a:gd name="T52" fmla="*/ 361 w 718"/>
                <a:gd name="T53" fmla="*/ 550 h 628"/>
                <a:gd name="T54" fmla="*/ 421 w 718"/>
                <a:gd name="T55" fmla="*/ 572 h 628"/>
                <a:gd name="T56" fmla="*/ 467 w 718"/>
                <a:gd name="T57" fmla="*/ 513 h 628"/>
                <a:gd name="T58" fmla="*/ 451 w 718"/>
                <a:gd name="T59" fmla="*/ 471 h 628"/>
                <a:gd name="T60" fmla="*/ 480 w 718"/>
                <a:gd name="T61" fmla="*/ 459 h 628"/>
                <a:gd name="T62" fmla="*/ 496 w 718"/>
                <a:gd name="T63" fmla="*/ 496 h 628"/>
                <a:gd name="T64" fmla="*/ 526 w 718"/>
                <a:gd name="T65" fmla="*/ 549 h 628"/>
                <a:gd name="T66" fmla="*/ 532 w 718"/>
                <a:gd name="T67" fmla="*/ 588 h 628"/>
                <a:gd name="T68" fmla="*/ 538 w 718"/>
                <a:gd name="T69" fmla="*/ 583 h 628"/>
                <a:gd name="T70" fmla="*/ 570 w 718"/>
                <a:gd name="T71" fmla="*/ 522 h 628"/>
                <a:gd name="T72" fmla="*/ 592 w 718"/>
                <a:gd name="T73" fmla="*/ 465 h 628"/>
                <a:gd name="T74" fmla="*/ 634 w 718"/>
                <a:gd name="T75" fmla="*/ 397 h 628"/>
                <a:gd name="T76" fmla="*/ 634 w 718"/>
                <a:gd name="T77" fmla="*/ 337 h 628"/>
                <a:gd name="T78" fmla="*/ 650 w 718"/>
                <a:gd name="T79" fmla="*/ 2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8" h="628">
                  <a:moveTo>
                    <a:pt x="650" y="269"/>
                  </a:moveTo>
                  <a:lnTo>
                    <a:pt x="652" y="237"/>
                  </a:lnTo>
                  <a:lnTo>
                    <a:pt x="665" y="223"/>
                  </a:lnTo>
                  <a:lnTo>
                    <a:pt x="697" y="215"/>
                  </a:lnTo>
                  <a:lnTo>
                    <a:pt x="718" y="188"/>
                  </a:lnTo>
                  <a:lnTo>
                    <a:pt x="694" y="171"/>
                  </a:lnTo>
                  <a:lnTo>
                    <a:pt x="675" y="159"/>
                  </a:lnTo>
                  <a:lnTo>
                    <a:pt x="656" y="103"/>
                  </a:lnTo>
                  <a:lnTo>
                    <a:pt x="647" y="55"/>
                  </a:lnTo>
                  <a:lnTo>
                    <a:pt x="656" y="46"/>
                  </a:lnTo>
                  <a:lnTo>
                    <a:pt x="639" y="0"/>
                  </a:lnTo>
                  <a:lnTo>
                    <a:pt x="466" y="0"/>
                  </a:lnTo>
                  <a:lnTo>
                    <a:pt x="296" y="0"/>
                  </a:lnTo>
                  <a:lnTo>
                    <a:pt x="121" y="0"/>
                  </a:lnTo>
                  <a:lnTo>
                    <a:pt x="125" y="94"/>
                  </a:lnTo>
                  <a:lnTo>
                    <a:pt x="74" y="94"/>
                  </a:lnTo>
                  <a:lnTo>
                    <a:pt x="74" y="114"/>
                  </a:lnTo>
                  <a:lnTo>
                    <a:pt x="84" y="300"/>
                  </a:lnTo>
                  <a:lnTo>
                    <a:pt x="45" y="297"/>
                  </a:lnTo>
                  <a:lnTo>
                    <a:pt x="26" y="331"/>
                  </a:lnTo>
                  <a:lnTo>
                    <a:pt x="15" y="360"/>
                  </a:lnTo>
                  <a:lnTo>
                    <a:pt x="24" y="371"/>
                  </a:lnTo>
                  <a:lnTo>
                    <a:pt x="10" y="386"/>
                  </a:lnTo>
                  <a:lnTo>
                    <a:pt x="16" y="405"/>
                  </a:lnTo>
                  <a:lnTo>
                    <a:pt x="5" y="425"/>
                  </a:lnTo>
                  <a:lnTo>
                    <a:pt x="0" y="442"/>
                  </a:lnTo>
                  <a:lnTo>
                    <a:pt x="16" y="439"/>
                  </a:lnTo>
                  <a:lnTo>
                    <a:pt x="26" y="458"/>
                  </a:lnTo>
                  <a:lnTo>
                    <a:pt x="27" y="485"/>
                  </a:lnTo>
                  <a:lnTo>
                    <a:pt x="43" y="499"/>
                  </a:lnTo>
                  <a:lnTo>
                    <a:pt x="43" y="510"/>
                  </a:lnTo>
                  <a:lnTo>
                    <a:pt x="49" y="530"/>
                  </a:lnTo>
                  <a:lnTo>
                    <a:pt x="75" y="560"/>
                  </a:lnTo>
                  <a:lnTo>
                    <a:pt x="75" y="579"/>
                  </a:lnTo>
                  <a:lnTo>
                    <a:pt x="69" y="598"/>
                  </a:lnTo>
                  <a:lnTo>
                    <a:pt x="72" y="613"/>
                  </a:lnTo>
                  <a:lnTo>
                    <a:pt x="87" y="627"/>
                  </a:lnTo>
                  <a:lnTo>
                    <a:pt x="91" y="628"/>
                  </a:lnTo>
                  <a:lnTo>
                    <a:pt x="105" y="623"/>
                  </a:lnTo>
                  <a:lnTo>
                    <a:pt x="120" y="615"/>
                  </a:lnTo>
                  <a:lnTo>
                    <a:pt x="130" y="572"/>
                  </a:lnTo>
                  <a:lnTo>
                    <a:pt x="142" y="551"/>
                  </a:lnTo>
                  <a:lnTo>
                    <a:pt x="174" y="544"/>
                  </a:lnTo>
                  <a:lnTo>
                    <a:pt x="182" y="557"/>
                  </a:lnTo>
                  <a:lnTo>
                    <a:pt x="206" y="584"/>
                  </a:lnTo>
                  <a:lnTo>
                    <a:pt x="218" y="589"/>
                  </a:lnTo>
                  <a:lnTo>
                    <a:pt x="233" y="581"/>
                  </a:lnTo>
                  <a:lnTo>
                    <a:pt x="265" y="583"/>
                  </a:lnTo>
                  <a:lnTo>
                    <a:pt x="272" y="592"/>
                  </a:lnTo>
                  <a:lnTo>
                    <a:pt x="316" y="592"/>
                  </a:lnTo>
                  <a:lnTo>
                    <a:pt x="317" y="583"/>
                  </a:lnTo>
                  <a:lnTo>
                    <a:pt x="340" y="573"/>
                  </a:lnTo>
                  <a:lnTo>
                    <a:pt x="345" y="560"/>
                  </a:lnTo>
                  <a:lnTo>
                    <a:pt x="361" y="550"/>
                  </a:lnTo>
                  <a:lnTo>
                    <a:pt x="400" y="578"/>
                  </a:lnTo>
                  <a:lnTo>
                    <a:pt x="421" y="572"/>
                  </a:lnTo>
                  <a:lnTo>
                    <a:pt x="443" y="538"/>
                  </a:lnTo>
                  <a:lnTo>
                    <a:pt x="467" y="513"/>
                  </a:lnTo>
                  <a:lnTo>
                    <a:pt x="462" y="485"/>
                  </a:lnTo>
                  <a:lnTo>
                    <a:pt x="451" y="471"/>
                  </a:lnTo>
                  <a:lnTo>
                    <a:pt x="478" y="469"/>
                  </a:lnTo>
                  <a:lnTo>
                    <a:pt x="480" y="459"/>
                  </a:lnTo>
                  <a:lnTo>
                    <a:pt x="501" y="461"/>
                  </a:lnTo>
                  <a:lnTo>
                    <a:pt x="496" y="496"/>
                  </a:lnTo>
                  <a:lnTo>
                    <a:pt x="503" y="530"/>
                  </a:lnTo>
                  <a:lnTo>
                    <a:pt x="526" y="549"/>
                  </a:lnTo>
                  <a:lnTo>
                    <a:pt x="532" y="565"/>
                  </a:lnTo>
                  <a:lnTo>
                    <a:pt x="532" y="588"/>
                  </a:lnTo>
                  <a:lnTo>
                    <a:pt x="538" y="589"/>
                  </a:lnTo>
                  <a:lnTo>
                    <a:pt x="538" y="583"/>
                  </a:lnTo>
                  <a:lnTo>
                    <a:pt x="550" y="534"/>
                  </a:lnTo>
                  <a:lnTo>
                    <a:pt x="570" y="522"/>
                  </a:lnTo>
                  <a:lnTo>
                    <a:pt x="575" y="502"/>
                  </a:lnTo>
                  <a:lnTo>
                    <a:pt x="592" y="465"/>
                  </a:lnTo>
                  <a:lnTo>
                    <a:pt x="618" y="443"/>
                  </a:lnTo>
                  <a:lnTo>
                    <a:pt x="634" y="397"/>
                  </a:lnTo>
                  <a:lnTo>
                    <a:pt x="640" y="356"/>
                  </a:lnTo>
                  <a:lnTo>
                    <a:pt x="634" y="337"/>
                  </a:lnTo>
                  <a:lnTo>
                    <a:pt x="650" y="269"/>
                  </a:lnTo>
                  <a:lnTo>
                    <a:pt x="650" y="269"/>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1" name="South Sudan">
              <a:extLst>
                <a:ext uri="{FF2B5EF4-FFF2-40B4-BE49-F238E27FC236}">
                  <a16:creationId xmlns:a16="http://schemas.microsoft.com/office/drawing/2014/main" id="{084B6992-FD1A-3B17-A481-E813C47EC06B}"/>
                </a:ext>
              </a:extLst>
            </p:cNvPr>
            <p:cNvSpPr>
              <a:spLocks/>
            </p:cNvSpPr>
            <p:nvPr/>
          </p:nvSpPr>
          <p:spPr bwMode="auto">
            <a:xfrm>
              <a:off x="7778054" y="2652050"/>
              <a:ext cx="809625" cy="650875"/>
            </a:xfrm>
            <a:custGeom>
              <a:avLst/>
              <a:gdLst>
                <a:gd name="T0" fmla="*/ 435 w 510"/>
                <a:gd name="T1" fmla="*/ 90 h 410"/>
                <a:gd name="T2" fmla="*/ 405 w 510"/>
                <a:gd name="T3" fmla="*/ 37 h 410"/>
                <a:gd name="T4" fmla="*/ 389 w 510"/>
                <a:gd name="T5" fmla="*/ 0 h 410"/>
                <a:gd name="T6" fmla="*/ 360 w 510"/>
                <a:gd name="T7" fmla="*/ 12 h 410"/>
                <a:gd name="T8" fmla="*/ 376 w 510"/>
                <a:gd name="T9" fmla="*/ 54 h 410"/>
                <a:gd name="T10" fmla="*/ 330 w 510"/>
                <a:gd name="T11" fmla="*/ 113 h 410"/>
                <a:gd name="T12" fmla="*/ 270 w 510"/>
                <a:gd name="T13" fmla="*/ 91 h 410"/>
                <a:gd name="T14" fmla="*/ 249 w 510"/>
                <a:gd name="T15" fmla="*/ 114 h 410"/>
                <a:gd name="T16" fmla="*/ 225 w 510"/>
                <a:gd name="T17" fmla="*/ 133 h 410"/>
                <a:gd name="T18" fmla="*/ 174 w 510"/>
                <a:gd name="T19" fmla="*/ 124 h 410"/>
                <a:gd name="T20" fmla="*/ 127 w 510"/>
                <a:gd name="T21" fmla="*/ 130 h 410"/>
                <a:gd name="T22" fmla="*/ 91 w 510"/>
                <a:gd name="T23" fmla="*/ 98 h 410"/>
                <a:gd name="T24" fmla="*/ 51 w 510"/>
                <a:gd name="T25" fmla="*/ 92 h 410"/>
                <a:gd name="T26" fmla="*/ 29 w 510"/>
                <a:gd name="T27" fmla="*/ 156 h 410"/>
                <a:gd name="T28" fmla="*/ 0 w 510"/>
                <a:gd name="T29" fmla="*/ 169 h 410"/>
                <a:gd name="T30" fmla="*/ 56 w 510"/>
                <a:gd name="T31" fmla="*/ 207 h 410"/>
                <a:gd name="T32" fmla="*/ 86 w 510"/>
                <a:gd name="T33" fmla="*/ 247 h 410"/>
                <a:gd name="T34" fmla="*/ 117 w 510"/>
                <a:gd name="T35" fmla="*/ 295 h 410"/>
                <a:gd name="T36" fmla="*/ 158 w 510"/>
                <a:gd name="T37" fmla="*/ 329 h 410"/>
                <a:gd name="T38" fmla="*/ 205 w 510"/>
                <a:gd name="T39" fmla="*/ 373 h 410"/>
                <a:gd name="T40" fmla="*/ 237 w 510"/>
                <a:gd name="T41" fmla="*/ 368 h 410"/>
                <a:gd name="T42" fmla="*/ 273 w 510"/>
                <a:gd name="T43" fmla="*/ 378 h 410"/>
                <a:gd name="T44" fmla="*/ 313 w 510"/>
                <a:gd name="T45" fmla="*/ 410 h 410"/>
                <a:gd name="T46" fmla="*/ 360 w 510"/>
                <a:gd name="T47" fmla="*/ 407 h 410"/>
                <a:gd name="T48" fmla="*/ 427 w 510"/>
                <a:gd name="T49" fmla="*/ 397 h 410"/>
                <a:gd name="T50" fmla="*/ 481 w 510"/>
                <a:gd name="T51" fmla="*/ 347 h 410"/>
                <a:gd name="T52" fmla="*/ 484 w 510"/>
                <a:gd name="T53" fmla="*/ 265 h 410"/>
                <a:gd name="T54" fmla="*/ 455 w 510"/>
                <a:gd name="T55" fmla="*/ 235 h 410"/>
                <a:gd name="T56" fmla="*/ 404 w 510"/>
                <a:gd name="T57" fmla="*/ 209 h 410"/>
                <a:gd name="T58" fmla="*/ 442 w 510"/>
                <a:gd name="T59" fmla="*/ 181 h 410"/>
                <a:gd name="T60" fmla="*/ 447 w 510"/>
                <a:gd name="T61" fmla="*/ 130 h 410"/>
                <a:gd name="T62" fmla="*/ 441 w 510"/>
                <a:gd name="T63" fmla="*/ 1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410">
                  <a:moveTo>
                    <a:pt x="441" y="106"/>
                  </a:moveTo>
                  <a:lnTo>
                    <a:pt x="435" y="90"/>
                  </a:lnTo>
                  <a:lnTo>
                    <a:pt x="412" y="71"/>
                  </a:lnTo>
                  <a:lnTo>
                    <a:pt x="405" y="37"/>
                  </a:lnTo>
                  <a:lnTo>
                    <a:pt x="410" y="2"/>
                  </a:lnTo>
                  <a:lnTo>
                    <a:pt x="389" y="0"/>
                  </a:lnTo>
                  <a:lnTo>
                    <a:pt x="387" y="10"/>
                  </a:lnTo>
                  <a:lnTo>
                    <a:pt x="360" y="12"/>
                  </a:lnTo>
                  <a:lnTo>
                    <a:pt x="371" y="26"/>
                  </a:lnTo>
                  <a:lnTo>
                    <a:pt x="376" y="54"/>
                  </a:lnTo>
                  <a:lnTo>
                    <a:pt x="352" y="79"/>
                  </a:lnTo>
                  <a:lnTo>
                    <a:pt x="330" y="113"/>
                  </a:lnTo>
                  <a:lnTo>
                    <a:pt x="309" y="119"/>
                  </a:lnTo>
                  <a:lnTo>
                    <a:pt x="270" y="91"/>
                  </a:lnTo>
                  <a:lnTo>
                    <a:pt x="254" y="101"/>
                  </a:lnTo>
                  <a:lnTo>
                    <a:pt x="249" y="114"/>
                  </a:lnTo>
                  <a:lnTo>
                    <a:pt x="226" y="124"/>
                  </a:lnTo>
                  <a:lnTo>
                    <a:pt x="225" y="133"/>
                  </a:lnTo>
                  <a:lnTo>
                    <a:pt x="181" y="133"/>
                  </a:lnTo>
                  <a:lnTo>
                    <a:pt x="174" y="124"/>
                  </a:lnTo>
                  <a:lnTo>
                    <a:pt x="142" y="122"/>
                  </a:lnTo>
                  <a:lnTo>
                    <a:pt x="127" y="130"/>
                  </a:lnTo>
                  <a:lnTo>
                    <a:pt x="115" y="125"/>
                  </a:lnTo>
                  <a:lnTo>
                    <a:pt x="91" y="98"/>
                  </a:lnTo>
                  <a:lnTo>
                    <a:pt x="83" y="85"/>
                  </a:lnTo>
                  <a:lnTo>
                    <a:pt x="51" y="92"/>
                  </a:lnTo>
                  <a:lnTo>
                    <a:pt x="39" y="113"/>
                  </a:lnTo>
                  <a:lnTo>
                    <a:pt x="29" y="156"/>
                  </a:lnTo>
                  <a:lnTo>
                    <a:pt x="14" y="164"/>
                  </a:lnTo>
                  <a:lnTo>
                    <a:pt x="0" y="169"/>
                  </a:lnTo>
                  <a:lnTo>
                    <a:pt x="31" y="188"/>
                  </a:lnTo>
                  <a:lnTo>
                    <a:pt x="56" y="207"/>
                  </a:lnTo>
                  <a:lnTo>
                    <a:pt x="56" y="222"/>
                  </a:lnTo>
                  <a:lnTo>
                    <a:pt x="86" y="247"/>
                  </a:lnTo>
                  <a:lnTo>
                    <a:pt x="105" y="267"/>
                  </a:lnTo>
                  <a:lnTo>
                    <a:pt x="117" y="295"/>
                  </a:lnTo>
                  <a:lnTo>
                    <a:pt x="151" y="314"/>
                  </a:lnTo>
                  <a:lnTo>
                    <a:pt x="158" y="329"/>
                  </a:lnTo>
                  <a:lnTo>
                    <a:pt x="185" y="367"/>
                  </a:lnTo>
                  <a:lnTo>
                    <a:pt x="205" y="373"/>
                  </a:lnTo>
                  <a:lnTo>
                    <a:pt x="217" y="366"/>
                  </a:lnTo>
                  <a:lnTo>
                    <a:pt x="237" y="368"/>
                  </a:lnTo>
                  <a:lnTo>
                    <a:pt x="263" y="359"/>
                  </a:lnTo>
                  <a:lnTo>
                    <a:pt x="273" y="378"/>
                  </a:lnTo>
                  <a:lnTo>
                    <a:pt x="313" y="410"/>
                  </a:lnTo>
                  <a:lnTo>
                    <a:pt x="313" y="410"/>
                  </a:lnTo>
                  <a:lnTo>
                    <a:pt x="331" y="397"/>
                  </a:lnTo>
                  <a:lnTo>
                    <a:pt x="360" y="407"/>
                  </a:lnTo>
                  <a:lnTo>
                    <a:pt x="395" y="396"/>
                  </a:lnTo>
                  <a:lnTo>
                    <a:pt x="427" y="397"/>
                  </a:lnTo>
                  <a:lnTo>
                    <a:pt x="454" y="375"/>
                  </a:lnTo>
                  <a:lnTo>
                    <a:pt x="481" y="347"/>
                  </a:lnTo>
                  <a:lnTo>
                    <a:pt x="510" y="316"/>
                  </a:lnTo>
                  <a:lnTo>
                    <a:pt x="484" y="265"/>
                  </a:lnTo>
                  <a:lnTo>
                    <a:pt x="463" y="254"/>
                  </a:lnTo>
                  <a:lnTo>
                    <a:pt x="455" y="235"/>
                  </a:lnTo>
                  <a:lnTo>
                    <a:pt x="432" y="212"/>
                  </a:lnTo>
                  <a:lnTo>
                    <a:pt x="404" y="209"/>
                  </a:lnTo>
                  <a:lnTo>
                    <a:pt x="419" y="182"/>
                  </a:lnTo>
                  <a:lnTo>
                    <a:pt x="442" y="181"/>
                  </a:lnTo>
                  <a:lnTo>
                    <a:pt x="449" y="167"/>
                  </a:lnTo>
                  <a:lnTo>
                    <a:pt x="447" y="130"/>
                  </a:lnTo>
                  <a:lnTo>
                    <a:pt x="441" y="129"/>
                  </a:lnTo>
                  <a:lnTo>
                    <a:pt x="441" y="106"/>
                  </a:lnTo>
                  <a:lnTo>
                    <a:pt x="441" y="106"/>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2" name="Senegal">
              <a:extLst>
                <a:ext uri="{FF2B5EF4-FFF2-40B4-BE49-F238E27FC236}">
                  <a16:creationId xmlns:a16="http://schemas.microsoft.com/office/drawing/2014/main" id="{3AD42142-1E4B-9DC2-EA60-B0EED892402E}"/>
                </a:ext>
              </a:extLst>
            </p:cNvPr>
            <p:cNvSpPr>
              <a:spLocks/>
            </p:cNvSpPr>
            <p:nvPr/>
          </p:nvSpPr>
          <p:spPr bwMode="auto">
            <a:xfrm>
              <a:off x="4858807" y="2321525"/>
              <a:ext cx="430213" cy="317500"/>
            </a:xfrm>
            <a:custGeom>
              <a:avLst/>
              <a:gdLst>
                <a:gd name="T0" fmla="*/ 241 w 271"/>
                <a:gd name="T1" fmla="*/ 93 h 200"/>
                <a:gd name="T2" fmla="*/ 213 w 271"/>
                <a:gd name="T3" fmla="*/ 60 h 200"/>
                <a:gd name="T4" fmla="*/ 186 w 271"/>
                <a:gd name="T5" fmla="*/ 26 h 200"/>
                <a:gd name="T6" fmla="*/ 158 w 271"/>
                <a:gd name="T7" fmla="*/ 14 h 200"/>
                <a:gd name="T8" fmla="*/ 137 w 271"/>
                <a:gd name="T9" fmla="*/ 0 h 200"/>
                <a:gd name="T10" fmla="*/ 112 w 271"/>
                <a:gd name="T11" fmla="*/ 0 h 200"/>
                <a:gd name="T12" fmla="*/ 90 w 271"/>
                <a:gd name="T13" fmla="*/ 10 h 200"/>
                <a:gd name="T14" fmla="*/ 68 w 271"/>
                <a:gd name="T15" fmla="*/ 6 h 200"/>
                <a:gd name="T16" fmla="*/ 53 w 271"/>
                <a:gd name="T17" fmla="*/ 21 h 200"/>
                <a:gd name="T18" fmla="*/ 42 w 271"/>
                <a:gd name="T19" fmla="*/ 46 h 200"/>
                <a:gd name="T20" fmla="*/ 20 w 271"/>
                <a:gd name="T21" fmla="*/ 79 h 200"/>
                <a:gd name="T22" fmla="*/ 0 w 271"/>
                <a:gd name="T23" fmla="*/ 88 h 200"/>
                <a:gd name="T24" fmla="*/ 22 w 271"/>
                <a:gd name="T25" fmla="*/ 105 h 200"/>
                <a:gd name="T26" fmla="*/ 39 w 271"/>
                <a:gd name="T27" fmla="*/ 141 h 200"/>
                <a:gd name="T28" fmla="*/ 88 w 271"/>
                <a:gd name="T29" fmla="*/ 139 h 200"/>
                <a:gd name="T30" fmla="*/ 98 w 271"/>
                <a:gd name="T31" fmla="*/ 128 h 200"/>
                <a:gd name="T32" fmla="*/ 112 w 271"/>
                <a:gd name="T33" fmla="*/ 127 h 200"/>
                <a:gd name="T34" fmla="*/ 129 w 271"/>
                <a:gd name="T35" fmla="*/ 139 h 200"/>
                <a:gd name="T36" fmla="*/ 143 w 271"/>
                <a:gd name="T37" fmla="*/ 139 h 200"/>
                <a:gd name="T38" fmla="*/ 158 w 271"/>
                <a:gd name="T39" fmla="*/ 132 h 200"/>
                <a:gd name="T40" fmla="*/ 166 w 271"/>
                <a:gd name="T41" fmla="*/ 145 h 200"/>
                <a:gd name="T42" fmla="*/ 147 w 271"/>
                <a:gd name="T43" fmla="*/ 155 h 200"/>
                <a:gd name="T44" fmla="*/ 128 w 271"/>
                <a:gd name="T45" fmla="*/ 155 h 200"/>
                <a:gd name="T46" fmla="*/ 109 w 271"/>
                <a:gd name="T47" fmla="*/ 145 h 200"/>
                <a:gd name="T48" fmla="*/ 92 w 271"/>
                <a:gd name="T49" fmla="*/ 155 h 200"/>
                <a:gd name="T50" fmla="*/ 85 w 271"/>
                <a:gd name="T51" fmla="*/ 156 h 200"/>
                <a:gd name="T52" fmla="*/ 74 w 271"/>
                <a:gd name="T53" fmla="*/ 162 h 200"/>
                <a:gd name="T54" fmla="*/ 34 w 271"/>
                <a:gd name="T55" fmla="*/ 162 h 200"/>
                <a:gd name="T56" fmla="*/ 40 w 271"/>
                <a:gd name="T57" fmla="*/ 198 h 200"/>
                <a:gd name="T58" fmla="*/ 64 w 271"/>
                <a:gd name="T59" fmla="*/ 190 h 200"/>
                <a:gd name="T60" fmla="*/ 78 w 271"/>
                <a:gd name="T61" fmla="*/ 192 h 200"/>
                <a:gd name="T62" fmla="*/ 90 w 271"/>
                <a:gd name="T63" fmla="*/ 186 h 200"/>
                <a:gd name="T64" fmla="*/ 172 w 271"/>
                <a:gd name="T65" fmla="*/ 189 h 200"/>
                <a:gd name="T66" fmla="*/ 193 w 271"/>
                <a:gd name="T67" fmla="*/ 189 h 200"/>
                <a:gd name="T68" fmla="*/ 225 w 271"/>
                <a:gd name="T69" fmla="*/ 200 h 200"/>
                <a:gd name="T70" fmla="*/ 235 w 271"/>
                <a:gd name="T71" fmla="*/ 200 h 200"/>
                <a:gd name="T72" fmla="*/ 238 w 271"/>
                <a:gd name="T73" fmla="*/ 194 h 200"/>
                <a:gd name="T74" fmla="*/ 262 w 271"/>
                <a:gd name="T75" fmla="*/ 198 h 200"/>
                <a:gd name="T76" fmla="*/ 269 w 271"/>
                <a:gd name="T77" fmla="*/ 195 h 200"/>
                <a:gd name="T78" fmla="*/ 271 w 271"/>
                <a:gd name="T79" fmla="*/ 180 h 200"/>
                <a:gd name="T80" fmla="*/ 267 w 271"/>
                <a:gd name="T81" fmla="*/ 162 h 200"/>
                <a:gd name="T82" fmla="*/ 251 w 271"/>
                <a:gd name="T83" fmla="*/ 149 h 200"/>
                <a:gd name="T84" fmla="*/ 243 w 271"/>
                <a:gd name="T85" fmla="*/ 122 h 200"/>
                <a:gd name="T86" fmla="*/ 241 w 271"/>
                <a:gd name="T87" fmla="*/ 93 h 200"/>
                <a:gd name="T88" fmla="*/ 241 w 271"/>
                <a:gd name="T89"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200">
                  <a:moveTo>
                    <a:pt x="241" y="93"/>
                  </a:moveTo>
                  <a:lnTo>
                    <a:pt x="213" y="60"/>
                  </a:lnTo>
                  <a:lnTo>
                    <a:pt x="186" y="26"/>
                  </a:lnTo>
                  <a:lnTo>
                    <a:pt x="158" y="14"/>
                  </a:lnTo>
                  <a:lnTo>
                    <a:pt x="137" y="0"/>
                  </a:lnTo>
                  <a:lnTo>
                    <a:pt x="112" y="0"/>
                  </a:lnTo>
                  <a:lnTo>
                    <a:pt x="90" y="10"/>
                  </a:lnTo>
                  <a:lnTo>
                    <a:pt x="68" y="6"/>
                  </a:lnTo>
                  <a:lnTo>
                    <a:pt x="53" y="21"/>
                  </a:lnTo>
                  <a:lnTo>
                    <a:pt x="42" y="46"/>
                  </a:lnTo>
                  <a:lnTo>
                    <a:pt x="20" y="79"/>
                  </a:lnTo>
                  <a:lnTo>
                    <a:pt x="0" y="88"/>
                  </a:lnTo>
                  <a:lnTo>
                    <a:pt x="22" y="105"/>
                  </a:lnTo>
                  <a:lnTo>
                    <a:pt x="39" y="141"/>
                  </a:lnTo>
                  <a:lnTo>
                    <a:pt x="88" y="139"/>
                  </a:lnTo>
                  <a:lnTo>
                    <a:pt x="98" y="128"/>
                  </a:lnTo>
                  <a:lnTo>
                    <a:pt x="112" y="127"/>
                  </a:lnTo>
                  <a:lnTo>
                    <a:pt x="129" y="139"/>
                  </a:lnTo>
                  <a:lnTo>
                    <a:pt x="143" y="139"/>
                  </a:lnTo>
                  <a:lnTo>
                    <a:pt x="158" y="132"/>
                  </a:lnTo>
                  <a:lnTo>
                    <a:pt x="166" y="145"/>
                  </a:lnTo>
                  <a:lnTo>
                    <a:pt x="147" y="155"/>
                  </a:lnTo>
                  <a:lnTo>
                    <a:pt x="128" y="155"/>
                  </a:lnTo>
                  <a:lnTo>
                    <a:pt x="109" y="145"/>
                  </a:lnTo>
                  <a:lnTo>
                    <a:pt x="92" y="155"/>
                  </a:lnTo>
                  <a:lnTo>
                    <a:pt x="85" y="156"/>
                  </a:lnTo>
                  <a:lnTo>
                    <a:pt x="74" y="162"/>
                  </a:lnTo>
                  <a:lnTo>
                    <a:pt x="34" y="162"/>
                  </a:lnTo>
                  <a:lnTo>
                    <a:pt x="40" y="198"/>
                  </a:lnTo>
                  <a:lnTo>
                    <a:pt x="64" y="190"/>
                  </a:lnTo>
                  <a:lnTo>
                    <a:pt x="78" y="192"/>
                  </a:lnTo>
                  <a:lnTo>
                    <a:pt x="90" y="186"/>
                  </a:lnTo>
                  <a:lnTo>
                    <a:pt x="172" y="189"/>
                  </a:lnTo>
                  <a:lnTo>
                    <a:pt x="193" y="189"/>
                  </a:lnTo>
                  <a:lnTo>
                    <a:pt x="225" y="200"/>
                  </a:lnTo>
                  <a:lnTo>
                    <a:pt x="235" y="200"/>
                  </a:lnTo>
                  <a:lnTo>
                    <a:pt x="238" y="194"/>
                  </a:lnTo>
                  <a:lnTo>
                    <a:pt x="262" y="198"/>
                  </a:lnTo>
                  <a:lnTo>
                    <a:pt x="269" y="195"/>
                  </a:lnTo>
                  <a:lnTo>
                    <a:pt x="271" y="180"/>
                  </a:lnTo>
                  <a:lnTo>
                    <a:pt x="267" y="162"/>
                  </a:lnTo>
                  <a:lnTo>
                    <a:pt x="251" y="149"/>
                  </a:lnTo>
                  <a:lnTo>
                    <a:pt x="243" y="122"/>
                  </a:lnTo>
                  <a:lnTo>
                    <a:pt x="241" y="93"/>
                  </a:lnTo>
                  <a:lnTo>
                    <a:pt x="241" y="93"/>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3" name="Sierra Leone">
              <a:extLst>
                <a:ext uri="{FF2B5EF4-FFF2-40B4-BE49-F238E27FC236}">
                  <a16:creationId xmlns:a16="http://schemas.microsoft.com/office/drawing/2014/main" id="{35F2368E-2846-4956-9D1F-58BF6B0D3BD9}"/>
                </a:ext>
              </a:extLst>
            </p:cNvPr>
            <p:cNvSpPr>
              <a:spLocks/>
            </p:cNvSpPr>
            <p:nvPr/>
          </p:nvSpPr>
          <p:spPr bwMode="auto">
            <a:xfrm>
              <a:off x="5157091" y="2813975"/>
              <a:ext cx="211138" cy="244475"/>
            </a:xfrm>
            <a:custGeom>
              <a:avLst/>
              <a:gdLst>
                <a:gd name="T0" fmla="*/ 133 w 133"/>
                <a:gd name="T1" fmla="*/ 78 h 154"/>
                <a:gd name="T2" fmla="*/ 121 w 133"/>
                <a:gd name="T3" fmla="*/ 80 h 154"/>
                <a:gd name="T4" fmla="*/ 121 w 133"/>
                <a:gd name="T5" fmla="*/ 63 h 154"/>
                <a:gd name="T6" fmla="*/ 115 w 133"/>
                <a:gd name="T7" fmla="*/ 50 h 154"/>
                <a:gd name="T8" fmla="*/ 116 w 133"/>
                <a:gd name="T9" fmla="*/ 37 h 154"/>
                <a:gd name="T10" fmla="*/ 107 w 133"/>
                <a:gd name="T11" fmla="*/ 17 h 154"/>
                <a:gd name="T12" fmla="*/ 95 w 133"/>
                <a:gd name="T13" fmla="*/ 0 h 154"/>
                <a:gd name="T14" fmla="*/ 59 w 133"/>
                <a:gd name="T15" fmla="*/ 0 h 154"/>
                <a:gd name="T16" fmla="*/ 48 w 133"/>
                <a:gd name="T17" fmla="*/ 10 h 154"/>
                <a:gd name="T18" fmla="*/ 36 w 133"/>
                <a:gd name="T19" fmla="*/ 11 h 154"/>
                <a:gd name="T20" fmla="*/ 29 w 133"/>
                <a:gd name="T21" fmla="*/ 21 h 154"/>
                <a:gd name="T22" fmla="*/ 23 w 133"/>
                <a:gd name="T23" fmla="*/ 34 h 154"/>
                <a:gd name="T24" fmla="*/ 0 w 133"/>
                <a:gd name="T25" fmla="*/ 54 h 154"/>
                <a:gd name="T26" fmla="*/ 4 w 133"/>
                <a:gd name="T27" fmla="*/ 90 h 154"/>
                <a:gd name="T28" fmla="*/ 12 w 133"/>
                <a:gd name="T29" fmla="*/ 107 h 154"/>
                <a:gd name="T30" fmla="*/ 35 w 133"/>
                <a:gd name="T31" fmla="*/ 131 h 154"/>
                <a:gd name="T32" fmla="*/ 67 w 133"/>
                <a:gd name="T33" fmla="*/ 151 h 154"/>
                <a:gd name="T34" fmla="*/ 79 w 133"/>
                <a:gd name="T35" fmla="*/ 154 h 154"/>
                <a:gd name="T36" fmla="*/ 89 w 133"/>
                <a:gd name="T37" fmla="*/ 139 h 154"/>
                <a:gd name="T38" fmla="*/ 92 w 133"/>
                <a:gd name="T39" fmla="*/ 125 h 154"/>
                <a:gd name="T40" fmla="*/ 112 w 133"/>
                <a:gd name="T41" fmla="*/ 100 h 154"/>
                <a:gd name="T42" fmla="*/ 133 w 133"/>
                <a:gd name="T43" fmla="*/ 78 h 154"/>
                <a:gd name="T44" fmla="*/ 133 w 133"/>
                <a:gd name="T4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54">
                  <a:moveTo>
                    <a:pt x="133" y="78"/>
                  </a:moveTo>
                  <a:lnTo>
                    <a:pt x="121" y="80"/>
                  </a:lnTo>
                  <a:lnTo>
                    <a:pt x="121" y="63"/>
                  </a:lnTo>
                  <a:lnTo>
                    <a:pt x="115" y="50"/>
                  </a:lnTo>
                  <a:lnTo>
                    <a:pt x="116" y="37"/>
                  </a:lnTo>
                  <a:lnTo>
                    <a:pt x="107" y="17"/>
                  </a:lnTo>
                  <a:lnTo>
                    <a:pt x="95" y="0"/>
                  </a:lnTo>
                  <a:lnTo>
                    <a:pt x="59" y="0"/>
                  </a:lnTo>
                  <a:lnTo>
                    <a:pt x="48" y="10"/>
                  </a:lnTo>
                  <a:lnTo>
                    <a:pt x="36" y="11"/>
                  </a:lnTo>
                  <a:lnTo>
                    <a:pt x="29" y="21"/>
                  </a:lnTo>
                  <a:lnTo>
                    <a:pt x="23" y="34"/>
                  </a:lnTo>
                  <a:lnTo>
                    <a:pt x="0" y="54"/>
                  </a:lnTo>
                  <a:lnTo>
                    <a:pt x="4" y="90"/>
                  </a:lnTo>
                  <a:lnTo>
                    <a:pt x="12" y="107"/>
                  </a:lnTo>
                  <a:lnTo>
                    <a:pt x="35" y="131"/>
                  </a:lnTo>
                  <a:lnTo>
                    <a:pt x="67" y="151"/>
                  </a:lnTo>
                  <a:lnTo>
                    <a:pt x="79" y="154"/>
                  </a:lnTo>
                  <a:lnTo>
                    <a:pt x="89" y="139"/>
                  </a:lnTo>
                  <a:lnTo>
                    <a:pt x="92" y="125"/>
                  </a:lnTo>
                  <a:lnTo>
                    <a:pt x="112" y="100"/>
                  </a:lnTo>
                  <a:lnTo>
                    <a:pt x="133" y="78"/>
                  </a:lnTo>
                  <a:lnTo>
                    <a:pt x="133" y="78"/>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4" name="Swaziland">
              <a:extLst>
                <a:ext uri="{FF2B5EF4-FFF2-40B4-BE49-F238E27FC236}">
                  <a16:creationId xmlns:a16="http://schemas.microsoft.com/office/drawing/2014/main" id="{33EF3F75-D4FD-9513-686A-21BF3D780DEE}"/>
                </a:ext>
              </a:extLst>
            </p:cNvPr>
            <p:cNvSpPr>
              <a:spLocks/>
            </p:cNvSpPr>
            <p:nvPr/>
          </p:nvSpPr>
          <p:spPr bwMode="auto">
            <a:xfrm>
              <a:off x="8198741" y="5480079"/>
              <a:ext cx="95250" cy="120650"/>
            </a:xfrm>
            <a:custGeom>
              <a:avLst/>
              <a:gdLst>
                <a:gd name="T0" fmla="*/ 53 w 60"/>
                <a:gd name="T1" fmla="*/ 9 h 76"/>
                <a:gd name="T2" fmla="*/ 32 w 60"/>
                <a:gd name="T3" fmla="*/ 0 h 76"/>
                <a:gd name="T4" fmla="*/ 19 w 60"/>
                <a:gd name="T5" fmla="*/ 3 h 76"/>
                <a:gd name="T6" fmla="*/ 13 w 60"/>
                <a:gd name="T7" fmla="*/ 17 h 76"/>
                <a:gd name="T8" fmla="*/ 1 w 60"/>
                <a:gd name="T9" fmla="*/ 35 h 76"/>
                <a:gd name="T10" fmla="*/ 0 w 60"/>
                <a:gd name="T11" fmla="*/ 51 h 76"/>
                <a:gd name="T12" fmla="*/ 23 w 60"/>
                <a:gd name="T13" fmla="*/ 76 h 76"/>
                <a:gd name="T14" fmla="*/ 49 w 60"/>
                <a:gd name="T15" fmla="*/ 71 h 76"/>
                <a:gd name="T16" fmla="*/ 60 w 60"/>
                <a:gd name="T17" fmla="*/ 51 h 76"/>
                <a:gd name="T18" fmla="*/ 57 w 60"/>
                <a:gd name="T19" fmla="*/ 30 h 76"/>
                <a:gd name="T20" fmla="*/ 53 w 60"/>
                <a:gd name="T21" fmla="*/ 9 h 76"/>
                <a:gd name="T22" fmla="*/ 53 w 60"/>
                <a:gd name="T2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76">
                  <a:moveTo>
                    <a:pt x="53" y="9"/>
                  </a:moveTo>
                  <a:lnTo>
                    <a:pt x="32" y="0"/>
                  </a:lnTo>
                  <a:lnTo>
                    <a:pt x="19" y="3"/>
                  </a:lnTo>
                  <a:lnTo>
                    <a:pt x="13" y="17"/>
                  </a:lnTo>
                  <a:lnTo>
                    <a:pt x="1" y="35"/>
                  </a:lnTo>
                  <a:lnTo>
                    <a:pt x="0" y="51"/>
                  </a:lnTo>
                  <a:lnTo>
                    <a:pt x="23" y="76"/>
                  </a:lnTo>
                  <a:lnTo>
                    <a:pt x="49" y="71"/>
                  </a:lnTo>
                  <a:lnTo>
                    <a:pt x="60" y="51"/>
                  </a:lnTo>
                  <a:lnTo>
                    <a:pt x="57" y="30"/>
                  </a:lnTo>
                  <a:lnTo>
                    <a:pt x="53" y="9"/>
                  </a:lnTo>
                  <a:lnTo>
                    <a:pt x="53" y="9"/>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5" name="Chad">
              <a:extLst>
                <a:ext uri="{FF2B5EF4-FFF2-40B4-BE49-F238E27FC236}">
                  <a16:creationId xmlns:a16="http://schemas.microsoft.com/office/drawing/2014/main" id="{637B499A-08B7-5EB4-C3E4-43C1CA0D0D4F}"/>
                </a:ext>
              </a:extLst>
            </p:cNvPr>
            <p:cNvSpPr>
              <a:spLocks/>
            </p:cNvSpPr>
            <p:nvPr/>
          </p:nvSpPr>
          <p:spPr bwMode="auto">
            <a:xfrm>
              <a:off x="7041454" y="1818612"/>
              <a:ext cx="725488" cy="1192213"/>
            </a:xfrm>
            <a:custGeom>
              <a:avLst/>
              <a:gdLst>
                <a:gd name="T0" fmla="*/ 447 w 457"/>
                <a:gd name="T1" fmla="*/ 180 h 751"/>
                <a:gd name="T2" fmla="*/ 269 w 457"/>
                <a:gd name="T3" fmla="*/ 90 h 751"/>
                <a:gd name="T4" fmla="*/ 93 w 457"/>
                <a:gd name="T5" fmla="*/ 0 h 751"/>
                <a:gd name="T6" fmla="*/ 49 w 457"/>
                <a:gd name="T7" fmla="*/ 25 h 751"/>
                <a:gd name="T8" fmla="*/ 62 w 457"/>
                <a:gd name="T9" fmla="*/ 99 h 751"/>
                <a:gd name="T10" fmla="*/ 78 w 457"/>
                <a:gd name="T11" fmla="*/ 110 h 751"/>
                <a:gd name="T12" fmla="*/ 79 w 457"/>
                <a:gd name="T13" fmla="*/ 126 h 751"/>
                <a:gd name="T14" fmla="*/ 99 w 457"/>
                <a:gd name="T15" fmla="*/ 142 h 751"/>
                <a:gd name="T16" fmla="*/ 89 w 457"/>
                <a:gd name="T17" fmla="*/ 162 h 751"/>
                <a:gd name="T18" fmla="*/ 75 w 457"/>
                <a:gd name="T19" fmla="*/ 257 h 751"/>
                <a:gd name="T20" fmla="*/ 74 w 457"/>
                <a:gd name="T21" fmla="*/ 318 h 751"/>
                <a:gd name="T22" fmla="*/ 18 w 457"/>
                <a:gd name="T23" fmla="*/ 363 h 751"/>
                <a:gd name="T24" fmla="*/ 0 w 457"/>
                <a:gd name="T25" fmla="*/ 425 h 751"/>
                <a:gd name="T26" fmla="*/ 19 w 457"/>
                <a:gd name="T27" fmla="*/ 442 h 751"/>
                <a:gd name="T28" fmla="*/ 19 w 457"/>
                <a:gd name="T29" fmla="*/ 472 h 751"/>
                <a:gd name="T30" fmla="*/ 47 w 457"/>
                <a:gd name="T31" fmla="*/ 474 h 751"/>
                <a:gd name="T32" fmla="*/ 44 w 457"/>
                <a:gd name="T33" fmla="*/ 496 h 751"/>
                <a:gd name="T34" fmla="*/ 62 w 457"/>
                <a:gd name="T35" fmla="*/ 526 h 751"/>
                <a:gd name="T36" fmla="*/ 66 w 457"/>
                <a:gd name="T37" fmla="*/ 557 h 751"/>
                <a:gd name="T38" fmla="*/ 64 w 457"/>
                <a:gd name="T39" fmla="*/ 588 h 751"/>
                <a:gd name="T40" fmla="*/ 89 w 457"/>
                <a:gd name="T41" fmla="*/ 631 h 751"/>
                <a:gd name="T42" fmla="*/ 64 w 457"/>
                <a:gd name="T43" fmla="*/ 630 h 751"/>
                <a:gd name="T44" fmla="*/ 51 w 457"/>
                <a:gd name="T45" fmla="*/ 633 h 751"/>
                <a:gd name="T46" fmla="*/ 31 w 457"/>
                <a:gd name="T47" fmla="*/ 629 h 751"/>
                <a:gd name="T48" fmla="*/ 22 w 457"/>
                <a:gd name="T49" fmla="*/ 651 h 751"/>
                <a:gd name="T50" fmla="*/ 48 w 457"/>
                <a:gd name="T51" fmla="*/ 678 h 751"/>
                <a:gd name="T52" fmla="*/ 68 w 457"/>
                <a:gd name="T53" fmla="*/ 686 h 751"/>
                <a:gd name="T54" fmla="*/ 74 w 457"/>
                <a:gd name="T55" fmla="*/ 706 h 751"/>
                <a:gd name="T56" fmla="*/ 89 w 457"/>
                <a:gd name="T57" fmla="*/ 739 h 751"/>
                <a:gd name="T58" fmla="*/ 82 w 457"/>
                <a:gd name="T59" fmla="*/ 751 h 751"/>
                <a:gd name="T60" fmla="*/ 119 w 457"/>
                <a:gd name="T61" fmla="*/ 747 h 751"/>
                <a:gd name="T62" fmla="*/ 126 w 457"/>
                <a:gd name="T63" fmla="*/ 735 h 751"/>
                <a:gd name="T64" fmla="*/ 134 w 457"/>
                <a:gd name="T65" fmla="*/ 736 h 751"/>
                <a:gd name="T66" fmla="*/ 145 w 457"/>
                <a:gd name="T67" fmla="*/ 747 h 751"/>
                <a:gd name="T68" fmla="*/ 201 w 457"/>
                <a:gd name="T69" fmla="*/ 728 h 751"/>
                <a:gd name="T70" fmla="*/ 219 w 457"/>
                <a:gd name="T71" fmla="*/ 711 h 751"/>
                <a:gd name="T72" fmla="*/ 243 w 457"/>
                <a:gd name="T73" fmla="*/ 694 h 751"/>
                <a:gd name="T74" fmla="*/ 238 w 457"/>
                <a:gd name="T75" fmla="*/ 677 h 751"/>
                <a:gd name="T76" fmla="*/ 250 w 457"/>
                <a:gd name="T77" fmla="*/ 673 h 751"/>
                <a:gd name="T78" fmla="*/ 294 w 457"/>
                <a:gd name="T79" fmla="*/ 676 h 751"/>
                <a:gd name="T80" fmla="*/ 335 w 457"/>
                <a:gd name="T81" fmla="*/ 655 h 751"/>
                <a:gd name="T82" fmla="*/ 366 w 457"/>
                <a:gd name="T83" fmla="*/ 603 h 751"/>
                <a:gd name="T84" fmla="*/ 388 w 457"/>
                <a:gd name="T85" fmla="*/ 584 h 751"/>
                <a:gd name="T86" fmla="*/ 416 w 457"/>
                <a:gd name="T87" fmla="*/ 576 h 751"/>
                <a:gd name="T88" fmla="*/ 416 w 457"/>
                <a:gd name="T89" fmla="*/ 565 h 751"/>
                <a:gd name="T90" fmla="*/ 400 w 457"/>
                <a:gd name="T91" fmla="*/ 551 h 751"/>
                <a:gd name="T92" fmla="*/ 399 w 457"/>
                <a:gd name="T93" fmla="*/ 524 h 751"/>
                <a:gd name="T94" fmla="*/ 389 w 457"/>
                <a:gd name="T95" fmla="*/ 505 h 751"/>
                <a:gd name="T96" fmla="*/ 373 w 457"/>
                <a:gd name="T97" fmla="*/ 508 h 751"/>
                <a:gd name="T98" fmla="*/ 378 w 457"/>
                <a:gd name="T99" fmla="*/ 491 h 751"/>
                <a:gd name="T100" fmla="*/ 389 w 457"/>
                <a:gd name="T101" fmla="*/ 471 h 751"/>
                <a:gd name="T102" fmla="*/ 383 w 457"/>
                <a:gd name="T103" fmla="*/ 452 h 751"/>
                <a:gd name="T104" fmla="*/ 397 w 457"/>
                <a:gd name="T105" fmla="*/ 437 h 751"/>
                <a:gd name="T106" fmla="*/ 388 w 457"/>
                <a:gd name="T107" fmla="*/ 426 h 751"/>
                <a:gd name="T108" fmla="*/ 399 w 457"/>
                <a:gd name="T109" fmla="*/ 397 h 751"/>
                <a:gd name="T110" fmla="*/ 418 w 457"/>
                <a:gd name="T111" fmla="*/ 363 h 751"/>
                <a:gd name="T112" fmla="*/ 457 w 457"/>
                <a:gd name="T113" fmla="*/ 366 h 751"/>
                <a:gd name="T114" fmla="*/ 447 w 457"/>
                <a:gd name="T115" fmla="*/ 180 h 751"/>
                <a:gd name="T116" fmla="*/ 447 w 457"/>
                <a:gd name="T117" fmla="*/ 18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751">
                  <a:moveTo>
                    <a:pt x="447" y="180"/>
                  </a:moveTo>
                  <a:lnTo>
                    <a:pt x="269" y="90"/>
                  </a:lnTo>
                  <a:lnTo>
                    <a:pt x="93" y="0"/>
                  </a:lnTo>
                  <a:lnTo>
                    <a:pt x="49" y="25"/>
                  </a:lnTo>
                  <a:lnTo>
                    <a:pt x="62" y="99"/>
                  </a:lnTo>
                  <a:lnTo>
                    <a:pt x="78" y="110"/>
                  </a:lnTo>
                  <a:lnTo>
                    <a:pt x="79" y="126"/>
                  </a:lnTo>
                  <a:lnTo>
                    <a:pt x="99" y="142"/>
                  </a:lnTo>
                  <a:lnTo>
                    <a:pt x="89" y="162"/>
                  </a:lnTo>
                  <a:lnTo>
                    <a:pt x="75" y="257"/>
                  </a:lnTo>
                  <a:lnTo>
                    <a:pt x="74" y="318"/>
                  </a:lnTo>
                  <a:lnTo>
                    <a:pt x="18" y="363"/>
                  </a:lnTo>
                  <a:lnTo>
                    <a:pt x="0" y="425"/>
                  </a:lnTo>
                  <a:lnTo>
                    <a:pt x="19" y="442"/>
                  </a:lnTo>
                  <a:lnTo>
                    <a:pt x="19" y="472"/>
                  </a:lnTo>
                  <a:lnTo>
                    <a:pt x="47" y="474"/>
                  </a:lnTo>
                  <a:lnTo>
                    <a:pt x="44" y="496"/>
                  </a:lnTo>
                  <a:lnTo>
                    <a:pt x="62" y="526"/>
                  </a:lnTo>
                  <a:lnTo>
                    <a:pt x="66" y="557"/>
                  </a:lnTo>
                  <a:lnTo>
                    <a:pt x="64" y="588"/>
                  </a:lnTo>
                  <a:lnTo>
                    <a:pt x="89" y="631"/>
                  </a:lnTo>
                  <a:lnTo>
                    <a:pt x="64" y="630"/>
                  </a:lnTo>
                  <a:lnTo>
                    <a:pt x="51" y="633"/>
                  </a:lnTo>
                  <a:lnTo>
                    <a:pt x="31" y="629"/>
                  </a:lnTo>
                  <a:lnTo>
                    <a:pt x="22" y="651"/>
                  </a:lnTo>
                  <a:lnTo>
                    <a:pt x="48" y="678"/>
                  </a:lnTo>
                  <a:lnTo>
                    <a:pt x="68" y="686"/>
                  </a:lnTo>
                  <a:lnTo>
                    <a:pt x="74" y="706"/>
                  </a:lnTo>
                  <a:lnTo>
                    <a:pt x="89" y="739"/>
                  </a:lnTo>
                  <a:lnTo>
                    <a:pt x="82" y="751"/>
                  </a:lnTo>
                  <a:lnTo>
                    <a:pt x="119" y="747"/>
                  </a:lnTo>
                  <a:lnTo>
                    <a:pt x="126" y="735"/>
                  </a:lnTo>
                  <a:lnTo>
                    <a:pt x="134" y="736"/>
                  </a:lnTo>
                  <a:lnTo>
                    <a:pt x="145" y="747"/>
                  </a:lnTo>
                  <a:lnTo>
                    <a:pt x="201" y="728"/>
                  </a:lnTo>
                  <a:lnTo>
                    <a:pt x="219" y="711"/>
                  </a:lnTo>
                  <a:lnTo>
                    <a:pt x="243" y="694"/>
                  </a:lnTo>
                  <a:lnTo>
                    <a:pt x="238" y="677"/>
                  </a:lnTo>
                  <a:lnTo>
                    <a:pt x="250" y="673"/>
                  </a:lnTo>
                  <a:lnTo>
                    <a:pt x="294" y="676"/>
                  </a:lnTo>
                  <a:lnTo>
                    <a:pt x="335" y="655"/>
                  </a:lnTo>
                  <a:lnTo>
                    <a:pt x="366" y="603"/>
                  </a:lnTo>
                  <a:lnTo>
                    <a:pt x="388" y="584"/>
                  </a:lnTo>
                  <a:lnTo>
                    <a:pt x="416" y="576"/>
                  </a:lnTo>
                  <a:lnTo>
                    <a:pt x="416" y="565"/>
                  </a:lnTo>
                  <a:lnTo>
                    <a:pt x="400" y="551"/>
                  </a:lnTo>
                  <a:lnTo>
                    <a:pt x="399" y="524"/>
                  </a:lnTo>
                  <a:lnTo>
                    <a:pt x="389" y="505"/>
                  </a:lnTo>
                  <a:lnTo>
                    <a:pt x="373" y="508"/>
                  </a:lnTo>
                  <a:lnTo>
                    <a:pt x="378" y="491"/>
                  </a:lnTo>
                  <a:lnTo>
                    <a:pt x="389" y="471"/>
                  </a:lnTo>
                  <a:lnTo>
                    <a:pt x="383" y="452"/>
                  </a:lnTo>
                  <a:lnTo>
                    <a:pt x="397" y="437"/>
                  </a:lnTo>
                  <a:lnTo>
                    <a:pt x="388" y="426"/>
                  </a:lnTo>
                  <a:lnTo>
                    <a:pt x="399" y="397"/>
                  </a:lnTo>
                  <a:lnTo>
                    <a:pt x="418" y="363"/>
                  </a:lnTo>
                  <a:lnTo>
                    <a:pt x="457" y="366"/>
                  </a:lnTo>
                  <a:lnTo>
                    <a:pt x="447" y="180"/>
                  </a:lnTo>
                  <a:lnTo>
                    <a:pt x="447" y="18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6" name="Togo">
              <a:extLst>
                <a:ext uri="{FF2B5EF4-FFF2-40B4-BE49-F238E27FC236}">
                  <a16:creationId xmlns:a16="http://schemas.microsoft.com/office/drawing/2014/main" id="{423F7D90-4F2A-3631-8266-4DF59FCE7182}"/>
                </a:ext>
              </a:extLst>
            </p:cNvPr>
            <p:cNvSpPr>
              <a:spLocks/>
            </p:cNvSpPr>
            <p:nvPr/>
          </p:nvSpPr>
          <p:spPr bwMode="auto">
            <a:xfrm>
              <a:off x="6087366" y="2742537"/>
              <a:ext cx="136525" cy="379413"/>
            </a:xfrm>
            <a:custGeom>
              <a:avLst/>
              <a:gdLst>
                <a:gd name="T0" fmla="*/ 42 w 86"/>
                <a:gd name="T1" fmla="*/ 1 h 239"/>
                <a:gd name="T2" fmla="*/ 4 w 86"/>
                <a:gd name="T3" fmla="*/ 0 h 239"/>
                <a:gd name="T4" fmla="*/ 0 w 86"/>
                <a:gd name="T5" fmla="*/ 15 h 239"/>
                <a:gd name="T6" fmla="*/ 18 w 86"/>
                <a:gd name="T7" fmla="*/ 39 h 239"/>
                <a:gd name="T8" fmla="*/ 18 w 86"/>
                <a:gd name="T9" fmla="*/ 73 h 239"/>
                <a:gd name="T10" fmla="*/ 23 w 86"/>
                <a:gd name="T11" fmla="*/ 110 h 239"/>
                <a:gd name="T12" fmla="*/ 34 w 86"/>
                <a:gd name="T13" fmla="*/ 127 h 239"/>
                <a:gd name="T14" fmla="*/ 24 w 86"/>
                <a:gd name="T15" fmla="*/ 169 h 239"/>
                <a:gd name="T16" fmla="*/ 27 w 86"/>
                <a:gd name="T17" fmla="*/ 192 h 239"/>
                <a:gd name="T18" fmla="*/ 39 w 86"/>
                <a:gd name="T19" fmla="*/ 223 h 239"/>
                <a:gd name="T20" fmla="*/ 49 w 86"/>
                <a:gd name="T21" fmla="*/ 239 h 239"/>
                <a:gd name="T22" fmla="*/ 86 w 86"/>
                <a:gd name="T23" fmla="*/ 229 h 239"/>
                <a:gd name="T24" fmla="*/ 75 w 86"/>
                <a:gd name="T25" fmla="*/ 197 h 239"/>
                <a:gd name="T26" fmla="*/ 77 w 86"/>
                <a:gd name="T27" fmla="*/ 89 h 239"/>
                <a:gd name="T28" fmla="*/ 68 w 86"/>
                <a:gd name="T29" fmla="*/ 79 h 239"/>
                <a:gd name="T30" fmla="*/ 66 w 86"/>
                <a:gd name="T31" fmla="*/ 56 h 239"/>
                <a:gd name="T32" fmla="*/ 50 w 86"/>
                <a:gd name="T33" fmla="*/ 39 h 239"/>
                <a:gd name="T34" fmla="*/ 37 w 86"/>
                <a:gd name="T35" fmla="*/ 26 h 239"/>
                <a:gd name="T36" fmla="*/ 42 w 86"/>
                <a:gd name="T37"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239">
                  <a:moveTo>
                    <a:pt x="42" y="1"/>
                  </a:moveTo>
                  <a:lnTo>
                    <a:pt x="4" y="0"/>
                  </a:lnTo>
                  <a:lnTo>
                    <a:pt x="0" y="15"/>
                  </a:lnTo>
                  <a:lnTo>
                    <a:pt x="18" y="39"/>
                  </a:lnTo>
                  <a:lnTo>
                    <a:pt x="18" y="73"/>
                  </a:lnTo>
                  <a:lnTo>
                    <a:pt x="23" y="110"/>
                  </a:lnTo>
                  <a:lnTo>
                    <a:pt x="34" y="127"/>
                  </a:lnTo>
                  <a:lnTo>
                    <a:pt x="24" y="169"/>
                  </a:lnTo>
                  <a:lnTo>
                    <a:pt x="27" y="192"/>
                  </a:lnTo>
                  <a:lnTo>
                    <a:pt x="39" y="223"/>
                  </a:lnTo>
                  <a:lnTo>
                    <a:pt x="49" y="239"/>
                  </a:lnTo>
                  <a:lnTo>
                    <a:pt x="86" y="229"/>
                  </a:lnTo>
                  <a:lnTo>
                    <a:pt x="75" y="197"/>
                  </a:lnTo>
                  <a:lnTo>
                    <a:pt x="77" y="89"/>
                  </a:lnTo>
                  <a:lnTo>
                    <a:pt x="68" y="79"/>
                  </a:lnTo>
                  <a:lnTo>
                    <a:pt x="66" y="56"/>
                  </a:lnTo>
                  <a:lnTo>
                    <a:pt x="50" y="39"/>
                  </a:lnTo>
                  <a:lnTo>
                    <a:pt x="37" y="26"/>
                  </a:lnTo>
                  <a:lnTo>
                    <a:pt x="42" y="1"/>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7" name="Tunisia">
              <a:extLst>
                <a:ext uri="{FF2B5EF4-FFF2-40B4-BE49-F238E27FC236}">
                  <a16:creationId xmlns:a16="http://schemas.microsoft.com/office/drawing/2014/main" id="{F75D9117-E32F-96FF-CF52-00A4498F3033}"/>
                </a:ext>
              </a:extLst>
            </p:cNvPr>
            <p:cNvSpPr>
              <a:spLocks/>
            </p:cNvSpPr>
            <p:nvPr/>
          </p:nvSpPr>
          <p:spPr bwMode="auto">
            <a:xfrm>
              <a:off x="6595366" y="775624"/>
              <a:ext cx="269875" cy="528638"/>
            </a:xfrm>
            <a:custGeom>
              <a:avLst/>
              <a:gdLst>
                <a:gd name="T0" fmla="*/ 170 w 170"/>
                <a:gd name="T1" fmla="*/ 200 h 333"/>
                <a:gd name="T2" fmla="*/ 153 w 170"/>
                <a:gd name="T3" fmla="*/ 193 h 333"/>
                <a:gd name="T4" fmla="*/ 141 w 170"/>
                <a:gd name="T5" fmla="*/ 171 h 333"/>
                <a:gd name="T6" fmla="*/ 119 w 170"/>
                <a:gd name="T7" fmla="*/ 170 h 333"/>
                <a:gd name="T8" fmla="*/ 111 w 170"/>
                <a:gd name="T9" fmla="*/ 144 h 333"/>
                <a:gd name="T10" fmla="*/ 138 w 170"/>
                <a:gd name="T11" fmla="*/ 120 h 333"/>
                <a:gd name="T12" fmla="*/ 141 w 170"/>
                <a:gd name="T13" fmla="*/ 79 h 333"/>
                <a:gd name="T14" fmla="*/ 127 w 170"/>
                <a:gd name="T15" fmla="*/ 67 h 333"/>
                <a:gd name="T16" fmla="*/ 126 w 170"/>
                <a:gd name="T17" fmla="*/ 45 h 333"/>
                <a:gd name="T18" fmla="*/ 146 w 170"/>
                <a:gd name="T19" fmla="*/ 21 h 333"/>
                <a:gd name="T20" fmla="*/ 142 w 170"/>
                <a:gd name="T21" fmla="*/ 12 h 333"/>
                <a:gd name="T22" fmla="*/ 107 w 170"/>
                <a:gd name="T23" fmla="*/ 30 h 333"/>
                <a:gd name="T24" fmla="*/ 108 w 170"/>
                <a:gd name="T25" fmla="*/ 6 h 333"/>
                <a:gd name="T26" fmla="*/ 78 w 170"/>
                <a:gd name="T27" fmla="*/ 0 h 333"/>
                <a:gd name="T28" fmla="*/ 34 w 170"/>
                <a:gd name="T29" fmla="*/ 19 h 333"/>
                <a:gd name="T30" fmla="*/ 26 w 170"/>
                <a:gd name="T31" fmla="*/ 44 h 333"/>
                <a:gd name="T32" fmla="*/ 34 w 170"/>
                <a:gd name="T33" fmla="*/ 89 h 333"/>
                <a:gd name="T34" fmla="*/ 25 w 170"/>
                <a:gd name="T35" fmla="*/ 129 h 333"/>
                <a:gd name="T36" fmla="*/ 0 w 170"/>
                <a:gd name="T37" fmla="*/ 155 h 333"/>
                <a:gd name="T38" fmla="*/ 5 w 170"/>
                <a:gd name="T39" fmla="*/ 190 h 333"/>
                <a:gd name="T40" fmla="*/ 40 w 170"/>
                <a:gd name="T41" fmla="*/ 219 h 333"/>
                <a:gd name="T42" fmla="*/ 41 w 170"/>
                <a:gd name="T43" fmla="*/ 230 h 333"/>
                <a:gd name="T44" fmla="*/ 67 w 170"/>
                <a:gd name="T45" fmla="*/ 249 h 333"/>
                <a:gd name="T46" fmla="*/ 88 w 170"/>
                <a:gd name="T47" fmla="*/ 333 h 333"/>
                <a:gd name="T48" fmla="*/ 109 w 170"/>
                <a:gd name="T49" fmla="*/ 322 h 333"/>
                <a:gd name="T50" fmla="*/ 112 w 170"/>
                <a:gd name="T51" fmla="*/ 302 h 333"/>
                <a:gd name="T52" fmla="*/ 106 w 170"/>
                <a:gd name="T53" fmla="*/ 283 h 333"/>
                <a:gd name="T54" fmla="*/ 136 w 170"/>
                <a:gd name="T55" fmla="*/ 265 h 333"/>
                <a:gd name="T56" fmla="*/ 148 w 170"/>
                <a:gd name="T57" fmla="*/ 250 h 333"/>
                <a:gd name="T58" fmla="*/ 169 w 170"/>
                <a:gd name="T59" fmla="*/ 236 h 333"/>
                <a:gd name="T60" fmla="*/ 170 w 170"/>
                <a:gd name="T61" fmla="*/ 200 h 333"/>
                <a:gd name="T62" fmla="*/ 170 w 170"/>
                <a:gd name="T63" fmla="*/ 20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333">
                  <a:moveTo>
                    <a:pt x="170" y="200"/>
                  </a:moveTo>
                  <a:lnTo>
                    <a:pt x="153" y="193"/>
                  </a:lnTo>
                  <a:lnTo>
                    <a:pt x="141" y="171"/>
                  </a:lnTo>
                  <a:lnTo>
                    <a:pt x="119" y="170"/>
                  </a:lnTo>
                  <a:lnTo>
                    <a:pt x="111" y="144"/>
                  </a:lnTo>
                  <a:lnTo>
                    <a:pt x="138" y="120"/>
                  </a:lnTo>
                  <a:lnTo>
                    <a:pt x="141" y="79"/>
                  </a:lnTo>
                  <a:lnTo>
                    <a:pt x="127" y="67"/>
                  </a:lnTo>
                  <a:lnTo>
                    <a:pt x="126" y="45"/>
                  </a:lnTo>
                  <a:lnTo>
                    <a:pt x="146" y="21"/>
                  </a:lnTo>
                  <a:lnTo>
                    <a:pt x="142" y="12"/>
                  </a:lnTo>
                  <a:lnTo>
                    <a:pt x="107" y="30"/>
                  </a:lnTo>
                  <a:lnTo>
                    <a:pt x="108" y="6"/>
                  </a:lnTo>
                  <a:lnTo>
                    <a:pt x="78" y="0"/>
                  </a:lnTo>
                  <a:lnTo>
                    <a:pt x="34" y="19"/>
                  </a:lnTo>
                  <a:lnTo>
                    <a:pt x="26" y="44"/>
                  </a:lnTo>
                  <a:lnTo>
                    <a:pt x="34" y="89"/>
                  </a:lnTo>
                  <a:lnTo>
                    <a:pt x="25" y="129"/>
                  </a:lnTo>
                  <a:lnTo>
                    <a:pt x="0" y="155"/>
                  </a:lnTo>
                  <a:lnTo>
                    <a:pt x="5" y="190"/>
                  </a:lnTo>
                  <a:lnTo>
                    <a:pt x="40" y="219"/>
                  </a:lnTo>
                  <a:lnTo>
                    <a:pt x="41" y="230"/>
                  </a:lnTo>
                  <a:lnTo>
                    <a:pt x="67" y="249"/>
                  </a:lnTo>
                  <a:lnTo>
                    <a:pt x="88" y="333"/>
                  </a:lnTo>
                  <a:lnTo>
                    <a:pt x="109" y="322"/>
                  </a:lnTo>
                  <a:lnTo>
                    <a:pt x="112" y="302"/>
                  </a:lnTo>
                  <a:lnTo>
                    <a:pt x="106" y="283"/>
                  </a:lnTo>
                  <a:lnTo>
                    <a:pt x="136" y="265"/>
                  </a:lnTo>
                  <a:lnTo>
                    <a:pt x="148" y="250"/>
                  </a:lnTo>
                  <a:lnTo>
                    <a:pt x="169" y="236"/>
                  </a:lnTo>
                  <a:lnTo>
                    <a:pt x="170" y="200"/>
                  </a:lnTo>
                  <a:lnTo>
                    <a:pt x="170" y="200"/>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8" name="United Republic of Tanzania">
              <a:extLst>
                <a:ext uri="{FF2B5EF4-FFF2-40B4-BE49-F238E27FC236}">
                  <a16:creationId xmlns:a16="http://schemas.microsoft.com/office/drawing/2014/main" id="{63A533CC-48AC-3C1F-90D8-A953C8D0F86C}"/>
                </a:ext>
              </a:extLst>
            </p:cNvPr>
            <p:cNvSpPr>
              <a:spLocks/>
            </p:cNvSpPr>
            <p:nvPr/>
          </p:nvSpPr>
          <p:spPr bwMode="auto">
            <a:xfrm>
              <a:off x="8186041" y="3639475"/>
              <a:ext cx="749300" cy="798513"/>
            </a:xfrm>
            <a:custGeom>
              <a:avLst/>
              <a:gdLst>
                <a:gd name="T0" fmla="*/ 39 w 472"/>
                <a:gd name="T1" fmla="*/ 6 h 503"/>
                <a:gd name="T2" fmla="*/ 53 w 472"/>
                <a:gd name="T3" fmla="*/ 60 h 503"/>
                <a:gd name="T4" fmla="*/ 41 w 472"/>
                <a:gd name="T5" fmla="*/ 66 h 503"/>
                <a:gd name="T6" fmla="*/ 52 w 472"/>
                <a:gd name="T7" fmla="*/ 95 h 503"/>
                <a:gd name="T8" fmla="*/ 41 w 472"/>
                <a:gd name="T9" fmla="*/ 121 h 503"/>
                <a:gd name="T10" fmla="*/ 7 w 472"/>
                <a:gd name="T11" fmla="*/ 162 h 503"/>
                <a:gd name="T12" fmla="*/ 0 w 472"/>
                <a:gd name="T13" fmla="*/ 183 h 503"/>
                <a:gd name="T14" fmla="*/ 7 w 472"/>
                <a:gd name="T15" fmla="*/ 210 h 503"/>
                <a:gd name="T16" fmla="*/ 4 w 472"/>
                <a:gd name="T17" fmla="*/ 246 h 503"/>
                <a:gd name="T18" fmla="*/ 42 w 472"/>
                <a:gd name="T19" fmla="*/ 306 h 503"/>
                <a:gd name="T20" fmla="*/ 64 w 472"/>
                <a:gd name="T21" fmla="*/ 355 h 503"/>
                <a:gd name="T22" fmla="*/ 84 w 472"/>
                <a:gd name="T23" fmla="*/ 364 h 503"/>
                <a:gd name="T24" fmla="*/ 137 w 472"/>
                <a:gd name="T25" fmla="*/ 386 h 503"/>
                <a:gd name="T26" fmla="*/ 189 w 472"/>
                <a:gd name="T27" fmla="*/ 408 h 503"/>
                <a:gd name="T28" fmla="*/ 192 w 472"/>
                <a:gd name="T29" fmla="*/ 399 h 503"/>
                <a:gd name="T30" fmla="*/ 217 w 472"/>
                <a:gd name="T31" fmla="*/ 473 h 503"/>
                <a:gd name="T32" fmla="*/ 231 w 472"/>
                <a:gd name="T33" fmla="*/ 492 h 503"/>
                <a:gd name="T34" fmla="*/ 300 w 472"/>
                <a:gd name="T35" fmla="*/ 503 h 503"/>
                <a:gd name="T36" fmla="*/ 343 w 472"/>
                <a:gd name="T37" fmla="*/ 497 h 503"/>
                <a:gd name="T38" fmla="*/ 386 w 472"/>
                <a:gd name="T39" fmla="*/ 483 h 503"/>
                <a:gd name="T40" fmla="*/ 472 w 472"/>
                <a:gd name="T41" fmla="*/ 437 h 503"/>
                <a:gd name="T42" fmla="*/ 455 w 472"/>
                <a:gd name="T43" fmla="*/ 427 h 503"/>
                <a:gd name="T44" fmla="*/ 424 w 472"/>
                <a:gd name="T45" fmla="*/ 351 h 503"/>
                <a:gd name="T46" fmla="*/ 425 w 472"/>
                <a:gd name="T47" fmla="*/ 315 h 503"/>
                <a:gd name="T48" fmla="*/ 437 w 472"/>
                <a:gd name="T49" fmla="*/ 274 h 503"/>
                <a:gd name="T50" fmla="*/ 407 w 472"/>
                <a:gd name="T51" fmla="*/ 230 h 503"/>
                <a:gd name="T52" fmla="*/ 365 w 472"/>
                <a:gd name="T53" fmla="*/ 126 h 503"/>
                <a:gd name="T54" fmla="*/ 201 w 472"/>
                <a:gd name="T55" fmla="*/ 3 h 503"/>
                <a:gd name="T56" fmla="*/ 179 w 472"/>
                <a:gd name="T57" fmla="*/ 23 h 503"/>
                <a:gd name="T58" fmla="*/ 182 w 472"/>
                <a:gd name="T59" fmla="*/ 60 h 503"/>
                <a:gd name="T60" fmla="*/ 151 w 472"/>
                <a:gd name="T61" fmla="*/ 67 h 503"/>
                <a:gd name="T62" fmla="*/ 104 w 472"/>
                <a:gd name="T63" fmla="*/ 81 h 503"/>
                <a:gd name="T64" fmla="*/ 101 w 472"/>
                <a:gd name="T65" fmla="*/ 29 h 503"/>
                <a:gd name="T66" fmla="*/ 103 w 472"/>
                <a:gd name="T67" fmla="*/ 1 h 503"/>
                <a:gd name="T68" fmla="*/ 54 w 472"/>
                <a:gd name="T69"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2" h="503">
                  <a:moveTo>
                    <a:pt x="54" y="0"/>
                  </a:moveTo>
                  <a:lnTo>
                    <a:pt x="39" y="6"/>
                  </a:lnTo>
                  <a:lnTo>
                    <a:pt x="56" y="32"/>
                  </a:lnTo>
                  <a:lnTo>
                    <a:pt x="53" y="60"/>
                  </a:lnTo>
                  <a:lnTo>
                    <a:pt x="41" y="66"/>
                  </a:lnTo>
                  <a:lnTo>
                    <a:pt x="41" y="66"/>
                  </a:lnTo>
                  <a:lnTo>
                    <a:pt x="42" y="84"/>
                  </a:lnTo>
                  <a:lnTo>
                    <a:pt x="52" y="95"/>
                  </a:lnTo>
                  <a:lnTo>
                    <a:pt x="52" y="110"/>
                  </a:lnTo>
                  <a:lnTo>
                    <a:pt x="41" y="121"/>
                  </a:lnTo>
                  <a:lnTo>
                    <a:pt x="23" y="145"/>
                  </a:lnTo>
                  <a:lnTo>
                    <a:pt x="7" y="162"/>
                  </a:lnTo>
                  <a:lnTo>
                    <a:pt x="2" y="162"/>
                  </a:lnTo>
                  <a:lnTo>
                    <a:pt x="0" y="183"/>
                  </a:lnTo>
                  <a:lnTo>
                    <a:pt x="9" y="189"/>
                  </a:lnTo>
                  <a:lnTo>
                    <a:pt x="7" y="210"/>
                  </a:lnTo>
                  <a:lnTo>
                    <a:pt x="15" y="228"/>
                  </a:lnTo>
                  <a:lnTo>
                    <a:pt x="4" y="246"/>
                  </a:lnTo>
                  <a:lnTo>
                    <a:pt x="40" y="278"/>
                  </a:lnTo>
                  <a:lnTo>
                    <a:pt x="42" y="306"/>
                  </a:lnTo>
                  <a:lnTo>
                    <a:pt x="64" y="355"/>
                  </a:lnTo>
                  <a:lnTo>
                    <a:pt x="64" y="355"/>
                  </a:lnTo>
                  <a:lnTo>
                    <a:pt x="66" y="357"/>
                  </a:lnTo>
                  <a:lnTo>
                    <a:pt x="84" y="364"/>
                  </a:lnTo>
                  <a:lnTo>
                    <a:pt x="112" y="373"/>
                  </a:lnTo>
                  <a:lnTo>
                    <a:pt x="137" y="386"/>
                  </a:lnTo>
                  <a:lnTo>
                    <a:pt x="180" y="395"/>
                  </a:lnTo>
                  <a:lnTo>
                    <a:pt x="189" y="408"/>
                  </a:lnTo>
                  <a:lnTo>
                    <a:pt x="189" y="408"/>
                  </a:lnTo>
                  <a:lnTo>
                    <a:pt x="192" y="399"/>
                  </a:lnTo>
                  <a:lnTo>
                    <a:pt x="214" y="424"/>
                  </a:lnTo>
                  <a:lnTo>
                    <a:pt x="217" y="473"/>
                  </a:lnTo>
                  <a:lnTo>
                    <a:pt x="231" y="492"/>
                  </a:lnTo>
                  <a:lnTo>
                    <a:pt x="231" y="492"/>
                  </a:lnTo>
                  <a:lnTo>
                    <a:pt x="248" y="490"/>
                  </a:lnTo>
                  <a:lnTo>
                    <a:pt x="300" y="503"/>
                  </a:lnTo>
                  <a:lnTo>
                    <a:pt x="313" y="497"/>
                  </a:lnTo>
                  <a:lnTo>
                    <a:pt x="343" y="497"/>
                  </a:lnTo>
                  <a:lnTo>
                    <a:pt x="359" y="482"/>
                  </a:lnTo>
                  <a:lnTo>
                    <a:pt x="386" y="483"/>
                  </a:lnTo>
                  <a:lnTo>
                    <a:pt x="435" y="464"/>
                  </a:lnTo>
                  <a:lnTo>
                    <a:pt x="472" y="437"/>
                  </a:lnTo>
                  <a:lnTo>
                    <a:pt x="472" y="437"/>
                  </a:lnTo>
                  <a:lnTo>
                    <a:pt x="455" y="427"/>
                  </a:lnTo>
                  <a:lnTo>
                    <a:pt x="439" y="381"/>
                  </a:lnTo>
                  <a:lnTo>
                    <a:pt x="424" y="351"/>
                  </a:lnTo>
                  <a:lnTo>
                    <a:pt x="428" y="329"/>
                  </a:lnTo>
                  <a:lnTo>
                    <a:pt x="425" y="315"/>
                  </a:lnTo>
                  <a:lnTo>
                    <a:pt x="438" y="286"/>
                  </a:lnTo>
                  <a:lnTo>
                    <a:pt x="437" y="274"/>
                  </a:lnTo>
                  <a:lnTo>
                    <a:pt x="409" y="257"/>
                  </a:lnTo>
                  <a:lnTo>
                    <a:pt x="407" y="230"/>
                  </a:lnTo>
                  <a:lnTo>
                    <a:pt x="428" y="172"/>
                  </a:lnTo>
                  <a:lnTo>
                    <a:pt x="365" y="126"/>
                  </a:lnTo>
                  <a:lnTo>
                    <a:pt x="362" y="98"/>
                  </a:lnTo>
                  <a:lnTo>
                    <a:pt x="201" y="3"/>
                  </a:lnTo>
                  <a:lnTo>
                    <a:pt x="201" y="3"/>
                  </a:lnTo>
                  <a:lnTo>
                    <a:pt x="179" y="23"/>
                  </a:lnTo>
                  <a:lnTo>
                    <a:pt x="165" y="45"/>
                  </a:lnTo>
                  <a:lnTo>
                    <a:pt x="182" y="60"/>
                  </a:lnTo>
                  <a:lnTo>
                    <a:pt x="157" y="72"/>
                  </a:lnTo>
                  <a:lnTo>
                    <a:pt x="151" y="67"/>
                  </a:lnTo>
                  <a:lnTo>
                    <a:pt x="125" y="70"/>
                  </a:lnTo>
                  <a:lnTo>
                    <a:pt x="104" y="81"/>
                  </a:lnTo>
                  <a:lnTo>
                    <a:pt x="93" y="62"/>
                  </a:lnTo>
                  <a:lnTo>
                    <a:pt x="101" y="29"/>
                  </a:lnTo>
                  <a:lnTo>
                    <a:pt x="103" y="1"/>
                  </a:lnTo>
                  <a:lnTo>
                    <a:pt x="103" y="1"/>
                  </a:lnTo>
                  <a:lnTo>
                    <a:pt x="103" y="1"/>
                  </a:lnTo>
                  <a:lnTo>
                    <a:pt x="54" y="0"/>
                  </a:lnTo>
                  <a:lnTo>
                    <a:pt x="54" y="0"/>
                  </a:lnTo>
                  <a:close/>
                </a:path>
              </a:pathLst>
            </a:custGeom>
            <a:solidFill>
              <a:srgbClr val="02AEF1"/>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89" name="Uganda">
              <a:extLst>
                <a:ext uri="{FF2B5EF4-FFF2-40B4-BE49-F238E27FC236}">
                  <a16:creationId xmlns:a16="http://schemas.microsoft.com/office/drawing/2014/main" id="{F4F1979A-62BE-6021-6333-5C2E444BDD59}"/>
                </a:ext>
              </a:extLst>
            </p:cNvPr>
            <p:cNvSpPr>
              <a:spLocks/>
            </p:cNvSpPr>
            <p:nvPr/>
          </p:nvSpPr>
          <p:spPr bwMode="auto">
            <a:xfrm>
              <a:off x="8186041" y="3247362"/>
              <a:ext cx="387350" cy="423863"/>
            </a:xfrm>
            <a:custGeom>
              <a:avLst/>
              <a:gdLst>
                <a:gd name="T0" fmla="*/ 197 w 244"/>
                <a:gd name="T1" fmla="*/ 0 h 267"/>
                <a:gd name="T2" fmla="*/ 170 w 244"/>
                <a:gd name="T3" fmla="*/ 22 h 267"/>
                <a:gd name="T4" fmla="*/ 138 w 244"/>
                <a:gd name="T5" fmla="*/ 21 h 267"/>
                <a:gd name="T6" fmla="*/ 103 w 244"/>
                <a:gd name="T7" fmla="*/ 32 h 267"/>
                <a:gd name="T8" fmla="*/ 74 w 244"/>
                <a:gd name="T9" fmla="*/ 22 h 267"/>
                <a:gd name="T10" fmla="*/ 56 w 244"/>
                <a:gd name="T11" fmla="*/ 35 h 267"/>
                <a:gd name="T12" fmla="*/ 56 w 244"/>
                <a:gd name="T13" fmla="*/ 35 h 267"/>
                <a:gd name="T14" fmla="*/ 53 w 244"/>
                <a:gd name="T15" fmla="*/ 90 h 267"/>
                <a:gd name="T16" fmla="*/ 72 w 244"/>
                <a:gd name="T17" fmla="*/ 96 h 267"/>
                <a:gd name="T18" fmla="*/ 57 w 244"/>
                <a:gd name="T19" fmla="*/ 113 h 267"/>
                <a:gd name="T20" fmla="*/ 41 w 244"/>
                <a:gd name="T21" fmla="*/ 126 h 267"/>
                <a:gd name="T22" fmla="*/ 23 w 244"/>
                <a:gd name="T23" fmla="*/ 149 h 267"/>
                <a:gd name="T24" fmla="*/ 14 w 244"/>
                <a:gd name="T25" fmla="*/ 171 h 267"/>
                <a:gd name="T26" fmla="*/ 11 w 244"/>
                <a:gd name="T27" fmla="*/ 209 h 267"/>
                <a:gd name="T28" fmla="*/ 1 w 244"/>
                <a:gd name="T29" fmla="*/ 227 h 267"/>
                <a:gd name="T30" fmla="*/ 0 w 244"/>
                <a:gd name="T31" fmla="*/ 263 h 267"/>
                <a:gd name="T32" fmla="*/ 11 w 244"/>
                <a:gd name="T33" fmla="*/ 267 h 267"/>
                <a:gd name="T34" fmla="*/ 39 w 244"/>
                <a:gd name="T35" fmla="*/ 253 h 267"/>
                <a:gd name="T36" fmla="*/ 54 w 244"/>
                <a:gd name="T37" fmla="*/ 247 h 267"/>
                <a:gd name="T38" fmla="*/ 103 w 244"/>
                <a:gd name="T39" fmla="*/ 248 h 267"/>
                <a:gd name="T40" fmla="*/ 103 w 244"/>
                <a:gd name="T41" fmla="*/ 248 h 267"/>
                <a:gd name="T42" fmla="*/ 101 w 244"/>
                <a:gd name="T43" fmla="*/ 230 h 267"/>
                <a:gd name="T44" fmla="*/ 121 w 244"/>
                <a:gd name="T45" fmla="*/ 202 h 267"/>
                <a:gd name="T46" fmla="*/ 149 w 244"/>
                <a:gd name="T47" fmla="*/ 195 h 267"/>
                <a:gd name="T48" fmla="*/ 168 w 244"/>
                <a:gd name="T49" fmla="*/ 184 h 267"/>
                <a:gd name="T50" fmla="*/ 191 w 244"/>
                <a:gd name="T51" fmla="*/ 193 h 267"/>
                <a:gd name="T52" fmla="*/ 194 w 244"/>
                <a:gd name="T53" fmla="*/ 197 h 267"/>
                <a:gd name="T54" fmla="*/ 194 w 244"/>
                <a:gd name="T55" fmla="*/ 194 h 267"/>
                <a:gd name="T56" fmla="*/ 207 w 244"/>
                <a:gd name="T57" fmla="*/ 176 h 267"/>
                <a:gd name="T58" fmla="*/ 228 w 244"/>
                <a:gd name="T59" fmla="*/ 144 h 267"/>
                <a:gd name="T60" fmla="*/ 244 w 244"/>
                <a:gd name="T61" fmla="*/ 110 h 267"/>
                <a:gd name="T62" fmla="*/ 224 w 244"/>
                <a:gd name="T63" fmla="*/ 56 h 267"/>
                <a:gd name="T64" fmla="*/ 219 w 244"/>
                <a:gd name="T65" fmla="*/ 32 h 267"/>
                <a:gd name="T66" fmla="*/ 197 w 244"/>
                <a:gd name="T67" fmla="*/ 0 h 267"/>
                <a:gd name="T68" fmla="*/ 197 w 244"/>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67">
                  <a:moveTo>
                    <a:pt x="197" y="0"/>
                  </a:moveTo>
                  <a:lnTo>
                    <a:pt x="170" y="22"/>
                  </a:lnTo>
                  <a:lnTo>
                    <a:pt x="138" y="21"/>
                  </a:lnTo>
                  <a:lnTo>
                    <a:pt x="103" y="32"/>
                  </a:lnTo>
                  <a:lnTo>
                    <a:pt x="74" y="22"/>
                  </a:lnTo>
                  <a:lnTo>
                    <a:pt x="56" y="35"/>
                  </a:lnTo>
                  <a:lnTo>
                    <a:pt x="56" y="35"/>
                  </a:lnTo>
                  <a:lnTo>
                    <a:pt x="53" y="90"/>
                  </a:lnTo>
                  <a:lnTo>
                    <a:pt x="72" y="96"/>
                  </a:lnTo>
                  <a:lnTo>
                    <a:pt x="57" y="113"/>
                  </a:lnTo>
                  <a:lnTo>
                    <a:pt x="41" y="126"/>
                  </a:lnTo>
                  <a:lnTo>
                    <a:pt x="23" y="149"/>
                  </a:lnTo>
                  <a:lnTo>
                    <a:pt x="14" y="171"/>
                  </a:lnTo>
                  <a:lnTo>
                    <a:pt x="11" y="209"/>
                  </a:lnTo>
                  <a:lnTo>
                    <a:pt x="1" y="227"/>
                  </a:lnTo>
                  <a:lnTo>
                    <a:pt x="0" y="263"/>
                  </a:lnTo>
                  <a:lnTo>
                    <a:pt x="11" y="267"/>
                  </a:lnTo>
                  <a:lnTo>
                    <a:pt x="39" y="253"/>
                  </a:lnTo>
                  <a:lnTo>
                    <a:pt x="54" y="247"/>
                  </a:lnTo>
                  <a:lnTo>
                    <a:pt x="103" y="248"/>
                  </a:lnTo>
                  <a:lnTo>
                    <a:pt x="103" y="248"/>
                  </a:lnTo>
                  <a:lnTo>
                    <a:pt x="101" y="230"/>
                  </a:lnTo>
                  <a:lnTo>
                    <a:pt x="121" y="202"/>
                  </a:lnTo>
                  <a:lnTo>
                    <a:pt x="149" y="195"/>
                  </a:lnTo>
                  <a:lnTo>
                    <a:pt x="168" y="184"/>
                  </a:lnTo>
                  <a:lnTo>
                    <a:pt x="191" y="193"/>
                  </a:lnTo>
                  <a:lnTo>
                    <a:pt x="194" y="197"/>
                  </a:lnTo>
                  <a:lnTo>
                    <a:pt x="194" y="194"/>
                  </a:lnTo>
                  <a:lnTo>
                    <a:pt x="207" y="176"/>
                  </a:lnTo>
                  <a:lnTo>
                    <a:pt x="228" y="144"/>
                  </a:lnTo>
                  <a:lnTo>
                    <a:pt x="244" y="110"/>
                  </a:lnTo>
                  <a:lnTo>
                    <a:pt x="224" y="56"/>
                  </a:lnTo>
                  <a:lnTo>
                    <a:pt x="219" y="32"/>
                  </a:lnTo>
                  <a:lnTo>
                    <a:pt x="197" y="0"/>
                  </a:lnTo>
                  <a:lnTo>
                    <a:pt x="197"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90" name="South Africa">
              <a:extLst>
                <a:ext uri="{FF2B5EF4-FFF2-40B4-BE49-F238E27FC236}">
                  <a16:creationId xmlns:a16="http://schemas.microsoft.com/office/drawing/2014/main" id="{B59624E2-37F3-5621-9A3D-49F1BFDD34F0}"/>
                </a:ext>
              </a:extLst>
            </p:cNvPr>
            <p:cNvSpPr>
              <a:spLocks noEditPoints="1"/>
            </p:cNvSpPr>
            <p:nvPr/>
          </p:nvSpPr>
          <p:spPr bwMode="auto">
            <a:xfrm>
              <a:off x="7208141" y="5212687"/>
              <a:ext cx="1138238" cy="947738"/>
            </a:xfrm>
            <a:custGeom>
              <a:avLst/>
              <a:gdLst>
                <a:gd name="T0" fmla="*/ 141 w 717"/>
                <a:gd name="T1" fmla="*/ 597 h 597"/>
                <a:gd name="T2" fmla="*/ 205 w 717"/>
                <a:gd name="T3" fmla="*/ 571 h 597"/>
                <a:gd name="T4" fmla="*/ 268 w 717"/>
                <a:gd name="T5" fmla="*/ 555 h 597"/>
                <a:gd name="T6" fmla="*/ 339 w 717"/>
                <a:gd name="T7" fmla="*/ 558 h 597"/>
                <a:gd name="T8" fmla="*/ 386 w 717"/>
                <a:gd name="T9" fmla="*/ 556 h 597"/>
                <a:gd name="T10" fmla="*/ 415 w 717"/>
                <a:gd name="T11" fmla="*/ 541 h 597"/>
                <a:gd name="T12" fmla="*/ 494 w 717"/>
                <a:gd name="T13" fmla="*/ 501 h 597"/>
                <a:gd name="T14" fmla="*/ 580 w 717"/>
                <a:gd name="T15" fmla="*/ 424 h 597"/>
                <a:gd name="T16" fmla="*/ 621 w 717"/>
                <a:gd name="T17" fmla="*/ 366 h 597"/>
                <a:gd name="T18" fmla="*/ 650 w 717"/>
                <a:gd name="T19" fmla="*/ 336 h 597"/>
                <a:gd name="T20" fmla="*/ 695 w 717"/>
                <a:gd name="T21" fmla="*/ 292 h 597"/>
                <a:gd name="T22" fmla="*/ 717 w 717"/>
                <a:gd name="T23" fmla="*/ 218 h 597"/>
                <a:gd name="T24" fmla="*/ 673 w 717"/>
                <a:gd name="T25" fmla="*/ 238 h 597"/>
                <a:gd name="T26" fmla="*/ 624 w 717"/>
                <a:gd name="T27" fmla="*/ 218 h 597"/>
                <a:gd name="T28" fmla="*/ 637 w 717"/>
                <a:gd name="T29" fmla="*/ 184 h 597"/>
                <a:gd name="T30" fmla="*/ 656 w 717"/>
                <a:gd name="T31" fmla="*/ 167 h 597"/>
                <a:gd name="T32" fmla="*/ 674 w 717"/>
                <a:gd name="T33" fmla="*/ 159 h 597"/>
                <a:gd name="T34" fmla="*/ 676 w 717"/>
                <a:gd name="T35" fmla="*/ 73 h 597"/>
                <a:gd name="T36" fmla="*/ 636 w 717"/>
                <a:gd name="T37" fmla="*/ 2 h 597"/>
                <a:gd name="T38" fmla="*/ 600 w 717"/>
                <a:gd name="T39" fmla="*/ 0 h 597"/>
                <a:gd name="T40" fmla="*/ 519 w 717"/>
                <a:gd name="T41" fmla="*/ 34 h 597"/>
                <a:gd name="T42" fmla="*/ 462 w 717"/>
                <a:gd name="T43" fmla="*/ 101 h 597"/>
                <a:gd name="T44" fmla="*/ 424 w 717"/>
                <a:gd name="T45" fmla="*/ 122 h 597"/>
                <a:gd name="T46" fmla="*/ 410 w 717"/>
                <a:gd name="T47" fmla="*/ 159 h 597"/>
                <a:gd name="T48" fmla="*/ 346 w 717"/>
                <a:gd name="T49" fmla="*/ 168 h 597"/>
                <a:gd name="T50" fmla="*/ 309 w 717"/>
                <a:gd name="T51" fmla="*/ 149 h 597"/>
                <a:gd name="T52" fmla="*/ 275 w 717"/>
                <a:gd name="T53" fmla="*/ 182 h 597"/>
                <a:gd name="T54" fmla="*/ 231 w 717"/>
                <a:gd name="T55" fmla="*/ 217 h 597"/>
                <a:gd name="T56" fmla="*/ 191 w 717"/>
                <a:gd name="T57" fmla="*/ 205 h 597"/>
                <a:gd name="T58" fmla="*/ 173 w 717"/>
                <a:gd name="T59" fmla="*/ 132 h 597"/>
                <a:gd name="T60" fmla="*/ 152 w 717"/>
                <a:gd name="T61" fmla="*/ 299 h 597"/>
                <a:gd name="T62" fmla="*/ 90 w 717"/>
                <a:gd name="T63" fmla="*/ 327 h 597"/>
                <a:gd name="T64" fmla="*/ 45 w 717"/>
                <a:gd name="T65" fmla="*/ 314 h 597"/>
                <a:gd name="T66" fmla="*/ 22 w 717"/>
                <a:gd name="T67" fmla="*/ 282 h 597"/>
                <a:gd name="T68" fmla="*/ 28 w 717"/>
                <a:gd name="T69" fmla="*/ 365 h 597"/>
                <a:gd name="T70" fmla="*/ 47 w 717"/>
                <a:gd name="T71" fmla="*/ 406 h 597"/>
                <a:gd name="T72" fmla="*/ 72 w 717"/>
                <a:gd name="T73" fmla="*/ 484 h 597"/>
                <a:gd name="T74" fmla="*/ 69 w 717"/>
                <a:gd name="T75" fmla="*/ 524 h 597"/>
                <a:gd name="T76" fmla="*/ 72 w 717"/>
                <a:gd name="T77" fmla="*/ 565 h 597"/>
                <a:gd name="T78" fmla="*/ 92 w 717"/>
                <a:gd name="T79" fmla="*/ 580 h 597"/>
                <a:gd name="T80" fmla="*/ 122 w 717"/>
                <a:gd name="T81" fmla="*/ 597 h 597"/>
                <a:gd name="T82" fmla="*/ 499 w 717"/>
                <a:gd name="T83" fmla="*/ 397 h 597"/>
                <a:gd name="T84" fmla="*/ 454 w 717"/>
                <a:gd name="T85" fmla="*/ 365 h 597"/>
                <a:gd name="T86" fmla="*/ 504 w 717"/>
                <a:gd name="T87" fmla="*/ 317 h 597"/>
                <a:gd name="T88" fmla="*/ 542 w 717"/>
                <a:gd name="T89" fmla="*/ 322 h 597"/>
                <a:gd name="T90" fmla="*/ 541 w 717"/>
                <a:gd name="T91" fmla="*/ 359 h 597"/>
                <a:gd name="T92" fmla="*/ 508 w 717"/>
                <a:gd name="T93" fmla="*/ 382 h 597"/>
                <a:gd name="T94" fmla="*/ 499 w 717"/>
                <a:gd name="T95" fmla="*/ 3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7" h="597">
                  <a:moveTo>
                    <a:pt x="122" y="597"/>
                  </a:moveTo>
                  <a:lnTo>
                    <a:pt x="141" y="597"/>
                  </a:lnTo>
                  <a:lnTo>
                    <a:pt x="169" y="579"/>
                  </a:lnTo>
                  <a:lnTo>
                    <a:pt x="205" y="571"/>
                  </a:lnTo>
                  <a:lnTo>
                    <a:pt x="251" y="552"/>
                  </a:lnTo>
                  <a:lnTo>
                    <a:pt x="268" y="555"/>
                  </a:lnTo>
                  <a:lnTo>
                    <a:pt x="294" y="549"/>
                  </a:lnTo>
                  <a:lnTo>
                    <a:pt x="339" y="558"/>
                  </a:lnTo>
                  <a:lnTo>
                    <a:pt x="361" y="549"/>
                  </a:lnTo>
                  <a:lnTo>
                    <a:pt x="386" y="556"/>
                  </a:lnTo>
                  <a:lnTo>
                    <a:pt x="393" y="543"/>
                  </a:lnTo>
                  <a:lnTo>
                    <a:pt x="415" y="541"/>
                  </a:lnTo>
                  <a:lnTo>
                    <a:pt x="460" y="523"/>
                  </a:lnTo>
                  <a:lnTo>
                    <a:pt x="494" y="501"/>
                  </a:lnTo>
                  <a:lnTo>
                    <a:pt x="527" y="473"/>
                  </a:lnTo>
                  <a:lnTo>
                    <a:pt x="580" y="424"/>
                  </a:lnTo>
                  <a:lnTo>
                    <a:pt x="607" y="391"/>
                  </a:lnTo>
                  <a:lnTo>
                    <a:pt x="621" y="366"/>
                  </a:lnTo>
                  <a:lnTo>
                    <a:pt x="641" y="343"/>
                  </a:lnTo>
                  <a:lnTo>
                    <a:pt x="650" y="336"/>
                  </a:lnTo>
                  <a:lnTo>
                    <a:pt x="682" y="312"/>
                  </a:lnTo>
                  <a:lnTo>
                    <a:pt x="695" y="292"/>
                  </a:lnTo>
                  <a:lnTo>
                    <a:pt x="703" y="253"/>
                  </a:lnTo>
                  <a:lnTo>
                    <a:pt x="717" y="218"/>
                  </a:lnTo>
                  <a:lnTo>
                    <a:pt x="684" y="218"/>
                  </a:lnTo>
                  <a:lnTo>
                    <a:pt x="673" y="238"/>
                  </a:lnTo>
                  <a:lnTo>
                    <a:pt x="647" y="243"/>
                  </a:lnTo>
                  <a:lnTo>
                    <a:pt x="624" y="218"/>
                  </a:lnTo>
                  <a:lnTo>
                    <a:pt x="625" y="202"/>
                  </a:lnTo>
                  <a:lnTo>
                    <a:pt x="637" y="184"/>
                  </a:lnTo>
                  <a:lnTo>
                    <a:pt x="643" y="170"/>
                  </a:lnTo>
                  <a:lnTo>
                    <a:pt x="656" y="167"/>
                  </a:lnTo>
                  <a:lnTo>
                    <a:pt x="677" y="176"/>
                  </a:lnTo>
                  <a:lnTo>
                    <a:pt x="674" y="159"/>
                  </a:lnTo>
                  <a:lnTo>
                    <a:pt x="685" y="107"/>
                  </a:lnTo>
                  <a:lnTo>
                    <a:pt x="676" y="73"/>
                  </a:lnTo>
                  <a:lnTo>
                    <a:pt x="658" y="7"/>
                  </a:lnTo>
                  <a:lnTo>
                    <a:pt x="636" y="2"/>
                  </a:lnTo>
                  <a:lnTo>
                    <a:pt x="621" y="8"/>
                  </a:lnTo>
                  <a:lnTo>
                    <a:pt x="600" y="0"/>
                  </a:lnTo>
                  <a:lnTo>
                    <a:pt x="582" y="0"/>
                  </a:lnTo>
                  <a:lnTo>
                    <a:pt x="519" y="34"/>
                  </a:lnTo>
                  <a:lnTo>
                    <a:pt x="478" y="69"/>
                  </a:lnTo>
                  <a:lnTo>
                    <a:pt x="462" y="101"/>
                  </a:lnTo>
                  <a:lnTo>
                    <a:pt x="447" y="119"/>
                  </a:lnTo>
                  <a:lnTo>
                    <a:pt x="424" y="122"/>
                  </a:lnTo>
                  <a:lnTo>
                    <a:pt x="415" y="144"/>
                  </a:lnTo>
                  <a:lnTo>
                    <a:pt x="410" y="159"/>
                  </a:lnTo>
                  <a:lnTo>
                    <a:pt x="382" y="170"/>
                  </a:lnTo>
                  <a:lnTo>
                    <a:pt x="346" y="168"/>
                  </a:lnTo>
                  <a:lnTo>
                    <a:pt x="326" y="154"/>
                  </a:lnTo>
                  <a:lnTo>
                    <a:pt x="309" y="149"/>
                  </a:lnTo>
                  <a:lnTo>
                    <a:pt x="287" y="159"/>
                  </a:lnTo>
                  <a:lnTo>
                    <a:pt x="275" y="182"/>
                  </a:lnTo>
                  <a:lnTo>
                    <a:pt x="254" y="197"/>
                  </a:lnTo>
                  <a:lnTo>
                    <a:pt x="231" y="217"/>
                  </a:lnTo>
                  <a:lnTo>
                    <a:pt x="200" y="222"/>
                  </a:lnTo>
                  <a:lnTo>
                    <a:pt x="191" y="205"/>
                  </a:lnTo>
                  <a:lnTo>
                    <a:pt x="196" y="177"/>
                  </a:lnTo>
                  <a:lnTo>
                    <a:pt x="173" y="132"/>
                  </a:lnTo>
                  <a:lnTo>
                    <a:pt x="161" y="125"/>
                  </a:lnTo>
                  <a:lnTo>
                    <a:pt x="152" y="299"/>
                  </a:lnTo>
                  <a:lnTo>
                    <a:pt x="113" y="323"/>
                  </a:lnTo>
                  <a:lnTo>
                    <a:pt x="90" y="327"/>
                  </a:lnTo>
                  <a:lnTo>
                    <a:pt x="63" y="317"/>
                  </a:lnTo>
                  <a:lnTo>
                    <a:pt x="45" y="314"/>
                  </a:lnTo>
                  <a:lnTo>
                    <a:pt x="38" y="293"/>
                  </a:lnTo>
                  <a:lnTo>
                    <a:pt x="22" y="282"/>
                  </a:lnTo>
                  <a:lnTo>
                    <a:pt x="0" y="305"/>
                  </a:lnTo>
                  <a:lnTo>
                    <a:pt x="28" y="365"/>
                  </a:lnTo>
                  <a:lnTo>
                    <a:pt x="28" y="366"/>
                  </a:lnTo>
                  <a:lnTo>
                    <a:pt x="47" y="406"/>
                  </a:lnTo>
                  <a:lnTo>
                    <a:pt x="73" y="449"/>
                  </a:lnTo>
                  <a:lnTo>
                    <a:pt x="72" y="484"/>
                  </a:lnTo>
                  <a:lnTo>
                    <a:pt x="57" y="493"/>
                  </a:lnTo>
                  <a:lnTo>
                    <a:pt x="69" y="524"/>
                  </a:lnTo>
                  <a:lnTo>
                    <a:pt x="68" y="552"/>
                  </a:lnTo>
                  <a:lnTo>
                    <a:pt x="72" y="565"/>
                  </a:lnTo>
                  <a:lnTo>
                    <a:pt x="75" y="558"/>
                  </a:lnTo>
                  <a:lnTo>
                    <a:pt x="92" y="580"/>
                  </a:lnTo>
                  <a:lnTo>
                    <a:pt x="106" y="580"/>
                  </a:lnTo>
                  <a:lnTo>
                    <a:pt x="122" y="597"/>
                  </a:lnTo>
                  <a:lnTo>
                    <a:pt x="122" y="597"/>
                  </a:lnTo>
                  <a:close/>
                  <a:moveTo>
                    <a:pt x="499" y="397"/>
                  </a:moveTo>
                  <a:lnTo>
                    <a:pt x="483" y="401"/>
                  </a:lnTo>
                  <a:lnTo>
                    <a:pt x="454" y="365"/>
                  </a:lnTo>
                  <a:lnTo>
                    <a:pt x="479" y="336"/>
                  </a:lnTo>
                  <a:lnTo>
                    <a:pt x="504" y="317"/>
                  </a:lnTo>
                  <a:lnTo>
                    <a:pt x="525" y="308"/>
                  </a:lnTo>
                  <a:lnTo>
                    <a:pt x="542" y="322"/>
                  </a:lnTo>
                  <a:lnTo>
                    <a:pt x="556" y="336"/>
                  </a:lnTo>
                  <a:lnTo>
                    <a:pt x="541" y="359"/>
                  </a:lnTo>
                  <a:lnTo>
                    <a:pt x="532" y="374"/>
                  </a:lnTo>
                  <a:lnTo>
                    <a:pt x="508" y="382"/>
                  </a:lnTo>
                  <a:lnTo>
                    <a:pt x="499" y="397"/>
                  </a:lnTo>
                  <a:lnTo>
                    <a:pt x="499" y="397"/>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91" name="Zambia">
              <a:extLst>
                <a:ext uri="{FF2B5EF4-FFF2-40B4-BE49-F238E27FC236}">
                  <a16:creationId xmlns:a16="http://schemas.microsoft.com/office/drawing/2014/main" id="{6880D256-D52D-493D-672A-114675FFE6CA}"/>
                </a:ext>
              </a:extLst>
            </p:cNvPr>
            <p:cNvSpPr>
              <a:spLocks/>
            </p:cNvSpPr>
            <p:nvPr/>
          </p:nvSpPr>
          <p:spPr bwMode="auto">
            <a:xfrm>
              <a:off x="7624066" y="4179225"/>
              <a:ext cx="828675" cy="723900"/>
            </a:xfrm>
            <a:custGeom>
              <a:avLst/>
              <a:gdLst>
                <a:gd name="T0" fmla="*/ 390 w 522"/>
                <a:gd name="T1" fmla="*/ 12 h 456"/>
                <a:gd name="T2" fmla="*/ 385 w 522"/>
                <a:gd name="T3" fmla="*/ 0 h 456"/>
                <a:gd name="T4" fmla="*/ 312 w 522"/>
                <a:gd name="T5" fmla="*/ 13 h 456"/>
                <a:gd name="T6" fmla="*/ 309 w 522"/>
                <a:gd name="T7" fmla="*/ 64 h 456"/>
                <a:gd name="T8" fmla="*/ 293 w 522"/>
                <a:gd name="T9" fmla="*/ 167 h 456"/>
                <a:gd name="T10" fmla="*/ 335 w 522"/>
                <a:gd name="T11" fmla="*/ 193 h 456"/>
                <a:gd name="T12" fmla="*/ 350 w 522"/>
                <a:gd name="T13" fmla="*/ 236 h 456"/>
                <a:gd name="T14" fmla="*/ 299 w 522"/>
                <a:gd name="T15" fmla="*/ 209 h 456"/>
                <a:gd name="T16" fmla="*/ 249 w 522"/>
                <a:gd name="T17" fmla="*/ 183 h 456"/>
                <a:gd name="T18" fmla="*/ 212 w 522"/>
                <a:gd name="T19" fmla="*/ 173 h 456"/>
                <a:gd name="T20" fmla="*/ 163 w 522"/>
                <a:gd name="T21" fmla="*/ 145 h 456"/>
                <a:gd name="T22" fmla="*/ 113 w 522"/>
                <a:gd name="T23" fmla="*/ 141 h 456"/>
                <a:gd name="T24" fmla="*/ 96 w 522"/>
                <a:gd name="T25" fmla="*/ 126 h 456"/>
                <a:gd name="T26" fmla="*/ 95 w 522"/>
                <a:gd name="T27" fmla="*/ 163 h 456"/>
                <a:gd name="T28" fmla="*/ 95 w 522"/>
                <a:gd name="T29" fmla="*/ 203 h 456"/>
                <a:gd name="T30" fmla="*/ 6 w 522"/>
                <a:gd name="T31" fmla="*/ 219 h 456"/>
                <a:gd name="T32" fmla="*/ 29 w 522"/>
                <a:gd name="T33" fmla="*/ 406 h 456"/>
                <a:gd name="T34" fmla="*/ 93 w 522"/>
                <a:gd name="T35" fmla="*/ 425 h 456"/>
                <a:gd name="T36" fmla="*/ 139 w 522"/>
                <a:gd name="T37" fmla="*/ 438 h 456"/>
                <a:gd name="T38" fmla="*/ 146 w 522"/>
                <a:gd name="T39" fmla="*/ 446 h 456"/>
                <a:gd name="T40" fmla="*/ 209 w 522"/>
                <a:gd name="T41" fmla="*/ 456 h 456"/>
                <a:gd name="T42" fmla="*/ 250 w 522"/>
                <a:gd name="T43" fmla="*/ 425 h 456"/>
                <a:gd name="T44" fmla="*/ 306 w 522"/>
                <a:gd name="T45" fmla="*/ 382 h 456"/>
                <a:gd name="T46" fmla="*/ 338 w 522"/>
                <a:gd name="T47" fmla="*/ 348 h 456"/>
                <a:gd name="T48" fmla="*/ 369 w 522"/>
                <a:gd name="T49" fmla="*/ 308 h 456"/>
                <a:gd name="T50" fmla="*/ 481 w 522"/>
                <a:gd name="T51" fmla="*/ 257 h 456"/>
                <a:gd name="T52" fmla="*/ 511 w 522"/>
                <a:gd name="T53" fmla="*/ 197 h 456"/>
                <a:gd name="T54" fmla="*/ 513 w 522"/>
                <a:gd name="T55" fmla="*/ 120 h 456"/>
                <a:gd name="T56" fmla="*/ 511 w 522"/>
                <a:gd name="T57" fmla="*/ 67 h 456"/>
                <a:gd name="T58" fmla="*/ 466 w 522"/>
                <a:gd name="T59" fmla="*/ 33 h 456"/>
                <a:gd name="T60" fmla="*/ 420 w 522"/>
                <a:gd name="T61" fmla="*/ 17 h 456"/>
                <a:gd name="T62" fmla="*/ 418 w 522"/>
                <a:gd name="T63" fmla="*/ 15 h 456"/>
                <a:gd name="T64" fmla="*/ 415 w 522"/>
                <a:gd name="T65" fmla="*/ 26 h 456"/>
                <a:gd name="T66" fmla="*/ 405 w 522"/>
                <a:gd name="T67" fmla="*/ 1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56">
                  <a:moveTo>
                    <a:pt x="405" y="16"/>
                  </a:moveTo>
                  <a:lnTo>
                    <a:pt x="390" y="12"/>
                  </a:lnTo>
                  <a:lnTo>
                    <a:pt x="393" y="2"/>
                  </a:lnTo>
                  <a:lnTo>
                    <a:pt x="385" y="0"/>
                  </a:lnTo>
                  <a:lnTo>
                    <a:pt x="325" y="7"/>
                  </a:lnTo>
                  <a:lnTo>
                    <a:pt x="312" y="13"/>
                  </a:lnTo>
                  <a:lnTo>
                    <a:pt x="300" y="43"/>
                  </a:lnTo>
                  <a:lnTo>
                    <a:pt x="309" y="64"/>
                  </a:lnTo>
                  <a:lnTo>
                    <a:pt x="300" y="119"/>
                  </a:lnTo>
                  <a:lnTo>
                    <a:pt x="293" y="167"/>
                  </a:lnTo>
                  <a:lnTo>
                    <a:pt x="305" y="175"/>
                  </a:lnTo>
                  <a:lnTo>
                    <a:pt x="335" y="193"/>
                  </a:lnTo>
                  <a:lnTo>
                    <a:pt x="348" y="185"/>
                  </a:lnTo>
                  <a:lnTo>
                    <a:pt x="350" y="236"/>
                  </a:lnTo>
                  <a:lnTo>
                    <a:pt x="316" y="235"/>
                  </a:lnTo>
                  <a:lnTo>
                    <a:pt x="299" y="209"/>
                  </a:lnTo>
                  <a:lnTo>
                    <a:pt x="283" y="189"/>
                  </a:lnTo>
                  <a:lnTo>
                    <a:pt x="249" y="183"/>
                  </a:lnTo>
                  <a:lnTo>
                    <a:pt x="239" y="158"/>
                  </a:lnTo>
                  <a:lnTo>
                    <a:pt x="212" y="173"/>
                  </a:lnTo>
                  <a:lnTo>
                    <a:pt x="177" y="166"/>
                  </a:lnTo>
                  <a:lnTo>
                    <a:pt x="163" y="145"/>
                  </a:lnTo>
                  <a:lnTo>
                    <a:pt x="134" y="140"/>
                  </a:lnTo>
                  <a:lnTo>
                    <a:pt x="113" y="141"/>
                  </a:lnTo>
                  <a:lnTo>
                    <a:pt x="111" y="127"/>
                  </a:lnTo>
                  <a:lnTo>
                    <a:pt x="96" y="126"/>
                  </a:lnTo>
                  <a:lnTo>
                    <a:pt x="101" y="140"/>
                  </a:lnTo>
                  <a:lnTo>
                    <a:pt x="95" y="163"/>
                  </a:lnTo>
                  <a:lnTo>
                    <a:pt x="102" y="185"/>
                  </a:lnTo>
                  <a:lnTo>
                    <a:pt x="95" y="203"/>
                  </a:lnTo>
                  <a:lnTo>
                    <a:pt x="99" y="219"/>
                  </a:lnTo>
                  <a:lnTo>
                    <a:pt x="6" y="219"/>
                  </a:lnTo>
                  <a:lnTo>
                    <a:pt x="0" y="368"/>
                  </a:lnTo>
                  <a:lnTo>
                    <a:pt x="29" y="406"/>
                  </a:lnTo>
                  <a:lnTo>
                    <a:pt x="57" y="436"/>
                  </a:lnTo>
                  <a:lnTo>
                    <a:pt x="93" y="425"/>
                  </a:lnTo>
                  <a:lnTo>
                    <a:pt x="122" y="428"/>
                  </a:lnTo>
                  <a:lnTo>
                    <a:pt x="139" y="438"/>
                  </a:lnTo>
                  <a:lnTo>
                    <a:pt x="139" y="443"/>
                  </a:lnTo>
                  <a:lnTo>
                    <a:pt x="146" y="446"/>
                  </a:lnTo>
                  <a:lnTo>
                    <a:pt x="195" y="451"/>
                  </a:lnTo>
                  <a:lnTo>
                    <a:pt x="209" y="456"/>
                  </a:lnTo>
                  <a:lnTo>
                    <a:pt x="225" y="455"/>
                  </a:lnTo>
                  <a:lnTo>
                    <a:pt x="250" y="425"/>
                  </a:lnTo>
                  <a:lnTo>
                    <a:pt x="290" y="386"/>
                  </a:lnTo>
                  <a:lnTo>
                    <a:pt x="306" y="382"/>
                  </a:lnTo>
                  <a:lnTo>
                    <a:pt x="312" y="366"/>
                  </a:lnTo>
                  <a:lnTo>
                    <a:pt x="338" y="348"/>
                  </a:lnTo>
                  <a:lnTo>
                    <a:pt x="372" y="342"/>
                  </a:lnTo>
                  <a:lnTo>
                    <a:pt x="369" y="308"/>
                  </a:lnTo>
                  <a:lnTo>
                    <a:pt x="504" y="269"/>
                  </a:lnTo>
                  <a:lnTo>
                    <a:pt x="481" y="257"/>
                  </a:lnTo>
                  <a:lnTo>
                    <a:pt x="497" y="214"/>
                  </a:lnTo>
                  <a:lnTo>
                    <a:pt x="511" y="197"/>
                  </a:lnTo>
                  <a:lnTo>
                    <a:pt x="504" y="158"/>
                  </a:lnTo>
                  <a:lnTo>
                    <a:pt x="513" y="120"/>
                  </a:lnTo>
                  <a:lnTo>
                    <a:pt x="522" y="107"/>
                  </a:lnTo>
                  <a:lnTo>
                    <a:pt x="511" y="67"/>
                  </a:lnTo>
                  <a:lnTo>
                    <a:pt x="491" y="46"/>
                  </a:lnTo>
                  <a:lnTo>
                    <a:pt x="466" y="33"/>
                  </a:lnTo>
                  <a:lnTo>
                    <a:pt x="438" y="24"/>
                  </a:lnTo>
                  <a:lnTo>
                    <a:pt x="420" y="17"/>
                  </a:lnTo>
                  <a:lnTo>
                    <a:pt x="418" y="15"/>
                  </a:lnTo>
                  <a:lnTo>
                    <a:pt x="418" y="15"/>
                  </a:lnTo>
                  <a:lnTo>
                    <a:pt x="422" y="22"/>
                  </a:lnTo>
                  <a:lnTo>
                    <a:pt x="415" y="26"/>
                  </a:lnTo>
                  <a:lnTo>
                    <a:pt x="405" y="16"/>
                  </a:lnTo>
                  <a:lnTo>
                    <a:pt x="405" y="16"/>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92" name="Zimbabwe">
              <a:extLst>
                <a:ext uri="{FF2B5EF4-FFF2-40B4-BE49-F238E27FC236}">
                  <a16:creationId xmlns:a16="http://schemas.microsoft.com/office/drawing/2014/main" id="{FDB7F822-C022-2907-38B7-9946C900AA3F}"/>
                </a:ext>
              </a:extLst>
            </p:cNvPr>
            <p:cNvSpPr>
              <a:spLocks/>
            </p:cNvSpPr>
            <p:nvPr/>
          </p:nvSpPr>
          <p:spPr bwMode="auto">
            <a:xfrm>
              <a:off x="7855841" y="4722150"/>
              <a:ext cx="533400" cy="503238"/>
            </a:xfrm>
            <a:custGeom>
              <a:avLst/>
              <a:gdLst>
                <a:gd name="T0" fmla="*/ 250 w 336"/>
                <a:gd name="T1" fmla="*/ 316 h 317"/>
                <a:gd name="T2" fmla="*/ 300 w 336"/>
                <a:gd name="T3" fmla="*/ 263 h 317"/>
                <a:gd name="T4" fmla="*/ 312 w 336"/>
                <a:gd name="T5" fmla="*/ 229 h 317"/>
                <a:gd name="T6" fmla="*/ 320 w 336"/>
                <a:gd name="T7" fmla="*/ 225 h 317"/>
                <a:gd name="T8" fmla="*/ 326 w 336"/>
                <a:gd name="T9" fmla="*/ 197 h 317"/>
                <a:gd name="T10" fmla="*/ 320 w 336"/>
                <a:gd name="T11" fmla="*/ 183 h 317"/>
                <a:gd name="T12" fmla="*/ 323 w 336"/>
                <a:gd name="T13" fmla="*/ 147 h 317"/>
                <a:gd name="T14" fmla="*/ 333 w 336"/>
                <a:gd name="T15" fmla="*/ 115 h 317"/>
                <a:gd name="T16" fmla="*/ 336 w 336"/>
                <a:gd name="T17" fmla="*/ 56 h 317"/>
                <a:gd name="T18" fmla="*/ 314 w 336"/>
                <a:gd name="T19" fmla="*/ 40 h 317"/>
                <a:gd name="T20" fmla="*/ 293 w 336"/>
                <a:gd name="T21" fmla="*/ 37 h 317"/>
                <a:gd name="T22" fmla="*/ 284 w 336"/>
                <a:gd name="T23" fmla="*/ 26 h 317"/>
                <a:gd name="T24" fmla="*/ 264 w 336"/>
                <a:gd name="T25" fmla="*/ 16 h 317"/>
                <a:gd name="T26" fmla="*/ 228 w 336"/>
                <a:gd name="T27" fmla="*/ 17 h 317"/>
                <a:gd name="T28" fmla="*/ 226 w 336"/>
                <a:gd name="T29" fmla="*/ 0 h 317"/>
                <a:gd name="T30" fmla="*/ 192 w 336"/>
                <a:gd name="T31" fmla="*/ 6 h 317"/>
                <a:gd name="T32" fmla="*/ 166 w 336"/>
                <a:gd name="T33" fmla="*/ 24 h 317"/>
                <a:gd name="T34" fmla="*/ 160 w 336"/>
                <a:gd name="T35" fmla="*/ 40 h 317"/>
                <a:gd name="T36" fmla="*/ 144 w 336"/>
                <a:gd name="T37" fmla="*/ 44 h 317"/>
                <a:gd name="T38" fmla="*/ 104 w 336"/>
                <a:gd name="T39" fmla="*/ 83 h 317"/>
                <a:gd name="T40" fmla="*/ 79 w 336"/>
                <a:gd name="T41" fmla="*/ 113 h 317"/>
                <a:gd name="T42" fmla="*/ 63 w 336"/>
                <a:gd name="T43" fmla="*/ 114 h 317"/>
                <a:gd name="T44" fmla="*/ 49 w 336"/>
                <a:gd name="T45" fmla="*/ 109 h 317"/>
                <a:gd name="T46" fmla="*/ 0 w 336"/>
                <a:gd name="T47" fmla="*/ 104 h 317"/>
                <a:gd name="T48" fmla="*/ 16 w 336"/>
                <a:gd name="T49" fmla="*/ 141 h 317"/>
                <a:gd name="T50" fmla="*/ 24 w 336"/>
                <a:gd name="T51" fmla="*/ 150 h 317"/>
                <a:gd name="T52" fmla="*/ 37 w 336"/>
                <a:gd name="T53" fmla="*/ 177 h 317"/>
                <a:gd name="T54" fmla="*/ 84 w 336"/>
                <a:gd name="T55" fmla="*/ 229 h 317"/>
                <a:gd name="T56" fmla="*/ 103 w 336"/>
                <a:gd name="T57" fmla="*/ 234 h 317"/>
                <a:gd name="T58" fmla="*/ 102 w 336"/>
                <a:gd name="T59" fmla="*/ 250 h 317"/>
                <a:gd name="T60" fmla="*/ 113 w 336"/>
                <a:gd name="T61" fmla="*/ 280 h 317"/>
                <a:gd name="T62" fmla="*/ 147 w 336"/>
                <a:gd name="T63" fmla="*/ 287 h 317"/>
                <a:gd name="T64" fmla="*/ 174 w 336"/>
                <a:gd name="T65" fmla="*/ 309 h 317"/>
                <a:gd name="T66" fmla="*/ 192 w 336"/>
                <a:gd name="T67" fmla="*/ 309 h 317"/>
                <a:gd name="T68" fmla="*/ 213 w 336"/>
                <a:gd name="T69" fmla="*/ 317 h 317"/>
                <a:gd name="T70" fmla="*/ 228 w 336"/>
                <a:gd name="T71" fmla="*/ 311 h 317"/>
                <a:gd name="T72" fmla="*/ 250 w 336"/>
                <a:gd name="T73" fmla="*/ 316 h 317"/>
                <a:gd name="T74" fmla="*/ 250 w 336"/>
                <a:gd name="T75"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7">
                  <a:moveTo>
                    <a:pt x="250" y="316"/>
                  </a:moveTo>
                  <a:lnTo>
                    <a:pt x="300" y="263"/>
                  </a:lnTo>
                  <a:lnTo>
                    <a:pt x="312" y="229"/>
                  </a:lnTo>
                  <a:lnTo>
                    <a:pt x="320" y="225"/>
                  </a:lnTo>
                  <a:lnTo>
                    <a:pt x="326" y="197"/>
                  </a:lnTo>
                  <a:lnTo>
                    <a:pt x="320" y="183"/>
                  </a:lnTo>
                  <a:lnTo>
                    <a:pt x="323" y="147"/>
                  </a:lnTo>
                  <a:lnTo>
                    <a:pt x="333" y="115"/>
                  </a:lnTo>
                  <a:lnTo>
                    <a:pt x="336" y="56"/>
                  </a:lnTo>
                  <a:lnTo>
                    <a:pt x="314" y="40"/>
                  </a:lnTo>
                  <a:lnTo>
                    <a:pt x="293" y="37"/>
                  </a:lnTo>
                  <a:lnTo>
                    <a:pt x="284" y="26"/>
                  </a:lnTo>
                  <a:lnTo>
                    <a:pt x="264" y="16"/>
                  </a:lnTo>
                  <a:lnTo>
                    <a:pt x="228" y="17"/>
                  </a:lnTo>
                  <a:lnTo>
                    <a:pt x="226" y="0"/>
                  </a:lnTo>
                  <a:lnTo>
                    <a:pt x="192" y="6"/>
                  </a:lnTo>
                  <a:lnTo>
                    <a:pt x="166" y="24"/>
                  </a:lnTo>
                  <a:lnTo>
                    <a:pt x="160" y="40"/>
                  </a:lnTo>
                  <a:lnTo>
                    <a:pt x="144" y="44"/>
                  </a:lnTo>
                  <a:lnTo>
                    <a:pt x="104" y="83"/>
                  </a:lnTo>
                  <a:lnTo>
                    <a:pt x="79" y="113"/>
                  </a:lnTo>
                  <a:lnTo>
                    <a:pt x="63" y="114"/>
                  </a:lnTo>
                  <a:lnTo>
                    <a:pt x="49" y="109"/>
                  </a:lnTo>
                  <a:lnTo>
                    <a:pt x="0" y="104"/>
                  </a:lnTo>
                  <a:lnTo>
                    <a:pt x="16" y="141"/>
                  </a:lnTo>
                  <a:lnTo>
                    <a:pt x="24" y="150"/>
                  </a:lnTo>
                  <a:lnTo>
                    <a:pt x="37" y="177"/>
                  </a:lnTo>
                  <a:lnTo>
                    <a:pt x="84" y="229"/>
                  </a:lnTo>
                  <a:lnTo>
                    <a:pt x="103" y="234"/>
                  </a:lnTo>
                  <a:lnTo>
                    <a:pt x="102" y="250"/>
                  </a:lnTo>
                  <a:lnTo>
                    <a:pt x="113" y="280"/>
                  </a:lnTo>
                  <a:lnTo>
                    <a:pt x="147" y="287"/>
                  </a:lnTo>
                  <a:lnTo>
                    <a:pt x="174" y="309"/>
                  </a:lnTo>
                  <a:lnTo>
                    <a:pt x="192" y="309"/>
                  </a:lnTo>
                  <a:lnTo>
                    <a:pt x="213" y="317"/>
                  </a:lnTo>
                  <a:lnTo>
                    <a:pt x="228" y="311"/>
                  </a:lnTo>
                  <a:lnTo>
                    <a:pt x="250" y="316"/>
                  </a:lnTo>
                  <a:lnTo>
                    <a:pt x="250" y="316"/>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93" name="Somalia">
              <a:extLst>
                <a:ext uri="{FF2B5EF4-FFF2-40B4-BE49-F238E27FC236}">
                  <a16:creationId xmlns:a16="http://schemas.microsoft.com/office/drawing/2014/main" id="{19ACD8D8-C2AC-F614-08DF-3B3AD1827EE5}"/>
                </a:ext>
              </a:extLst>
            </p:cNvPr>
            <p:cNvSpPr>
              <a:spLocks/>
            </p:cNvSpPr>
            <p:nvPr/>
          </p:nvSpPr>
          <p:spPr bwMode="auto">
            <a:xfrm>
              <a:off x="8994079" y="2667925"/>
              <a:ext cx="698500" cy="1020763"/>
            </a:xfrm>
            <a:custGeom>
              <a:avLst/>
              <a:gdLst>
                <a:gd name="T0" fmla="*/ 131 w 440"/>
                <a:gd name="T1" fmla="*/ 74 h 643"/>
                <a:gd name="T2" fmla="*/ 111 w 440"/>
                <a:gd name="T3" fmla="*/ 54 h 643"/>
                <a:gd name="T4" fmla="*/ 101 w 440"/>
                <a:gd name="T5" fmla="*/ 35 h 643"/>
                <a:gd name="T6" fmla="*/ 86 w 440"/>
                <a:gd name="T7" fmla="*/ 26 h 643"/>
                <a:gd name="T8" fmla="*/ 70 w 440"/>
                <a:gd name="T9" fmla="*/ 51 h 643"/>
                <a:gd name="T10" fmla="*/ 61 w 440"/>
                <a:gd name="T11" fmla="*/ 68 h 643"/>
                <a:gd name="T12" fmla="*/ 80 w 440"/>
                <a:gd name="T13" fmla="*/ 94 h 643"/>
                <a:gd name="T14" fmla="*/ 96 w 440"/>
                <a:gd name="T15" fmla="*/ 116 h 643"/>
                <a:gd name="T16" fmla="*/ 113 w 440"/>
                <a:gd name="T17" fmla="*/ 133 h 643"/>
                <a:gd name="T18" fmla="*/ 260 w 440"/>
                <a:gd name="T19" fmla="*/ 189 h 643"/>
                <a:gd name="T20" fmla="*/ 299 w 440"/>
                <a:gd name="T21" fmla="*/ 188 h 643"/>
                <a:gd name="T22" fmla="*/ 176 w 440"/>
                <a:gd name="T23" fmla="*/ 329 h 643"/>
                <a:gd name="T24" fmla="*/ 118 w 440"/>
                <a:gd name="T25" fmla="*/ 332 h 643"/>
                <a:gd name="T26" fmla="*/ 79 w 440"/>
                <a:gd name="T27" fmla="*/ 365 h 643"/>
                <a:gd name="T28" fmla="*/ 50 w 440"/>
                <a:gd name="T29" fmla="*/ 366 h 643"/>
                <a:gd name="T30" fmla="*/ 38 w 440"/>
                <a:gd name="T31" fmla="*/ 380 h 643"/>
                <a:gd name="T32" fmla="*/ 0 w 440"/>
                <a:gd name="T33" fmla="*/ 434 h 643"/>
                <a:gd name="T34" fmla="*/ 1 w 440"/>
                <a:gd name="T35" fmla="*/ 605 h 643"/>
                <a:gd name="T36" fmla="*/ 27 w 440"/>
                <a:gd name="T37" fmla="*/ 643 h 643"/>
                <a:gd name="T38" fmla="*/ 37 w 440"/>
                <a:gd name="T39" fmla="*/ 632 h 643"/>
                <a:gd name="T40" fmla="*/ 48 w 440"/>
                <a:gd name="T41" fmla="*/ 608 h 643"/>
                <a:gd name="T42" fmla="*/ 97 w 440"/>
                <a:gd name="T43" fmla="*/ 551 h 643"/>
                <a:gd name="T44" fmla="*/ 139 w 440"/>
                <a:gd name="T45" fmla="*/ 515 h 643"/>
                <a:gd name="T46" fmla="*/ 205 w 440"/>
                <a:gd name="T47" fmla="*/ 469 h 643"/>
                <a:gd name="T48" fmla="*/ 249 w 440"/>
                <a:gd name="T49" fmla="*/ 430 h 643"/>
                <a:gd name="T50" fmla="*/ 301 w 440"/>
                <a:gd name="T51" fmla="*/ 367 h 643"/>
                <a:gd name="T52" fmla="*/ 337 w 440"/>
                <a:gd name="T53" fmla="*/ 314 h 643"/>
                <a:gd name="T54" fmla="*/ 374 w 440"/>
                <a:gd name="T55" fmla="*/ 245 h 643"/>
                <a:gd name="T56" fmla="*/ 399 w 440"/>
                <a:gd name="T57" fmla="*/ 185 h 643"/>
                <a:gd name="T58" fmla="*/ 419 w 440"/>
                <a:gd name="T59" fmla="*/ 132 h 643"/>
                <a:gd name="T60" fmla="*/ 430 w 440"/>
                <a:gd name="T61" fmla="*/ 81 h 643"/>
                <a:gd name="T62" fmla="*/ 438 w 440"/>
                <a:gd name="T63" fmla="*/ 64 h 643"/>
                <a:gd name="T64" fmla="*/ 437 w 440"/>
                <a:gd name="T65" fmla="*/ 40 h 643"/>
                <a:gd name="T66" fmla="*/ 440 w 440"/>
                <a:gd name="T67" fmla="*/ 13 h 643"/>
                <a:gd name="T68" fmla="*/ 438 w 440"/>
                <a:gd name="T69" fmla="*/ 0 h 643"/>
                <a:gd name="T70" fmla="*/ 421 w 440"/>
                <a:gd name="T71" fmla="*/ 0 h 643"/>
                <a:gd name="T72" fmla="*/ 401 w 440"/>
                <a:gd name="T73" fmla="*/ 16 h 643"/>
                <a:gd name="T74" fmla="*/ 378 w 440"/>
                <a:gd name="T75" fmla="*/ 20 h 643"/>
                <a:gd name="T76" fmla="*/ 358 w 440"/>
                <a:gd name="T77" fmla="*/ 28 h 643"/>
                <a:gd name="T78" fmla="*/ 343 w 440"/>
                <a:gd name="T79" fmla="*/ 29 h 643"/>
                <a:gd name="T80" fmla="*/ 343 w 440"/>
                <a:gd name="T81" fmla="*/ 29 h 643"/>
                <a:gd name="T82" fmla="*/ 319 w 440"/>
                <a:gd name="T83" fmla="*/ 30 h 643"/>
                <a:gd name="T84" fmla="*/ 303 w 440"/>
                <a:gd name="T85" fmla="*/ 39 h 643"/>
                <a:gd name="T86" fmla="*/ 281 w 440"/>
                <a:gd name="T87" fmla="*/ 42 h 643"/>
                <a:gd name="T88" fmla="*/ 243 w 440"/>
                <a:gd name="T89" fmla="*/ 57 h 643"/>
                <a:gd name="T90" fmla="*/ 195 w 440"/>
                <a:gd name="T91" fmla="*/ 62 h 643"/>
                <a:gd name="T92" fmla="*/ 153 w 440"/>
                <a:gd name="T93" fmla="*/ 74 h 643"/>
                <a:gd name="T94" fmla="*/ 131 w 440"/>
                <a:gd name="T95" fmla="*/ 74 h 643"/>
                <a:gd name="T96" fmla="*/ 131 w 440"/>
                <a:gd name="T97" fmla="*/ 7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0" h="643">
                  <a:moveTo>
                    <a:pt x="131" y="74"/>
                  </a:moveTo>
                  <a:lnTo>
                    <a:pt x="111" y="54"/>
                  </a:lnTo>
                  <a:lnTo>
                    <a:pt x="101" y="35"/>
                  </a:lnTo>
                  <a:lnTo>
                    <a:pt x="86" y="26"/>
                  </a:lnTo>
                  <a:lnTo>
                    <a:pt x="70" y="51"/>
                  </a:lnTo>
                  <a:lnTo>
                    <a:pt x="61" y="68"/>
                  </a:lnTo>
                  <a:lnTo>
                    <a:pt x="80" y="94"/>
                  </a:lnTo>
                  <a:lnTo>
                    <a:pt x="96" y="116"/>
                  </a:lnTo>
                  <a:lnTo>
                    <a:pt x="113" y="133"/>
                  </a:lnTo>
                  <a:lnTo>
                    <a:pt x="260" y="189"/>
                  </a:lnTo>
                  <a:lnTo>
                    <a:pt x="299" y="188"/>
                  </a:lnTo>
                  <a:lnTo>
                    <a:pt x="176" y="329"/>
                  </a:lnTo>
                  <a:lnTo>
                    <a:pt x="118" y="332"/>
                  </a:lnTo>
                  <a:lnTo>
                    <a:pt x="79" y="365"/>
                  </a:lnTo>
                  <a:lnTo>
                    <a:pt x="50" y="366"/>
                  </a:lnTo>
                  <a:lnTo>
                    <a:pt x="38" y="380"/>
                  </a:lnTo>
                  <a:lnTo>
                    <a:pt x="0" y="434"/>
                  </a:lnTo>
                  <a:lnTo>
                    <a:pt x="1" y="605"/>
                  </a:lnTo>
                  <a:lnTo>
                    <a:pt x="27" y="643"/>
                  </a:lnTo>
                  <a:lnTo>
                    <a:pt x="37" y="632"/>
                  </a:lnTo>
                  <a:lnTo>
                    <a:pt x="48" y="608"/>
                  </a:lnTo>
                  <a:lnTo>
                    <a:pt x="97" y="551"/>
                  </a:lnTo>
                  <a:lnTo>
                    <a:pt x="139" y="515"/>
                  </a:lnTo>
                  <a:lnTo>
                    <a:pt x="205" y="469"/>
                  </a:lnTo>
                  <a:lnTo>
                    <a:pt x="249" y="430"/>
                  </a:lnTo>
                  <a:lnTo>
                    <a:pt x="301" y="367"/>
                  </a:lnTo>
                  <a:lnTo>
                    <a:pt x="337" y="314"/>
                  </a:lnTo>
                  <a:lnTo>
                    <a:pt x="374" y="245"/>
                  </a:lnTo>
                  <a:lnTo>
                    <a:pt x="399" y="185"/>
                  </a:lnTo>
                  <a:lnTo>
                    <a:pt x="419" y="132"/>
                  </a:lnTo>
                  <a:lnTo>
                    <a:pt x="430" y="81"/>
                  </a:lnTo>
                  <a:lnTo>
                    <a:pt x="438" y="64"/>
                  </a:lnTo>
                  <a:lnTo>
                    <a:pt x="437" y="40"/>
                  </a:lnTo>
                  <a:lnTo>
                    <a:pt x="440" y="13"/>
                  </a:lnTo>
                  <a:lnTo>
                    <a:pt x="438" y="0"/>
                  </a:lnTo>
                  <a:lnTo>
                    <a:pt x="421" y="0"/>
                  </a:lnTo>
                  <a:lnTo>
                    <a:pt x="401" y="16"/>
                  </a:lnTo>
                  <a:lnTo>
                    <a:pt x="378" y="20"/>
                  </a:lnTo>
                  <a:lnTo>
                    <a:pt x="358" y="28"/>
                  </a:lnTo>
                  <a:lnTo>
                    <a:pt x="343" y="29"/>
                  </a:lnTo>
                  <a:lnTo>
                    <a:pt x="343" y="29"/>
                  </a:lnTo>
                  <a:lnTo>
                    <a:pt x="319" y="30"/>
                  </a:lnTo>
                  <a:lnTo>
                    <a:pt x="303" y="39"/>
                  </a:lnTo>
                  <a:lnTo>
                    <a:pt x="281" y="42"/>
                  </a:lnTo>
                  <a:lnTo>
                    <a:pt x="243" y="57"/>
                  </a:lnTo>
                  <a:lnTo>
                    <a:pt x="195" y="62"/>
                  </a:lnTo>
                  <a:lnTo>
                    <a:pt x="153" y="74"/>
                  </a:lnTo>
                  <a:lnTo>
                    <a:pt x="131" y="74"/>
                  </a:lnTo>
                  <a:lnTo>
                    <a:pt x="131" y="74"/>
                  </a:lnTo>
                  <a:close/>
                </a:path>
              </a:pathLst>
            </a:custGeom>
            <a:solidFill>
              <a:schemeClr val="bg1">
                <a:lumMod val="8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sp>
        <p:nvSpPr>
          <p:cNvPr id="239" name="Rectángulo: una sola esquina redondeada 238">
            <a:extLst>
              <a:ext uri="{FF2B5EF4-FFF2-40B4-BE49-F238E27FC236}">
                <a16:creationId xmlns:a16="http://schemas.microsoft.com/office/drawing/2014/main" id="{46F71917-9715-FEB2-4421-ACEFD4D70CF4}"/>
              </a:ext>
            </a:extLst>
          </p:cNvPr>
          <p:cNvSpPr/>
          <p:nvPr/>
        </p:nvSpPr>
        <p:spPr>
          <a:xfrm flipV="1">
            <a:off x="0" y="-3"/>
            <a:ext cx="200921" cy="5948284"/>
          </a:xfrm>
          <a:prstGeom prst="round1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607035" y="1775881"/>
            <a:ext cx="406469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Strong economic growth in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East Africa</a:t>
            </a:r>
          </a:p>
        </p:txBody>
      </p:sp>
      <p:sp>
        <p:nvSpPr>
          <p:cNvPr id="60" name="CuadroTexto 59">
            <a:extLst>
              <a:ext uri="{FF2B5EF4-FFF2-40B4-BE49-F238E27FC236}">
                <a16:creationId xmlns:a16="http://schemas.microsoft.com/office/drawing/2014/main" id="{06716DEA-6D76-5B88-666D-3B779E74871B}"/>
              </a:ext>
            </a:extLst>
          </p:cNvPr>
          <p:cNvSpPr txBox="1"/>
          <p:nvPr/>
        </p:nvSpPr>
        <p:spPr>
          <a:xfrm>
            <a:off x="4171729" y="5288442"/>
            <a:ext cx="3333657" cy="21544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Source </a:t>
            </a:r>
            <a:r>
              <a:rPr kumimoji="0" lang="en-US" sz="800" b="0" i="1"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a:t>
            </a:r>
            <a:r>
              <a:rPr kumimoji="0" lang="en-US" sz="800" b="0" i="1" u="none" strike="noStrike" kern="1200" cap="none" spc="0" normalizeH="0" baseline="0" noProof="0" dirty="0">
                <a:ln>
                  <a:noFill/>
                </a:ln>
                <a:solidFill>
                  <a:prstClr val="white">
                    <a:lumMod val="65000"/>
                  </a:prstClr>
                </a:solidFill>
                <a:effectLst/>
                <a:uLnTx/>
                <a:uFillTx/>
                <a:latin typeface="Poppins Medium" panose="00000600000000000000" pitchFamily="2" charset="0"/>
                <a:ea typeface="+mn-ea"/>
                <a:cs typeface="Poppins Medium" panose="00000600000000000000" pitchFamily="2" charset="0"/>
              </a:rPr>
              <a:t> </a:t>
            </a:r>
            <a:r>
              <a:rPr kumimoji="0" lang="en-US" sz="800" b="0" i="1" u="none" strike="noStrike" kern="1200" cap="none" spc="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rPr>
              <a:t>IMF and Bloomberg. THEUNS KRUGER, Graphics24</a:t>
            </a:r>
            <a:endParaRPr kumimoji="0" lang="en-US" sz="800" b="0" i="1" u="none" strike="noStrike" kern="1200" cap="none" spc="300" normalizeH="0" baseline="0" noProof="0" dirty="0">
              <a:ln>
                <a:noFill/>
              </a:ln>
              <a:solidFill>
                <a:srgbClr val="FF0000"/>
              </a:solidFill>
              <a:effectLst/>
              <a:uLnTx/>
              <a:uFillTx/>
              <a:latin typeface="Poppins Medium" panose="00000600000000000000" pitchFamily="2" charset="0"/>
              <a:ea typeface="+mn-ea"/>
              <a:cs typeface="Poppins Medium" panose="00000600000000000000" pitchFamily="2" charset="0"/>
            </a:endParaRPr>
          </a:p>
        </p:txBody>
      </p:sp>
      <p:grpSp>
        <p:nvGrpSpPr>
          <p:cNvPr id="209" name="Grupo 208">
            <a:extLst>
              <a:ext uri="{FF2B5EF4-FFF2-40B4-BE49-F238E27FC236}">
                <a16:creationId xmlns:a16="http://schemas.microsoft.com/office/drawing/2014/main" id="{E29CD4DA-3F68-998C-0442-A79FBFE1D7A8}"/>
              </a:ext>
            </a:extLst>
          </p:cNvPr>
          <p:cNvGrpSpPr/>
          <p:nvPr/>
        </p:nvGrpSpPr>
        <p:grpSpPr>
          <a:xfrm>
            <a:off x="820687" y="3320822"/>
            <a:ext cx="1604052" cy="1859760"/>
            <a:chOff x="7900929" y="1466565"/>
            <a:chExt cx="1194504" cy="1384924"/>
          </a:xfrm>
        </p:grpSpPr>
        <p:sp>
          <p:nvSpPr>
            <p:cNvPr id="66" name="CuadroTexto 65">
              <a:extLst>
                <a:ext uri="{FF2B5EF4-FFF2-40B4-BE49-F238E27FC236}">
                  <a16:creationId xmlns:a16="http://schemas.microsoft.com/office/drawing/2014/main" id="{E921319B-6BB1-7016-954A-F8C59C6C9CAB}"/>
                </a:ext>
              </a:extLst>
            </p:cNvPr>
            <p:cNvSpPr txBox="1"/>
            <p:nvPr/>
          </p:nvSpPr>
          <p:spPr>
            <a:xfrm>
              <a:off x="7976104" y="1466565"/>
              <a:ext cx="1044155" cy="27503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Uganda</a:t>
              </a:r>
            </a:p>
          </p:txBody>
        </p:sp>
        <p:graphicFrame>
          <p:nvGraphicFramePr>
            <p:cNvPr id="140" name="Gráfico 139">
              <a:extLst>
                <a:ext uri="{FF2B5EF4-FFF2-40B4-BE49-F238E27FC236}">
                  <a16:creationId xmlns:a16="http://schemas.microsoft.com/office/drawing/2014/main" id="{7E6F7D04-A4CE-3975-5907-C88046EAABFA}"/>
                </a:ext>
              </a:extLst>
            </p:cNvPr>
            <p:cNvGraphicFramePr/>
            <p:nvPr/>
          </p:nvGraphicFramePr>
          <p:xfrm>
            <a:off x="7900929" y="1702792"/>
            <a:ext cx="1194504" cy="1148697"/>
          </p:xfrm>
          <a:graphic>
            <a:graphicData uri="http://schemas.openxmlformats.org/drawingml/2006/chart">
              <c:chart xmlns:c="http://schemas.openxmlformats.org/drawingml/2006/chart" xmlns:r="http://schemas.openxmlformats.org/officeDocument/2006/relationships" r:id="rId4"/>
            </a:graphicData>
          </a:graphic>
        </p:graphicFrame>
        <p:sp>
          <p:nvSpPr>
            <p:cNvPr id="141" name="CuadroTexto 140">
              <a:extLst>
                <a:ext uri="{FF2B5EF4-FFF2-40B4-BE49-F238E27FC236}">
                  <a16:creationId xmlns:a16="http://schemas.microsoft.com/office/drawing/2014/main" id="{6E7D22DB-9602-4B8B-306C-F2F2107D66BE}"/>
                </a:ext>
              </a:extLst>
            </p:cNvPr>
            <p:cNvSpPr txBox="1"/>
            <p:nvPr/>
          </p:nvSpPr>
          <p:spPr>
            <a:xfrm>
              <a:off x="8169700" y="2138531"/>
              <a:ext cx="716250" cy="2979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5.3%</a:t>
              </a:r>
            </a:p>
          </p:txBody>
        </p:sp>
      </p:grpSp>
      <p:grpSp>
        <p:nvGrpSpPr>
          <p:cNvPr id="211" name="Grupo 210">
            <a:extLst>
              <a:ext uri="{FF2B5EF4-FFF2-40B4-BE49-F238E27FC236}">
                <a16:creationId xmlns:a16="http://schemas.microsoft.com/office/drawing/2014/main" id="{C399E2C7-5E69-91D5-89D0-6CC77D3116F4}"/>
              </a:ext>
            </a:extLst>
          </p:cNvPr>
          <p:cNvGrpSpPr/>
          <p:nvPr/>
        </p:nvGrpSpPr>
        <p:grpSpPr>
          <a:xfrm>
            <a:off x="2566701" y="3320822"/>
            <a:ext cx="1604052" cy="1859760"/>
            <a:chOff x="7900929" y="1466565"/>
            <a:chExt cx="1194504" cy="1384924"/>
          </a:xfrm>
        </p:grpSpPr>
        <p:sp>
          <p:nvSpPr>
            <p:cNvPr id="212" name="CuadroTexto 211">
              <a:extLst>
                <a:ext uri="{FF2B5EF4-FFF2-40B4-BE49-F238E27FC236}">
                  <a16:creationId xmlns:a16="http://schemas.microsoft.com/office/drawing/2014/main" id="{180D376E-A790-1EF6-A1BA-186BC593A3F0}"/>
                </a:ext>
              </a:extLst>
            </p:cNvPr>
            <p:cNvSpPr txBox="1"/>
            <p:nvPr/>
          </p:nvSpPr>
          <p:spPr>
            <a:xfrm>
              <a:off x="7976104" y="1466565"/>
              <a:ext cx="1044155" cy="27503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860C12"/>
                  </a:solidFill>
                  <a:effectLst/>
                  <a:uLnTx/>
                  <a:uFillTx/>
                  <a:latin typeface="Oswald SemiBold" pitchFamily="2" charset="0"/>
                  <a:ea typeface="+mn-ea"/>
                  <a:cs typeface="Poppins Light" panose="00000400000000000000" pitchFamily="2" charset="0"/>
                </a:rPr>
                <a:t>Kenya</a:t>
              </a:r>
            </a:p>
          </p:txBody>
        </p:sp>
        <p:graphicFrame>
          <p:nvGraphicFramePr>
            <p:cNvPr id="213" name="Gráfico 212">
              <a:extLst>
                <a:ext uri="{FF2B5EF4-FFF2-40B4-BE49-F238E27FC236}">
                  <a16:creationId xmlns:a16="http://schemas.microsoft.com/office/drawing/2014/main" id="{EF51680E-4E8A-0EDD-6F03-6B465C91E6E6}"/>
                </a:ext>
              </a:extLst>
            </p:cNvPr>
            <p:cNvGraphicFramePr/>
            <p:nvPr/>
          </p:nvGraphicFramePr>
          <p:xfrm>
            <a:off x="7900929" y="1702792"/>
            <a:ext cx="1194504" cy="1148697"/>
          </p:xfrm>
          <a:graphic>
            <a:graphicData uri="http://schemas.openxmlformats.org/drawingml/2006/chart">
              <c:chart xmlns:c="http://schemas.openxmlformats.org/drawingml/2006/chart" xmlns:r="http://schemas.openxmlformats.org/officeDocument/2006/relationships" r:id="rId5"/>
            </a:graphicData>
          </a:graphic>
        </p:graphicFrame>
        <p:sp>
          <p:nvSpPr>
            <p:cNvPr id="214" name="CuadroTexto 213">
              <a:extLst>
                <a:ext uri="{FF2B5EF4-FFF2-40B4-BE49-F238E27FC236}">
                  <a16:creationId xmlns:a16="http://schemas.microsoft.com/office/drawing/2014/main" id="{CAA0FC85-F35C-3691-6F47-52897CCA7584}"/>
                </a:ext>
              </a:extLst>
            </p:cNvPr>
            <p:cNvSpPr txBox="1"/>
            <p:nvPr/>
          </p:nvSpPr>
          <p:spPr>
            <a:xfrm>
              <a:off x="8169700" y="2138531"/>
              <a:ext cx="716250" cy="2979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860C12"/>
                  </a:solidFill>
                  <a:effectLst/>
                  <a:uLnTx/>
                  <a:uFillTx/>
                  <a:latin typeface="Oswald SemiBold" pitchFamily="2" charset="0"/>
                  <a:ea typeface="+mn-ea"/>
                  <a:cs typeface="Poppins Light" panose="00000400000000000000" pitchFamily="2" charset="0"/>
                </a:rPr>
                <a:t>6.0%</a:t>
              </a:r>
            </a:p>
          </p:txBody>
        </p:sp>
      </p:grpSp>
      <p:grpSp>
        <p:nvGrpSpPr>
          <p:cNvPr id="215" name="Grupo 214">
            <a:extLst>
              <a:ext uri="{FF2B5EF4-FFF2-40B4-BE49-F238E27FC236}">
                <a16:creationId xmlns:a16="http://schemas.microsoft.com/office/drawing/2014/main" id="{43C1B694-B5F3-4DC9-D674-618854B86C0B}"/>
              </a:ext>
            </a:extLst>
          </p:cNvPr>
          <p:cNvGrpSpPr/>
          <p:nvPr/>
        </p:nvGrpSpPr>
        <p:grpSpPr>
          <a:xfrm>
            <a:off x="4312715" y="3338188"/>
            <a:ext cx="1604052" cy="1859761"/>
            <a:chOff x="7900929" y="1466564"/>
            <a:chExt cx="1194504" cy="1384925"/>
          </a:xfrm>
        </p:grpSpPr>
        <p:sp>
          <p:nvSpPr>
            <p:cNvPr id="216" name="CuadroTexto 215">
              <a:extLst>
                <a:ext uri="{FF2B5EF4-FFF2-40B4-BE49-F238E27FC236}">
                  <a16:creationId xmlns:a16="http://schemas.microsoft.com/office/drawing/2014/main" id="{37319F5F-23D5-E8DE-3824-0CE703C9EF2E}"/>
                </a:ext>
              </a:extLst>
            </p:cNvPr>
            <p:cNvSpPr txBox="1"/>
            <p:nvPr/>
          </p:nvSpPr>
          <p:spPr>
            <a:xfrm>
              <a:off x="7976104" y="1466564"/>
              <a:ext cx="1044155" cy="27503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02AEF1"/>
                  </a:solidFill>
                  <a:effectLst/>
                  <a:uLnTx/>
                  <a:uFillTx/>
                  <a:latin typeface="Oswald SemiBold" pitchFamily="2" charset="0"/>
                  <a:ea typeface="+mn-ea"/>
                  <a:cs typeface="Poppins Light" panose="00000400000000000000" pitchFamily="2" charset="0"/>
                </a:rPr>
                <a:t>Tanzania</a:t>
              </a:r>
            </a:p>
          </p:txBody>
        </p:sp>
        <p:graphicFrame>
          <p:nvGraphicFramePr>
            <p:cNvPr id="217" name="Gráfico 216">
              <a:extLst>
                <a:ext uri="{FF2B5EF4-FFF2-40B4-BE49-F238E27FC236}">
                  <a16:creationId xmlns:a16="http://schemas.microsoft.com/office/drawing/2014/main" id="{6877EE54-61DE-7CAA-3DAA-9B123E024D28}"/>
                </a:ext>
              </a:extLst>
            </p:cNvPr>
            <p:cNvGraphicFramePr/>
            <p:nvPr/>
          </p:nvGraphicFramePr>
          <p:xfrm>
            <a:off x="7900929" y="1702792"/>
            <a:ext cx="1194504" cy="1148697"/>
          </p:xfrm>
          <a:graphic>
            <a:graphicData uri="http://schemas.openxmlformats.org/drawingml/2006/chart">
              <c:chart xmlns:c="http://schemas.openxmlformats.org/drawingml/2006/chart" xmlns:r="http://schemas.openxmlformats.org/officeDocument/2006/relationships" r:id="rId6"/>
            </a:graphicData>
          </a:graphic>
        </p:graphicFrame>
        <p:sp>
          <p:nvSpPr>
            <p:cNvPr id="218" name="CuadroTexto 217">
              <a:extLst>
                <a:ext uri="{FF2B5EF4-FFF2-40B4-BE49-F238E27FC236}">
                  <a16:creationId xmlns:a16="http://schemas.microsoft.com/office/drawing/2014/main" id="{5DB69B07-8A6B-B65B-4D0E-DFFB389A21C9}"/>
                </a:ext>
              </a:extLst>
            </p:cNvPr>
            <p:cNvSpPr txBox="1"/>
            <p:nvPr/>
          </p:nvSpPr>
          <p:spPr>
            <a:xfrm>
              <a:off x="8169700" y="2138530"/>
              <a:ext cx="716250" cy="2979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6.9%</a:t>
              </a:r>
            </a:p>
          </p:txBody>
        </p:sp>
      </p:grpSp>
      <p:grpSp>
        <p:nvGrpSpPr>
          <p:cNvPr id="223" name="Grupo 222">
            <a:extLst>
              <a:ext uri="{FF2B5EF4-FFF2-40B4-BE49-F238E27FC236}">
                <a16:creationId xmlns:a16="http://schemas.microsoft.com/office/drawing/2014/main" id="{B86CC48B-0653-9518-275E-C11D5E3D1990}"/>
              </a:ext>
            </a:extLst>
          </p:cNvPr>
          <p:cNvGrpSpPr/>
          <p:nvPr/>
        </p:nvGrpSpPr>
        <p:grpSpPr>
          <a:xfrm>
            <a:off x="6058728" y="3338189"/>
            <a:ext cx="1604052" cy="1859760"/>
            <a:chOff x="7900929" y="1466565"/>
            <a:chExt cx="1194504" cy="1384924"/>
          </a:xfrm>
        </p:grpSpPr>
        <p:sp>
          <p:nvSpPr>
            <p:cNvPr id="224" name="CuadroTexto 223">
              <a:extLst>
                <a:ext uri="{FF2B5EF4-FFF2-40B4-BE49-F238E27FC236}">
                  <a16:creationId xmlns:a16="http://schemas.microsoft.com/office/drawing/2014/main" id="{AC261312-9E7B-D98D-6CB1-1D4DACA7284A}"/>
                </a:ext>
              </a:extLst>
            </p:cNvPr>
            <p:cNvSpPr txBox="1"/>
            <p:nvPr/>
          </p:nvSpPr>
          <p:spPr>
            <a:xfrm>
              <a:off x="7976104" y="1466565"/>
              <a:ext cx="1044155" cy="27503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334591"/>
                  </a:solidFill>
                  <a:effectLst/>
                  <a:uLnTx/>
                  <a:uFillTx/>
                  <a:latin typeface="Oswald SemiBold" pitchFamily="2" charset="0"/>
                  <a:ea typeface="+mn-ea"/>
                  <a:cs typeface="Poppins Light" panose="00000400000000000000" pitchFamily="2" charset="0"/>
                </a:rPr>
                <a:t>Rwanda</a:t>
              </a:r>
            </a:p>
          </p:txBody>
        </p:sp>
        <p:graphicFrame>
          <p:nvGraphicFramePr>
            <p:cNvPr id="225" name="Gráfico 224">
              <a:extLst>
                <a:ext uri="{FF2B5EF4-FFF2-40B4-BE49-F238E27FC236}">
                  <a16:creationId xmlns:a16="http://schemas.microsoft.com/office/drawing/2014/main" id="{577B909C-21FB-3090-024C-F490A8DB01F8}"/>
                </a:ext>
              </a:extLst>
            </p:cNvPr>
            <p:cNvGraphicFramePr/>
            <p:nvPr/>
          </p:nvGraphicFramePr>
          <p:xfrm>
            <a:off x="7900929" y="1702792"/>
            <a:ext cx="1194504" cy="1148697"/>
          </p:xfrm>
          <a:graphic>
            <a:graphicData uri="http://schemas.openxmlformats.org/drawingml/2006/chart">
              <c:chart xmlns:c="http://schemas.openxmlformats.org/drawingml/2006/chart" xmlns:r="http://schemas.openxmlformats.org/officeDocument/2006/relationships" r:id="rId7"/>
            </a:graphicData>
          </a:graphic>
        </p:graphicFrame>
        <p:sp>
          <p:nvSpPr>
            <p:cNvPr id="226" name="CuadroTexto 225">
              <a:extLst>
                <a:ext uri="{FF2B5EF4-FFF2-40B4-BE49-F238E27FC236}">
                  <a16:creationId xmlns:a16="http://schemas.microsoft.com/office/drawing/2014/main" id="{6C0CDB86-B5E1-5EDD-8A66-518673302F3E}"/>
                </a:ext>
              </a:extLst>
            </p:cNvPr>
            <p:cNvSpPr txBox="1"/>
            <p:nvPr/>
          </p:nvSpPr>
          <p:spPr>
            <a:xfrm>
              <a:off x="8169700" y="2138531"/>
              <a:ext cx="716250" cy="2979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4591"/>
                  </a:solidFill>
                  <a:effectLst/>
                  <a:uLnTx/>
                  <a:uFillTx/>
                  <a:latin typeface="Oswald SemiBold" pitchFamily="2" charset="0"/>
                  <a:ea typeface="+mn-ea"/>
                  <a:cs typeface="Poppins Light" panose="00000400000000000000" pitchFamily="2" charset="0"/>
                </a:rPr>
                <a:t>6.3%</a:t>
              </a:r>
            </a:p>
          </p:txBody>
        </p:sp>
      </p:grpSp>
    </p:spTree>
    <p:extLst>
      <p:ext uri="{BB962C8B-B14F-4D97-AF65-F5344CB8AC3E}">
        <p14:creationId xmlns:p14="http://schemas.microsoft.com/office/powerpoint/2010/main" val="4049410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ángulo: esquinas redondeadas 48">
            <a:extLst>
              <a:ext uri="{FF2B5EF4-FFF2-40B4-BE49-F238E27FC236}">
                <a16:creationId xmlns:a16="http://schemas.microsoft.com/office/drawing/2014/main" id="{6299D8AD-AE4E-FD6A-8E31-CF53BCD6F033}"/>
              </a:ext>
            </a:extLst>
          </p:cNvPr>
          <p:cNvSpPr/>
          <p:nvPr/>
        </p:nvSpPr>
        <p:spPr>
          <a:xfrm>
            <a:off x="4286577" y="1236990"/>
            <a:ext cx="7346184" cy="4279890"/>
          </a:xfrm>
          <a:prstGeom prst="roundRect">
            <a:avLst>
              <a:gd name="adj" fmla="val 51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1050213" y="933369"/>
            <a:ext cx="3278067" cy="2780503"/>
          </a:xfrm>
          <a:prstGeom prst="rect">
            <a:avLst/>
          </a:prstGeom>
        </p:spPr>
      </p:pic>
      <p:sp>
        <p:nvSpPr>
          <p:cNvPr id="2" name="CuadroTexto 1">
            <a:extLst>
              <a:ext uri="{FF2B5EF4-FFF2-40B4-BE49-F238E27FC236}">
                <a16:creationId xmlns:a16="http://schemas.microsoft.com/office/drawing/2014/main" id="{1017713D-0228-8D28-37CE-DDCD0C4D116A}"/>
              </a:ext>
            </a:extLst>
          </p:cNvPr>
          <p:cNvSpPr txBox="1"/>
          <p:nvPr/>
        </p:nvSpPr>
        <p:spPr>
          <a:xfrm>
            <a:off x="250041" y="668504"/>
            <a:ext cx="299205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General</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Remark</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3406540"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7504839"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42" name="CuadroTexto 41">
            <a:extLst>
              <a:ext uri="{FF2B5EF4-FFF2-40B4-BE49-F238E27FC236}">
                <a16:creationId xmlns:a16="http://schemas.microsoft.com/office/drawing/2014/main" id="{A4F2B4FA-9E11-EBFA-331E-7100CB6FFF1C}"/>
              </a:ext>
            </a:extLst>
          </p:cNvPr>
          <p:cNvSpPr txBox="1"/>
          <p:nvPr/>
        </p:nvSpPr>
        <p:spPr>
          <a:xfrm>
            <a:off x="449971" y="1653219"/>
            <a:ext cx="3090893" cy="1728165"/>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Despite the ongoing effort to harmonize F&amp;D regulatory framework, the region is still very heterogeneous when it comes to the maturity of the markets, regulations, </a:t>
            </a:r>
            <a:r>
              <a:rPr lang="en-US" sz="1200" dirty="0">
                <a:solidFill>
                  <a:srgbClr val="E7E6E6">
                    <a:lumMod val="25000"/>
                  </a:srgbClr>
                </a:solidFill>
                <a:latin typeface="Poppins Light" panose="00000400000000000000" pitchFamily="2" charset="0"/>
                <a:cs typeface="Poppins Light" panose="00000400000000000000" pitchFamily="2" charset="0"/>
              </a:rPr>
              <a:t>even the </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approach to pricing.</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9475E630-C452-5481-4EA9-88FFEE01ADDD}"/>
              </a:ext>
            </a:extLst>
          </p:cNvPr>
          <p:cNvSpPr txBox="1"/>
          <p:nvPr/>
        </p:nvSpPr>
        <p:spPr>
          <a:xfrm>
            <a:off x="5494173" y="873069"/>
            <a:ext cx="453452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Africa is recognized into distinct clusters and markets </a:t>
            </a: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sym typeface="Wingdings 3" panose="05040102010807070707" pitchFamily="18" charset="2"/>
              </a:rPr>
              <a:t></a:t>
            </a:r>
            <a:endPar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endParaRPr>
          </a:p>
        </p:txBody>
      </p:sp>
      <p:sp>
        <p:nvSpPr>
          <p:cNvPr id="43" name="CuadroTexto 42">
            <a:extLst>
              <a:ext uri="{FF2B5EF4-FFF2-40B4-BE49-F238E27FC236}">
                <a16:creationId xmlns:a16="http://schemas.microsoft.com/office/drawing/2014/main" id="{17D242AF-D3DB-A1FE-0B02-810549338007}"/>
              </a:ext>
            </a:extLst>
          </p:cNvPr>
          <p:cNvSpPr txBox="1"/>
          <p:nvPr/>
        </p:nvSpPr>
        <p:spPr>
          <a:xfrm>
            <a:off x="449971" y="3711136"/>
            <a:ext cx="3090893" cy="2559162"/>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The shared geographical and cultural background of the east Africa countries suggests approaching the area as a single market with a unified strategy. That cannot be further from the truth. Marketwise, those countries are culturally and economically diverse</a:t>
            </a:r>
            <a:r>
              <a:rPr lang="en-US" sz="1200" dirty="0">
                <a:solidFill>
                  <a:srgbClr val="E7E6E6">
                    <a:lumMod val="25000"/>
                  </a:srgbClr>
                </a:solidFill>
                <a:latin typeface="Poppins Light" panose="00000400000000000000" pitchFamily="2" charset="0"/>
                <a:cs typeface="Poppins Light" panose="00000400000000000000" pitchFamily="2" charset="0"/>
              </a:rPr>
              <a:t> and shall be approached with multiple flexible strategies.</a:t>
            </a:r>
            <a:endPar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nvGrpSpPr>
          <p:cNvPr id="694" name="Grupo 693">
            <a:extLst>
              <a:ext uri="{FF2B5EF4-FFF2-40B4-BE49-F238E27FC236}">
                <a16:creationId xmlns:a16="http://schemas.microsoft.com/office/drawing/2014/main" id="{1D3B80FF-8F05-0BE9-E313-AED618D3E268}"/>
              </a:ext>
            </a:extLst>
          </p:cNvPr>
          <p:cNvGrpSpPr/>
          <p:nvPr/>
        </p:nvGrpSpPr>
        <p:grpSpPr>
          <a:xfrm>
            <a:off x="5949109" y="1474581"/>
            <a:ext cx="1793752" cy="620334"/>
            <a:chOff x="4431339" y="3571117"/>
            <a:chExt cx="1793752" cy="620334"/>
          </a:xfrm>
        </p:grpSpPr>
        <p:sp>
          <p:nvSpPr>
            <p:cNvPr id="684" name="CuadroTexto 683">
              <a:extLst>
                <a:ext uri="{FF2B5EF4-FFF2-40B4-BE49-F238E27FC236}">
                  <a16:creationId xmlns:a16="http://schemas.microsoft.com/office/drawing/2014/main" id="{D3604574-1BE2-2BE7-9F9B-271F5C7408F0}"/>
                </a:ext>
              </a:extLst>
            </p:cNvPr>
            <p:cNvSpPr txBox="1"/>
            <p:nvPr/>
          </p:nvSpPr>
          <p:spPr>
            <a:xfrm>
              <a:off x="4431339" y="3775953"/>
              <a:ext cx="1793752"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North- West Afric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Morocco, Tunisia</a:t>
              </a:r>
              <a:endParaRPr kumimoji="0" lang="en-US" sz="12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685" name="Grupo 684">
              <a:extLst>
                <a:ext uri="{FF2B5EF4-FFF2-40B4-BE49-F238E27FC236}">
                  <a16:creationId xmlns:a16="http://schemas.microsoft.com/office/drawing/2014/main" id="{2B393BC3-36D6-8F08-6C3A-EDDAC0223FAE}"/>
                </a:ext>
              </a:extLst>
            </p:cNvPr>
            <p:cNvGrpSpPr/>
            <p:nvPr/>
          </p:nvGrpSpPr>
          <p:grpSpPr>
            <a:xfrm>
              <a:off x="5242947" y="3571117"/>
              <a:ext cx="170536" cy="170536"/>
              <a:chOff x="3515360" y="848360"/>
              <a:chExt cx="5161280" cy="5161280"/>
            </a:xfrm>
          </p:grpSpPr>
          <p:sp>
            <p:nvSpPr>
              <p:cNvPr id="686" name="Forma libre: forma 685">
                <a:extLst>
                  <a:ext uri="{FF2B5EF4-FFF2-40B4-BE49-F238E27FC236}">
                    <a16:creationId xmlns:a16="http://schemas.microsoft.com/office/drawing/2014/main" id="{5672B49A-F46C-CB17-8DE9-8BCC2F26A5C3}"/>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7" name="Forma libre: forma 686">
                <a:extLst>
                  <a:ext uri="{FF2B5EF4-FFF2-40B4-BE49-F238E27FC236}">
                    <a16:creationId xmlns:a16="http://schemas.microsoft.com/office/drawing/2014/main" id="{BCBDB835-C9CC-761B-7385-44C6C371A516}"/>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95" name="Grupo 694">
            <a:extLst>
              <a:ext uri="{FF2B5EF4-FFF2-40B4-BE49-F238E27FC236}">
                <a16:creationId xmlns:a16="http://schemas.microsoft.com/office/drawing/2014/main" id="{BC2D2BCE-CF79-8AC8-0B1A-AEBBBF6334BE}"/>
              </a:ext>
            </a:extLst>
          </p:cNvPr>
          <p:cNvGrpSpPr/>
          <p:nvPr/>
        </p:nvGrpSpPr>
        <p:grpSpPr>
          <a:xfrm>
            <a:off x="8284592" y="1474581"/>
            <a:ext cx="750036" cy="481835"/>
            <a:chOff x="4953197" y="3571117"/>
            <a:chExt cx="750036" cy="481835"/>
          </a:xfrm>
        </p:grpSpPr>
        <p:sp>
          <p:nvSpPr>
            <p:cNvPr id="696" name="CuadroTexto 695">
              <a:extLst>
                <a:ext uri="{FF2B5EF4-FFF2-40B4-BE49-F238E27FC236}">
                  <a16:creationId xmlns:a16="http://schemas.microsoft.com/office/drawing/2014/main" id="{78C372CC-9E1F-7009-B55F-1A49B0AFF926}"/>
                </a:ext>
              </a:extLst>
            </p:cNvPr>
            <p:cNvSpPr txBox="1"/>
            <p:nvPr/>
          </p:nvSpPr>
          <p:spPr>
            <a:xfrm>
              <a:off x="4953197" y="3775953"/>
              <a:ext cx="75003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Algeria</a:t>
              </a:r>
              <a:endParaRPr kumimoji="0" lang="en-US" sz="12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697" name="Grupo 696">
              <a:extLst>
                <a:ext uri="{FF2B5EF4-FFF2-40B4-BE49-F238E27FC236}">
                  <a16:creationId xmlns:a16="http://schemas.microsoft.com/office/drawing/2014/main" id="{86AA720D-BF35-800A-EB12-2E52C93F3C2E}"/>
                </a:ext>
              </a:extLst>
            </p:cNvPr>
            <p:cNvGrpSpPr/>
            <p:nvPr/>
          </p:nvGrpSpPr>
          <p:grpSpPr>
            <a:xfrm>
              <a:off x="5242947" y="3571117"/>
              <a:ext cx="170536" cy="170536"/>
              <a:chOff x="3515360" y="848360"/>
              <a:chExt cx="5161280" cy="5161280"/>
            </a:xfrm>
          </p:grpSpPr>
          <p:sp>
            <p:nvSpPr>
              <p:cNvPr id="698" name="Forma libre: forma 697">
                <a:extLst>
                  <a:ext uri="{FF2B5EF4-FFF2-40B4-BE49-F238E27FC236}">
                    <a16:creationId xmlns:a16="http://schemas.microsoft.com/office/drawing/2014/main" id="{08E50AFB-273E-D2F6-3335-D00AB9D8A32A}"/>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9" name="Forma libre: forma 698">
                <a:extLst>
                  <a:ext uri="{FF2B5EF4-FFF2-40B4-BE49-F238E27FC236}">
                    <a16:creationId xmlns:a16="http://schemas.microsoft.com/office/drawing/2014/main" id="{CC5C52F2-38B0-F5D6-B2DD-7526B338E6B9}"/>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00" name="Grupo 699">
            <a:extLst>
              <a:ext uri="{FF2B5EF4-FFF2-40B4-BE49-F238E27FC236}">
                <a16:creationId xmlns:a16="http://schemas.microsoft.com/office/drawing/2014/main" id="{E39766C1-F653-05CE-8577-5F44C95313D6}"/>
              </a:ext>
            </a:extLst>
          </p:cNvPr>
          <p:cNvGrpSpPr/>
          <p:nvPr/>
        </p:nvGrpSpPr>
        <p:grpSpPr>
          <a:xfrm>
            <a:off x="10001616" y="1474581"/>
            <a:ext cx="679946" cy="481835"/>
            <a:chOff x="4988242" y="3571117"/>
            <a:chExt cx="679946" cy="481835"/>
          </a:xfrm>
        </p:grpSpPr>
        <p:sp>
          <p:nvSpPr>
            <p:cNvPr id="701" name="CuadroTexto 700">
              <a:extLst>
                <a:ext uri="{FF2B5EF4-FFF2-40B4-BE49-F238E27FC236}">
                  <a16:creationId xmlns:a16="http://schemas.microsoft.com/office/drawing/2014/main" id="{C94724D1-C0E5-4279-2E47-BCF55FDA98D5}"/>
                </a:ext>
              </a:extLst>
            </p:cNvPr>
            <p:cNvSpPr txBox="1"/>
            <p:nvPr/>
          </p:nvSpPr>
          <p:spPr>
            <a:xfrm>
              <a:off x="4988242" y="3775953"/>
              <a:ext cx="67994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Libya</a:t>
              </a:r>
              <a:endParaRPr kumimoji="0" lang="en-US" sz="12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702" name="Grupo 701">
              <a:extLst>
                <a:ext uri="{FF2B5EF4-FFF2-40B4-BE49-F238E27FC236}">
                  <a16:creationId xmlns:a16="http://schemas.microsoft.com/office/drawing/2014/main" id="{A1B39F7A-FF1C-E066-E126-DAD776004698}"/>
                </a:ext>
              </a:extLst>
            </p:cNvPr>
            <p:cNvGrpSpPr/>
            <p:nvPr/>
          </p:nvGrpSpPr>
          <p:grpSpPr>
            <a:xfrm>
              <a:off x="5242947" y="3571117"/>
              <a:ext cx="170536" cy="170536"/>
              <a:chOff x="3515360" y="848360"/>
              <a:chExt cx="5161280" cy="5161280"/>
            </a:xfrm>
          </p:grpSpPr>
          <p:sp>
            <p:nvSpPr>
              <p:cNvPr id="703" name="Forma libre: forma 702">
                <a:extLst>
                  <a:ext uri="{FF2B5EF4-FFF2-40B4-BE49-F238E27FC236}">
                    <a16:creationId xmlns:a16="http://schemas.microsoft.com/office/drawing/2014/main" id="{3C9798D0-6043-71D5-B1D5-7B56D3FD92A0}"/>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4" name="Forma libre: forma 703">
                <a:extLst>
                  <a:ext uri="{FF2B5EF4-FFF2-40B4-BE49-F238E27FC236}">
                    <a16:creationId xmlns:a16="http://schemas.microsoft.com/office/drawing/2014/main" id="{F789BB7A-3FD2-DD7F-1BE4-128AB52A346A}"/>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05" name="Grupo 704">
            <a:extLst>
              <a:ext uri="{FF2B5EF4-FFF2-40B4-BE49-F238E27FC236}">
                <a16:creationId xmlns:a16="http://schemas.microsoft.com/office/drawing/2014/main" id="{FC20EC07-82A7-1224-0D21-830F0E10F1D6}"/>
              </a:ext>
            </a:extLst>
          </p:cNvPr>
          <p:cNvGrpSpPr/>
          <p:nvPr/>
        </p:nvGrpSpPr>
        <p:grpSpPr>
          <a:xfrm>
            <a:off x="6469938" y="2848149"/>
            <a:ext cx="752094" cy="481835"/>
            <a:chOff x="4952168" y="3571117"/>
            <a:chExt cx="752094" cy="481835"/>
          </a:xfrm>
        </p:grpSpPr>
        <p:sp>
          <p:nvSpPr>
            <p:cNvPr id="706" name="CuadroTexto 705">
              <a:extLst>
                <a:ext uri="{FF2B5EF4-FFF2-40B4-BE49-F238E27FC236}">
                  <a16:creationId xmlns:a16="http://schemas.microsoft.com/office/drawing/2014/main" id="{3EBB5830-451F-0183-289D-AF4A5BD6945D}"/>
                </a:ext>
              </a:extLst>
            </p:cNvPr>
            <p:cNvSpPr txBox="1"/>
            <p:nvPr/>
          </p:nvSpPr>
          <p:spPr>
            <a:xfrm>
              <a:off x="4952168" y="3775953"/>
              <a:ext cx="752094"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Egypt</a:t>
              </a:r>
              <a:endParaRPr kumimoji="0" lang="en-US" sz="12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707" name="Grupo 706">
              <a:extLst>
                <a:ext uri="{FF2B5EF4-FFF2-40B4-BE49-F238E27FC236}">
                  <a16:creationId xmlns:a16="http://schemas.microsoft.com/office/drawing/2014/main" id="{B8FC27EE-2223-9B16-00C4-5F38C659E602}"/>
                </a:ext>
              </a:extLst>
            </p:cNvPr>
            <p:cNvGrpSpPr/>
            <p:nvPr/>
          </p:nvGrpSpPr>
          <p:grpSpPr>
            <a:xfrm>
              <a:off x="5242947" y="3571117"/>
              <a:ext cx="170536" cy="170536"/>
              <a:chOff x="3515360" y="848360"/>
              <a:chExt cx="5161280" cy="5161280"/>
            </a:xfrm>
          </p:grpSpPr>
          <p:sp>
            <p:nvSpPr>
              <p:cNvPr id="708" name="Forma libre: forma 707">
                <a:extLst>
                  <a:ext uri="{FF2B5EF4-FFF2-40B4-BE49-F238E27FC236}">
                    <a16:creationId xmlns:a16="http://schemas.microsoft.com/office/drawing/2014/main" id="{FFE48DDF-CA78-FF28-24D4-F10AB3C7BE09}"/>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9" name="Forma libre: forma 708">
                <a:extLst>
                  <a:ext uri="{FF2B5EF4-FFF2-40B4-BE49-F238E27FC236}">
                    <a16:creationId xmlns:a16="http://schemas.microsoft.com/office/drawing/2014/main" id="{A01D9A7D-E11C-C785-3A84-42B6AC9B145D}"/>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10" name="Grupo 709">
            <a:extLst>
              <a:ext uri="{FF2B5EF4-FFF2-40B4-BE49-F238E27FC236}">
                <a16:creationId xmlns:a16="http://schemas.microsoft.com/office/drawing/2014/main" id="{4ACAB5E6-4296-BDF8-25A5-8936D962D69D}"/>
              </a:ext>
            </a:extLst>
          </p:cNvPr>
          <p:cNvGrpSpPr/>
          <p:nvPr/>
        </p:nvGrpSpPr>
        <p:grpSpPr>
          <a:xfrm>
            <a:off x="8261308" y="2848149"/>
            <a:ext cx="796604" cy="481835"/>
            <a:chOff x="4929913" y="3571117"/>
            <a:chExt cx="796604" cy="481835"/>
          </a:xfrm>
        </p:grpSpPr>
        <p:sp>
          <p:nvSpPr>
            <p:cNvPr id="711" name="CuadroTexto 710">
              <a:extLst>
                <a:ext uri="{FF2B5EF4-FFF2-40B4-BE49-F238E27FC236}">
                  <a16:creationId xmlns:a16="http://schemas.microsoft.com/office/drawing/2014/main" id="{5BB493E1-C71F-F94F-4BE0-A73C2ABDC716}"/>
                </a:ext>
              </a:extLst>
            </p:cNvPr>
            <p:cNvSpPr txBox="1"/>
            <p:nvPr/>
          </p:nvSpPr>
          <p:spPr>
            <a:xfrm>
              <a:off x="4929913" y="3775953"/>
              <a:ext cx="796604"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udan</a:t>
              </a:r>
              <a:endParaRPr kumimoji="0" lang="en-US" sz="12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endParaRPr>
            </a:p>
          </p:txBody>
        </p:sp>
        <p:grpSp>
          <p:nvGrpSpPr>
            <p:cNvPr id="712" name="Grupo 711">
              <a:extLst>
                <a:ext uri="{FF2B5EF4-FFF2-40B4-BE49-F238E27FC236}">
                  <a16:creationId xmlns:a16="http://schemas.microsoft.com/office/drawing/2014/main" id="{5D62B4A1-49EF-7CAA-FF1E-E32FF5F935F8}"/>
                </a:ext>
              </a:extLst>
            </p:cNvPr>
            <p:cNvGrpSpPr/>
            <p:nvPr/>
          </p:nvGrpSpPr>
          <p:grpSpPr>
            <a:xfrm>
              <a:off x="5242947" y="3571117"/>
              <a:ext cx="170536" cy="170536"/>
              <a:chOff x="3515360" y="848360"/>
              <a:chExt cx="5161280" cy="5161280"/>
            </a:xfrm>
          </p:grpSpPr>
          <p:sp>
            <p:nvSpPr>
              <p:cNvPr id="713" name="Forma libre: forma 712">
                <a:extLst>
                  <a:ext uri="{FF2B5EF4-FFF2-40B4-BE49-F238E27FC236}">
                    <a16:creationId xmlns:a16="http://schemas.microsoft.com/office/drawing/2014/main" id="{33951D88-25E8-B5A8-D3AE-952647F9FBCE}"/>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4" name="Forma libre: forma 713">
                <a:extLst>
                  <a:ext uri="{FF2B5EF4-FFF2-40B4-BE49-F238E27FC236}">
                    <a16:creationId xmlns:a16="http://schemas.microsoft.com/office/drawing/2014/main" id="{0E10BC61-E484-20D7-8EFA-F6E772D02090}"/>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21" name="Grupo 720">
            <a:extLst>
              <a:ext uri="{FF2B5EF4-FFF2-40B4-BE49-F238E27FC236}">
                <a16:creationId xmlns:a16="http://schemas.microsoft.com/office/drawing/2014/main" id="{0F2CEE52-1F06-EA4E-4F4D-8AA94E9BC2CB}"/>
              </a:ext>
            </a:extLst>
          </p:cNvPr>
          <p:cNvGrpSpPr/>
          <p:nvPr/>
        </p:nvGrpSpPr>
        <p:grpSpPr>
          <a:xfrm>
            <a:off x="9379494" y="2848149"/>
            <a:ext cx="1924190" cy="897333"/>
            <a:chOff x="4366120" y="3571117"/>
            <a:chExt cx="1924190" cy="897333"/>
          </a:xfrm>
        </p:grpSpPr>
        <p:sp>
          <p:nvSpPr>
            <p:cNvPr id="722" name="CuadroTexto 721">
              <a:extLst>
                <a:ext uri="{FF2B5EF4-FFF2-40B4-BE49-F238E27FC236}">
                  <a16:creationId xmlns:a16="http://schemas.microsoft.com/office/drawing/2014/main" id="{832F9864-6B31-19F0-0C48-51D1CC561A5A}"/>
                </a:ext>
              </a:extLst>
            </p:cNvPr>
            <p:cNvSpPr txBox="1"/>
            <p:nvPr/>
          </p:nvSpPr>
          <p:spPr>
            <a:xfrm>
              <a:off x="4366120" y="3775953"/>
              <a:ext cx="1924190" cy="6924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East Afr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South Sudan, Kenya, Ethiopia, Uganda, Tanzania, Zambia, Somalia, Zambia, and Congo</a:t>
              </a:r>
            </a:p>
          </p:txBody>
        </p:sp>
        <p:grpSp>
          <p:nvGrpSpPr>
            <p:cNvPr id="723" name="Grupo 722">
              <a:extLst>
                <a:ext uri="{FF2B5EF4-FFF2-40B4-BE49-F238E27FC236}">
                  <a16:creationId xmlns:a16="http://schemas.microsoft.com/office/drawing/2014/main" id="{E98CEE96-B581-368E-E8E2-E68BBA4E5A3C}"/>
                </a:ext>
              </a:extLst>
            </p:cNvPr>
            <p:cNvGrpSpPr/>
            <p:nvPr/>
          </p:nvGrpSpPr>
          <p:grpSpPr>
            <a:xfrm>
              <a:off x="5242947" y="3571117"/>
              <a:ext cx="170536" cy="170536"/>
              <a:chOff x="3515360" y="848360"/>
              <a:chExt cx="5161280" cy="5161280"/>
            </a:xfrm>
          </p:grpSpPr>
          <p:sp>
            <p:nvSpPr>
              <p:cNvPr id="724" name="Forma libre: forma 723">
                <a:extLst>
                  <a:ext uri="{FF2B5EF4-FFF2-40B4-BE49-F238E27FC236}">
                    <a16:creationId xmlns:a16="http://schemas.microsoft.com/office/drawing/2014/main" id="{D00247B9-6634-4791-5011-18B2C72D6F24}"/>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5" name="Forma libre: forma 724">
                <a:extLst>
                  <a:ext uri="{FF2B5EF4-FFF2-40B4-BE49-F238E27FC236}">
                    <a16:creationId xmlns:a16="http://schemas.microsoft.com/office/drawing/2014/main" id="{3EBACE81-A95E-09D9-6935-3CD4EF0816E3}"/>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26" name="Grupo 725">
            <a:extLst>
              <a:ext uri="{FF2B5EF4-FFF2-40B4-BE49-F238E27FC236}">
                <a16:creationId xmlns:a16="http://schemas.microsoft.com/office/drawing/2014/main" id="{97E7BEFB-5595-162D-FE66-9A92D22EFE1A}"/>
              </a:ext>
            </a:extLst>
          </p:cNvPr>
          <p:cNvGrpSpPr/>
          <p:nvPr/>
        </p:nvGrpSpPr>
        <p:grpSpPr>
          <a:xfrm>
            <a:off x="5828508" y="4329971"/>
            <a:ext cx="2034954" cy="897333"/>
            <a:chOff x="4310738" y="3571117"/>
            <a:chExt cx="2034954" cy="897333"/>
          </a:xfrm>
        </p:grpSpPr>
        <p:sp>
          <p:nvSpPr>
            <p:cNvPr id="727" name="CuadroTexto 726">
              <a:extLst>
                <a:ext uri="{FF2B5EF4-FFF2-40B4-BE49-F238E27FC236}">
                  <a16:creationId xmlns:a16="http://schemas.microsoft.com/office/drawing/2014/main" id="{DE6C8A92-9036-3AEF-BFA9-AC0CDBA6A318}"/>
                </a:ext>
              </a:extLst>
            </p:cNvPr>
            <p:cNvSpPr txBox="1"/>
            <p:nvPr/>
          </p:nvSpPr>
          <p:spPr>
            <a:xfrm>
              <a:off x="4310738" y="3775953"/>
              <a:ext cx="2034954" cy="6924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French West </a:t>
              </a:r>
              <a:r>
                <a:rPr lang="en-US" sz="1200" dirty="0">
                  <a:solidFill>
                    <a:srgbClr val="E7E6E6">
                      <a:lumMod val="25000"/>
                    </a:srgbClr>
                  </a:solidFill>
                  <a:latin typeface="Poppins Light" panose="00000400000000000000" pitchFamily="2" charset="0"/>
                  <a:cs typeface="Poppins Light" panose="00000400000000000000" pitchFamily="2" charset="0"/>
                </a:rPr>
                <a:t>Africa</a:t>
              </a:r>
              <a:endPar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Ivory coast, Senegal, Mali, Cameron, Gabon, Ghana, Benin Burkina Faso and Sierra Leone</a:t>
              </a:r>
            </a:p>
          </p:txBody>
        </p:sp>
        <p:grpSp>
          <p:nvGrpSpPr>
            <p:cNvPr id="728" name="Grupo 727">
              <a:extLst>
                <a:ext uri="{FF2B5EF4-FFF2-40B4-BE49-F238E27FC236}">
                  <a16:creationId xmlns:a16="http://schemas.microsoft.com/office/drawing/2014/main" id="{565F2E10-7E51-7ADC-97DD-D70F7F02F5B6}"/>
                </a:ext>
              </a:extLst>
            </p:cNvPr>
            <p:cNvGrpSpPr/>
            <p:nvPr/>
          </p:nvGrpSpPr>
          <p:grpSpPr>
            <a:xfrm>
              <a:off x="5242947" y="3571117"/>
              <a:ext cx="170536" cy="170536"/>
              <a:chOff x="3515360" y="848360"/>
              <a:chExt cx="5161280" cy="5161280"/>
            </a:xfrm>
          </p:grpSpPr>
          <p:sp>
            <p:nvSpPr>
              <p:cNvPr id="729" name="Forma libre: forma 728">
                <a:extLst>
                  <a:ext uri="{FF2B5EF4-FFF2-40B4-BE49-F238E27FC236}">
                    <a16:creationId xmlns:a16="http://schemas.microsoft.com/office/drawing/2014/main" id="{B405F1C8-4BF0-7089-6C2F-0DAFC2C9D1CF}"/>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0" name="Forma libre: forma 729">
                <a:extLst>
                  <a:ext uri="{FF2B5EF4-FFF2-40B4-BE49-F238E27FC236}">
                    <a16:creationId xmlns:a16="http://schemas.microsoft.com/office/drawing/2014/main" id="{B1B20FD0-BAD0-A711-5022-FEB38CBAFA26}"/>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31" name="Grupo 730">
            <a:extLst>
              <a:ext uri="{FF2B5EF4-FFF2-40B4-BE49-F238E27FC236}">
                <a16:creationId xmlns:a16="http://schemas.microsoft.com/office/drawing/2014/main" id="{8D27D1FC-7D1A-CCAB-F46D-AD477C1FFFB8}"/>
              </a:ext>
            </a:extLst>
          </p:cNvPr>
          <p:cNvGrpSpPr/>
          <p:nvPr/>
        </p:nvGrpSpPr>
        <p:grpSpPr>
          <a:xfrm>
            <a:off x="8052665" y="4329971"/>
            <a:ext cx="1213890" cy="481835"/>
            <a:chOff x="4721270" y="3571117"/>
            <a:chExt cx="1213890" cy="481835"/>
          </a:xfrm>
        </p:grpSpPr>
        <p:sp>
          <p:nvSpPr>
            <p:cNvPr id="732" name="CuadroTexto 731">
              <a:extLst>
                <a:ext uri="{FF2B5EF4-FFF2-40B4-BE49-F238E27FC236}">
                  <a16:creationId xmlns:a16="http://schemas.microsoft.com/office/drawing/2014/main" id="{45C1C8C3-F0D5-79F9-503A-D965DF74D813}"/>
                </a:ext>
              </a:extLst>
            </p:cNvPr>
            <p:cNvSpPr txBox="1"/>
            <p:nvPr/>
          </p:nvSpPr>
          <p:spPr>
            <a:xfrm>
              <a:off x="4721270" y="3775953"/>
              <a:ext cx="121389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outh Africa</a:t>
              </a:r>
            </a:p>
          </p:txBody>
        </p:sp>
        <p:grpSp>
          <p:nvGrpSpPr>
            <p:cNvPr id="733" name="Grupo 732">
              <a:extLst>
                <a:ext uri="{FF2B5EF4-FFF2-40B4-BE49-F238E27FC236}">
                  <a16:creationId xmlns:a16="http://schemas.microsoft.com/office/drawing/2014/main" id="{06A6A528-6139-5885-34C3-1A0BADC10524}"/>
                </a:ext>
              </a:extLst>
            </p:cNvPr>
            <p:cNvGrpSpPr/>
            <p:nvPr/>
          </p:nvGrpSpPr>
          <p:grpSpPr>
            <a:xfrm>
              <a:off x="5242947" y="3571117"/>
              <a:ext cx="170536" cy="170536"/>
              <a:chOff x="3515360" y="848360"/>
              <a:chExt cx="5161280" cy="5161280"/>
            </a:xfrm>
          </p:grpSpPr>
          <p:sp>
            <p:nvSpPr>
              <p:cNvPr id="734" name="Forma libre: forma 733">
                <a:extLst>
                  <a:ext uri="{FF2B5EF4-FFF2-40B4-BE49-F238E27FC236}">
                    <a16:creationId xmlns:a16="http://schemas.microsoft.com/office/drawing/2014/main" id="{7705D4C5-B53A-DCD6-E290-893F2275B32D}"/>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5" name="Forma libre: forma 734">
                <a:extLst>
                  <a:ext uri="{FF2B5EF4-FFF2-40B4-BE49-F238E27FC236}">
                    <a16:creationId xmlns:a16="http://schemas.microsoft.com/office/drawing/2014/main" id="{27E5A058-DF4D-C5AD-4D90-C9376D649231}"/>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36" name="Grupo 735">
            <a:extLst>
              <a:ext uri="{FF2B5EF4-FFF2-40B4-BE49-F238E27FC236}">
                <a16:creationId xmlns:a16="http://schemas.microsoft.com/office/drawing/2014/main" id="{0FD74B7B-E3D9-087E-D67E-5CD16F509709}"/>
              </a:ext>
            </a:extLst>
          </p:cNvPr>
          <p:cNvGrpSpPr/>
          <p:nvPr/>
        </p:nvGrpSpPr>
        <p:grpSpPr>
          <a:xfrm>
            <a:off x="9443492" y="4329971"/>
            <a:ext cx="1796194" cy="758834"/>
            <a:chOff x="4430118" y="3571117"/>
            <a:chExt cx="1796194" cy="758834"/>
          </a:xfrm>
        </p:grpSpPr>
        <p:sp>
          <p:nvSpPr>
            <p:cNvPr id="737" name="CuadroTexto 736">
              <a:extLst>
                <a:ext uri="{FF2B5EF4-FFF2-40B4-BE49-F238E27FC236}">
                  <a16:creationId xmlns:a16="http://schemas.microsoft.com/office/drawing/2014/main" id="{DD021709-E387-4FE0-1D8A-AAF12EBBE5D6}"/>
                </a:ext>
              </a:extLst>
            </p:cNvPr>
            <p:cNvSpPr txBox="1"/>
            <p:nvPr/>
          </p:nvSpPr>
          <p:spPr>
            <a:xfrm>
              <a:off x="4430118" y="3775953"/>
              <a:ext cx="179619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outhern Afric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Namibia Botswana, Swaziland and Lesotho</a:t>
              </a:r>
            </a:p>
          </p:txBody>
        </p:sp>
        <p:grpSp>
          <p:nvGrpSpPr>
            <p:cNvPr id="738" name="Grupo 737">
              <a:extLst>
                <a:ext uri="{FF2B5EF4-FFF2-40B4-BE49-F238E27FC236}">
                  <a16:creationId xmlns:a16="http://schemas.microsoft.com/office/drawing/2014/main" id="{E3EC45A7-87A7-688C-FECF-5EE12BC462A1}"/>
                </a:ext>
              </a:extLst>
            </p:cNvPr>
            <p:cNvGrpSpPr/>
            <p:nvPr/>
          </p:nvGrpSpPr>
          <p:grpSpPr>
            <a:xfrm>
              <a:off x="5242947" y="3571117"/>
              <a:ext cx="170536" cy="170536"/>
              <a:chOff x="3515360" y="848360"/>
              <a:chExt cx="5161280" cy="5161280"/>
            </a:xfrm>
          </p:grpSpPr>
          <p:sp>
            <p:nvSpPr>
              <p:cNvPr id="739" name="Forma libre: forma 738">
                <a:extLst>
                  <a:ext uri="{FF2B5EF4-FFF2-40B4-BE49-F238E27FC236}">
                    <a16:creationId xmlns:a16="http://schemas.microsoft.com/office/drawing/2014/main" id="{71B75796-D7A3-302B-D5CC-A1FB2D5ACA86}"/>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EC2129"/>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0" name="Forma libre: forma 739">
                <a:extLst>
                  <a:ext uri="{FF2B5EF4-FFF2-40B4-BE49-F238E27FC236}">
                    <a16:creationId xmlns:a16="http://schemas.microsoft.com/office/drawing/2014/main" id="{76260B9D-4D7B-3134-0D20-B82F39FAF553}"/>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48" name="Imagen 47" descr="Un dibujo de una persona&#10;&#10;Descripción generada automáticamente con confianza baja">
            <a:extLst>
              <a:ext uri="{FF2B5EF4-FFF2-40B4-BE49-F238E27FC236}">
                <a16:creationId xmlns:a16="http://schemas.microsoft.com/office/drawing/2014/main" id="{0E53BBC4-05F8-D816-F5DC-51416CEE77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1542464" y="2600896"/>
            <a:ext cx="6858000" cy="1656207"/>
          </a:xfrm>
          <a:prstGeom prst="rect">
            <a:avLst/>
          </a:prstGeom>
        </p:spPr>
      </p:pic>
    </p:spTree>
    <p:extLst>
      <p:ext uri="{BB962C8B-B14F-4D97-AF65-F5344CB8AC3E}">
        <p14:creationId xmlns:p14="http://schemas.microsoft.com/office/powerpoint/2010/main" val="3707893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upo 98">
            <a:extLst>
              <a:ext uri="{FF2B5EF4-FFF2-40B4-BE49-F238E27FC236}">
                <a16:creationId xmlns:a16="http://schemas.microsoft.com/office/drawing/2014/main" id="{BDA4B3A3-526A-F135-7271-53D2254890A4}"/>
              </a:ext>
            </a:extLst>
          </p:cNvPr>
          <p:cNvGrpSpPr/>
          <p:nvPr/>
        </p:nvGrpSpPr>
        <p:grpSpPr>
          <a:xfrm rot="16200000" flipH="1">
            <a:off x="7012576" y="727928"/>
            <a:ext cx="754340" cy="505027"/>
            <a:chOff x="1689090" y="2394923"/>
            <a:chExt cx="1911591" cy="1322311"/>
          </a:xfrm>
        </p:grpSpPr>
        <p:cxnSp>
          <p:nvCxnSpPr>
            <p:cNvPr id="100" name="Conector recto 99">
              <a:extLst>
                <a:ext uri="{FF2B5EF4-FFF2-40B4-BE49-F238E27FC236}">
                  <a16:creationId xmlns:a16="http://schemas.microsoft.com/office/drawing/2014/main" id="{C4845A57-70C4-3615-E4A4-C11DA2741CA0}"/>
                </a:ext>
              </a:extLst>
            </p:cNvPr>
            <p:cNvCxnSpPr>
              <a:cxnSpLocks/>
            </p:cNvCxnSpPr>
            <p:nvPr/>
          </p:nvCxnSpPr>
          <p:spPr>
            <a:xfrm>
              <a:off x="1689090" y="2394923"/>
              <a:ext cx="1911591"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1" name="Conector recto 100">
              <a:extLst>
                <a:ext uri="{FF2B5EF4-FFF2-40B4-BE49-F238E27FC236}">
                  <a16:creationId xmlns:a16="http://schemas.microsoft.com/office/drawing/2014/main" id="{5716EF39-C283-9C40-1919-A4A19B314C1D}"/>
                </a:ext>
              </a:extLst>
            </p:cNvPr>
            <p:cNvCxnSpPr>
              <a:cxnSpLocks/>
            </p:cNvCxnSpPr>
            <p:nvPr/>
          </p:nvCxnSpPr>
          <p:spPr>
            <a:xfrm rot="5400000">
              <a:off x="1027935" y="3056079"/>
              <a:ext cx="1322311" cy="0"/>
            </a:xfrm>
            <a:prstGeom prst="line">
              <a:avLst/>
            </a:prstGeom>
            <a:ln cap="rnd">
              <a:solidFill>
                <a:schemeClr val="bg1">
                  <a:lumMod val="65000"/>
                </a:schemeClr>
              </a:solidFill>
              <a:prstDash val="sysDot"/>
              <a:round/>
              <a:tailEnd type="oval" w="sm" len="sm"/>
            </a:ln>
          </p:spPr>
          <p:style>
            <a:lnRef idx="1">
              <a:schemeClr val="accent1"/>
            </a:lnRef>
            <a:fillRef idx="0">
              <a:schemeClr val="accent1"/>
            </a:fillRef>
            <a:effectRef idx="0">
              <a:schemeClr val="accent1"/>
            </a:effectRef>
            <a:fontRef idx="minor">
              <a:schemeClr val="tx1"/>
            </a:fontRef>
          </p:style>
        </p:cxnSp>
      </p:grpSp>
      <p:grpSp>
        <p:nvGrpSpPr>
          <p:cNvPr id="102" name="Grupo 101">
            <a:extLst>
              <a:ext uri="{FF2B5EF4-FFF2-40B4-BE49-F238E27FC236}">
                <a16:creationId xmlns:a16="http://schemas.microsoft.com/office/drawing/2014/main" id="{B82AF551-CD5D-CF8C-46E4-BD01F5679266}"/>
              </a:ext>
            </a:extLst>
          </p:cNvPr>
          <p:cNvGrpSpPr/>
          <p:nvPr/>
        </p:nvGrpSpPr>
        <p:grpSpPr>
          <a:xfrm rot="5400000" flipH="1" flipV="1">
            <a:off x="7012576" y="5625049"/>
            <a:ext cx="754340" cy="505027"/>
            <a:chOff x="1689090" y="2394923"/>
            <a:chExt cx="1911591" cy="1322311"/>
          </a:xfrm>
        </p:grpSpPr>
        <p:cxnSp>
          <p:nvCxnSpPr>
            <p:cNvPr id="103" name="Conector recto 102">
              <a:extLst>
                <a:ext uri="{FF2B5EF4-FFF2-40B4-BE49-F238E27FC236}">
                  <a16:creationId xmlns:a16="http://schemas.microsoft.com/office/drawing/2014/main" id="{77B3DF05-B373-46B6-773D-1CEAF5F507E3}"/>
                </a:ext>
              </a:extLst>
            </p:cNvPr>
            <p:cNvCxnSpPr>
              <a:cxnSpLocks/>
            </p:cNvCxnSpPr>
            <p:nvPr/>
          </p:nvCxnSpPr>
          <p:spPr>
            <a:xfrm>
              <a:off x="1689090" y="2394923"/>
              <a:ext cx="1911591" cy="0"/>
            </a:xfrm>
            <a:prstGeom prst="line">
              <a:avLst/>
            </a:prstGeom>
            <a:ln cap="rnd">
              <a:solidFill>
                <a:schemeClr val="bg1">
                  <a:lumMod val="6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4" name="Conector recto 103">
              <a:extLst>
                <a:ext uri="{FF2B5EF4-FFF2-40B4-BE49-F238E27FC236}">
                  <a16:creationId xmlns:a16="http://schemas.microsoft.com/office/drawing/2014/main" id="{35EC72CB-A6FC-605E-6D1E-EE92A1480F84}"/>
                </a:ext>
              </a:extLst>
            </p:cNvPr>
            <p:cNvCxnSpPr>
              <a:cxnSpLocks/>
            </p:cNvCxnSpPr>
            <p:nvPr/>
          </p:nvCxnSpPr>
          <p:spPr>
            <a:xfrm rot="5400000">
              <a:off x="1027935" y="3056079"/>
              <a:ext cx="1322311" cy="0"/>
            </a:xfrm>
            <a:prstGeom prst="line">
              <a:avLst/>
            </a:prstGeom>
            <a:ln cap="rnd">
              <a:solidFill>
                <a:schemeClr val="bg1">
                  <a:lumMod val="65000"/>
                </a:schemeClr>
              </a:solidFill>
              <a:prstDash val="sysDot"/>
              <a:round/>
              <a:tailEnd type="oval" w="sm" len="sm"/>
            </a:ln>
          </p:spPr>
          <p:style>
            <a:lnRef idx="1">
              <a:schemeClr val="accent1"/>
            </a:lnRef>
            <a:fillRef idx="0">
              <a:schemeClr val="accent1"/>
            </a:fillRef>
            <a:effectRef idx="0">
              <a:schemeClr val="accent1"/>
            </a:effectRef>
            <a:fontRef idx="minor">
              <a:schemeClr val="tx1"/>
            </a:fontRef>
          </p:style>
        </p:cxnSp>
      </p:grpSp>
      <p:cxnSp>
        <p:nvCxnSpPr>
          <p:cNvPr id="107" name="Conector recto 106">
            <a:extLst>
              <a:ext uri="{FF2B5EF4-FFF2-40B4-BE49-F238E27FC236}">
                <a16:creationId xmlns:a16="http://schemas.microsoft.com/office/drawing/2014/main" id="{B955B2A6-5DF6-EB20-5901-A1FBD330A6E9}"/>
              </a:ext>
            </a:extLst>
          </p:cNvPr>
          <p:cNvCxnSpPr>
            <a:cxnSpLocks/>
          </p:cNvCxnSpPr>
          <p:nvPr/>
        </p:nvCxnSpPr>
        <p:spPr>
          <a:xfrm rot="10800000" flipH="1">
            <a:off x="8730625" y="2460423"/>
            <a:ext cx="720000" cy="0"/>
          </a:xfrm>
          <a:prstGeom prst="line">
            <a:avLst/>
          </a:prstGeom>
          <a:ln cap="rnd">
            <a:solidFill>
              <a:schemeClr val="bg1">
                <a:lumMod val="65000"/>
              </a:schemeClr>
            </a:solidFill>
            <a:prstDash val="sysDot"/>
            <a:round/>
            <a:tailEnd type="oval" w="sm" len="sm"/>
          </a:ln>
        </p:spPr>
        <p:style>
          <a:lnRef idx="1">
            <a:schemeClr val="accent1"/>
          </a:lnRef>
          <a:fillRef idx="0">
            <a:schemeClr val="accent1"/>
          </a:fillRef>
          <a:effectRef idx="0">
            <a:schemeClr val="accent1"/>
          </a:effectRef>
          <a:fontRef idx="minor">
            <a:schemeClr val="tx1"/>
          </a:fontRef>
        </p:style>
      </p:cxnSp>
      <p:cxnSp>
        <p:nvCxnSpPr>
          <p:cNvPr id="108" name="Conector recto 107">
            <a:extLst>
              <a:ext uri="{FF2B5EF4-FFF2-40B4-BE49-F238E27FC236}">
                <a16:creationId xmlns:a16="http://schemas.microsoft.com/office/drawing/2014/main" id="{88CD0BA4-1A04-8D34-ED3D-10215F752BFB}"/>
              </a:ext>
            </a:extLst>
          </p:cNvPr>
          <p:cNvCxnSpPr>
            <a:cxnSpLocks/>
          </p:cNvCxnSpPr>
          <p:nvPr/>
        </p:nvCxnSpPr>
        <p:spPr>
          <a:xfrm rot="10800000" flipH="1">
            <a:off x="8730625" y="4472103"/>
            <a:ext cx="720000" cy="0"/>
          </a:xfrm>
          <a:prstGeom prst="line">
            <a:avLst/>
          </a:prstGeom>
          <a:ln cap="rnd">
            <a:solidFill>
              <a:schemeClr val="bg1">
                <a:lumMod val="65000"/>
              </a:schemeClr>
            </a:solidFill>
            <a:prstDash val="sysDot"/>
            <a:round/>
            <a:tailEnd type="oval" w="sm" len="sm"/>
          </a:ln>
        </p:spPr>
        <p:style>
          <a:lnRef idx="1">
            <a:schemeClr val="accent1"/>
          </a:lnRef>
          <a:fillRef idx="0">
            <a:schemeClr val="accent1"/>
          </a:fillRef>
          <a:effectRef idx="0">
            <a:schemeClr val="accent1"/>
          </a:effectRef>
          <a:fontRef idx="minor">
            <a:schemeClr val="tx1"/>
          </a:fontRef>
        </p:style>
      </p:cxnSp>
      <p:grpSp>
        <p:nvGrpSpPr>
          <p:cNvPr id="97" name="Grupo 96">
            <a:extLst>
              <a:ext uri="{FF2B5EF4-FFF2-40B4-BE49-F238E27FC236}">
                <a16:creationId xmlns:a16="http://schemas.microsoft.com/office/drawing/2014/main" id="{0D3BF1DA-7C1E-8C88-3CCD-21D27590ADE6}"/>
              </a:ext>
            </a:extLst>
          </p:cNvPr>
          <p:cNvGrpSpPr/>
          <p:nvPr/>
        </p:nvGrpSpPr>
        <p:grpSpPr>
          <a:xfrm>
            <a:off x="6235179" y="1047525"/>
            <a:ext cx="2870510" cy="4762955"/>
            <a:chOff x="3399793" y="660120"/>
            <a:chExt cx="2870510" cy="4762955"/>
          </a:xfrm>
          <a:solidFill>
            <a:srgbClr val="EC2129"/>
          </a:solidFill>
        </p:grpSpPr>
        <p:sp>
          <p:nvSpPr>
            <p:cNvPr id="96" name="Forma libre: forma 95">
              <a:extLst>
                <a:ext uri="{FF2B5EF4-FFF2-40B4-BE49-F238E27FC236}">
                  <a16:creationId xmlns:a16="http://schemas.microsoft.com/office/drawing/2014/main" id="{AA929864-84A2-AB04-F084-F34CE2DBB54E}"/>
                </a:ext>
              </a:extLst>
            </p:cNvPr>
            <p:cNvSpPr/>
            <p:nvPr/>
          </p:nvSpPr>
          <p:spPr>
            <a:xfrm>
              <a:off x="3399793" y="660120"/>
              <a:ext cx="1928133" cy="2275860"/>
            </a:xfrm>
            <a:custGeom>
              <a:avLst/>
              <a:gdLst>
                <a:gd name="connsiteX0" fmla="*/ 509185 w 1928133"/>
                <a:gd name="connsiteY0" fmla="*/ 28 h 2275860"/>
                <a:gd name="connsiteX1" fmla="*/ 1928133 w 1928133"/>
                <a:gd name="connsiteY1" fmla="*/ 487578 h 2275860"/>
                <a:gd name="connsiteX2" fmla="*/ 520477 w 1928133"/>
                <a:gd name="connsiteY2" fmla="*/ 2275860 h 2275860"/>
                <a:gd name="connsiteX3" fmla="*/ 0 w 1928133"/>
                <a:gd name="connsiteY3" fmla="*/ 60335 h 2275860"/>
                <a:gd name="connsiteX4" fmla="*/ 509185 w 1928133"/>
                <a:gd name="connsiteY4" fmla="*/ 28 h 2275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8133" h="2275860">
                  <a:moveTo>
                    <a:pt x="509185" y="28"/>
                  </a:moveTo>
                  <a:cubicBezTo>
                    <a:pt x="1018736" y="-2488"/>
                    <a:pt x="1519969" y="166289"/>
                    <a:pt x="1928133" y="487578"/>
                  </a:cubicBezTo>
                  <a:lnTo>
                    <a:pt x="520477" y="2275860"/>
                  </a:lnTo>
                  <a:lnTo>
                    <a:pt x="0" y="60335"/>
                  </a:lnTo>
                  <a:cubicBezTo>
                    <a:pt x="168560" y="20737"/>
                    <a:pt x="339335" y="866"/>
                    <a:pt x="509185" y="28"/>
                  </a:cubicBezTo>
                  <a:close/>
                </a:path>
              </a:pathLst>
            </a:custGeom>
            <a:solidFill>
              <a:srgbClr val="B8101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Forma libre: forma 92">
              <a:extLst>
                <a:ext uri="{FF2B5EF4-FFF2-40B4-BE49-F238E27FC236}">
                  <a16:creationId xmlns:a16="http://schemas.microsoft.com/office/drawing/2014/main" id="{F03683B5-7A14-E91E-60F1-65FFE7448B7A}"/>
                </a:ext>
              </a:extLst>
            </p:cNvPr>
            <p:cNvSpPr/>
            <p:nvPr/>
          </p:nvSpPr>
          <p:spPr>
            <a:xfrm>
              <a:off x="3993971" y="1205527"/>
              <a:ext cx="2275793" cy="1788282"/>
            </a:xfrm>
            <a:custGeom>
              <a:avLst/>
              <a:gdLst>
                <a:gd name="connsiteX0" fmla="*/ 1407654 w 2275793"/>
                <a:gd name="connsiteY0" fmla="*/ 0 h 1788282"/>
                <a:gd name="connsiteX1" fmla="*/ 2275793 w 2275793"/>
                <a:gd name="connsiteY1" fmla="*/ 1773855 h 1788282"/>
                <a:gd name="connsiteX2" fmla="*/ 0 w 2275793"/>
                <a:gd name="connsiteY2" fmla="*/ 1788282 h 1788282"/>
                <a:gd name="connsiteX3" fmla="*/ 1407654 w 2275793"/>
                <a:gd name="connsiteY3" fmla="*/ 0 h 1788282"/>
              </a:gdLst>
              <a:ahLst/>
              <a:cxnLst>
                <a:cxn ang="0">
                  <a:pos x="connsiteX0" y="connsiteY0"/>
                </a:cxn>
                <a:cxn ang="0">
                  <a:pos x="connsiteX1" y="connsiteY1"/>
                </a:cxn>
                <a:cxn ang="0">
                  <a:pos x="connsiteX2" y="connsiteY2"/>
                </a:cxn>
                <a:cxn ang="0">
                  <a:pos x="connsiteX3" y="connsiteY3"/>
                </a:cxn>
              </a:cxnLst>
              <a:rect l="l" t="t" r="r" b="b"/>
              <a:pathLst>
                <a:path w="2275793" h="1788282">
                  <a:moveTo>
                    <a:pt x="1407654" y="0"/>
                  </a:moveTo>
                  <a:cubicBezTo>
                    <a:pt x="1951873" y="428385"/>
                    <a:pt x="2271402" y="1081275"/>
                    <a:pt x="2275793" y="1773855"/>
                  </a:cubicBezTo>
                  <a:lnTo>
                    <a:pt x="0" y="1788282"/>
                  </a:lnTo>
                  <a:lnTo>
                    <a:pt x="1407654" y="0"/>
                  </a:lnTo>
                  <a:close/>
                </a:path>
              </a:pathLst>
            </a:cu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Forma libre: forma 91">
              <a:extLst>
                <a:ext uri="{FF2B5EF4-FFF2-40B4-BE49-F238E27FC236}">
                  <a16:creationId xmlns:a16="http://schemas.microsoft.com/office/drawing/2014/main" id="{5C0F2667-2254-6BF8-D104-17D4A29553E9}"/>
                </a:ext>
              </a:extLst>
            </p:cNvPr>
            <p:cNvSpPr/>
            <p:nvPr/>
          </p:nvSpPr>
          <p:spPr>
            <a:xfrm>
              <a:off x="3994465" y="3073891"/>
              <a:ext cx="2275838" cy="1784720"/>
            </a:xfrm>
            <a:custGeom>
              <a:avLst/>
              <a:gdLst>
                <a:gd name="connsiteX0" fmla="*/ 2275793 w 2275838"/>
                <a:gd name="connsiteY0" fmla="*/ 0 h 1784720"/>
                <a:gd name="connsiteX1" fmla="*/ 1430213 w 2275838"/>
                <a:gd name="connsiteY1" fmla="*/ 1784720 h 1784720"/>
                <a:gd name="connsiteX2" fmla="*/ 0 w 2275838"/>
                <a:gd name="connsiteY2" fmla="*/ 14427 h 1784720"/>
                <a:gd name="connsiteX3" fmla="*/ 2275793 w 2275838"/>
                <a:gd name="connsiteY3" fmla="*/ 0 h 1784720"/>
              </a:gdLst>
              <a:ahLst/>
              <a:cxnLst>
                <a:cxn ang="0">
                  <a:pos x="connsiteX0" y="connsiteY0"/>
                </a:cxn>
                <a:cxn ang="0">
                  <a:pos x="connsiteX1" y="connsiteY1"/>
                </a:cxn>
                <a:cxn ang="0">
                  <a:pos x="connsiteX2" y="connsiteY2"/>
                </a:cxn>
                <a:cxn ang="0">
                  <a:pos x="connsiteX3" y="connsiteY3"/>
                </a:cxn>
              </a:cxnLst>
              <a:rect l="l" t="t" r="r" b="b"/>
              <a:pathLst>
                <a:path w="2275838" h="1784720">
                  <a:moveTo>
                    <a:pt x="2275793" y="0"/>
                  </a:moveTo>
                  <a:cubicBezTo>
                    <a:pt x="2280184" y="692581"/>
                    <a:pt x="1968957" y="1349471"/>
                    <a:pt x="1430213" y="1784720"/>
                  </a:cubicBezTo>
                  <a:lnTo>
                    <a:pt x="0" y="14427"/>
                  </a:lnTo>
                  <a:lnTo>
                    <a:pt x="2275793" y="0"/>
                  </a:lnTo>
                  <a:close/>
                </a:path>
              </a:pathLst>
            </a:custGeom>
            <a:solidFill>
              <a:srgbClr val="02AE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orma libre: forma 90">
              <a:extLst>
                <a:ext uri="{FF2B5EF4-FFF2-40B4-BE49-F238E27FC236}">
                  <a16:creationId xmlns:a16="http://schemas.microsoft.com/office/drawing/2014/main" id="{AFC9C4D6-BAA9-33E5-DCBD-3623D3DA7741}"/>
                </a:ext>
              </a:extLst>
            </p:cNvPr>
            <p:cNvSpPr/>
            <p:nvPr/>
          </p:nvSpPr>
          <p:spPr>
            <a:xfrm>
              <a:off x="3429120" y="3147214"/>
              <a:ext cx="1922519" cy="2275861"/>
            </a:xfrm>
            <a:custGeom>
              <a:avLst/>
              <a:gdLst>
                <a:gd name="connsiteX0" fmla="*/ 492347 w 1922519"/>
                <a:gd name="connsiteY0" fmla="*/ 0 h 2275861"/>
                <a:gd name="connsiteX1" fmla="*/ 1922519 w 1922519"/>
                <a:gd name="connsiteY1" fmla="*/ 1770327 h 2275861"/>
                <a:gd name="connsiteX2" fmla="*/ 0 w 1922519"/>
                <a:gd name="connsiteY2" fmla="*/ 2221946 h 2275861"/>
                <a:gd name="connsiteX3" fmla="*/ 492347 w 1922519"/>
                <a:gd name="connsiteY3" fmla="*/ 0 h 2275861"/>
              </a:gdLst>
              <a:ahLst/>
              <a:cxnLst>
                <a:cxn ang="0">
                  <a:pos x="connsiteX0" y="connsiteY0"/>
                </a:cxn>
                <a:cxn ang="0">
                  <a:pos x="connsiteX1" y="connsiteY1"/>
                </a:cxn>
                <a:cxn ang="0">
                  <a:pos x="connsiteX2" y="connsiteY2"/>
                </a:cxn>
                <a:cxn ang="0">
                  <a:pos x="connsiteX3" y="connsiteY3"/>
                </a:cxn>
              </a:cxnLst>
              <a:rect l="l" t="t" r="r" b="b"/>
              <a:pathLst>
                <a:path w="1922519" h="2275861">
                  <a:moveTo>
                    <a:pt x="492347" y="0"/>
                  </a:moveTo>
                  <a:lnTo>
                    <a:pt x="1922519" y="1770327"/>
                  </a:lnTo>
                  <a:cubicBezTo>
                    <a:pt x="1383779" y="2205551"/>
                    <a:pt x="676175" y="2371775"/>
                    <a:pt x="0" y="2221946"/>
                  </a:cubicBezTo>
                  <a:lnTo>
                    <a:pt x="492347" y="0"/>
                  </a:lnTo>
                  <a:close/>
                </a:path>
              </a:pathLst>
            </a:custGeom>
            <a:solidFill>
              <a:srgbClr val="33459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7" name="Bocadillo: ovalado 36">
            <a:extLst>
              <a:ext uri="{FF2B5EF4-FFF2-40B4-BE49-F238E27FC236}">
                <a16:creationId xmlns:a16="http://schemas.microsoft.com/office/drawing/2014/main" id="{675B5D04-3D73-5CAB-C52E-2236405A6BB3}"/>
              </a:ext>
            </a:extLst>
          </p:cNvPr>
          <p:cNvSpPr/>
          <p:nvPr/>
        </p:nvSpPr>
        <p:spPr>
          <a:xfrm rot="16200000">
            <a:off x="5067710" y="1938288"/>
            <a:ext cx="2981430" cy="2981430"/>
          </a:xfrm>
          <a:prstGeom prst="wedgeEllipseCallout">
            <a:avLst>
              <a:gd name="adj1" fmla="val 632"/>
              <a:gd name="adj2" fmla="val -62963"/>
            </a:avLst>
          </a:prstGeom>
          <a:solidFill>
            <a:schemeClr val="bg1"/>
          </a:solidFill>
          <a:ln>
            <a:noFill/>
          </a:ln>
          <a:effectLst>
            <a:outerShdw blurRad="508000" sx="105000" sy="105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upo 3">
            <a:extLst>
              <a:ext uri="{FF2B5EF4-FFF2-40B4-BE49-F238E27FC236}">
                <a16:creationId xmlns:a16="http://schemas.microsoft.com/office/drawing/2014/main" id="{DA7C4BBE-EA2C-C5E0-B561-ECF85AB1FC50}"/>
              </a:ext>
            </a:extLst>
          </p:cNvPr>
          <p:cNvGrpSpPr/>
          <p:nvPr/>
        </p:nvGrpSpPr>
        <p:grpSpPr>
          <a:xfrm flipV="1">
            <a:off x="10481853" y="5924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a:off x="945294" y="82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2"/>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pic>
        <p:nvPicPr>
          <p:cNvPr id="355" name="Imagen 354" descr="Un dibujo animado con letras&#10;&#10;Descripción generada automáticamente con confianza baja">
            <a:extLst>
              <a:ext uri="{FF2B5EF4-FFF2-40B4-BE49-F238E27FC236}">
                <a16:creationId xmlns:a16="http://schemas.microsoft.com/office/drawing/2014/main" id="{C3998447-125B-0B2C-44E6-8D3D88D7B374}"/>
              </a:ext>
            </a:extLst>
          </p:cNvPr>
          <p:cNvPicPr>
            <a:picLocks noChangeAspect="1"/>
          </p:cNvPicPr>
          <p:nvPr/>
        </p:nvPicPr>
        <p:blipFill>
          <a:blip r:embed="rId3">
            <a:grayscl/>
            <a:alphaModFix amt="5000"/>
            <a:extLst>
              <a:ext uri="{28A0092B-C50C-407E-A947-70E740481C1C}">
                <a14:useLocalDpi xmlns:a14="http://schemas.microsoft.com/office/drawing/2010/main" val="0"/>
              </a:ext>
            </a:extLst>
          </a:blip>
          <a:stretch>
            <a:fillRect/>
          </a:stretch>
        </p:blipFill>
        <p:spPr>
          <a:xfrm>
            <a:off x="69803" y="-86605"/>
            <a:ext cx="3278067" cy="2780503"/>
          </a:xfrm>
          <a:prstGeom prst="rect">
            <a:avLst/>
          </a:prstGeom>
        </p:spPr>
      </p:pic>
      <p:sp>
        <p:nvSpPr>
          <p:cNvPr id="41" name="CuadroTexto 40">
            <a:extLst>
              <a:ext uri="{FF2B5EF4-FFF2-40B4-BE49-F238E27FC236}">
                <a16:creationId xmlns:a16="http://schemas.microsoft.com/office/drawing/2014/main" id="{C39A9ADE-B014-4911-FF98-10335EE8D1BC}"/>
              </a:ext>
            </a:extLst>
          </p:cNvPr>
          <p:cNvSpPr txBox="1"/>
          <p:nvPr/>
        </p:nvSpPr>
        <p:spPr>
          <a:xfrm>
            <a:off x="7840178" y="362003"/>
            <a:ext cx="2180002"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East Africa has a large and growing population and a high GDP growth</a:t>
            </a:r>
          </a:p>
        </p:txBody>
      </p:sp>
      <p:sp>
        <p:nvSpPr>
          <p:cNvPr id="77" name="CuadroTexto 76">
            <a:extLst>
              <a:ext uri="{FF2B5EF4-FFF2-40B4-BE49-F238E27FC236}">
                <a16:creationId xmlns:a16="http://schemas.microsoft.com/office/drawing/2014/main" id="{79C68693-060E-BB7B-E099-FB778E999322}"/>
              </a:ext>
            </a:extLst>
          </p:cNvPr>
          <p:cNvSpPr txBox="1"/>
          <p:nvPr/>
        </p:nvSpPr>
        <p:spPr>
          <a:xfrm>
            <a:off x="9624563" y="2166464"/>
            <a:ext cx="1655457"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ignificant unmet medical need</a:t>
            </a:r>
          </a:p>
        </p:txBody>
      </p:sp>
      <p:sp>
        <p:nvSpPr>
          <p:cNvPr id="85" name="CuadroTexto 84">
            <a:extLst>
              <a:ext uri="{FF2B5EF4-FFF2-40B4-BE49-F238E27FC236}">
                <a16:creationId xmlns:a16="http://schemas.microsoft.com/office/drawing/2014/main" id="{86C5333F-B774-FA28-0041-8D9A48370C3D}"/>
              </a:ext>
            </a:extLst>
          </p:cNvPr>
          <p:cNvSpPr txBox="1"/>
          <p:nvPr/>
        </p:nvSpPr>
        <p:spPr>
          <a:xfrm>
            <a:off x="9565125" y="4191205"/>
            <a:ext cx="1796175"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Emerging middle class with Increasing government support</a:t>
            </a:r>
          </a:p>
        </p:txBody>
      </p:sp>
      <p:sp>
        <p:nvSpPr>
          <p:cNvPr id="5" name="CuadroTexto 4">
            <a:extLst>
              <a:ext uri="{FF2B5EF4-FFF2-40B4-BE49-F238E27FC236}">
                <a16:creationId xmlns:a16="http://schemas.microsoft.com/office/drawing/2014/main" id="{EEE5E3A8-A0F5-BAA3-81C8-A08861B7E99C}"/>
              </a:ext>
            </a:extLst>
          </p:cNvPr>
          <p:cNvSpPr txBox="1"/>
          <p:nvPr/>
        </p:nvSpPr>
        <p:spPr>
          <a:xfrm>
            <a:off x="388374" y="2644170"/>
            <a:ext cx="427199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Pharma Market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Drivers</a:t>
            </a:r>
          </a:p>
        </p:txBody>
      </p:sp>
      <p:sp>
        <p:nvSpPr>
          <p:cNvPr id="120" name="CuadroTexto 119">
            <a:extLst>
              <a:ext uri="{FF2B5EF4-FFF2-40B4-BE49-F238E27FC236}">
                <a16:creationId xmlns:a16="http://schemas.microsoft.com/office/drawing/2014/main" id="{88E6DEDE-94D2-DE00-045F-9C64186499D2}"/>
              </a:ext>
            </a:extLst>
          </p:cNvPr>
          <p:cNvSpPr txBox="1"/>
          <p:nvPr/>
        </p:nvSpPr>
        <p:spPr>
          <a:xfrm>
            <a:off x="7840177" y="5909297"/>
            <a:ext cx="2024271"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Increasing government Healthcare spending</a:t>
            </a:r>
          </a:p>
        </p:txBody>
      </p:sp>
      <p:sp>
        <p:nvSpPr>
          <p:cNvPr id="109" name="CuadroTexto 108">
            <a:extLst>
              <a:ext uri="{FF2B5EF4-FFF2-40B4-BE49-F238E27FC236}">
                <a16:creationId xmlns:a16="http://schemas.microsoft.com/office/drawing/2014/main" id="{0D93B570-5C09-BEF7-6708-9956FF7BB3A3}"/>
              </a:ext>
            </a:extLst>
          </p:cNvPr>
          <p:cNvSpPr txBox="1"/>
          <p:nvPr/>
        </p:nvSpPr>
        <p:spPr>
          <a:xfrm>
            <a:off x="388373" y="3143025"/>
            <a:ext cx="4133195" cy="972061"/>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Significant and </a:t>
            </a:r>
            <a:r>
              <a:rPr kumimoji="0" lang="en-US" sz="2000" b="0" i="0" u="none" strike="noStrike" kern="1200" cap="none" spc="0" normalizeH="0" baseline="0" noProof="0" dirty="0">
                <a:ln>
                  <a:noFill/>
                </a:ln>
                <a:solidFill>
                  <a:srgbClr val="02AEF1"/>
                </a:solidFill>
                <a:effectLst/>
                <a:uLnTx/>
                <a:uFillTx/>
                <a:latin typeface="Poppins SemiBold" panose="00000700000000000000" pitchFamily="2" charset="0"/>
                <a:ea typeface="+mn-ea"/>
                <a:cs typeface="Poppins SemiBold" panose="00000700000000000000" pitchFamily="2" charset="0"/>
              </a:rPr>
              <a:t>sustainable opportunity</a:t>
            </a:r>
            <a:r>
              <a:rPr kumimoji="0" lang="en-US" sz="2000" b="0" i="0" u="none" strike="noStrike" kern="1200" cap="none" spc="0" normalizeH="0" baseline="0" noProof="0" dirty="0">
                <a:ln>
                  <a:noFill/>
                </a:ln>
                <a:solidFill>
                  <a:srgbClr val="E7E6E6">
                    <a:lumMod val="25000"/>
                  </a:srgbClr>
                </a:solidFill>
                <a:effectLst/>
                <a:uLnTx/>
                <a:uFillTx/>
                <a:latin typeface="Poppins SemiBold" panose="00000700000000000000" pitchFamily="2" charset="0"/>
                <a:ea typeface="+mn-ea"/>
                <a:cs typeface="Poppins SemiBold" panose="00000700000000000000" pitchFamily="2" charset="0"/>
              </a:rPr>
              <a:t> </a:t>
            </a:r>
            <a:r>
              <a:rPr kumimoji="0" lang="en-US" sz="20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in Africa</a:t>
            </a:r>
          </a:p>
        </p:txBody>
      </p:sp>
      <p:sp>
        <p:nvSpPr>
          <p:cNvPr id="40" name="CuadroTexto 39">
            <a:extLst>
              <a:ext uri="{FF2B5EF4-FFF2-40B4-BE49-F238E27FC236}">
                <a16:creationId xmlns:a16="http://schemas.microsoft.com/office/drawing/2014/main" id="{EBB5BEB3-04EC-03F1-F064-18F872A94347}"/>
              </a:ext>
            </a:extLst>
          </p:cNvPr>
          <p:cNvSpPr txBox="1"/>
          <p:nvPr/>
        </p:nvSpPr>
        <p:spPr>
          <a:xfrm>
            <a:off x="6834319" y="1387143"/>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1</a:t>
            </a:r>
          </a:p>
        </p:txBody>
      </p:sp>
      <p:sp>
        <p:nvSpPr>
          <p:cNvPr id="74" name="CuadroTexto 73">
            <a:extLst>
              <a:ext uri="{FF2B5EF4-FFF2-40B4-BE49-F238E27FC236}">
                <a16:creationId xmlns:a16="http://schemas.microsoft.com/office/drawing/2014/main" id="{91D94FFE-856F-EC7B-B52D-02326C98BBE4}"/>
              </a:ext>
            </a:extLst>
          </p:cNvPr>
          <p:cNvSpPr txBox="1"/>
          <p:nvPr/>
        </p:nvSpPr>
        <p:spPr>
          <a:xfrm>
            <a:off x="8121769" y="2431220"/>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2</a:t>
            </a:r>
          </a:p>
        </p:txBody>
      </p:sp>
      <p:sp>
        <p:nvSpPr>
          <p:cNvPr id="84" name="CuadroTexto 83">
            <a:extLst>
              <a:ext uri="{FF2B5EF4-FFF2-40B4-BE49-F238E27FC236}">
                <a16:creationId xmlns:a16="http://schemas.microsoft.com/office/drawing/2014/main" id="{9F0C2FC2-BE0F-5454-B9A2-AFB1E6C59FE2}"/>
              </a:ext>
            </a:extLst>
          </p:cNvPr>
          <p:cNvSpPr txBox="1"/>
          <p:nvPr/>
        </p:nvSpPr>
        <p:spPr>
          <a:xfrm>
            <a:off x="8059251" y="3961590"/>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3</a:t>
            </a:r>
          </a:p>
        </p:txBody>
      </p:sp>
      <p:sp>
        <p:nvSpPr>
          <p:cNvPr id="119" name="CuadroTexto 118">
            <a:extLst>
              <a:ext uri="{FF2B5EF4-FFF2-40B4-BE49-F238E27FC236}">
                <a16:creationId xmlns:a16="http://schemas.microsoft.com/office/drawing/2014/main" id="{B6AD17AA-DA49-7F4F-21A9-5C01D9C19BE4}"/>
              </a:ext>
            </a:extLst>
          </p:cNvPr>
          <p:cNvSpPr txBox="1"/>
          <p:nvPr/>
        </p:nvSpPr>
        <p:spPr>
          <a:xfrm>
            <a:off x="6834319" y="5065017"/>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4</a:t>
            </a:r>
          </a:p>
        </p:txBody>
      </p:sp>
      <p:pic>
        <p:nvPicPr>
          <p:cNvPr id="1263" name="Imagen 1262" descr="Icono&#10;&#10;Descripción generada automáticamente">
            <a:extLst>
              <a:ext uri="{FF2B5EF4-FFF2-40B4-BE49-F238E27FC236}">
                <a16:creationId xmlns:a16="http://schemas.microsoft.com/office/drawing/2014/main" id="{98292DF9-A632-743D-C989-C6197CB451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0270" y="2099788"/>
            <a:ext cx="2656310" cy="2658428"/>
          </a:xfrm>
          <a:prstGeom prst="rect">
            <a:avLst/>
          </a:prstGeom>
        </p:spPr>
      </p:pic>
      <p:grpSp>
        <p:nvGrpSpPr>
          <p:cNvPr id="1273" name="Grupo 1272">
            <a:extLst>
              <a:ext uri="{FF2B5EF4-FFF2-40B4-BE49-F238E27FC236}">
                <a16:creationId xmlns:a16="http://schemas.microsoft.com/office/drawing/2014/main" id="{CA737FB2-99D4-34D1-D198-F5839B005D29}"/>
              </a:ext>
            </a:extLst>
          </p:cNvPr>
          <p:cNvGrpSpPr/>
          <p:nvPr/>
        </p:nvGrpSpPr>
        <p:grpSpPr>
          <a:xfrm>
            <a:off x="6096376" y="2903069"/>
            <a:ext cx="660352" cy="367200"/>
            <a:chOff x="4902438" y="2953084"/>
            <a:chExt cx="507572" cy="282245"/>
          </a:xfrm>
        </p:grpSpPr>
        <p:pic>
          <p:nvPicPr>
            <p:cNvPr id="1272" name="Imagen 1271" descr="Imagen que contiene objeto, reloj, dibujo, señal&#10;&#10;Descripción generada automáticamente">
              <a:extLst>
                <a:ext uri="{FF2B5EF4-FFF2-40B4-BE49-F238E27FC236}">
                  <a16:creationId xmlns:a16="http://schemas.microsoft.com/office/drawing/2014/main" id="{D32020E3-D9BC-4400-B817-E3403E2F16B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18651"/>
            <a:stretch>
              <a:fillRect/>
            </a:stretch>
          </p:blipFill>
          <p:spPr>
            <a:xfrm>
              <a:off x="4902438" y="3122639"/>
              <a:ext cx="507572" cy="112690"/>
            </a:xfrm>
            <a:custGeom>
              <a:avLst/>
              <a:gdLst>
                <a:gd name="connsiteX0" fmla="*/ 143675 w 2588535"/>
                <a:gd name="connsiteY0" fmla="*/ 0 h 574700"/>
                <a:gd name="connsiteX1" fmla="*/ 2588535 w 2588535"/>
                <a:gd name="connsiteY1" fmla="*/ 0 h 574700"/>
                <a:gd name="connsiteX2" fmla="*/ 2588535 w 2588535"/>
                <a:gd name="connsiteY2" fmla="*/ 539762 h 574700"/>
                <a:gd name="connsiteX3" fmla="*/ 2579801 w 2588535"/>
                <a:gd name="connsiteY3" fmla="*/ 574700 h 574700"/>
                <a:gd name="connsiteX4" fmla="*/ 0 w 2588535"/>
                <a:gd name="connsiteY4" fmla="*/ 574700 h 574700"/>
                <a:gd name="connsiteX5" fmla="*/ 143675 w 2588535"/>
                <a:gd name="connsiteY5" fmla="*/ 0 h 5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8535" h="574700">
                  <a:moveTo>
                    <a:pt x="143675" y="0"/>
                  </a:moveTo>
                  <a:lnTo>
                    <a:pt x="2588535" y="0"/>
                  </a:lnTo>
                  <a:lnTo>
                    <a:pt x="2588535" y="539762"/>
                  </a:lnTo>
                  <a:lnTo>
                    <a:pt x="2579801" y="574700"/>
                  </a:lnTo>
                  <a:lnTo>
                    <a:pt x="0" y="574700"/>
                  </a:lnTo>
                  <a:lnTo>
                    <a:pt x="143675" y="0"/>
                  </a:lnTo>
                  <a:close/>
                </a:path>
              </a:pathLst>
            </a:custGeom>
          </p:spPr>
        </p:pic>
        <p:pic>
          <p:nvPicPr>
            <p:cNvPr id="1270" name="Imagen 1269" descr="Imagen que contiene objeto, reloj, dibujo, señal&#10;&#10;Descripción generada automáticamente">
              <a:extLst>
                <a:ext uri="{FF2B5EF4-FFF2-40B4-BE49-F238E27FC236}">
                  <a16:creationId xmlns:a16="http://schemas.microsoft.com/office/drawing/2014/main" id="{D2AFDA42-A9EE-B362-7E08-D3757F04D6D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76833"/>
            <a:stretch>
              <a:fillRect/>
            </a:stretch>
          </p:blipFill>
          <p:spPr>
            <a:xfrm>
              <a:off x="5051586" y="2953084"/>
              <a:ext cx="209276" cy="163153"/>
            </a:xfrm>
            <a:custGeom>
              <a:avLst/>
              <a:gdLst>
                <a:gd name="connsiteX0" fmla="*/ 0 w 737166"/>
                <a:gd name="connsiteY0" fmla="*/ 0 h 574700"/>
                <a:gd name="connsiteX1" fmla="*/ 737166 w 737166"/>
                <a:gd name="connsiteY1" fmla="*/ 0 h 574700"/>
                <a:gd name="connsiteX2" fmla="*/ 593491 w 737166"/>
                <a:gd name="connsiteY2" fmla="*/ 574700 h 574700"/>
                <a:gd name="connsiteX3" fmla="*/ 0 w 737166"/>
                <a:gd name="connsiteY3" fmla="*/ 574700 h 574700"/>
                <a:gd name="connsiteX4" fmla="*/ 0 w 737166"/>
                <a:gd name="connsiteY4" fmla="*/ 0 h 57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166" h="574700">
                  <a:moveTo>
                    <a:pt x="0" y="0"/>
                  </a:moveTo>
                  <a:lnTo>
                    <a:pt x="737166" y="0"/>
                  </a:lnTo>
                  <a:lnTo>
                    <a:pt x="593491" y="574700"/>
                  </a:lnTo>
                  <a:lnTo>
                    <a:pt x="0" y="574700"/>
                  </a:lnTo>
                  <a:lnTo>
                    <a:pt x="0" y="0"/>
                  </a:lnTo>
                  <a:close/>
                </a:path>
              </a:pathLst>
            </a:custGeom>
          </p:spPr>
        </p:pic>
      </p:grpSp>
    </p:spTree>
    <p:extLst>
      <p:ext uri="{BB962C8B-B14F-4D97-AF65-F5344CB8AC3E}">
        <p14:creationId xmlns:p14="http://schemas.microsoft.com/office/powerpoint/2010/main" val="3241933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C44368-4866-6FC4-D3D3-EBA505AF697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24" name="Rectangle 23">
            <a:extLst>
              <a:ext uri="{FF2B5EF4-FFF2-40B4-BE49-F238E27FC236}">
                <a16:creationId xmlns:a16="http://schemas.microsoft.com/office/drawing/2014/main" id="{937536AD-5AE4-543F-46B8-8F3118CFAB94}"/>
              </a:ext>
            </a:extLst>
          </p:cNvPr>
          <p:cNvSpPr/>
          <p:nvPr/>
        </p:nvSpPr>
        <p:spPr>
          <a:xfrm rot="1535220">
            <a:off x="3241176" y="6926465"/>
            <a:ext cx="6576973" cy="1105672"/>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5" name="Rectangle 24">
            <a:extLst>
              <a:ext uri="{FF2B5EF4-FFF2-40B4-BE49-F238E27FC236}">
                <a16:creationId xmlns:a16="http://schemas.microsoft.com/office/drawing/2014/main" id="{CB66D845-6435-FC2E-B217-1D5CA5FDAF7C}"/>
              </a:ext>
            </a:extLst>
          </p:cNvPr>
          <p:cNvSpPr/>
          <p:nvPr/>
        </p:nvSpPr>
        <p:spPr>
          <a:xfrm rot="1535220">
            <a:off x="3687639" y="7003297"/>
            <a:ext cx="3927148" cy="1105672"/>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graphicFrame>
        <p:nvGraphicFramePr>
          <p:cNvPr id="10" name="Chart 9">
            <a:extLst>
              <a:ext uri="{FF2B5EF4-FFF2-40B4-BE49-F238E27FC236}">
                <a16:creationId xmlns:a16="http://schemas.microsoft.com/office/drawing/2014/main" id="{0309B862-39C7-1F15-C564-E9353A824FF9}"/>
              </a:ext>
            </a:extLst>
          </p:cNvPr>
          <p:cNvGraphicFramePr>
            <a:graphicFrameLocks/>
          </p:cNvGraphicFramePr>
          <p:nvPr>
            <p:extLst>
              <p:ext uri="{D42A27DB-BD31-4B8C-83A1-F6EECF244321}">
                <p14:modId xmlns:p14="http://schemas.microsoft.com/office/powerpoint/2010/main" val="952747040"/>
              </p:ext>
            </p:extLst>
          </p:nvPr>
        </p:nvGraphicFramePr>
        <p:xfrm>
          <a:off x="6187259" y="1575463"/>
          <a:ext cx="2803069" cy="18946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AE40CEEB-8433-7505-D3DE-D20999E6BAA9}"/>
              </a:ext>
            </a:extLst>
          </p:cNvPr>
          <p:cNvGraphicFramePr>
            <a:graphicFrameLocks/>
          </p:cNvGraphicFramePr>
          <p:nvPr>
            <p:extLst>
              <p:ext uri="{D42A27DB-BD31-4B8C-83A1-F6EECF244321}">
                <p14:modId xmlns:p14="http://schemas.microsoft.com/office/powerpoint/2010/main" val="3820184377"/>
              </p:ext>
            </p:extLst>
          </p:nvPr>
        </p:nvGraphicFramePr>
        <p:xfrm>
          <a:off x="3737836" y="4284289"/>
          <a:ext cx="2803069" cy="18946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F4AACC7D-2748-08F9-CB1C-CD80CA44A19C}"/>
              </a:ext>
            </a:extLst>
          </p:cNvPr>
          <p:cNvGraphicFramePr>
            <a:graphicFrameLocks/>
          </p:cNvGraphicFramePr>
          <p:nvPr>
            <p:extLst>
              <p:ext uri="{D42A27DB-BD31-4B8C-83A1-F6EECF244321}">
                <p14:modId xmlns:p14="http://schemas.microsoft.com/office/powerpoint/2010/main" val="115014870"/>
              </p:ext>
            </p:extLst>
          </p:nvPr>
        </p:nvGraphicFramePr>
        <p:xfrm>
          <a:off x="2819830" y="1577041"/>
          <a:ext cx="2939972" cy="189465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B2AC66F9-5E2A-1D3F-5F92-834DA7D83009}"/>
              </a:ext>
            </a:extLst>
          </p:cNvPr>
          <p:cNvGraphicFramePr>
            <a:graphicFrameLocks/>
          </p:cNvGraphicFramePr>
          <p:nvPr>
            <p:extLst>
              <p:ext uri="{D42A27DB-BD31-4B8C-83A1-F6EECF244321}">
                <p14:modId xmlns:p14="http://schemas.microsoft.com/office/powerpoint/2010/main" val="3970467724"/>
              </p:ext>
            </p:extLst>
          </p:nvPr>
        </p:nvGraphicFramePr>
        <p:xfrm>
          <a:off x="6273145" y="4219345"/>
          <a:ext cx="2803069" cy="189465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57554BC9-A4B0-AE71-24D2-49788EB45A30}"/>
              </a:ext>
            </a:extLst>
          </p:cNvPr>
          <p:cNvGraphicFramePr>
            <a:graphicFrameLocks/>
          </p:cNvGraphicFramePr>
          <p:nvPr>
            <p:extLst>
              <p:ext uri="{D42A27DB-BD31-4B8C-83A1-F6EECF244321}">
                <p14:modId xmlns:p14="http://schemas.microsoft.com/office/powerpoint/2010/main" val="4122347245"/>
              </p:ext>
            </p:extLst>
          </p:nvPr>
        </p:nvGraphicFramePr>
        <p:xfrm>
          <a:off x="8799481" y="4249881"/>
          <a:ext cx="2803069" cy="18946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D194534E-A627-13B2-376B-27A707A7378D}"/>
              </a:ext>
            </a:extLst>
          </p:cNvPr>
          <p:cNvGraphicFramePr>
            <a:graphicFrameLocks/>
          </p:cNvGraphicFramePr>
          <p:nvPr>
            <p:extLst>
              <p:ext uri="{D42A27DB-BD31-4B8C-83A1-F6EECF244321}">
                <p14:modId xmlns:p14="http://schemas.microsoft.com/office/powerpoint/2010/main" val="3710673590"/>
              </p:ext>
            </p:extLst>
          </p:nvPr>
        </p:nvGraphicFramePr>
        <p:xfrm>
          <a:off x="1063922" y="4307978"/>
          <a:ext cx="2803069" cy="1894657"/>
        </p:xfrm>
        <a:graphic>
          <a:graphicData uri="http://schemas.openxmlformats.org/drawingml/2006/chart">
            <c:chart xmlns:c="http://schemas.openxmlformats.org/drawingml/2006/chart" xmlns:r="http://schemas.openxmlformats.org/officeDocument/2006/relationships" r:id="rId7"/>
          </a:graphicData>
        </a:graphic>
      </p:graphicFrame>
      <p:grpSp>
        <p:nvGrpSpPr>
          <p:cNvPr id="19" name="Group 227">
            <a:extLst>
              <a:ext uri="{FF2B5EF4-FFF2-40B4-BE49-F238E27FC236}">
                <a16:creationId xmlns:a16="http://schemas.microsoft.com/office/drawing/2014/main" id="{1C97C5A1-04E7-6828-BD98-C65199FD3752}"/>
              </a:ext>
            </a:extLst>
          </p:cNvPr>
          <p:cNvGrpSpPr/>
          <p:nvPr/>
        </p:nvGrpSpPr>
        <p:grpSpPr>
          <a:xfrm rot="1002702">
            <a:off x="2025216" y="3729265"/>
            <a:ext cx="1066548" cy="1402310"/>
            <a:chOff x="7689849" y="2601913"/>
            <a:chExt cx="3000375" cy="3944937"/>
          </a:xfrm>
          <a:effectLst>
            <a:outerShdw blurRad="76200" dir="18900000" sy="23000" kx="-1200000" algn="bl" rotWithShape="0">
              <a:prstClr val="black">
                <a:alpha val="17000"/>
              </a:prstClr>
            </a:outerShdw>
          </a:effectLst>
        </p:grpSpPr>
        <p:sp>
          <p:nvSpPr>
            <p:cNvPr id="21" name="Freeform 14">
              <a:extLst>
                <a:ext uri="{FF2B5EF4-FFF2-40B4-BE49-F238E27FC236}">
                  <a16:creationId xmlns:a16="http://schemas.microsoft.com/office/drawing/2014/main" id="{6BF3AE5D-CD77-5CB9-403C-109545DE997A}"/>
                </a:ext>
              </a:extLst>
            </p:cNvPr>
            <p:cNvSpPr>
              <a:spLocks/>
            </p:cNvSpPr>
            <p:nvPr/>
          </p:nvSpPr>
          <p:spPr bwMode="auto">
            <a:xfrm>
              <a:off x="7713662" y="3327400"/>
              <a:ext cx="723900" cy="2241550"/>
            </a:xfrm>
            <a:custGeom>
              <a:avLst/>
              <a:gdLst/>
              <a:ahLst/>
              <a:cxnLst>
                <a:cxn ang="0">
                  <a:pos x="48" y="0"/>
                </a:cxn>
                <a:cxn ang="0">
                  <a:pos x="456" y="1397"/>
                </a:cxn>
                <a:cxn ang="0">
                  <a:pos x="407" y="1412"/>
                </a:cxn>
                <a:cxn ang="0">
                  <a:pos x="0" y="15"/>
                </a:cxn>
                <a:cxn ang="0">
                  <a:pos x="48" y="0"/>
                </a:cxn>
              </a:cxnLst>
              <a:rect l="0" t="0" r="r" b="b"/>
              <a:pathLst>
                <a:path w="456" h="1412">
                  <a:moveTo>
                    <a:pt x="48" y="0"/>
                  </a:moveTo>
                  <a:lnTo>
                    <a:pt x="456" y="1397"/>
                  </a:lnTo>
                  <a:lnTo>
                    <a:pt x="407" y="1412"/>
                  </a:lnTo>
                  <a:lnTo>
                    <a:pt x="0" y="15"/>
                  </a:lnTo>
                  <a:lnTo>
                    <a:pt x="48" y="0"/>
                  </a:lnTo>
                  <a:close/>
                </a:path>
              </a:pathLst>
            </a:custGeom>
            <a:gradFill flip="none" rotWithShape="1">
              <a:gsLst>
                <a:gs pos="0">
                  <a:sysClr val="window" lastClr="FFFFFF">
                    <a:lumMod val="85000"/>
                    <a:shade val="30000"/>
                    <a:satMod val="115000"/>
                  </a:sysClr>
                </a:gs>
                <a:gs pos="50000">
                  <a:sysClr val="window" lastClr="FFFFFF">
                    <a:lumMod val="85000"/>
                    <a:shade val="67500"/>
                    <a:satMod val="115000"/>
                  </a:sysClr>
                </a:gs>
                <a:gs pos="100000">
                  <a:sysClr val="window" lastClr="FFFFFF">
                    <a:lumMod val="85000"/>
                    <a:shade val="100000"/>
                    <a:satMod val="115000"/>
                  </a:sys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23" name="Freeform 15">
              <a:extLst>
                <a:ext uri="{FF2B5EF4-FFF2-40B4-BE49-F238E27FC236}">
                  <a16:creationId xmlns:a16="http://schemas.microsoft.com/office/drawing/2014/main" id="{9741C04A-19AA-604F-9AEA-8095E81EECAD}"/>
                </a:ext>
              </a:extLst>
            </p:cNvPr>
            <p:cNvSpPr>
              <a:spLocks/>
            </p:cNvSpPr>
            <p:nvPr/>
          </p:nvSpPr>
          <p:spPr bwMode="auto">
            <a:xfrm>
              <a:off x="8312149" y="5530850"/>
              <a:ext cx="455613" cy="1016000"/>
            </a:xfrm>
            <a:custGeom>
              <a:avLst/>
              <a:gdLst/>
              <a:ahLst/>
              <a:cxnLst>
                <a:cxn ang="0">
                  <a:pos x="110" y="0"/>
                </a:cxn>
                <a:cxn ang="0">
                  <a:pos x="287" y="609"/>
                </a:cxn>
                <a:cxn ang="0">
                  <a:pos x="177" y="640"/>
                </a:cxn>
                <a:cxn ang="0">
                  <a:pos x="0" y="31"/>
                </a:cxn>
                <a:cxn ang="0">
                  <a:pos x="110" y="0"/>
                </a:cxn>
              </a:cxnLst>
              <a:rect l="0" t="0" r="r" b="b"/>
              <a:pathLst>
                <a:path w="287" h="640">
                  <a:moveTo>
                    <a:pt x="110" y="0"/>
                  </a:moveTo>
                  <a:lnTo>
                    <a:pt x="287" y="609"/>
                  </a:lnTo>
                  <a:lnTo>
                    <a:pt x="177" y="640"/>
                  </a:lnTo>
                  <a:lnTo>
                    <a:pt x="0" y="31"/>
                  </a:lnTo>
                  <a:lnTo>
                    <a:pt x="110" y="0"/>
                  </a:lnTo>
                  <a:close/>
                </a:path>
              </a:pathLst>
            </a:custGeom>
            <a:gradFill flip="none" rotWithShape="1">
              <a:gsLst>
                <a:gs pos="0">
                  <a:sysClr val="windowText" lastClr="000000">
                    <a:lumMod val="65000"/>
                    <a:lumOff val="35000"/>
                    <a:shade val="30000"/>
                    <a:satMod val="115000"/>
                  </a:sysClr>
                </a:gs>
                <a:gs pos="50000">
                  <a:sysClr val="windowText" lastClr="000000">
                    <a:lumMod val="65000"/>
                    <a:lumOff val="35000"/>
                    <a:shade val="67500"/>
                    <a:satMod val="115000"/>
                  </a:sysClr>
                </a:gs>
                <a:gs pos="100000">
                  <a:sysClr val="windowText" lastClr="000000">
                    <a:lumMod val="65000"/>
                    <a:lumOff val="35000"/>
                    <a:shade val="100000"/>
                    <a:satMod val="115000"/>
                  </a:sysClr>
                </a:gs>
              </a:gsLst>
              <a:lin ang="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sp>
          <p:nvSpPr>
            <p:cNvPr id="33" name="Freeform 13">
              <a:extLst>
                <a:ext uri="{FF2B5EF4-FFF2-40B4-BE49-F238E27FC236}">
                  <a16:creationId xmlns:a16="http://schemas.microsoft.com/office/drawing/2014/main" id="{F5580B94-71F5-5FD2-0B91-804F19832ECE}"/>
                </a:ext>
              </a:extLst>
            </p:cNvPr>
            <p:cNvSpPr>
              <a:spLocks/>
            </p:cNvSpPr>
            <p:nvPr/>
          </p:nvSpPr>
          <p:spPr bwMode="auto">
            <a:xfrm>
              <a:off x="7689849" y="2601913"/>
              <a:ext cx="3000375" cy="2309814"/>
            </a:xfrm>
            <a:custGeom>
              <a:avLst/>
              <a:gdLst/>
              <a:ahLst/>
              <a:cxnLst>
                <a:cxn ang="0">
                  <a:pos x="1423" y="0"/>
                </a:cxn>
                <a:cxn ang="0">
                  <a:pos x="1427" y="16"/>
                </a:cxn>
                <a:cxn ang="0">
                  <a:pos x="1440" y="58"/>
                </a:cxn>
                <a:cxn ang="0">
                  <a:pos x="1464" y="122"/>
                </a:cxn>
                <a:cxn ang="0">
                  <a:pos x="1501" y="203"/>
                </a:cxn>
                <a:cxn ang="0">
                  <a:pos x="1550" y="298"/>
                </a:cxn>
                <a:cxn ang="0">
                  <a:pos x="1617" y="400"/>
                </a:cxn>
                <a:cxn ang="0">
                  <a:pos x="1671" y="482"/>
                </a:cxn>
                <a:cxn ang="0">
                  <a:pos x="1722" y="570"/>
                </a:cxn>
                <a:cxn ang="0">
                  <a:pos x="1768" y="659"/>
                </a:cxn>
                <a:cxn ang="0">
                  <a:pos x="1809" y="741"/>
                </a:cxn>
                <a:cxn ang="0">
                  <a:pos x="1843" y="815"/>
                </a:cxn>
                <a:cxn ang="0">
                  <a:pos x="1867" y="874"/>
                </a:cxn>
                <a:cxn ang="0">
                  <a:pos x="1885" y="912"/>
                </a:cxn>
                <a:cxn ang="0">
                  <a:pos x="1890" y="926"/>
                </a:cxn>
                <a:cxn ang="0">
                  <a:pos x="1820" y="942"/>
                </a:cxn>
                <a:cxn ang="0">
                  <a:pos x="1740" y="974"/>
                </a:cxn>
                <a:cxn ang="0">
                  <a:pos x="1602" y="1042"/>
                </a:cxn>
                <a:cxn ang="0">
                  <a:pos x="1501" y="1090"/>
                </a:cxn>
                <a:cxn ang="0">
                  <a:pos x="1396" y="1130"/>
                </a:cxn>
                <a:cxn ang="0">
                  <a:pos x="1288" y="1159"/>
                </a:cxn>
                <a:cxn ang="0">
                  <a:pos x="1182" y="1167"/>
                </a:cxn>
                <a:cxn ang="0">
                  <a:pos x="1067" y="1166"/>
                </a:cxn>
                <a:cxn ang="0">
                  <a:pos x="979" y="1171"/>
                </a:cxn>
                <a:cxn ang="0">
                  <a:pos x="915" y="1181"/>
                </a:cxn>
                <a:cxn ang="0">
                  <a:pos x="866" y="1198"/>
                </a:cxn>
                <a:cxn ang="0">
                  <a:pos x="831" y="1219"/>
                </a:cxn>
                <a:cxn ang="0">
                  <a:pos x="776" y="1262"/>
                </a:cxn>
                <a:cxn ang="0">
                  <a:pos x="733" y="1295"/>
                </a:cxn>
                <a:cxn ang="0">
                  <a:pos x="687" y="1324"/>
                </a:cxn>
                <a:cxn ang="0">
                  <a:pos x="624" y="1357"/>
                </a:cxn>
                <a:cxn ang="0">
                  <a:pos x="578" y="1375"/>
                </a:cxn>
                <a:cxn ang="0">
                  <a:pos x="519" y="1393"/>
                </a:cxn>
                <a:cxn ang="0">
                  <a:pos x="455" y="1413"/>
                </a:cxn>
                <a:cxn ang="0">
                  <a:pos x="394" y="1429"/>
                </a:cxn>
                <a:cxn ang="0">
                  <a:pos x="340" y="1443"/>
                </a:cxn>
                <a:cxn ang="0">
                  <a:pos x="293" y="1454"/>
                </a:cxn>
                <a:cxn ang="0">
                  <a:pos x="0" y="435"/>
                </a:cxn>
                <a:cxn ang="0">
                  <a:pos x="16" y="432"/>
                </a:cxn>
                <a:cxn ang="0">
                  <a:pos x="55" y="425"/>
                </a:cxn>
                <a:cxn ang="0">
                  <a:pos x="107" y="410"/>
                </a:cxn>
                <a:cxn ang="0">
                  <a:pos x="160" y="391"/>
                </a:cxn>
                <a:cxn ang="0">
                  <a:pos x="204" y="362"/>
                </a:cxn>
                <a:cxn ang="0">
                  <a:pos x="249" y="324"/>
                </a:cxn>
                <a:cxn ang="0">
                  <a:pos x="304" y="292"/>
                </a:cxn>
                <a:cxn ang="0">
                  <a:pos x="373" y="273"/>
                </a:cxn>
                <a:cxn ang="0">
                  <a:pos x="460" y="267"/>
                </a:cxn>
                <a:cxn ang="0">
                  <a:pos x="560" y="266"/>
                </a:cxn>
                <a:cxn ang="0">
                  <a:pos x="645" y="258"/>
                </a:cxn>
                <a:cxn ang="0">
                  <a:pos x="722" y="247"/>
                </a:cxn>
                <a:cxn ang="0">
                  <a:pos x="791" y="235"/>
                </a:cxn>
                <a:cxn ang="0">
                  <a:pos x="857" y="206"/>
                </a:cxn>
                <a:cxn ang="0">
                  <a:pos x="935" y="165"/>
                </a:cxn>
                <a:cxn ang="0">
                  <a:pos x="1017" y="118"/>
                </a:cxn>
                <a:cxn ang="0">
                  <a:pos x="1104" y="72"/>
                </a:cxn>
                <a:cxn ang="0">
                  <a:pos x="1195" y="37"/>
                </a:cxn>
                <a:cxn ang="0">
                  <a:pos x="1284" y="15"/>
                </a:cxn>
                <a:cxn ang="0">
                  <a:pos x="1357" y="4"/>
                </a:cxn>
                <a:cxn ang="0">
                  <a:pos x="1405" y="0"/>
                </a:cxn>
              </a:cxnLst>
              <a:rect l="0" t="0" r="r" b="b"/>
              <a:pathLst>
                <a:path w="1890" h="1455">
                  <a:moveTo>
                    <a:pt x="1405" y="0"/>
                  </a:moveTo>
                  <a:lnTo>
                    <a:pt x="1423" y="0"/>
                  </a:lnTo>
                  <a:lnTo>
                    <a:pt x="1425" y="4"/>
                  </a:lnTo>
                  <a:lnTo>
                    <a:pt x="1427" y="16"/>
                  </a:lnTo>
                  <a:lnTo>
                    <a:pt x="1432" y="33"/>
                  </a:lnTo>
                  <a:lnTo>
                    <a:pt x="1440" y="58"/>
                  </a:lnTo>
                  <a:lnTo>
                    <a:pt x="1451" y="87"/>
                  </a:lnTo>
                  <a:lnTo>
                    <a:pt x="1464" y="122"/>
                  </a:lnTo>
                  <a:lnTo>
                    <a:pt x="1481" y="161"/>
                  </a:lnTo>
                  <a:lnTo>
                    <a:pt x="1501" y="203"/>
                  </a:lnTo>
                  <a:lnTo>
                    <a:pt x="1524" y="249"/>
                  </a:lnTo>
                  <a:lnTo>
                    <a:pt x="1550" y="298"/>
                  </a:lnTo>
                  <a:lnTo>
                    <a:pt x="1582" y="349"/>
                  </a:lnTo>
                  <a:lnTo>
                    <a:pt x="1617" y="400"/>
                  </a:lnTo>
                  <a:lnTo>
                    <a:pt x="1645" y="440"/>
                  </a:lnTo>
                  <a:lnTo>
                    <a:pt x="1671" y="482"/>
                  </a:lnTo>
                  <a:lnTo>
                    <a:pt x="1697" y="527"/>
                  </a:lnTo>
                  <a:lnTo>
                    <a:pt x="1722" y="570"/>
                  </a:lnTo>
                  <a:lnTo>
                    <a:pt x="1746" y="614"/>
                  </a:lnTo>
                  <a:lnTo>
                    <a:pt x="1768" y="659"/>
                  </a:lnTo>
                  <a:lnTo>
                    <a:pt x="1790" y="701"/>
                  </a:lnTo>
                  <a:lnTo>
                    <a:pt x="1809" y="741"/>
                  </a:lnTo>
                  <a:lnTo>
                    <a:pt x="1827" y="779"/>
                  </a:lnTo>
                  <a:lnTo>
                    <a:pt x="1843" y="815"/>
                  </a:lnTo>
                  <a:lnTo>
                    <a:pt x="1857" y="846"/>
                  </a:lnTo>
                  <a:lnTo>
                    <a:pt x="1867" y="874"/>
                  </a:lnTo>
                  <a:lnTo>
                    <a:pt x="1877" y="896"/>
                  </a:lnTo>
                  <a:lnTo>
                    <a:pt x="1885" y="912"/>
                  </a:lnTo>
                  <a:lnTo>
                    <a:pt x="1888" y="922"/>
                  </a:lnTo>
                  <a:lnTo>
                    <a:pt x="1890" y="926"/>
                  </a:lnTo>
                  <a:lnTo>
                    <a:pt x="1857" y="931"/>
                  </a:lnTo>
                  <a:lnTo>
                    <a:pt x="1820" y="942"/>
                  </a:lnTo>
                  <a:lnTo>
                    <a:pt x="1781" y="956"/>
                  </a:lnTo>
                  <a:lnTo>
                    <a:pt x="1740" y="974"/>
                  </a:lnTo>
                  <a:lnTo>
                    <a:pt x="1696" y="995"/>
                  </a:lnTo>
                  <a:lnTo>
                    <a:pt x="1602" y="1042"/>
                  </a:lnTo>
                  <a:lnTo>
                    <a:pt x="1552" y="1066"/>
                  </a:lnTo>
                  <a:lnTo>
                    <a:pt x="1501" y="1090"/>
                  </a:lnTo>
                  <a:lnTo>
                    <a:pt x="1448" y="1111"/>
                  </a:lnTo>
                  <a:lnTo>
                    <a:pt x="1396" y="1130"/>
                  </a:lnTo>
                  <a:lnTo>
                    <a:pt x="1342" y="1146"/>
                  </a:lnTo>
                  <a:lnTo>
                    <a:pt x="1288" y="1159"/>
                  </a:lnTo>
                  <a:lnTo>
                    <a:pt x="1235" y="1166"/>
                  </a:lnTo>
                  <a:lnTo>
                    <a:pt x="1182" y="1167"/>
                  </a:lnTo>
                  <a:lnTo>
                    <a:pt x="1121" y="1166"/>
                  </a:lnTo>
                  <a:lnTo>
                    <a:pt x="1067" y="1166"/>
                  </a:lnTo>
                  <a:lnTo>
                    <a:pt x="1020" y="1167"/>
                  </a:lnTo>
                  <a:lnTo>
                    <a:pt x="979" y="1171"/>
                  </a:lnTo>
                  <a:lnTo>
                    <a:pt x="945" y="1176"/>
                  </a:lnTo>
                  <a:lnTo>
                    <a:pt x="915" y="1181"/>
                  </a:lnTo>
                  <a:lnTo>
                    <a:pt x="889" y="1189"/>
                  </a:lnTo>
                  <a:lnTo>
                    <a:pt x="866" y="1198"/>
                  </a:lnTo>
                  <a:lnTo>
                    <a:pt x="848" y="1207"/>
                  </a:lnTo>
                  <a:lnTo>
                    <a:pt x="831" y="1219"/>
                  </a:lnTo>
                  <a:lnTo>
                    <a:pt x="800" y="1243"/>
                  </a:lnTo>
                  <a:lnTo>
                    <a:pt x="776" y="1262"/>
                  </a:lnTo>
                  <a:lnTo>
                    <a:pt x="754" y="1279"/>
                  </a:lnTo>
                  <a:lnTo>
                    <a:pt x="733" y="1295"/>
                  </a:lnTo>
                  <a:lnTo>
                    <a:pt x="712" y="1310"/>
                  </a:lnTo>
                  <a:lnTo>
                    <a:pt x="687" y="1324"/>
                  </a:lnTo>
                  <a:lnTo>
                    <a:pt x="658" y="1340"/>
                  </a:lnTo>
                  <a:lnTo>
                    <a:pt x="624" y="1357"/>
                  </a:lnTo>
                  <a:lnTo>
                    <a:pt x="603" y="1366"/>
                  </a:lnTo>
                  <a:lnTo>
                    <a:pt x="578" y="1375"/>
                  </a:lnTo>
                  <a:lnTo>
                    <a:pt x="549" y="1384"/>
                  </a:lnTo>
                  <a:lnTo>
                    <a:pt x="519" y="1393"/>
                  </a:lnTo>
                  <a:lnTo>
                    <a:pt x="488" y="1404"/>
                  </a:lnTo>
                  <a:lnTo>
                    <a:pt x="455" y="1413"/>
                  </a:lnTo>
                  <a:lnTo>
                    <a:pt x="424" y="1421"/>
                  </a:lnTo>
                  <a:lnTo>
                    <a:pt x="394" y="1429"/>
                  </a:lnTo>
                  <a:lnTo>
                    <a:pt x="365" y="1437"/>
                  </a:lnTo>
                  <a:lnTo>
                    <a:pt x="340" y="1443"/>
                  </a:lnTo>
                  <a:lnTo>
                    <a:pt x="319" y="1447"/>
                  </a:lnTo>
                  <a:lnTo>
                    <a:pt x="293" y="1454"/>
                  </a:lnTo>
                  <a:lnTo>
                    <a:pt x="289" y="1455"/>
                  </a:lnTo>
                  <a:lnTo>
                    <a:pt x="0" y="435"/>
                  </a:lnTo>
                  <a:lnTo>
                    <a:pt x="4" y="435"/>
                  </a:lnTo>
                  <a:lnTo>
                    <a:pt x="16" y="432"/>
                  </a:lnTo>
                  <a:lnTo>
                    <a:pt x="33" y="430"/>
                  </a:lnTo>
                  <a:lnTo>
                    <a:pt x="55" y="425"/>
                  </a:lnTo>
                  <a:lnTo>
                    <a:pt x="80" y="418"/>
                  </a:lnTo>
                  <a:lnTo>
                    <a:pt x="107" y="410"/>
                  </a:lnTo>
                  <a:lnTo>
                    <a:pt x="134" y="401"/>
                  </a:lnTo>
                  <a:lnTo>
                    <a:pt x="160" y="391"/>
                  </a:lnTo>
                  <a:lnTo>
                    <a:pt x="184" y="377"/>
                  </a:lnTo>
                  <a:lnTo>
                    <a:pt x="204" y="362"/>
                  </a:lnTo>
                  <a:lnTo>
                    <a:pt x="226" y="342"/>
                  </a:lnTo>
                  <a:lnTo>
                    <a:pt x="249" y="324"/>
                  </a:lnTo>
                  <a:lnTo>
                    <a:pt x="276" y="307"/>
                  </a:lnTo>
                  <a:lnTo>
                    <a:pt x="304" y="292"/>
                  </a:lnTo>
                  <a:lnTo>
                    <a:pt x="336" y="282"/>
                  </a:lnTo>
                  <a:lnTo>
                    <a:pt x="373" y="273"/>
                  </a:lnTo>
                  <a:lnTo>
                    <a:pt x="414" y="269"/>
                  </a:lnTo>
                  <a:lnTo>
                    <a:pt x="460" y="267"/>
                  </a:lnTo>
                  <a:lnTo>
                    <a:pt x="513" y="267"/>
                  </a:lnTo>
                  <a:lnTo>
                    <a:pt x="560" y="266"/>
                  </a:lnTo>
                  <a:lnTo>
                    <a:pt x="604" y="262"/>
                  </a:lnTo>
                  <a:lnTo>
                    <a:pt x="645" y="258"/>
                  </a:lnTo>
                  <a:lnTo>
                    <a:pt x="684" y="253"/>
                  </a:lnTo>
                  <a:lnTo>
                    <a:pt x="722" y="247"/>
                  </a:lnTo>
                  <a:lnTo>
                    <a:pt x="762" y="241"/>
                  </a:lnTo>
                  <a:lnTo>
                    <a:pt x="791" y="235"/>
                  </a:lnTo>
                  <a:lnTo>
                    <a:pt x="823" y="223"/>
                  </a:lnTo>
                  <a:lnTo>
                    <a:pt x="857" y="206"/>
                  </a:lnTo>
                  <a:lnTo>
                    <a:pt x="895" y="186"/>
                  </a:lnTo>
                  <a:lnTo>
                    <a:pt x="935" y="165"/>
                  </a:lnTo>
                  <a:lnTo>
                    <a:pt x="975" y="142"/>
                  </a:lnTo>
                  <a:lnTo>
                    <a:pt x="1017" y="118"/>
                  </a:lnTo>
                  <a:lnTo>
                    <a:pt x="1060" y="95"/>
                  </a:lnTo>
                  <a:lnTo>
                    <a:pt x="1104" y="72"/>
                  </a:lnTo>
                  <a:lnTo>
                    <a:pt x="1148" y="54"/>
                  </a:lnTo>
                  <a:lnTo>
                    <a:pt x="1195" y="37"/>
                  </a:lnTo>
                  <a:lnTo>
                    <a:pt x="1241" y="24"/>
                  </a:lnTo>
                  <a:lnTo>
                    <a:pt x="1284" y="15"/>
                  </a:lnTo>
                  <a:lnTo>
                    <a:pt x="1322" y="8"/>
                  </a:lnTo>
                  <a:lnTo>
                    <a:pt x="1357" y="4"/>
                  </a:lnTo>
                  <a:lnTo>
                    <a:pt x="1384" y="2"/>
                  </a:lnTo>
                  <a:lnTo>
                    <a:pt x="1405" y="0"/>
                  </a:lnTo>
                  <a:close/>
                </a:path>
              </a:pathLst>
            </a:custGeom>
            <a:blipFill dpi="0" rotWithShape="1">
              <a:blip r:embed="rId8"/>
              <a:srcRect/>
              <a:stretch>
                <a:fillRect/>
              </a:stretch>
            </a:bli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ndParaRPr>
            </a:p>
          </p:txBody>
        </p:sp>
      </p:grpSp>
      <p:pic>
        <p:nvPicPr>
          <p:cNvPr id="36" name="Picture 35" descr="A blue yellow and black flag&#10;&#10;Description automatically generated">
            <a:extLst>
              <a:ext uri="{FF2B5EF4-FFF2-40B4-BE49-F238E27FC236}">
                <a16:creationId xmlns:a16="http://schemas.microsoft.com/office/drawing/2014/main" id="{A4401B92-48D1-D69D-DFC6-44E0C4199A6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43133" y="3669175"/>
            <a:ext cx="1504294" cy="1504294"/>
          </a:xfrm>
          <a:prstGeom prst="rect">
            <a:avLst/>
          </a:prstGeom>
        </p:spPr>
      </p:pic>
      <p:pic>
        <p:nvPicPr>
          <p:cNvPr id="1026" name="Picture 2" descr="South Sudan Flag, South Sudan, Flag, South PNG and Vector with ...">
            <a:extLst>
              <a:ext uri="{FF2B5EF4-FFF2-40B4-BE49-F238E27FC236}">
                <a16:creationId xmlns:a16="http://schemas.microsoft.com/office/drawing/2014/main" id="{B607DC5A-CF26-6DE7-184A-31A09D757E5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6000" y="606481"/>
            <a:ext cx="2049884" cy="204988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udan Flag PNG Clip Art - Best WEB Clipart">
            <a:extLst>
              <a:ext uri="{FF2B5EF4-FFF2-40B4-BE49-F238E27FC236}">
                <a16:creationId xmlns:a16="http://schemas.microsoft.com/office/drawing/2014/main" id="{77B75F45-A134-7752-88B3-9D17ED873E2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73564" y="954968"/>
            <a:ext cx="826823" cy="132796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Kenya Flag PNG Clip Art">
            <a:extLst>
              <a:ext uri="{FF2B5EF4-FFF2-40B4-BE49-F238E27FC236}">
                <a16:creationId xmlns:a16="http://schemas.microsoft.com/office/drawing/2014/main" id="{AB8CBF83-EC05-49B8-5620-E85A20E8512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376727" y="3700263"/>
            <a:ext cx="998700" cy="130029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emocratic Republic Congo Flag Fluttering With Cloth Texture ...">
            <a:extLst>
              <a:ext uri="{FF2B5EF4-FFF2-40B4-BE49-F238E27FC236}">
                <a16:creationId xmlns:a16="http://schemas.microsoft.com/office/drawing/2014/main" id="{64AC6D38-A591-F6CF-5D44-36A80DF2294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41665" y="3667553"/>
            <a:ext cx="943333" cy="1233471"/>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1A71116A-ABA8-7F28-FB43-8C0C5FD64DEF}"/>
              </a:ext>
            </a:extLst>
          </p:cNvPr>
          <p:cNvSpPr txBox="1"/>
          <p:nvPr/>
        </p:nvSpPr>
        <p:spPr>
          <a:xfrm>
            <a:off x="4695548" y="2381670"/>
            <a:ext cx="1807825"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Sudan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246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endParaRPr>
          </a:p>
        </p:txBody>
      </p:sp>
      <p:sp>
        <p:nvSpPr>
          <p:cNvPr id="38" name="TextBox 37">
            <a:extLst>
              <a:ext uri="{FF2B5EF4-FFF2-40B4-BE49-F238E27FC236}">
                <a16:creationId xmlns:a16="http://schemas.microsoft.com/office/drawing/2014/main" id="{92D5814B-2469-15AE-53BB-17138B993FCC}"/>
              </a:ext>
            </a:extLst>
          </p:cNvPr>
          <p:cNvSpPr txBox="1"/>
          <p:nvPr/>
        </p:nvSpPr>
        <p:spPr>
          <a:xfrm>
            <a:off x="8384366" y="2502691"/>
            <a:ext cx="1491711"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South Sudan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74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Jost ExtraBold"/>
            </a:endParaRPr>
          </a:p>
        </p:txBody>
      </p:sp>
      <p:sp>
        <p:nvSpPr>
          <p:cNvPr id="39" name="TextBox 38">
            <a:extLst>
              <a:ext uri="{FF2B5EF4-FFF2-40B4-BE49-F238E27FC236}">
                <a16:creationId xmlns:a16="http://schemas.microsoft.com/office/drawing/2014/main" id="{DF50C112-B997-9B9F-9265-8E9422AE5636}"/>
              </a:ext>
            </a:extLst>
          </p:cNvPr>
          <p:cNvSpPr txBox="1"/>
          <p:nvPr/>
        </p:nvSpPr>
        <p:spPr>
          <a:xfrm>
            <a:off x="1444684" y="5709871"/>
            <a:ext cx="1485569"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Uganda</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436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Jost ExtraBold"/>
            </a:endParaRPr>
          </a:p>
        </p:txBody>
      </p:sp>
      <p:sp>
        <p:nvSpPr>
          <p:cNvPr id="40" name="TextBox 39">
            <a:extLst>
              <a:ext uri="{FF2B5EF4-FFF2-40B4-BE49-F238E27FC236}">
                <a16:creationId xmlns:a16="http://schemas.microsoft.com/office/drawing/2014/main" id="{466237AF-322E-5000-9518-C8E0F0922F5E}"/>
              </a:ext>
            </a:extLst>
          </p:cNvPr>
          <p:cNvSpPr txBox="1"/>
          <p:nvPr/>
        </p:nvSpPr>
        <p:spPr>
          <a:xfrm>
            <a:off x="6794507" y="5709871"/>
            <a:ext cx="1485569"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DRC Congo</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142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Jost ExtraBold"/>
            </a:endParaRPr>
          </a:p>
        </p:txBody>
      </p:sp>
      <p:sp>
        <p:nvSpPr>
          <p:cNvPr id="41" name="TextBox 40">
            <a:extLst>
              <a:ext uri="{FF2B5EF4-FFF2-40B4-BE49-F238E27FC236}">
                <a16:creationId xmlns:a16="http://schemas.microsoft.com/office/drawing/2014/main" id="{0A9B0947-A747-F576-2CC2-F825DF2AD9CF}"/>
              </a:ext>
            </a:extLst>
          </p:cNvPr>
          <p:cNvSpPr txBox="1"/>
          <p:nvPr/>
        </p:nvSpPr>
        <p:spPr>
          <a:xfrm>
            <a:off x="4245040" y="5673371"/>
            <a:ext cx="1485569"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Tanzania</a:t>
            </a:r>
          </a:p>
          <a:p>
            <a:pPr marL="0" marR="0" lvl="0" indent="0" algn="ctr" defTabSz="914400" rtl="0" eaLnBrk="0" fontAlgn="auto" latinLnBrk="0" hangingPunct="0">
              <a:lnSpc>
                <a:spcPct val="100000"/>
              </a:lnSpc>
              <a:spcBef>
                <a:spcPts val="0"/>
              </a:spcBef>
              <a:spcAft>
                <a:spcPts val="0"/>
              </a:spcAft>
              <a:buClrTx/>
              <a:buSzTx/>
              <a:buFontTx/>
              <a:buNone/>
              <a:tabLst/>
              <a:defRPr/>
            </a:pPr>
            <a:r>
              <a:rPr lang="en-US" altLang="en-US" kern="0" dirty="0">
                <a:solidFill>
                  <a:schemeClr val="tx1">
                    <a:lumMod val="75000"/>
                    <a:lumOff val="25000"/>
                  </a:schemeClr>
                </a:solidFill>
                <a:effectLst>
                  <a:outerShdw blurRad="38100" dist="38100" dir="2700000" algn="tl">
                    <a:srgbClr val="000000">
                      <a:alpha val="43137"/>
                    </a:srgbClr>
                  </a:outerShdw>
                </a:effectLst>
                <a:latin typeface="Jost ExtraBold"/>
              </a:rPr>
              <a:t>693</a:t>
            </a: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Jost ExtraBold"/>
            </a:endParaRPr>
          </a:p>
        </p:txBody>
      </p:sp>
      <p:sp>
        <p:nvSpPr>
          <p:cNvPr id="42" name="TextBox 41">
            <a:extLst>
              <a:ext uri="{FF2B5EF4-FFF2-40B4-BE49-F238E27FC236}">
                <a16:creationId xmlns:a16="http://schemas.microsoft.com/office/drawing/2014/main" id="{CF28C5F5-2B84-DEC3-E7C2-C821F79BA847}"/>
              </a:ext>
            </a:extLst>
          </p:cNvPr>
          <p:cNvSpPr txBox="1"/>
          <p:nvPr/>
        </p:nvSpPr>
        <p:spPr>
          <a:xfrm>
            <a:off x="9261747" y="5728798"/>
            <a:ext cx="1485569" cy="892552"/>
          </a:xfrm>
          <a:prstGeom prst="rect">
            <a:avLst/>
          </a:prstGeom>
          <a:noFill/>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Kenya</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i="0" u="none" strike="noStrike" kern="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Jost ExtraBold"/>
              </a:rPr>
              <a:t>842 MUSD</a:t>
            </a:r>
          </a:p>
          <a:p>
            <a:pPr marL="0" marR="0" lvl="0" indent="0" algn="r" defTabSz="914400" rtl="0" eaLnBrk="0" fontAlgn="auto" latinLnBrk="0" hangingPunct="0">
              <a:lnSpc>
                <a:spcPct val="100000"/>
              </a:lnSpc>
              <a:spcBef>
                <a:spcPts val="0"/>
              </a:spcBef>
              <a:spcAft>
                <a:spcPts val="0"/>
              </a:spcAft>
              <a:buClrTx/>
              <a:buSzTx/>
              <a:buFontTx/>
              <a:buNone/>
              <a:tabLst/>
              <a:defRPr/>
            </a:pPr>
            <a:endParaRPr kumimoji="0" lang="en-US" altLang="en-US" sz="1600" i="0" u="none" strike="noStrike" kern="0" cap="none" spc="0" normalizeH="0" baseline="0" noProof="0" dirty="0">
              <a:ln>
                <a:noFill/>
              </a:ln>
              <a:solidFill>
                <a:prstClr val="black"/>
              </a:solidFill>
              <a:effectLst>
                <a:outerShdw blurRad="38100" dist="38100" dir="2700000" algn="tl">
                  <a:srgbClr val="000000">
                    <a:alpha val="43137"/>
                  </a:srgbClr>
                </a:outerShdw>
              </a:effectLst>
              <a:uLnTx/>
              <a:uFillTx/>
              <a:latin typeface="Jost ExtraBold"/>
            </a:endParaRPr>
          </a:p>
        </p:txBody>
      </p:sp>
      <p:sp>
        <p:nvSpPr>
          <p:cNvPr id="43" name="CuadroTexto 107">
            <a:extLst>
              <a:ext uri="{FF2B5EF4-FFF2-40B4-BE49-F238E27FC236}">
                <a16:creationId xmlns:a16="http://schemas.microsoft.com/office/drawing/2014/main" id="{0E5186EE-786F-E4E3-C9A6-D09A67F8A425}"/>
              </a:ext>
            </a:extLst>
          </p:cNvPr>
          <p:cNvSpPr txBox="1"/>
          <p:nvPr/>
        </p:nvSpPr>
        <p:spPr>
          <a:xfrm>
            <a:off x="761729" y="613496"/>
            <a:ext cx="2510524"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Combin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accent3"/>
                </a:solidFill>
                <a:latin typeface="Oswald SemiBold" pitchFamily="2" charset="0"/>
                <a:cs typeface="Poppins Light" panose="00000400000000000000" pitchFamily="2" charset="0"/>
              </a:rPr>
              <a:t>Pharm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EC2129"/>
                </a:solidFill>
                <a:latin typeface="Oswald SemiBold" pitchFamily="2" charset="0"/>
                <a:cs typeface="Poppins Light" panose="00000400000000000000" pitchFamily="2" charset="0"/>
              </a:rPr>
              <a:t>Marke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accent3"/>
                </a:solidFill>
                <a:latin typeface="Oswald SemiBold" pitchFamily="2" charset="0"/>
                <a:cs typeface="Poppins Light" panose="00000400000000000000" pitchFamily="2" charset="0"/>
              </a:rPr>
              <a:t>Siz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accent1"/>
                </a:solidFill>
                <a:latin typeface="Oswald SemiBold" pitchFamily="2" charset="0"/>
                <a:cs typeface="Poppins Light" panose="00000400000000000000" pitchFamily="2" charset="0"/>
              </a:rPr>
              <a:t>2.43 B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accent3"/>
                </a:solidFill>
                <a:latin typeface="Oswald SemiBold" pitchFamily="2" charset="0"/>
                <a:cs typeface="Poppins Light" panose="00000400000000000000" pitchFamily="2" charset="0"/>
              </a:rPr>
              <a:t>USD</a:t>
            </a:r>
          </a:p>
        </p:txBody>
      </p:sp>
    </p:spTree>
    <p:extLst>
      <p:ext uri="{BB962C8B-B14F-4D97-AF65-F5344CB8AC3E}">
        <p14:creationId xmlns:p14="http://schemas.microsoft.com/office/powerpoint/2010/main" val="2782893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0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1000"/>
                                        <p:tgtEl>
                                          <p:spTgt spid="25"/>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1000"/>
                                        <p:tgtEl>
                                          <p:spTgt spid="24"/>
                                        </p:tgtEl>
                                      </p:cBhvr>
                                    </p:animEffect>
                                  </p:childTnLst>
                                </p:cTn>
                              </p:par>
                              <p:par>
                                <p:cTn id="11" presetID="22" presetClass="entr" presetSubtype="2" fill="hold" grpId="0" nodeType="withEffect">
                                  <p:stCondLst>
                                    <p:cond delay="800"/>
                                  </p:stCondLst>
                                  <p:childTnLst>
                                    <p:set>
                                      <p:cBhvr>
                                        <p:cTn id="12" dur="1" fill="hold">
                                          <p:stCondLst>
                                            <p:cond delay="0"/>
                                          </p:stCondLst>
                                        </p:cTn>
                                        <p:tgtEl>
                                          <p:spTgt spid="37"/>
                                        </p:tgtEl>
                                        <p:attrNameLst>
                                          <p:attrName>style.visibility</p:attrName>
                                        </p:attrNameLst>
                                      </p:cBhvr>
                                      <p:to>
                                        <p:strVal val="visible"/>
                                      </p:to>
                                    </p:set>
                                    <p:animEffect transition="in" filter="wipe(right)">
                                      <p:cBhvr>
                                        <p:cTn id="13" dur="1000"/>
                                        <p:tgtEl>
                                          <p:spTgt spid="37"/>
                                        </p:tgtEl>
                                      </p:cBhvr>
                                    </p:animEffect>
                                  </p:childTnLst>
                                </p:cTn>
                              </p:par>
                              <p:par>
                                <p:cTn id="14" presetID="22" presetClass="entr" presetSubtype="2" fill="hold" grpId="0" nodeType="withEffect">
                                  <p:stCondLst>
                                    <p:cond delay="800"/>
                                  </p:stCondLst>
                                  <p:childTnLst>
                                    <p:set>
                                      <p:cBhvr>
                                        <p:cTn id="15" dur="1" fill="hold">
                                          <p:stCondLst>
                                            <p:cond delay="0"/>
                                          </p:stCondLst>
                                        </p:cTn>
                                        <p:tgtEl>
                                          <p:spTgt spid="38"/>
                                        </p:tgtEl>
                                        <p:attrNameLst>
                                          <p:attrName>style.visibility</p:attrName>
                                        </p:attrNameLst>
                                      </p:cBhvr>
                                      <p:to>
                                        <p:strVal val="visible"/>
                                      </p:to>
                                    </p:set>
                                    <p:animEffect transition="in" filter="wipe(right)">
                                      <p:cBhvr>
                                        <p:cTn id="16" dur="1000"/>
                                        <p:tgtEl>
                                          <p:spTgt spid="38"/>
                                        </p:tgtEl>
                                      </p:cBhvr>
                                    </p:animEffect>
                                  </p:childTnLst>
                                </p:cTn>
                              </p:par>
                              <p:par>
                                <p:cTn id="17" presetID="22" presetClass="entr" presetSubtype="2" fill="hold" grpId="0" nodeType="withEffect">
                                  <p:stCondLst>
                                    <p:cond delay="800"/>
                                  </p:stCondLst>
                                  <p:childTnLst>
                                    <p:set>
                                      <p:cBhvr>
                                        <p:cTn id="18" dur="1" fill="hold">
                                          <p:stCondLst>
                                            <p:cond delay="0"/>
                                          </p:stCondLst>
                                        </p:cTn>
                                        <p:tgtEl>
                                          <p:spTgt spid="39"/>
                                        </p:tgtEl>
                                        <p:attrNameLst>
                                          <p:attrName>style.visibility</p:attrName>
                                        </p:attrNameLst>
                                      </p:cBhvr>
                                      <p:to>
                                        <p:strVal val="visible"/>
                                      </p:to>
                                    </p:set>
                                    <p:animEffect transition="in" filter="wipe(right)">
                                      <p:cBhvr>
                                        <p:cTn id="19" dur="1000"/>
                                        <p:tgtEl>
                                          <p:spTgt spid="39"/>
                                        </p:tgtEl>
                                      </p:cBhvr>
                                    </p:animEffect>
                                  </p:childTnLst>
                                </p:cTn>
                              </p:par>
                              <p:par>
                                <p:cTn id="20" presetID="22" presetClass="entr" presetSubtype="2" fill="hold" grpId="0" nodeType="withEffect">
                                  <p:stCondLst>
                                    <p:cond delay="800"/>
                                  </p:stCondLst>
                                  <p:childTnLst>
                                    <p:set>
                                      <p:cBhvr>
                                        <p:cTn id="21" dur="1" fill="hold">
                                          <p:stCondLst>
                                            <p:cond delay="0"/>
                                          </p:stCondLst>
                                        </p:cTn>
                                        <p:tgtEl>
                                          <p:spTgt spid="40"/>
                                        </p:tgtEl>
                                        <p:attrNameLst>
                                          <p:attrName>style.visibility</p:attrName>
                                        </p:attrNameLst>
                                      </p:cBhvr>
                                      <p:to>
                                        <p:strVal val="visible"/>
                                      </p:to>
                                    </p:set>
                                    <p:animEffect transition="in" filter="wipe(right)">
                                      <p:cBhvr>
                                        <p:cTn id="22" dur="1000"/>
                                        <p:tgtEl>
                                          <p:spTgt spid="40"/>
                                        </p:tgtEl>
                                      </p:cBhvr>
                                    </p:animEffect>
                                  </p:childTnLst>
                                </p:cTn>
                              </p:par>
                              <p:par>
                                <p:cTn id="23" presetID="22" presetClass="entr" presetSubtype="2" fill="hold" grpId="0" nodeType="withEffect">
                                  <p:stCondLst>
                                    <p:cond delay="800"/>
                                  </p:stCondLst>
                                  <p:childTnLst>
                                    <p:set>
                                      <p:cBhvr>
                                        <p:cTn id="24" dur="1" fill="hold">
                                          <p:stCondLst>
                                            <p:cond delay="0"/>
                                          </p:stCondLst>
                                        </p:cTn>
                                        <p:tgtEl>
                                          <p:spTgt spid="41"/>
                                        </p:tgtEl>
                                        <p:attrNameLst>
                                          <p:attrName>style.visibility</p:attrName>
                                        </p:attrNameLst>
                                      </p:cBhvr>
                                      <p:to>
                                        <p:strVal val="visible"/>
                                      </p:to>
                                    </p:set>
                                    <p:animEffect transition="in" filter="wipe(right)">
                                      <p:cBhvr>
                                        <p:cTn id="25" dur="1000"/>
                                        <p:tgtEl>
                                          <p:spTgt spid="41"/>
                                        </p:tgtEl>
                                      </p:cBhvr>
                                    </p:animEffect>
                                  </p:childTnLst>
                                </p:cTn>
                              </p:par>
                              <p:par>
                                <p:cTn id="26" presetID="22" presetClass="entr" presetSubtype="2" fill="hold" grpId="0" nodeType="withEffect">
                                  <p:stCondLst>
                                    <p:cond delay="8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1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37" grpId="0"/>
      <p:bldP spid="38" grpId="0"/>
      <p:bldP spid="39" grpId="0"/>
      <p:bldP spid="40" grpId="0"/>
      <p:bldP spid="41" grpId="0"/>
      <p:bldP spid="4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A7BB3F-4453-ABA2-0542-1E5A66A9D7A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29" name="Picture Placeholder 28" descr="A person explaining something to a group of people&#10;&#10;Description automatically generated with low confidence">
            <a:extLst>
              <a:ext uri="{FF2B5EF4-FFF2-40B4-BE49-F238E27FC236}">
                <a16:creationId xmlns:a16="http://schemas.microsoft.com/office/drawing/2014/main" id="{6713D320-4A7C-3C6D-4A54-4EF7635BBC0F}"/>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547" t="3202" r="32787" b="-3202"/>
          <a:stretch/>
        </p:blipFill>
        <p:spPr>
          <a:xfrm>
            <a:off x="1211608" y="1626757"/>
            <a:ext cx="2931030" cy="2932000"/>
          </a:xfrm>
        </p:spPr>
      </p:pic>
      <p:pic>
        <p:nvPicPr>
          <p:cNvPr id="31" name="Picture Placeholder 30" descr="A picture containing text, person, person, indoor&#10;&#10;Description automatically generated">
            <a:extLst>
              <a:ext uri="{FF2B5EF4-FFF2-40B4-BE49-F238E27FC236}">
                <a16:creationId xmlns:a16="http://schemas.microsoft.com/office/drawing/2014/main" id="{A17CF64B-517E-C76C-09A9-AE8F29967290}"/>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6667" r="16667"/>
          <a:stretch>
            <a:fillRect/>
          </a:stretch>
        </p:blipFill>
        <p:spPr/>
      </p:pic>
      <p:pic>
        <p:nvPicPr>
          <p:cNvPr id="33" name="Picture Placeholder 32" descr="A person working on a computer&#10;&#10;Description automatically generated with medium confidence">
            <a:extLst>
              <a:ext uri="{FF2B5EF4-FFF2-40B4-BE49-F238E27FC236}">
                <a16:creationId xmlns:a16="http://schemas.microsoft.com/office/drawing/2014/main" id="{EFB07AB1-36AE-18BB-A756-210A7E55E2AE}"/>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16667" r="16667"/>
          <a:stretch>
            <a:fillRect/>
          </a:stretch>
        </p:blipFill>
        <p:spPr/>
      </p:pic>
      <p:sp>
        <p:nvSpPr>
          <p:cNvPr id="11" name="TextBox 10">
            <a:extLst>
              <a:ext uri="{FF2B5EF4-FFF2-40B4-BE49-F238E27FC236}">
                <a16:creationId xmlns:a16="http://schemas.microsoft.com/office/drawing/2014/main" id="{114AAB79-FEC4-7D6A-9A8C-30BCB7AEE219}"/>
              </a:ext>
            </a:extLst>
          </p:cNvPr>
          <p:cNvSpPr txBox="1"/>
          <p:nvPr/>
        </p:nvSpPr>
        <p:spPr>
          <a:xfrm>
            <a:off x="574413" y="4815744"/>
            <a:ext cx="293103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Jost ExtraBold"/>
                <a:ea typeface="+mn-ea"/>
                <a:cs typeface="+mn-cs"/>
              </a:rPr>
              <a:t>PRICING STRATEGY</a:t>
            </a:r>
          </a:p>
        </p:txBody>
      </p:sp>
      <p:sp>
        <p:nvSpPr>
          <p:cNvPr id="13" name="TextBox 12">
            <a:extLst>
              <a:ext uri="{FF2B5EF4-FFF2-40B4-BE49-F238E27FC236}">
                <a16:creationId xmlns:a16="http://schemas.microsoft.com/office/drawing/2014/main" id="{35B8840B-8F7C-3FE1-F06B-58C746F1E30B}"/>
              </a:ext>
            </a:extLst>
          </p:cNvPr>
          <p:cNvSpPr txBox="1"/>
          <p:nvPr/>
        </p:nvSpPr>
        <p:spPr>
          <a:xfrm>
            <a:off x="7125548" y="3333696"/>
            <a:ext cx="469943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Jost ExtraBold"/>
                <a:ea typeface="+mn-ea"/>
                <a:cs typeface="+mn-cs"/>
              </a:rPr>
              <a:t>Each Market has its own regulations and pricing structures</a:t>
            </a:r>
          </a:p>
        </p:txBody>
      </p:sp>
      <p:sp>
        <p:nvSpPr>
          <p:cNvPr id="15" name="TextBox 14">
            <a:extLst>
              <a:ext uri="{FF2B5EF4-FFF2-40B4-BE49-F238E27FC236}">
                <a16:creationId xmlns:a16="http://schemas.microsoft.com/office/drawing/2014/main" id="{7187077C-471B-CDF0-5C3A-5FD89AA4AD48}"/>
              </a:ext>
            </a:extLst>
          </p:cNvPr>
          <p:cNvSpPr txBox="1"/>
          <p:nvPr/>
        </p:nvSpPr>
        <p:spPr>
          <a:xfrm>
            <a:off x="7125548" y="4199174"/>
            <a:ext cx="4329909"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Jost"/>
                <a:ea typeface="+mn-ea"/>
                <a:cs typeface="+mn-cs"/>
              </a:rPr>
              <a:t>Our role is to provide our partners with the optimal prices in each cluster and market to ensure</a:t>
            </a:r>
            <a:r>
              <a:rPr kumimoji="0" lang="en-US" sz="1400" b="0" i="0" u="none" strike="noStrike" kern="1200" cap="none" spc="0" normalizeH="0" noProof="0" dirty="0">
                <a:ln>
                  <a:noFill/>
                </a:ln>
                <a:solidFill>
                  <a:prstClr val="black"/>
                </a:solidFill>
                <a:effectLst/>
                <a:uLnTx/>
                <a:uFillTx/>
                <a:latin typeface="Jost"/>
                <a:ea typeface="+mn-ea"/>
                <a:cs typeface="+mn-cs"/>
              </a:rPr>
              <a:t> </a:t>
            </a:r>
            <a:r>
              <a:rPr kumimoji="0" lang="en-US" sz="1400" b="0" i="0" u="none" strike="noStrike" kern="1200" cap="none" spc="0" normalizeH="0" baseline="0" noProof="0" dirty="0">
                <a:ln>
                  <a:noFill/>
                </a:ln>
                <a:solidFill>
                  <a:prstClr val="black"/>
                </a:solidFill>
                <a:effectLst/>
                <a:uLnTx/>
                <a:uFillTx/>
                <a:latin typeface="Jost"/>
                <a:ea typeface="+mn-ea"/>
                <a:cs typeface="+mn-cs"/>
              </a:rPr>
              <a:t>competitiveness, profitability and sustainability.</a:t>
            </a:r>
          </a:p>
        </p:txBody>
      </p:sp>
      <p:sp>
        <p:nvSpPr>
          <p:cNvPr id="24" name="Rectangle 23">
            <a:extLst>
              <a:ext uri="{FF2B5EF4-FFF2-40B4-BE49-F238E27FC236}">
                <a16:creationId xmlns:a16="http://schemas.microsoft.com/office/drawing/2014/main" id="{D2EBFE35-622F-9D8B-346D-6C08FABAD6FD}"/>
              </a:ext>
            </a:extLst>
          </p:cNvPr>
          <p:cNvSpPr/>
          <p:nvPr/>
        </p:nvSpPr>
        <p:spPr>
          <a:xfrm rot="1535220">
            <a:off x="-252797" y="3970002"/>
            <a:ext cx="3371751" cy="2064314"/>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5" name="Rectangle 24">
            <a:extLst>
              <a:ext uri="{FF2B5EF4-FFF2-40B4-BE49-F238E27FC236}">
                <a16:creationId xmlns:a16="http://schemas.microsoft.com/office/drawing/2014/main" id="{A2DC5B35-3F9F-6B9E-7C1F-95528DBE94B5}"/>
              </a:ext>
            </a:extLst>
          </p:cNvPr>
          <p:cNvSpPr/>
          <p:nvPr/>
        </p:nvSpPr>
        <p:spPr>
          <a:xfrm rot="1535220">
            <a:off x="2609107" y="5072819"/>
            <a:ext cx="4429156" cy="1671199"/>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grpSp>
        <p:nvGrpSpPr>
          <p:cNvPr id="27" name="Group 26">
            <a:extLst>
              <a:ext uri="{FF2B5EF4-FFF2-40B4-BE49-F238E27FC236}">
                <a16:creationId xmlns:a16="http://schemas.microsoft.com/office/drawing/2014/main" id="{F5178FA5-B2EA-5C5A-B07A-C4CCBE5CDC54}"/>
              </a:ext>
            </a:extLst>
          </p:cNvPr>
          <p:cNvGrpSpPr/>
          <p:nvPr/>
        </p:nvGrpSpPr>
        <p:grpSpPr>
          <a:xfrm>
            <a:off x="6159090" y="1665175"/>
            <a:ext cx="1750698" cy="1750698"/>
            <a:chOff x="6159090" y="1665175"/>
            <a:chExt cx="1750698" cy="1750698"/>
          </a:xfrm>
        </p:grpSpPr>
        <p:grpSp>
          <p:nvGrpSpPr>
            <p:cNvPr id="20" name="Group 19">
              <a:extLst>
                <a:ext uri="{FF2B5EF4-FFF2-40B4-BE49-F238E27FC236}">
                  <a16:creationId xmlns:a16="http://schemas.microsoft.com/office/drawing/2014/main" id="{7D8C59F8-104D-2725-3C75-800987DC90F4}"/>
                </a:ext>
              </a:extLst>
            </p:cNvPr>
            <p:cNvGrpSpPr/>
            <p:nvPr/>
          </p:nvGrpSpPr>
          <p:grpSpPr>
            <a:xfrm rot="5400000" flipH="1" flipV="1">
              <a:off x="6159090" y="1665175"/>
              <a:ext cx="1750698" cy="1750698"/>
              <a:chOff x="1952411" y="4589284"/>
              <a:chExt cx="1750698" cy="1750698"/>
            </a:xfrm>
          </p:grpSpPr>
          <p:sp>
            <p:nvSpPr>
              <p:cNvPr id="21" name="Freeform: Shape 20">
                <a:extLst>
                  <a:ext uri="{FF2B5EF4-FFF2-40B4-BE49-F238E27FC236}">
                    <a16:creationId xmlns:a16="http://schemas.microsoft.com/office/drawing/2014/main" id="{114AD981-8AB6-C224-4C72-8B393B01D110}"/>
                  </a:ext>
                </a:extLst>
              </p:cNvPr>
              <p:cNvSpPr/>
              <p:nvPr/>
            </p:nvSpPr>
            <p:spPr>
              <a:xfrm>
                <a:off x="2075312" y="4601811"/>
                <a:ext cx="1331239" cy="1002145"/>
              </a:xfrm>
              <a:custGeom>
                <a:avLst/>
                <a:gdLst>
                  <a:gd name="connsiteX0" fmla="*/ 752449 w 1331239"/>
                  <a:gd name="connsiteY0" fmla="*/ 0 h 1002145"/>
                  <a:gd name="connsiteX1" fmla="*/ 1241865 w 1331239"/>
                  <a:gd name="connsiteY1" fmla="*/ 149496 h 1002145"/>
                  <a:gd name="connsiteX2" fmla="*/ 1331239 w 1331239"/>
                  <a:gd name="connsiteY2" fmla="*/ 223236 h 1002145"/>
                  <a:gd name="connsiteX3" fmla="*/ 700874 w 1331239"/>
                  <a:gd name="connsiteY3" fmla="*/ 1002145 h 1002145"/>
                  <a:gd name="connsiteX4" fmla="*/ 0 w 1331239"/>
                  <a:gd name="connsiteY4" fmla="*/ 434933 h 1002145"/>
                  <a:gd name="connsiteX5" fmla="*/ 26596 w 1331239"/>
                  <a:gd name="connsiteY5" fmla="*/ 385933 h 1002145"/>
                  <a:gd name="connsiteX6" fmla="*/ 752449 w 1331239"/>
                  <a:gd name="connsiteY6" fmla="*/ 0 h 100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239" h="1002145">
                    <a:moveTo>
                      <a:pt x="752449" y="0"/>
                    </a:moveTo>
                    <a:cubicBezTo>
                      <a:pt x="933740" y="0"/>
                      <a:pt x="1102159" y="55112"/>
                      <a:pt x="1241865" y="149496"/>
                    </a:cubicBezTo>
                    <a:lnTo>
                      <a:pt x="1331239" y="223236"/>
                    </a:lnTo>
                    <a:lnTo>
                      <a:pt x="700874" y="1002145"/>
                    </a:lnTo>
                    <a:lnTo>
                      <a:pt x="0" y="434933"/>
                    </a:lnTo>
                    <a:lnTo>
                      <a:pt x="26596" y="385933"/>
                    </a:lnTo>
                    <a:cubicBezTo>
                      <a:pt x="183903" y="153089"/>
                      <a:pt x="450298" y="0"/>
                      <a:pt x="752449" y="0"/>
                    </a:cubicBezTo>
                    <a:close/>
                  </a:path>
                </a:pathLst>
              </a:cu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2" name="Oval 21">
                <a:extLst>
                  <a:ext uri="{FF2B5EF4-FFF2-40B4-BE49-F238E27FC236}">
                    <a16:creationId xmlns:a16="http://schemas.microsoft.com/office/drawing/2014/main" id="{9A2D0584-ECDA-0B8E-EBDA-27261061B60F}"/>
                  </a:ext>
                </a:extLst>
              </p:cNvPr>
              <p:cNvSpPr/>
              <p:nvPr/>
            </p:nvSpPr>
            <p:spPr>
              <a:xfrm>
                <a:off x="1952411" y="4589284"/>
                <a:ext cx="1750698" cy="1750698"/>
              </a:xfrm>
              <a:prstGeom prst="ellipse">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grpSp>
        <p:pic>
          <p:nvPicPr>
            <p:cNvPr id="26" name="Graphic 25">
              <a:extLst>
                <a:ext uri="{FF2B5EF4-FFF2-40B4-BE49-F238E27FC236}">
                  <a16:creationId xmlns:a16="http://schemas.microsoft.com/office/drawing/2014/main" id="{C2441386-9F54-0751-2ADC-EFB238299C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8381" y="2370176"/>
              <a:ext cx="457200" cy="457200"/>
            </a:xfrm>
            <a:prstGeom prst="rect">
              <a:avLst/>
            </a:prstGeom>
          </p:spPr>
        </p:pic>
      </p:grpSp>
    </p:spTree>
    <p:extLst>
      <p:ext uri="{BB962C8B-B14F-4D97-AF65-F5344CB8AC3E}">
        <p14:creationId xmlns:p14="http://schemas.microsoft.com/office/powerpoint/2010/main" val="21120854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40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60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1000" fill="hold"/>
                                        <p:tgtEl>
                                          <p:spTgt spid="13"/>
                                        </p:tgtEl>
                                        <p:attrNameLst>
                                          <p:attrName>ppt_x</p:attrName>
                                        </p:attrNameLst>
                                      </p:cBhvr>
                                      <p:tavLst>
                                        <p:tav tm="0">
                                          <p:val>
                                            <p:strVal val="1+#ppt_w/2"/>
                                          </p:val>
                                        </p:tav>
                                        <p:tav tm="100000">
                                          <p:val>
                                            <p:strVal val="#ppt_x"/>
                                          </p:val>
                                        </p:tav>
                                      </p:tavLst>
                                    </p:anim>
                                    <p:anim calcmode="lin" valueType="num">
                                      <p:cBhvr additive="base">
                                        <p:cTn id="12" dur="1000" fill="hold"/>
                                        <p:tgtEl>
                                          <p:spTgt spid="13"/>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7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1+#ppt_w/2"/>
                                          </p:val>
                                        </p:tav>
                                        <p:tav tm="100000">
                                          <p:val>
                                            <p:strVal val="#ppt_x"/>
                                          </p:val>
                                        </p:tav>
                                      </p:tavLst>
                                    </p:anim>
                                    <p:anim calcmode="lin" valueType="num">
                                      <p:cBhvr additive="base">
                                        <p:cTn id="16" dur="1000" fill="hold"/>
                                        <p:tgtEl>
                                          <p:spTgt spid="15"/>
                                        </p:tgtEl>
                                        <p:attrNameLst>
                                          <p:attrName>ppt_y</p:attrName>
                                        </p:attrNameLst>
                                      </p:cBhvr>
                                      <p:tavLst>
                                        <p:tav tm="0">
                                          <p:val>
                                            <p:strVal val="#ppt_y"/>
                                          </p:val>
                                        </p:tav>
                                        <p:tav tm="100000">
                                          <p:val>
                                            <p:strVal val="#ppt_y"/>
                                          </p:val>
                                        </p:tav>
                                      </p:tavLst>
                                    </p:anim>
                                  </p:childTnLst>
                                </p:cTn>
                              </p:par>
                              <p:par>
                                <p:cTn id="17" presetID="22" presetClass="entr" presetSubtype="4" fill="hold" grpId="0" nodeType="withEffect">
                                  <p:stCondLst>
                                    <p:cond delay="80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1000"/>
                                        <p:tgtEl>
                                          <p:spTgt spid="25"/>
                                        </p:tgtEl>
                                      </p:cBhvr>
                                    </p:animEffect>
                                  </p:childTnLst>
                                </p:cTn>
                              </p:par>
                              <p:par>
                                <p:cTn id="20" presetID="22" presetClass="entr" presetSubtype="4" fill="hold" grpId="0" nodeType="withEffect">
                                  <p:stCondLst>
                                    <p:cond delay="900"/>
                                  </p:stCondLst>
                                  <p:childTnLst>
                                    <p:set>
                                      <p:cBhvr>
                                        <p:cTn id="21" dur="1" fill="hold">
                                          <p:stCondLst>
                                            <p:cond delay="0"/>
                                          </p:stCondLst>
                                        </p:cTn>
                                        <p:tgtEl>
                                          <p:spTgt spid="24"/>
                                        </p:tgtEl>
                                        <p:attrNameLst>
                                          <p:attrName>style.visibility</p:attrName>
                                        </p:attrNameLst>
                                      </p:cBhvr>
                                      <p:to>
                                        <p:strVal val="visible"/>
                                      </p:to>
                                    </p:set>
                                    <p:animEffect transition="in" filter="wipe(down)">
                                      <p:cBhvr>
                                        <p:cTn id="22" dur="1000"/>
                                        <p:tgtEl>
                                          <p:spTgt spid="24"/>
                                        </p:tgtEl>
                                      </p:cBhvr>
                                    </p:animEffect>
                                  </p:childTnLst>
                                </p:cTn>
                              </p:par>
                              <p:par>
                                <p:cTn id="23" presetID="22" presetClass="entr" presetSubtype="1" fill="hold" nodeType="withEffect">
                                  <p:stCondLst>
                                    <p:cond delay="1000"/>
                                  </p:stCondLst>
                                  <p:childTnLst>
                                    <p:set>
                                      <p:cBhvr>
                                        <p:cTn id="24" dur="1" fill="hold">
                                          <p:stCondLst>
                                            <p:cond delay="0"/>
                                          </p:stCondLst>
                                        </p:cTn>
                                        <p:tgtEl>
                                          <p:spTgt spid="27"/>
                                        </p:tgtEl>
                                        <p:attrNameLst>
                                          <p:attrName>style.visibility</p:attrName>
                                        </p:attrNameLst>
                                      </p:cBhvr>
                                      <p:to>
                                        <p:strVal val="visible"/>
                                      </p:to>
                                    </p:set>
                                    <p:animEffect transition="in" filter="wipe(up)">
                                      <p:cBhvr>
                                        <p:cTn id="25"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5" grpId="0"/>
      <p:bldP spid="24" grpId="0" animBg="1"/>
      <p:bldP spid="2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C44368-4866-6FC4-D3D3-EBA505AF697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35" name="Picture Placeholder 34">
            <a:extLst>
              <a:ext uri="{FF2B5EF4-FFF2-40B4-BE49-F238E27FC236}">
                <a16:creationId xmlns:a16="http://schemas.microsoft.com/office/drawing/2014/main" id="{FB6308E8-6C81-D2FD-9D08-98C710C1BC65}"/>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030" r="9030"/>
          <a:stretch/>
        </p:blipFill>
        <p:spPr>
          <a:xfrm>
            <a:off x="3368021" y="2591629"/>
            <a:ext cx="5243860" cy="4266373"/>
          </a:xfrm>
        </p:spPr>
      </p:pic>
      <p:sp>
        <p:nvSpPr>
          <p:cNvPr id="11" name="TextBox 10">
            <a:extLst>
              <a:ext uri="{FF2B5EF4-FFF2-40B4-BE49-F238E27FC236}">
                <a16:creationId xmlns:a16="http://schemas.microsoft.com/office/drawing/2014/main" id="{57AA8ABA-4F3E-70B1-5CBE-48BD0CF17184}"/>
              </a:ext>
            </a:extLst>
          </p:cNvPr>
          <p:cNvSpPr txBox="1"/>
          <p:nvPr/>
        </p:nvSpPr>
        <p:spPr>
          <a:xfrm>
            <a:off x="8482557" y="2202066"/>
            <a:ext cx="298104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Jost ExtraBold"/>
                <a:ea typeface="+mn-ea"/>
                <a:cs typeface="+mn-cs"/>
              </a:rPr>
              <a:t>Turnkey                                      	</a:t>
            </a:r>
            <a:r>
              <a:rPr kumimoji="0" lang="en-US" sz="3600" b="1" i="0" u="none" strike="noStrike" kern="1200" cap="none" spc="0" normalizeH="0" baseline="0" noProof="0" dirty="0">
                <a:ln>
                  <a:noFill/>
                </a:ln>
                <a:solidFill>
                  <a:schemeClr val="accent1"/>
                </a:solidFill>
                <a:effectLst/>
                <a:uLnTx/>
                <a:uFillTx/>
                <a:latin typeface="Jost ExtraBold"/>
                <a:ea typeface="+mn-ea"/>
                <a:cs typeface="+mn-cs"/>
              </a:rPr>
              <a:t>Approach</a:t>
            </a:r>
          </a:p>
        </p:txBody>
      </p:sp>
      <p:sp>
        <p:nvSpPr>
          <p:cNvPr id="4" name="TextBox 3">
            <a:extLst>
              <a:ext uri="{FF2B5EF4-FFF2-40B4-BE49-F238E27FC236}">
                <a16:creationId xmlns:a16="http://schemas.microsoft.com/office/drawing/2014/main" id="{3733E73A-19F0-2ECC-FF9E-88D862AA157F}"/>
              </a:ext>
            </a:extLst>
          </p:cNvPr>
          <p:cNvSpPr txBox="1"/>
          <p:nvPr/>
        </p:nvSpPr>
        <p:spPr>
          <a:xfrm>
            <a:off x="1725199" y="1122077"/>
            <a:ext cx="874160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Jost ExtraBold"/>
                <a:ea typeface="+mn-ea"/>
                <a:cs typeface="+mn-cs"/>
              </a:rPr>
              <a:t>WHAT WE </a:t>
            </a:r>
            <a:r>
              <a:rPr kumimoji="0" lang="en-US" sz="3200" b="0" i="0" u="none" strike="noStrike" kern="1200" cap="none" spc="0" normalizeH="0" baseline="0" noProof="0" dirty="0">
                <a:ln>
                  <a:noFill/>
                </a:ln>
                <a:solidFill>
                  <a:srgbClr val="02AEF1"/>
                </a:solidFill>
                <a:effectLst/>
                <a:uLnTx/>
                <a:uFillTx/>
                <a:latin typeface="Jost ExtraBold"/>
                <a:ea typeface="+mn-ea"/>
                <a:cs typeface="+mn-cs"/>
              </a:rPr>
              <a:t>WILL DO</a:t>
            </a:r>
          </a:p>
        </p:txBody>
      </p:sp>
      <p:sp>
        <p:nvSpPr>
          <p:cNvPr id="6" name="TextBox 5">
            <a:extLst>
              <a:ext uri="{FF2B5EF4-FFF2-40B4-BE49-F238E27FC236}">
                <a16:creationId xmlns:a16="http://schemas.microsoft.com/office/drawing/2014/main" id="{953940D2-6631-B9C8-59FE-3A8B12A070A1}"/>
              </a:ext>
            </a:extLst>
          </p:cNvPr>
          <p:cNvSpPr txBox="1"/>
          <p:nvPr/>
        </p:nvSpPr>
        <p:spPr>
          <a:xfrm>
            <a:off x="1166858" y="2160059"/>
            <a:ext cx="451956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D0D"/>
                </a:solidFill>
                <a:effectLst/>
                <a:uLnTx/>
                <a:uFillTx/>
                <a:latin typeface="Jost"/>
                <a:ea typeface="+mn-ea"/>
                <a:cs typeface="+mn-cs"/>
              </a:rPr>
              <a:t>Strategize market entry in the designated region.</a:t>
            </a:r>
          </a:p>
        </p:txBody>
      </p:sp>
      <p:sp>
        <p:nvSpPr>
          <p:cNvPr id="14" name="TextBox 13">
            <a:extLst>
              <a:ext uri="{FF2B5EF4-FFF2-40B4-BE49-F238E27FC236}">
                <a16:creationId xmlns:a16="http://schemas.microsoft.com/office/drawing/2014/main" id="{04791EED-7EEB-3051-336E-D855F1FECB51}"/>
              </a:ext>
            </a:extLst>
          </p:cNvPr>
          <p:cNvSpPr txBox="1"/>
          <p:nvPr/>
        </p:nvSpPr>
        <p:spPr>
          <a:xfrm>
            <a:off x="1166858" y="3230390"/>
            <a:ext cx="4756116" cy="584775"/>
          </a:xfrm>
          <a:prstGeom prst="rect">
            <a:avLst/>
          </a:prstGeom>
          <a:noFill/>
        </p:spPr>
        <p:txBody>
          <a:bodyPr wrap="square">
            <a:spAutoFit/>
          </a:bodyPr>
          <a:lstStyle>
            <a:defPPr>
              <a:defRPr lang="en-US"/>
            </a:defPPr>
            <a:lvl1pPr>
              <a:defRPr sz="1600">
                <a:solidFill>
                  <a:srgbClr val="0D0D0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D0D"/>
                </a:solidFill>
                <a:effectLst/>
                <a:uLnTx/>
                <a:uFillTx/>
                <a:latin typeface="Jost"/>
                <a:ea typeface="+mn-ea"/>
                <a:cs typeface="+mn-cs"/>
              </a:rPr>
              <a:t>Streamline regulatory, pricing and all related technical aspects related to portfolio registration.</a:t>
            </a:r>
          </a:p>
        </p:txBody>
      </p:sp>
      <p:sp>
        <p:nvSpPr>
          <p:cNvPr id="16" name="TextBox 15">
            <a:extLst>
              <a:ext uri="{FF2B5EF4-FFF2-40B4-BE49-F238E27FC236}">
                <a16:creationId xmlns:a16="http://schemas.microsoft.com/office/drawing/2014/main" id="{A6614DA6-D16F-14BA-EEC9-81879A31288E}"/>
              </a:ext>
            </a:extLst>
          </p:cNvPr>
          <p:cNvSpPr txBox="1"/>
          <p:nvPr/>
        </p:nvSpPr>
        <p:spPr>
          <a:xfrm>
            <a:off x="1166858" y="4453926"/>
            <a:ext cx="3072633" cy="1077218"/>
          </a:xfrm>
          <a:prstGeom prst="rect">
            <a:avLst/>
          </a:prstGeom>
          <a:noFill/>
        </p:spPr>
        <p:txBody>
          <a:bodyPr wrap="square">
            <a:spAutoFit/>
          </a:bodyPr>
          <a:lstStyle>
            <a:defPPr>
              <a:defRPr lang="en-US"/>
            </a:defPPr>
            <a:lvl1pPr>
              <a:defRPr sz="1600">
                <a:solidFill>
                  <a:srgbClr val="0D0D0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D0D"/>
                </a:solidFill>
                <a:effectLst/>
                <a:uLnTx/>
                <a:uFillTx/>
                <a:latin typeface="Jost"/>
                <a:ea typeface="+mn-ea"/>
                <a:cs typeface="+mn-cs"/>
              </a:rPr>
              <a:t>Conduct professional sales and marketing activities to capture maximum market share and maintain healthy growth.</a:t>
            </a:r>
          </a:p>
        </p:txBody>
      </p:sp>
      <p:grpSp>
        <p:nvGrpSpPr>
          <p:cNvPr id="31" name="Group 30">
            <a:extLst>
              <a:ext uri="{FF2B5EF4-FFF2-40B4-BE49-F238E27FC236}">
                <a16:creationId xmlns:a16="http://schemas.microsoft.com/office/drawing/2014/main" id="{7904F2F1-4211-08CC-4F53-259B759E3E7F}"/>
              </a:ext>
            </a:extLst>
          </p:cNvPr>
          <p:cNvGrpSpPr/>
          <p:nvPr/>
        </p:nvGrpSpPr>
        <p:grpSpPr>
          <a:xfrm>
            <a:off x="728393" y="3230390"/>
            <a:ext cx="386458" cy="636111"/>
            <a:chOff x="559324" y="3053783"/>
            <a:chExt cx="555527" cy="914400"/>
          </a:xfrm>
        </p:grpSpPr>
        <p:sp>
          <p:nvSpPr>
            <p:cNvPr id="27" name="Freeform: Shape 26">
              <a:extLst>
                <a:ext uri="{FF2B5EF4-FFF2-40B4-BE49-F238E27FC236}">
                  <a16:creationId xmlns:a16="http://schemas.microsoft.com/office/drawing/2014/main" id="{DB5E6BB7-EC3F-F73C-1D4E-0FE856E0E082}"/>
                </a:ext>
              </a:extLst>
            </p:cNvPr>
            <p:cNvSpPr/>
            <p:nvPr/>
          </p:nvSpPr>
          <p:spPr>
            <a:xfrm>
              <a:off x="559324" y="3053783"/>
              <a:ext cx="457200" cy="914400"/>
            </a:xfrm>
            <a:custGeom>
              <a:avLst/>
              <a:gdLst>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20" name="Graphic 19">
              <a:extLst>
                <a:ext uri="{FF2B5EF4-FFF2-40B4-BE49-F238E27FC236}">
                  <a16:creationId xmlns:a16="http://schemas.microsoft.com/office/drawing/2014/main" id="{DAB3BC64-556F-7EE3-8D7C-2CE17285E2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9091" y="3307372"/>
              <a:ext cx="365760" cy="365760"/>
            </a:xfrm>
            <a:prstGeom prst="rect">
              <a:avLst/>
            </a:prstGeom>
          </p:spPr>
        </p:pic>
      </p:grpSp>
      <p:grpSp>
        <p:nvGrpSpPr>
          <p:cNvPr id="30" name="Group 29">
            <a:extLst>
              <a:ext uri="{FF2B5EF4-FFF2-40B4-BE49-F238E27FC236}">
                <a16:creationId xmlns:a16="http://schemas.microsoft.com/office/drawing/2014/main" id="{2ADA33AF-6128-F6D7-DEC5-E6CBA7BCE593}"/>
              </a:ext>
            </a:extLst>
          </p:cNvPr>
          <p:cNvGrpSpPr/>
          <p:nvPr/>
        </p:nvGrpSpPr>
        <p:grpSpPr>
          <a:xfrm>
            <a:off x="728393" y="2058377"/>
            <a:ext cx="386458" cy="636111"/>
            <a:chOff x="559324" y="1696279"/>
            <a:chExt cx="555527" cy="914400"/>
          </a:xfrm>
        </p:grpSpPr>
        <p:sp>
          <p:nvSpPr>
            <p:cNvPr id="26" name="Freeform: Shape 25">
              <a:extLst>
                <a:ext uri="{FF2B5EF4-FFF2-40B4-BE49-F238E27FC236}">
                  <a16:creationId xmlns:a16="http://schemas.microsoft.com/office/drawing/2014/main" id="{060FE50F-921E-D9E5-550D-8734842DEC76}"/>
                </a:ext>
              </a:extLst>
            </p:cNvPr>
            <p:cNvSpPr/>
            <p:nvPr/>
          </p:nvSpPr>
          <p:spPr>
            <a:xfrm>
              <a:off x="559324" y="1696279"/>
              <a:ext cx="457200" cy="914400"/>
            </a:xfrm>
            <a:custGeom>
              <a:avLst/>
              <a:gdLst>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22" name="Graphic 21">
              <a:extLst>
                <a:ext uri="{FF2B5EF4-FFF2-40B4-BE49-F238E27FC236}">
                  <a16:creationId xmlns:a16="http://schemas.microsoft.com/office/drawing/2014/main" id="{F71E559D-32D5-3ED3-66DE-436521271E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9091" y="1960965"/>
              <a:ext cx="365760" cy="365760"/>
            </a:xfrm>
            <a:prstGeom prst="rect">
              <a:avLst/>
            </a:prstGeom>
          </p:spPr>
        </p:pic>
      </p:grpSp>
      <p:sp>
        <p:nvSpPr>
          <p:cNvPr id="24" name="Rectangle 23">
            <a:extLst>
              <a:ext uri="{FF2B5EF4-FFF2-40B4-BE49-F238E27FC236}">
                <a16:creationId xmlns:a16="http://schemas.microsoft.com/office/drawing/2014/main" id="{937536AD-5AE4-543F-46B8-8F3118CFAB94}"/>
              </a:ext>
            </a:extLst>
          </p:cNvPr>
          <p:cNvSpPr/>
          <p:nvPr/>
        </p:nvSpPr>
        <p:spPr>
          <a:xfrm rot="1535220">
            <a:off x="3241176" y="6926465"/>
            <a:ext cx="6576973" cy="1105672"/>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5" name="Rectangle 24">
            <a:extLst>
              <a:ext uri="{FF2B5EF4-FFF2-40B4-BE49-F238E27FC236}">
                <a16:creationId xmlns:a16="http://schemas.microsoft.com/office/drawing/2014/main" id="{CB66D845-6435-FC2E-B217-1D5CA5FDAF7C}"/>
              </a:ext>
            </a:extLst>
          </p:cNvPr>
          <p:cNvSpPr/>
          <p:nvPr/>
        </p:nvSpPr>
        <p:spPr>
          <a:xfrm rot="1535220">
            <a:off x="3687639" y="7003297"/>
            <a:ext cx="3927148" cy="1105672"/>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grpSp>
        <p:nvGrpSpPr>
          <p:cNvPr id="32" name="Group 31">
            <a:extLst>
              <a:ext uri="{FF2B5EF4-FFF2-40B4-BE49-F238E27FC236}">
                <a16:creationId xmlns:a16="http://schemas.microsoft.com/office/drawing/2014/main" id="{C394C3AA-84F5-9F69-557A-CD1A733A257C}"/>
              </a:ext>
            </a:extLst>
          </p:cNvPr>
          <p:cNvGrpSpPr/>
          <p:nvPr/>
        </p:nvGrpSpPr>
        <p:grpSpPr>
          <a:xfrm>
            <a:off x="728393" y="4667460"/>
            <a:ext cx="386458" cy="636111"/>
            <a:chOff x="559324" y="4451631"/>
            <a:chExt cx="555527" cy="914400"/>
          </a:xfrm>
        </p:grpSpPr>
        <p:sp>
          <p:nvSpPr>
            <p:cNvPr id="28" name="Freeform: Shape 27">
              <a:extLst>
                <a:ext uri="{FF2B5EF4-FFF2-40B4-BE49-F238E27FC236}">
                  <a16:creationId xmlns:a16="http://schemas.microsoft.com/office/drawing/2014/main" id="{9176ACBB-3ADF-E19C-8FC6-5FF4ADA73567}"/>
                </a:ext>
              </a:extLst>
            </p:cNvPr>
            <p:cNvSpPr/>
            <p:nvPr/>
          </p:nvSpPr>
          <p:spPr>
            <a:xfrm>
              <a:off x="559324" y="4451631"/>
              <a:ext cx="457200" cy="914400"/>
            </a:xfrm>
            <a:custGeom>
              <a:avLst/>
              <a:gdLst>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29" name="Graphic 28">
              <a:extLst>
                <a:ext uri="{FF2B5EF4-FFF2-40B4-BE49-F238E27FC236}">
                  <a16:creationId xmlns:a16="http://schemas.microsoft.com/office/drawing/2014/main" id="{67DFF8DE-8230-9D38-0DA3-4FC97EE96F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9091" y="4722629"/>
              <a:ext cx="365760" cy="365760"/>
            </a:xfrm>
            <a:prstGeom prst="rect">
              <a:avLst/>
            </a:prstGeom>
          </p:spPr>
        </p:pic>
      </p:grpSp>
      <p:cxnSp>
        <p:nvCxnSpPr>
          <p:cNvPr id="5" name="Straight Connector 4">
            <a:extLst>
              <a:ext uri="{FF2B5EF4-FFF2-40B4-BE49-F238E27FC236}">
                <a16:creationId xmlns:a16="http://schemas.microsoft.com/office/drawing/2014/main" id="{265314AD-0C8B-0495-82F4-AD6FC4C42BF0}"/>
              </a:ext>
            </a:extLst>
          </p:cNvPr>
          <p:cNvCxnSpPr/>
          <p:nvPr/>
        </p:nvCxnSpPr>
        <p:spPr>
          <a:xfrm>
            <a:off x="0" y="2974109"/>
            <a:ext cx="552581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769F1D8-2055-1003-03FF-39897A55459B}"/>
              </a:ext>
            </a:extLst>
          </p:cNvPr>
          <p:cNvCxnSpPr>
            <a:cxnSpLocks/>
          </p:cNvCxnSpPr>
          <p:nvPr/>
        </p:nvCxnSpPr>
        <p:spPr>
          <a:xfrm>
            <a:off x="0" y="4193309"/>
            <a:ext cx="494145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8301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0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1000"/>
                                        <p:tgtEl>
                                          <p:spTgt spid="25"/>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1000"/>
                                        <p:tgtEl>
                                          <p:spTgt spid="24"/>
                                        </p:tgtEl>
                                      </p:cBhvr>
                                    </p:animEffect>
                                  </p:childTnLst>
                                </p:cTn>
                              </p:par>
                              <p:par>
                                <p:cTn id="11" presetID="2" presetClass="entr" presetSubtype="8" decel="100000" fill="hold" grpId="0" nodeType="withEffect">
                                  <p:stCondLst>
                                    <p:cond delay="40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1000" fill="hold"/>
                                        <p:tgtEl>
                                          <p:spTgt spid="4"/>
                                        </p:tgtEl>
                                        <p:attrNameLst>
                                          <p:attrName>ppt_x</p:attrName>
                                        </p:attrNameLst>
                                      </p:cBhvr>
                                      <p:tavLst>
                                        <p:tav tm="0">
                                          <p:val>
                                            <p:strVal val="0-#ppt_w/2"/>
                                          </p:val>
                                        </p:tav>
                                        <p:tav tm="100000">
                                          <p:val>
                                            <p:strVal val="#ppt_x"/>
                                          </p:val>
                                        </p:tav>
                                      </p:tavLst>
                                    </p:anim>
                                    <p:anim calcmode="lin" valueType="num">
                                      <p:cBhvr additive="base">
                                        <p:cTn id="14" dur="1000" fill="hold"/>
                                        <p:tgtEl>
                                          <p:spTgt spid="4"/>
                                        </p:tgtEl>
                                        <p:attrNameLst>
                                          <p:attrName>ppt_y</p:attrName>
                                        </p:attrNameLst>
                                      </p:cBhvr>
                                      <p:tavLst>
                                        <p:tav tm="0">
                                          <p:val>
                                            <p:strVal val="#ppt_y"/>
                                          </p:val>
                                        </p:tav>
                                        <p:tav tm="100000">
                                          <p:val>
                                            <p:strVal val="#ppt_y"/>
                                          </p:val>
                                        </p:tav>
                                      </p:tavLst>
                                    </p:anim>
                                  </p:childTnLst>
                                </p:cTn>
                              </p:par>
                              <p:par>
                                <p:cTn id="15" presetID="53" presetClass="entr" presetSubtype="16" fill="hold" nodeType="withEffect">
                                  <p:stCondLst>
                                    <p:cond delay="500"/>
                                  </p:stCondLst>
                                  <p:childTnLst>
                                    <p:set>
                                      <p:cBhvr>
                                        <p:cTn id="16" dur="1" fill="hold">
                                          <p:stCondLst>
                                            <p:cond delay="0"/>
                                          </p:stCondLst>
                                        </p:cTn>
                                        <p:tgtEl>
                                          <p:spTgt spid="30"/>
                                        </p:tgtEl>
                                        <p:attrNameLst>
                                          <p:attrName>style.visibility</p:attrName>
                                        </p:attrNameLst>
                                      </p:cBhvr>
                                      <p:to>
                                        <p:strVal val="visible"/>
                                      </p:to>
                                    </p:set>
                                    <p:anim calcmode="lin" valueType="num">
                                      <p:cBhvr>
                                        <p:cTn id="17" dur="1000" fill="hold"/>
                                        <p:tgtEl>
                                          <p:spTgt spid="30"/>
                                        </p:tgtEl>
                                        <p:attrNameLst>
                                          <p:attrName>ppt_w</p:attrName>
                                        </p:attrNameLst>
                                      </p:cBhvr>
                                      <p:tavLst>
                                        <p:tav tm="0">
                                          <p:val>
                                            <p:fltVal val="0"/>
                                          </p:val>
                                        </p:tav>
                                        <p:tav tm="100000">
                                          <p:val>
                                            <p:strVal val="#ppt_w"/>
                                          </p:val>
                                        </p:tav>
                                      </p:tavLst>
                                    </p:anim>
                                    <p:anim calcmode="lin" valueType="num">
                                      <p:cBhvr>
                                        <p:cTn id="18" dur="1000" fill="hold"/>
                                        <p:tgtEl>
                                          <p:spTgt spid="30"/>
                                        </p:tgtEl>
                                        <p:attrNameLst>
                                          <p:attrName>ppt_h</p:attrName>
                                        </p:attrNameLst>
                                      </p:cBhvr>
                                      <p:tavLst>
                                        <p:tav tm="0">
                                          <p:val>
                                            <p:fltVal val="0"/>
                                          </p:val>
                                        </p:tav>
                                        <p:tav tm="100000">
                                          <p:val>
                                            <p:strVal val="#ppt_h"/>
                                          </p:val>
                                        </p:tav>
                                      </p:tavLst>
                                    </p:anim>
                                    <p:animEffect transition="in" filter="fade">
                                      <p:cBhvr>
                                        <p:cTn id="19" dur="1000"/>
                                        <p:tgtEl>
                                          <p:spTgt spid="30"/>
                                        </p:tgtEl>
                                      </p:cBhvr>
                                    </p:animEffect>
                                  </p:childTnLst>
                                </p:cTn>
                              </p:par>
                              <p:par>
                                <p:cTn id="20" presetID="53" presetClass="entr" presetSubtype="16" fill="hold" nodeType="withEffect">
                                  <p:stCondLst>
                                    <p:cond delay="600"/>
                                  </p:stCondLst>
                                  <p:childTnLst>
                                    <p:set>
                                      <p:cBhvr>
                                        <p:cTn id="21" dur="1" fill="hold">
                                          <p:stCondLst>
                                            <p:cond delay="0"/>
                                          </p:stCondLst>
                                        </p:cTn>
                                        <p:tgtEl>
                                          <p:spTgt spid="31"/>
                                        </p:tgtEl>
                                        <p:attrNameLst>
                                          <p:attrName>style.visibility</p:attrName>
                                        </p:attrNameLst>
                                      </p:cBhvr>
                                      <p:to>
                                        <p:strVal val="visible"/>
                                      </p:to>
                                    </p:set>
                                    <p:anim calcmode="lin" valueType="num">
                                      <p:cBhvr>
                                        <p:cTn id="22" dur="1000" fill="hold"/>
                                        <p:tgtEl>
                                          <p:spTgt spid="31"/>
                                        </p:tgtEl>
                                        <p:attrNameLst>
                                          <p:attrName>ppt_w</p:attrName>
                                        </p:attrNameLst>
                                      </p:cBhvr>
                                      <p:tavLst>
                                        <p:tav tm="0">
                                          <p:val>
                                            <p:fltVal val="0"/>
                                          </p:val>
                                        </p:tav>
                                        <p:tav tm="100000">
                                          <p:val>
                                            <p:strVal val="#ppt_w"/>
                                          </p:val>
                                        </p:tav>
                                      </p:tavLst>
                                    </p:anim>
                                    <p:anim calcmode="lin" valueType="num">
                                      <p:cBhvr>
                                        <p:cTn id="23" dur="1000" fill="hold"/>
                                        <p:tgtEl>
                                          <p:spTgt spid="31"/>
                                        </p:tgtEl>
                                        <p:attrNameLst>
                                          <p:attrName>ppt_h</p:attrName>
                                        </p:attrNameLst>
                                      </p:cBhvr>
                                      <p:tavLst>
                                        <p:tav tm="0">
                                          <p:val>
                                            <p:fltVal val="0"/>
                                          </p:val>
                                        </p:tav>
                                        <p:tav tm="100000">
                                          <p:val>
                                            <p:strVal val="#ppt_h"/>
                                          </p:val>
                                        </p:tav>
                                      </p:tavLst>
                                    </p:anim>
                                    <p:animEffect transition="in" filter="fade">
                                      <p:cBhvr>
                                        <p:cTn id="24" dur="1000"/>
                                        <p:tgtEl>
                                          <p:spTgt spid="31"/>
                                        </p:tgtEl>
                                      </p:cBhvr>
                                    </p:animEffect>
                                  </p:childTnLst>
                                </p:cTn>
                              </p:par>
                              <p:par>
                                <p:cTn id="25" presetID="53" presetClass="entr" presetSubtype="16" fill="hold" nodeType="withEffect">
                                  <p:stCondLst>
                                    <p:cond delay="700"/>
                                  </p:stCondLst>
                                  <p:childTnLst>
                                    <p:set>
                                      <p:cBhvr>
                                        <p:cTn id="26" dur="1" fill="hold">
                                          <p:stCondLst>
                                            <p:cond delay="0"/>
                                          </p:stCondLst>
                                        </p:cTn>
                                        <p:tgtEl>
                                          <p:spTgt spid="32"/>
                                        </p:tgtEl>
                                        <p:attrNameLst>
                                          <p:attrName>style.visibility</p:attrName>
                                        </p:attrNameLst>
                                      </p:cBhvr>
                                      <p:to>
                                        <p:strVal val="visible"/>
                                      </p:to>
                                    </p:set>
                                    <p:anim calcmode="lin" valueType="num">
                                      <p:cBhvr>
                                        <p:cTn id="27" dur="1000" fill="hold"/>
                                        <p:tgtEl>
                                          <p:spTgt spid="32"/>
                                        </p:tgtEl>
                                        <p:attrNameLst>
                                          <p:attrName>ppt_w</p:attrName>
                                        </p:attrNameLst>
                                      </p:cBhvr>
                                      <p:tavLst>
                                        <p:tav tm="0">
                                          <p:val>
                                            <p:fltVal val="0"/>
                                          </p:val>
                                        </p:tav>
                                        <p:tav tm="100000">
                                          <p:val>
                                            <p:strVal val="#ppt_w"/>
                                          </p:val>
                                        </p:tav>
                                      </p:tavLst>
                                    </p:anim>
                                    <p:anim calcmode="lin" valueType="num">
                                      <p:cBhvr>
                                        <p:cTn id="28" dur="1000" fill="hold"/>
                                        <p:tgtEl>
                                          <p:spTgt spid="32"/>
                                        </p:tgtEl>
                                        <p:attrNameLst>
                                          <p:attrName>ppt_h</p:attrName>
                                        </p:attrNameLst>
                                      </p:cBhvr>
                                      <p:tavLst>
                                        <p:tav tm="0">
                                          <p:val>
                                            <p:fltVal val="0"/>
                                          </p:val>
                                        </p:tav>
                                        <p:tav tm="100000">
                                          <p:val>
                                            <p:strVal val="#ppt_h"/>
                                          </p:val>
                                        </p:tav>
                                      </p:tavLst>
                                    </p:anim>
                                    <p:animEffect transition="in" filter="fade">
                                      <p:cBhvr>
                                        <p:cTn id="29" dur="1000"/>
                                        <p:tgtEl>
                                          <p:spTgt spid="32"/>
                                        </p:tgtEl>
                                      </p:cBhvr>
                                    </p:animEffect>
                                  </p:childTnLst>
                                </p:cTn>
                              </p:par>
                              <p:par>
                                <p:cTn id="30" presetID="22" presetClass="entr" presetSubtype="8" fill="hold" grpId="0" nodeType="withEffect">
                                  <p:stCondLst>
                                    <p:cond delay="80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1000"/>
                                        <p:tgtEl>
                                          <p:spTgt spid="6"/>
                                        </p:tgtEl>
                                      </p:cBhvr>
                                    </p:animEffect>
                                  </p:childTnLst>
                                </p:cTn>
                              </p:par>
                              <p:par>
                                <p:cTn id="33" presetID="22" presetClass="entr" presetSubtype="8" fill="hold" grpId="0" nodeType="withEffect">
                                  <p:stCondLst>
                                    <p:cond delay="900"/>
                                  </p:stCondLst>
                                  <p:childTnLst>
                                    <p:set>
                                      <p:cBhvr>
                                        <p:cTn id="34" dur="1" fill="hold">
                                          <p:stCondLst>
                                            <p:cond delay="0"/>
                                          </p:stCondLst>
                                        </p:cTn>
                                        <p:tgtEl>
                                          <p:spTgt spid="14"/>
                                        </p:tgtEl>
                                        <p:attrNameLst>
                                          <p:attrName>style.visibility</p:attrName>
                                        </p:attrNameLst>
                                      </p:cBhvr>
                                      <p:to>
                                        <p:strVal val="visible"/>
                                      </p:to>
                                    </p:set>
                                    <p:animEffect transition="in" filter="wipe(left)">
                                      <p:cBhvr>
                                        <p:cTn id="35" dur="1000"/>
                                        <p:tgtEl>
                                          <p:spTgt spid="14"/>
                                        </p:tgtEl>
                                      </p:cBhvr>
                                    </p:animEffect>
                                  </p:childTnLst>
                                </p:cTn>
                              </p:par>
                              <p:par>
                                <p:cTn id="36" presetID="22" presetClass="entr" presetSubtype="8" fill="hold" grpId="0" nodeType="withEffect">
                                  <p:stCondLst>
                                    <p:cond delay="1000"/>
                                  </p:stCondLst>
                                  <p:childTnLst>
                                    <p:set>
                                      <p:cBhvr>
                                        <p:cTn id="37" dur="1" fill="hold">
                                          <p:stCondLst>
                                            <p:cond delay="0"/>
                                          </p:stCondLst>
                                        </p:cTn>
                                        <p:tgtEl>
                                          <p:spTgt spid="16"/>
                                        </p:tgtEl>
                                        <p:attrNameLst>
                                          <p:attrName>style.visibility</p:attrName>
                                        </p:attrNameLst>
                                      </p:cBhvr>
                                      <p:to>
                                        <p:strVal val="visible"/>
                                      </p:to>
                                    </p:set>
                                    <p:animEffect transition="in" filter="wipe(left)">
                                      <p:cBhvr>
                                        <p:cTn id="38" dur="1000"/>
                                        <p:tgtEl>
                                          <p:spTgt spid="16"/>
                                        </p:tgtEl>
                                      </p:cBhvr>
                                    </p:animEffect>
                                  </p:childTnLst>
                                </p:cTn>
                              </p:par>
                              <p:par>
                                <p:cTn id="39" presetID="2" presetClass="entr" presetSubtype="2" decel="100000" fill="hold" grpId="0" nodeType="withEffect">
                                  <p:stCondLst>
                                    <p:cond delay="1200"/>
                                  </p:stCondLst>
                                  <p:childTnLst>
                                    <p:set>
                                      <p:cBhvr>
                                        <p:cTn id="40" dur="1" fill="hold">
                                          <p:stCondLst>
                                            <p:cond delay="0"/>
                                          </p:stCondLst>
                                        </p:cTn>
                                        <p:tgtEl>
                                          <p:spTgt spid="11"/>
                                        </p:tgtEl>
                                        <p:attrNameLst>
                                          <p:attrName>style.visibility</p:attrName>
                                        </p:attrNameLst>
                                      </p:cBhvr>
                                      <p:to>
                                        <p:strVal val="visible"/>
                                      </p:to>
                                    </p:set>
                                    <p:anim calcmode="lin" valueType="num">
                                      <p:cBhvr additive="base">
                                        <p:cTn id="41" dur="1000" fill="hold"/>
                                        <p:tgtEl>
                                          <p:spTgt spid="11"/>
                                        </p:tgtEl>
                                        <p:attrNameLst>
                                          <p:attrName>ppt_x</p:attrName>
                                        </p:attrNameLst>
                                      </p:cBhvr>
                                      <p:tavLst>
                                        <p:tav tm="0">
                                          <p:val>
                                            <p:strVal val="1+#ppt_w/2"/>
                                          </p:val>
                                        </p:tav>
                                        <p:tav tm="100000">
                                          <p:val>
                                            <p:strVal val="#ppt_x"/>
                                          </p:val>
                                        </p:tav>
                                      </p:tavLst>
                                    </p:anim>
                                    <p:anim calcmode="lin" valueType="num">
                                      <p:cBhvr additive="base">
                                        <p:cTn id="42" dur="1000" fill="hold"/>
                                        <p:tgtEl>
                                          <p:spTgt spid="11"/>
                                        </p:tgtEl>
                                        <p:attrNameLst>
                                          <p:attrName>ppt_y</p:attrName>
                                        </p:attrNameLst>
                                      </p:cBhvr>
                                      <p:tavLst>
                                        <p:tav tm="0">
                                          <p:val>
                                            <p:strVal val="#ppt_y"/>
                                          </p:val>
                                        </p:tav>
                                        <p:tav tm="100000">
                                          <p:val>
                                            <p:strVal val="#ppt_y"/>
                                          </p:val>
                                        </p:tav>
                                      </p:tavLst>
                                    </p:anim>
                                  </p:childTnLst>
                                </p:cTn>
                              </p:par>
                              <p:par>
                                <p:cTn id="43" presetID="22" presetClass="entr" presetSubtype="8" fill="hold" nodeType="withEffect">
                                  <p:stCondLst>
                                    <p:cond delay="1200"/>
                                  </p:stCondLst>
                                  <p:childTnLst>
                                    <p:set>
                                      <p:cBhvr>
                                        <p:cTn id="44" dur="1" fill="hold">
                                          <p:stCondLst>
                                            <p:cond delay="0"/>
                                          </p:stCondLst>
                                        </p:cTn>
                                        <p:tgtEl>
                                          <p:spTgt spid="7"/>
                                        </p:tgtEl>
                                        <p:attrNameLst>
                                          <p:attrName>style.visibility</p:attrName>
                                        </p:attrNameLst>
                                      </p:cBhvr>
                                      <p:to>
                                        <p:strVal val="visible"/>
                                      </p:to>
                                    </p:set>
                                    <p:animEffect transition="in" filter="wipe(left)">
                                      <p:cBhvr>
                                        <p:cTn id="45" dur="500"/>
                                        <p:tgtEl>
                                          <p:spTgt spid="7"/>
                                        </p:tgtEl>
                                      </p:cBhvr>
                                    </p:animEffect>
                                  </p:childTnLst>
                                </p:cTn>
                              </p:par>
                              <p:par>
                                <p:cTn id="46" presetID="22" presetClass="entr" presetSubtype="8" fill="hold" nodeType="withEffect">
                                  <p:stCondLst>
                                    <p:cond delay="1200"/>
                                  </p:stCondLst>
                                  <p:childTnLst>
                                    <p:set>
                                      <p:cBhvr>
                                        <p:cTn id="47" dur="1" fill="hold">
                                          <p:stCondLst>
                                            <p:cond delay="0"/>
                                          </p:stCondLst>
                                        </p:cTn>
                                        <p:tgtEl>
                                          <p:spTgt spid="5"/>
                                        </p:tgtEl>
                                        <p:attrNameLst>
                                          <p:attrName>style.visibility</p:attrName>
                                        </p:attrNameLst>
                                      </p:cBhvr>
                                      <p:to>
                                        <p:strVal val="visible"/>
                                      </p:to>
                                    </p:set>
                                    <p:animEffect transition="in" filter="wipe(left)">
                                      <p:cBhvr>
                                        <p:cTn id="4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 grpId="0"/>
      <p:bldP spid="6" grpId="0"/>
      <p:bldP spid="14" grpId="0"/>
      <p:bldP spid="16" grpId="0"/>
      <p:bldP spid="24"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BE030B0-F202-0F14-832B-79FA1FEA9937}"/>
              </a:ext>
            </a:extLst>
          </p:cNvPr>
          <p:cNvSpPr/>
          <p:nvPr/>
        </p:nvSpPr>
        <p:spPr>
          <a:xfrm rot="2261073">
            <a:off x="-1744153" y="1177267"/>
            <a:ext cx="2995708" cy="855198"/>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 name="Rectangle 1">
            <a:extLst>
              <a:ext uri="{FF2B5EF4-FFF2-40B4-BE49-F238E27FC236}">
                <a16:creationId xmlns:a16="http://schemas.microsoft.com/office/drawing/2014/main" id="{61813EC6-91BF-CBF3-0BAE-4D52F44EE56D}"/>
              </a:ext>
            </a:extLst>
          </p:cNvPr>
          <p:cNvSpPr/>
          <p:nvPr/>
        </p:nvSpPr>
        <p:spPr>
          <a:xfrm rot="2261073">
            <a:off x="6504862" y="6057292"/>
            <a:ext cx="4429156" cy="1671199"/>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96" name="Picture 95" descr="Two people in a warehouse&#10;&#10;Description automatically generated with medium confidence">
            <a:extLst>
              <a:ext uri="{FF2B5EF4-FFF2-40B4-BE49-F238E27FC236}">
                <a16:creationId xmlns:a16="http://schemas.microsoft.com/office/drawing/2014/main" id="{787B5B86-99DE-1144-1C10-D2B33F063C93}"/>
              </a:ext>
            </a:extLst>
          </p:cNvPr>
          <p:cNvPicPr>
            <a:picLocks noChangeAspect="1"/>
          </p:cNvPicPr>
          <p:nvPr/>
        </p:nvPicPr>
        <p:blipFill>
          <a:blip r:embed="rId2">
            <a:alphaModFix amt="20000"/>
            <a:grayscl/>
            <a:extLst>
              <a:ext uri="{28A0092B-C50C-407E-A947-70E740481C1C}">
                <a14:useLocalDpi xmlns:a14="http://schemas.microsoft.com/office/drawing/2010/main" val="0"/>
              </a:ext>
            </a:extLst>
          </a:blip>
          <a:stretch>
            <a:fillRect/>
          </a:stretch>
        </p:blipFill>
        <p:spPr>
          <a:xfrm>
            <a:off x="5882902" y="1454036"/>
            <a:ext cx="6974504" cy="4649669"/>
          </a:xfrm>
          <a:prstGeom prst="roundRect">
            <a:avLst>
              <a:gd name="adj" fmla="val 0"/>
            </a:avLst>
          </a:prstGeom>
          <a:ln>
            <a:noFill/>
          </a:ln>
          <a:effectLst>
            <a:softEdge rad="1066800"/>
          </a:effectLst>
        </p:spPr>
      </p:pic>
      <p:sp>
        <p:nvSpPr>
          <p:cNvPr id="4" name="Slide Number Placeholder 3">
            <a:extLst>
              <a:ext uri="{FF2B5EF4-FFF2-40B4-BE49-F238E27FC236}">
                <a16:creationId xmlns:a16="http://schemas.microsoft.com/office/drawing/2014/main" id="{F00F7F97-3051-4E10-3D11-C81C1808AB1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6" name="TextBox 5">
            <a:extLst>
              <a:ext uri="{FF2B5EF4-FFF2-40B4-BE49-F238E27FC236}">
                <a16:creationId xmlns:a16="http://schemas.microsoft.com/office/drawing/2014/main" id="{62F7B38F-B06D-59E2-F189-F25CC765F6DB}"/>
              </a:ext>
            </a:extLst>
          </p:cNvPr>
          <p:cNvSpPr txBox="1"/>
          <p:nvPr/>
        </p:nvSpPr>
        <p:spPr>
          <a:xfrm>
            <a:off x="512419" y="845971"/>
            <a:ext cx="4385045"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Jost ExtraBold"/>
                <a:ea typeface="+mn-ea"/>
                <a:cs typeface="+mn-cs"/>
              </a:rPr>
              <a:t>FWA VS ANGLOPHONES</a:t>
            </a:r>
          </a:p>
        </p:txBody>
      </p:sp>
      <p:sp>
        <p:nvSpPr>
          <p:cNvPr id="15" name="TextBox 14">
            <a:extLst>
              <a:ext uri="{FF2B5EF4-FFF2-40B4-BE49-F238E27FC236}">
                <a16:creationId xmlns:a16="http://schemas.microsoft.com/office/drawing/2014/main" id="{3E284BD2-E211-5486-1233-0DB3C2F22175}"/>
              </a:ext>
            </a:extLst>
          </p:cNvPr>
          <p:cNvSpPr txBox="1"/>
          <p:nvPr/>
        </p:nvSpPr>
        <p:spPr>
          <a:xfrm>
            <a:off x="3971057" y="1605627"/>
            <a:ext cx="1491711" cy="523220"/>
          </a:xfrm>
          <a:prstGeom prst="rect">
            <a:avLst/>
          </a:prstGeom>
          <a:noFill/>
        </p:spPr>
        <p:txBody>
          <a:bodyPr wrap="square">
            <a:spAutoFit/>
          </a:bodyP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black"/>
                </a:solidFill>
                <a:effectLst/>
                <a:uLnTx/>
                <a:uFillTx/>
                <a:latin typeface="Jost"/>
                <a:ea typeface="+mn-ea"/>
                <a:cs typeface="+mn-cs"/>
              </a:rPr>
              <a:t>French West Africa</a:t>
            </a:r>
          </a:p>
        </p:txBody>
      </p:sp>
      <p:sp>
        <p:nvSpPr>
          <p:cNvPr id="17" name="TextBox 16">
            <a:extLst>
              <a:ext uri="{FF2B5EF4-FFF2-40B4-BE49-F238E27FC236}">
                <a16:creationId xmlns:a16="http://schemas.microsoft.com/office/drawing/2014/main" id="{81739DE6-C716-6461-3A1A-2D55F226F0D4}"/>
              </a:ext>
            </a:extLst>
          </p:cNvPr>
          <p:cNvSpPr txBox="1"/>
          <p:nvPr/>
        </p:nvSpPr>
        <p:spPr>
          <a:xfrm>
            <a:off x="6787611" y="1653264"/>
            <a:ext cx="1491711" cy="523220"/>
          </a:xfrm>
          <a:prstGeom prst="rect">
            <a:avLst/>
          </a:prstGeom>
          <a:noFill/>
        </p:spPr>
        <p:txBody>
          <a:bodyPr wrap="square">
            <a:spAutoFit/>
          </a:bodyPr>
          <a:lstStyle>
            <a:defPPr>
              <a:defRPr lang="en-US"/>
            </a:defPPr>
            <a:lvl1pPr algn="r" eaLnBrk="0" hangingPunct="0">
              <a:defRPr sz="1400" kern="0"/>
            </a:lvl1pP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n-US" altLang="en-US" sz="1400" b="0" i="0" u="none" strike="noStrike" kern="0" cap="none" spc="0" normalizeH="0" baseline="0" noProof="0" dirty="0">
                <a:ln>
                  <a:noFill/>
                </a:ln>
                <a:solidFill>
                  <a:prstClr val="black"/>
                </a:solidFill>
                <a:effectLst/>
                <a:uLnTx/>
                <a:uFillTx/>
                <a:latin typeface="Jost"/>
                <a:ea typeface="+mn-ea"/>
                <a:cs typeface="+mn-cs"/>
              </a:rPr>
              <a:t>English Speaking Africa</a:t>
            </a:r>
          </a:p>
        </p:txBody>
      </p:sp>
      <p:pic>
        <p:nvPicPr>
          <p:cNvPr id="20" name="Graphic 19">
            <a:extLst>
              <a:ext uri="{FF2B5EF4-FFF2-40B4-BE49-F238E27FC236}">
                <a16:creationId xmlns:a16="http://schemas.microsoft.com/office/drawing/2014/main" id="{A66119E1-EECF-FBB4-08FA-B09C96EBD0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87808" y="1510528"/>
            <a:ext cx="640080" cy="640080"/>
          </a:xfrm>
          <a:prstGeom prst="rect">
            <a:avLst/>
          </a:prstGeom>
        </p:spPr>
      </p:pic>
      <p:pic>
        <p:nvPicPr>
          <p:cNvPr id="22" name="Graphic 21">
            <a:extLst>
              <a:ext uri="{FF2B5EF4-FFF2-40B4-BE49-F238E27FC236}">
                <a16:creationId xmlns:a16="http://schemas.microsoft.com/office/drawing/2014/main" id="{D2DEDD73-C4F3-59CD-EC19-6EDAEF84A6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62768" y="1524081"/>
            <a:ext cx="640080" cy="640080"/>
          </a:xfrm>
          <a:prstGeom prst="rect">
            <a:avLst/>
          </a:prstGeom>
        </p:spPr>
      </p:pic>
      <p:grpSp>
        <p:nvGrpSpPr>
          <p:cNvPr id="72" name="Group 71">
            <a:extLst>
              <a:ext uri="{FF2B5EF4-FFF2-40B4-BE49-F238E27FC236}">
                <a16:creationId xmlns:a16="http://schemas.microsoft.com/office/drawing/2014/main" id="{17180F29-2EE3-9C14-6238-EB91CFE637E4}"/>
              </a:ext>
            </a:extLst>
          </p:cNvPr>
          <p:cNvGrpSpPr/>
          <p:nvPr/>
        </p:nvGrpSpPr>
        <p:grpSpPr>
          <a:xfrm>
            <a:off x="1426818" y="2294929"/>
            <a:ext cx="2246279" cy="805912"/>
            <a:chOff x="1101355" y="2294929"/>
            <a:chExt cx="2246279" cy="805912"/>
          </a:xfrm>
        </p:grpSpPr>
        <p:sp>
          <p:nvSpPr>
            <p:cNvPr id="7" name="Rectangle: Rounded Corners 6">
              <a:extLst>
                <a:ext uri="{FF2B5EF4-FFF2-40B4-BE49-F238E27FC236}">
                  <a16:creationId xmlns:a16="http://schemas.microsoft.com/office/drawing/2014/main" id="{146AF51D-CDA3-248B-402F-E2BB1FF36158}"/>
                </a:ext>
              </a:extLst>
            </p:cNvPr>
            <p:cNvSpPr/>
            <p:nvPr/>
          </p:nvSpPr>
          <p:spPr>
            <a:xfrm>
              <a:off x="1101355" y="2294929"/>
              <a:ext cx="2246279" cy="805912"/>
            </a:xfrm>
            <a:prstGeom prst="roundRect">
              <a:avLst/>
            </a:prstGeom>
            <a:solidFill>
              <a:schemeClr val="accent6"/>
            </a:solidFill>
            <a:ln>
              <a:noFill/>
            </a:ln>
            <a:effectLst>
              <a:outerShdw blurRad="381000" dist="38100" dir="5400000" algn="t" rotWithShape="0">
                <a:schemeClr val="accent6">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31" name="TextBox 30">
              <a:extLst>
                <a:ext uri="{FF2B5EF4-FFF2-40B4-BE49-F238E27FC236}">
                  <a16:creationId xmlns:a16="http://schemas.microsoft.com/office/drawing/2014/main" id="{5454EE8F-E2D2-AF87-F3E4-0EF10B9604A3}"/>
                </a:ext>
              </a:extLst>
            </p:cNvPr>
            <p:cNvSpPr txBox="1"/>
            <p:nvPr/>
          </p:nvSpPr>
          <p:spPr>
            <a:xfrm>
              <a:off x="1478639" y="2528608"/>
              <a:ext cx="149171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altLang="pt-PT" sz="1600" b="1" i="0" u="none" strike="noStrike" kern="1200" cap="none" spc="0" normalizeH="0" baseline="0" noProof="0" dirty="0">
                  <a:ln>
                    <a:noFill/>
                  </a:ln>
                  <a:solidFill>
                    <a:prstClr val="white"/>
                  </a:solidFill>
                  <a:effectLst/>
                  <a:uLnTx/>
                  <a:uFillTx/>
                  <a:latin typeface="Jost ExtraBold"/>
                  <a:ea typeface="+mn-ea"/>
                  <a:cs typeface="+mn-cs"/>
                </a:rPr>
                <a:t>Public Price</a:t>
              </a:r>
              <a:endParaRPr kumimoji="0" lang="en-US" altLang="pt-PT" sz="1600" b="1" i="1" u="none" strike="noStrike" kern="1200" cap="none" spc="0" normalizeH="0" baseline="0" noProof="0" dirty="0">
                <a:ln>
                  <a:noFill/>
                </a:ln>
                <a:solidFill>
                  <a:prstClr val="white"/>
                </a:solidFill>
                <a:effectLst/>
                <a:uLnTx/>
                <a:uFillTx/>
                <a:latin typeface="Jost ExtraBold"/>
                <a:ea typeface="+mn-ea"/>
                <a:cs typeface="+mn-cs"/>
              </a:endParaRPr>
            </a:p>
          </p:txBody>
        </p:sp>
      </p:grpSp>
      <p:grpSp>
        <p:nvGrpSpPr>
          <p:cNvPr id="71" name="Group 70">
            <a:extLst>
              <a:ext uri="{FF2B5EF4-FFF2-40B4-BE49-F238E27FC236}">
                <a16:creationId xmlns:a16="http://schemas.microsoft.com/office/drawing/2014/main" id="{9FCCF29F-704A-FD93-19DF-BDFF0AEA1DE9}"/>
              </a:ext>
            </a:extLst>
          </p:cNvPr>
          <p:cNvGrpSpPr/>
          <p:nvPr/>
        </p:nvGrpSpPr>
        <p:grpSpPr>
          <a:xfrm>
            <a:off x="1426818" y="3295884"/>
            <a:ext cx="2246279" cy="805912"/>
            <a:chOff x="1101355" y="3295884"/>
            <a:chExt cx="2246279" cy="805912"/>
          </a:xfrm>
        </p:grpSpPr>
        <p:sp>
          <p:nvSpPr>
            <p:cNvPr id="11" name="Rectangle: Rounded Corners 10">
              <a:extLst>
                <a:ext uri="{FF2B5EF4-FFF2-40B4-BE49-F238E27FC236}">
                  <a16:creationId xmlns:a16="http://schemas.microsoft.com/office/drawing/2014/main" id="{550F718D-9A57-1D15-9C0E-7D0379EA2209}"/>
                </a:ext>
              </a:extLst>
            </p:cNvPr>
            <p:cNvSpPr/>
            <p:nvPr/>
          </p:nvSpPr>
          <p:spPr>
            <a:xfrm>
              <a:off x="1101355" y="3295884"/>
              <a:ext cx="2246279" cy="805912"/>
            </a:xfrm>
            <a:prstGeom prst="roundRect">
              <a:avLst/>
            </a:prstGeom>
            <a:solidFill>
              <a:schemeClr val="accent6"/>
            </a:solidFill>
            <a:ln>
              <a:noFill/>
            </a:ln>
            <a:effectLst>
              <a:outerShdw blurRad="381000" dist="38100" dir="5400000" algn="t" rotWithShape="0">
                <a:schemeClr val="accent6">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33" name="TextBox 32">
              <a:extLst>
                <a:ext uri="{FF2B5EF4-FFF2-40B4-BE49-F238E27FC236}">
                  <a16:creationId xmlns:a16="http://schemas.microsoft.com/office/drawing/2014/main" id="{41D65AA7-EC03-35FC-B680-A94ACC2D4EBF}"/>
                </a:ext>
              </a:extLst>
            </p:cNvPr>
            <p:cNvSpPr txBox="1"/>
            <p:nvPr/>
          </p:nvSpPr>
          <p:spPr>
            <a:xfrm>
              <a:off x="1478639" y="3406453"/>
              <a:ext cx="1491711" cy="584775"/>
            </a:xfrm>
            <a:prstGeom prst="rect">
              <a:avLst/>
            </a:prstGeom>
            <a:noFill/>
          </p:spPr>
          <p:txBody>
            <a:bodyPr wrap="square">
              <a:spAutoFit/>
            </a:bodyPr>
            <a:lstStyle>
              <a:defPPr>
                <a:defRPr lang="en-US"/>
              </a:defPPr>
              <a:lvl1pPr>
                <a:spcAft>
                  <a:spcPts val="1000"/>
                </a:spcAft>
                <a:defRPr sz="1600" b="1">
                  <a:solidFill>
                    <a:schemeClr val="bg1"/>
                  </a:solidFill>
                  <a:latin typeface="+mj-lt"/>
                </a:defRPr>
              </a:lvl1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altLang="pt-PT" sz="1600" b="1" i="0" u="none" strike="noStrike" kern="1200" cap="none" spc="0" normalizeH="0" baseline="0" noProof="0" dirty="0">
                  <a:ln>
                    <a:noFill/>
                  </a:ln>
                  <a:solidFill>
                    <a:prstClr val="white"/>
                  </a:solidFill>
                  <a:effectLst/>
                  <a:uLnTx/>
                  <a:uFillTx/>
                  <a:latin typeface="Jost ExtraBold"/>
                  <a:ea typeface="+mn-ea"/>
                  <a:cs typeface="+mn-cs"/>
                </a:rPr>
                <a:t>Price Markups</a:t>
              </a:r>
            </a:p>
          </p:txBody>
        </p:sp>
      </p:grpSp>
      <p:grpSp>
        <p:nvGrpSpPr>
          <p:cNvPr id="70" name="Group 69">
            <a:extLst>
              <a:ext uri="{FF2B5EF4-FFF2-40B4-BE49-F238E27FC236}">
                <a16:creationId xmlns:a16="http://schemas.microsoft.com/office/drawing/2014/main" id="{EE1F5B01-123D-2705-74C3-E4073DF677F5}"/>
              </a:ext>
            </a:extLst>
          </p:cNvPr>
          <p:cNvGrpSpPr/>
          <p:nvPr/>
        </p:nvGrpSpPr>
        <p:grpSpPr>
          <a:xfrm>
            <a:off x="1423581" y="4296839"/>
            <a:ext cx="2246279" cy="805912"/>
            <a:chOff x="1098118" y="4296839"/>
            <a:chExt cx="2246279" cy="805912"/>
          </a:xfrm>
        </p:grpSpPr>
        <p:sp>
          <p:nvSpPr>
            <p:cNvPr id="12" name="Rectangle: Rounded Corners 11">
              <a:extLst>
                <a:ext uri="{FF2B5EF4-FFF2-40B4-BE49-F238E27FC236}">
                  <a16:creationId xmlns:a16="http://schemas.microsoft.com/office/drawing/2014/main" id="{DB20A941-317A-57F3-6E73-BC30E448CAB0}"/>
                </a:ext>
              </a:extLst>
            </p:cNvPr>
            <p:cNvSpPr/>
            <p:nvPr/>
          </p:nvSpPr>
          <p:spPr>
            <a:xfrm>
              <a:off x="1098118" y="4296839"/>
              <a:ext cx="2246279" cy="805912"/>
            </a:xfrm>
            <a:prstGeom prst="roundRect">
              <a:avLst/>
            </a:prstGeom>
            <a:solidFill>
              <a:schemeClr val="accent6"/>
            </a:solidFill>
            <a:ln>
              <a:noFill/>
            </a:ln>
            <a:effectLst>
              <a:outerShdw blurRad="381000" dist="38100" dir="5400000" algn="t" rotWithShape="0">
                <a:schemeClr val="accent6">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35" name="TextBox 34">
              <a:extLst>
                <a:ext uri="{FF2B5EF4-FFF2-40B4-BE49-F238E27FC236}">
                  <a16:creationId xmlns:a16="http://schemas.microsoft.com/office/drawing/2014/main" id="{054D8CA1-8940-D73F-9912-7C5303E72F67}"/>
                </a:ext>
              </a:extLst>
            </p:cNvPr>
            <p:cNvSpPr txBox="1"/>
            <p:nvPr/>
          </p:nvSpPr>
          <p:spPr>
            <a:xfrm>
              <a:off x="1098118" y="4407408"/>
              <a:ext cx="2246279" cy="584775"/>
            </a:xfrm>
            <a:prstGeom prst="rect">
              <a:avLst/>
            </a:prstGeom>
            <a:noFill/>
          </p:spPr>
          <p:txBody>
            <a:bodyPr wrap="square">
              <a:spAutoFit/>
            </a:bodyPr>
            <a:lstStyle>
              <a:defPPr>
                <a:defRPr lang="en-US"/>
              </a:defPPr>
              <a:lvl1pPr>
                <a:spcAft>
                  <a:spcPts val="1000"/>
                </a:spcAft>
                <a:defRPr sz="1600" b="1">
                  <a:solidFill>
                    <a:schemeClr val="bg1"/>
                  </a:solidFill>
                  <a:latin typeface="+mj-lt"/>
                </a:defRPr>
              </a:lvl1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altLang="pt-PT" sz="1600" b="1" i="0" u="none" strike="noStrike" kern="1200" cap="none" spc="0" normalizeH="0" baseline="0" noProof="0" dirty="0">
                  <a:ln>
                    <a:noFill/>
                  </a:ln>
                  <a:solidFill>
                    <a:prstClr val="white"/>
                  </a:solidFill>
                  <a:effectLst/>
                  <a:uLnTx/>
                  <a:uFillTx/>
                  <a:latin typeface="Jost ExtraBold"/>
                  <a:ea typeface="+mn-ea"/>
                  <a:cs typeface="+mn-cs"/>
                </a:rPr>
                <a:t>Wholesalers Stock Holding obligations</a:t>
              </a:r>
            </a:p>
          </p:txBody>
        </p:sp>
      </p:grpSp>
      <p:grpSp>
        <p:nvGrpSpPr>
          <p:cNvPr id="69" name="Group 68">
            <a:extLst>
              <a:ext uri="{FF2B5EF4-FFF2-40B4-BE49-F238E27FC236}">
                <a16:creationId xmlns:a16="http://schemas.microsoft.com/office/drawing/2014/main" id="{F829084E-DE62-7184-A2B2-D0B47C678535}"/>
              </a:ext>
            </a:extLst>
          </p:cNvPr>
          <p:cNvGrpSpPr/>
          <p:nvPr/>
        </p:nvGrpSpPr>
        <p:grpSpPr>
          <a:xfrm>
            <a:off x="1426818" y="5297793"/>
            <a:ext cx="2246279" cy="805912"/>
            <a:chOff x="1101355" y="5297793"/>
            <a:chExt cx="2246279" cy="805912"/>
          </a:xfrm>
        </p:grpSpPr>
        <p:sp>
          <p:nvSpPr>
            <p:cNvPr id="13" name="Rectangle: Rounded Corners 12">
              <a:extLst>
                <a:ext uri="{FF2B5EF4-FFF2-40B4-BE49-F238E27FC236}">
                  <a16:creationId xmlns:a16="http://schemas.microsoft.com/office/drawing/2014/main" id="{611AFA63-6EC6-E43C-6481-DC3C5379E300}"/>
                </a:ext>
              </a:extLst>
            </p:cNvPr>
            <p:cNvSpPr/>
            <p:nvPr/>
          </p:nvSpPr>
          <p:spPr>
            <a:xfrm>
              <a:off x="1101355" y="5297793"/>
              <a:ext cx="2246279" cy="805912"/>
            </a:xfrm>
            <a:prstGeom prst="roundRect">
              <a:avLst/>
            </a:prstGeom>
            <a:solidFill>
              <a:schemeClr val="accent6"/>
            </a:solidFill>
            <a:ln>
              <a:noFill/>
            </a:ln>
            <a:effectLst>
              <a:outerShdw blurRad="381000" dist="38100" dir="5400000" algn="t" rotWithShape="0">
                <a:schemeClr val="accent6">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37" name="TextBox 36">
              <a:extLst>
                <a:ext uri="{FF2B5EF4-FFF2-40B4-BE49-F238E27FC236}">
                  <a16:creationId xmlns:a16="http://schemas.microsoft.com/office/drawing/2014/main" id="{7C117C65-4C94-802F-598E-4949E0B4981E}"/>
                </a:ext>
              </a:extLst>
            </p:cNvPr>
            <p:cNvSpPr txBox="1"/>
            <p:nvPr/>
          </p:nvSpPr>
          <p:spPr>
            <a:xfrm>
              <a:off x="1203705" y="5531472"/>
              <a:ext cx="2041578" cy="338554"/>
            </a:xfrm>
            <a:prstGeom prst="rect">
              <a:avLst/>
            </a:prstGeom>
            <a:noFill/>
          </p:spPr>
          <p:txBody>
            <a:bodyPr wrap="square">
              <a:spAutoFit/>
            </a:bodyPr>
            <a:lstStyle>
              <a:defPPr>
                <a:defRPr lang="en-US"/>
              </a:defPPr>
              <a:lvl1pPr>
                <a:spcAft>
                  <a:spcPts val="1000"/>
                </a:spcAft>
                <a:defRPr sz="1600" b="1">
                  <a:solidFill>
                    <a:schemeClr val="bg1"/>
                  </a:solidFill>
                  <a:latin typeface="+mj-lt"/>
                </a:defRPr>
              </a:lvl1p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altLang="pt-PT" sz="1600" b="1" i="0" u="none" strike="noStrike" kern="1200" cap="none" spc="0" normalizeH="0" baseline="0" noProof="0" dirty="0">
                  <a:ln>
                    <a:noFill/>
                  </a:ln>
                  <a:solidFill>
                    <a:prstClr val="white"/>
                  </a:solidFill>
                  <a:effectLst/>
                  <a:uLnTx/>
                  <a:uFillTx/>
                  <a:latin typeface="Jost ExtraBold"/>
                  <a:ea typeface="+mn-ea"/>
                  <a:cs typeface="+mn-cs"/>
                </a:rPr>
                <a:t>Distribution model</a:t>
              </a:r>
            </a:p>
          </p:txBody>
        </p:sp>
      </p:grpSp>
      <p:grpSp>
        <p:nvGrpSpPr>
          <p:cNvPr id="54" name="Group 53">
            <a:extLst>
              <a:ext uri="{FF2B5EF4-FFF2-40B4-BE49-F238E27FC236}">
                <a16:creationId xmlns:a16="http://schemas.microsoft.com/office/drawing/2014/main" id="{8B82B5BD-7594-9249-7C71-093076268B9F}"/>
              </a:ext>
            </a:extLst>
          </p:cNvPr>
          <p:cNvGrpSpPr/>
          <p:nvPr/>
        </p:nvGrpSpPr>
        <p:grpSpPr>
          <a:xfrm>
            <a:off x="4151609" y="2405354"/>
            <a:ext cx="2233694" cy="585062"/>
            <a:chOff x="4151609" y="2405354"/>
            <a:chExt cx="2233694" cy="585062"/>
          </a:xfrm>
        </p:grpSpPr>
        <p:sp>
          <p:nvSpPr>
            <p:cNvPr id="18" name="Rectangle: Rounded Corners 17">
              <a:extLst>
                <a:ext uri="{FF2B5EF4-FFF2-40B4-BE49-F238E27FC236}">
                  <a16:creationId xmlns:a16="http://schemas.microsoft.com/office/drawing/2014/main" id="{59FF1B3E-6633-6E37-2534-983E260EE845}"/>
                </a:ext>
              </a:extLst>
            </p:cNvPr>
            <p:cNvSpPr/>
            <p:nvPr/>
          </p:nvSpPr>
          <p:spPr>
            <a:xfrm>
              <a:off x="4151609" y="2405354"/>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39" name="TextBox 38">
              <a:extLst>
                <a:ext uri="{FF2B5EF4-FFF2-40B4-BE49-F238E27FC236}">
                  <a16:creationId xmlns:a16="http://schemas.microsoft.com/office/drawing/2014/main" id="{CC1345E1-0C04-4D00-7BB7-D41CD2E3CA1A}"/>
                </a:ext>
              </a:extLst>
            </p:cNvPr>
            <p:cNvSpPr txBox="1"/>
            <p:nvPr/>
          </p:nvSpPr>
          <p:spPr>
            <a:xfrm>
              <a:off x="4228133" y="2543997"/>
              <a:ext cx="208064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Price Recommended</a:t>
              </a:r>
            </a:p>
          </p:txBody>
        </p:sp>
      </p:grpSp>
      <p:grpSp>
        <p:nvGrpSpPr>
          <p:cNvPr id="55" name="Group 54">
            <a:extLst>
              <a:ext uri="{FF2B5EF4-FFF2-40B4-BE49-F238E27FC236}">
                <a16:creationId xmlns:a16="http://schemas.microsoft.com/office/drawing/2014/main" id="{EC6EEB73-BCB6-806D-E0E9-8A8C8320117A}"/>
              </a:ext>
            </a:extLst>
          </p:cNvPr>
          <p:cNvGrpSpPr/>
          <p:nvPr/>
        </p:nvGrpSpPr>
        <p:grpSpPr>
          <a:xfrm>
            <a:off x="4151609" y="3406309"/>
            <a:ext cx="2233694" cy="585062"/>
            <a:chOff x="4151609" y="3406309"/>
            <a:chExt cx="2233694" cy="585062"/>
          </a:xfrm>
        </p:grpSpPr>
        <p:sp>
          <p:nvSpPr>
            <p:cNvPr id="24" name="Rectangle: Rounded Corners 23">
              <a:extLst>
                <a:ext uri="{FF2B5EF4-FFF2-40B4-BE49-F238E27FC236}">
                  <a16:creationId xmlns:a16="http://schemas.microsoft.com/office/drawing/2014/main" id="{08278141-8ED6-ACB0-984E-675194D26EF1}"/>
                </a:ext>
              </a:extLst>
            </p:cNvPr>
            <p:cNvSpPr/>
            <p:nvPr/>
          </p:nvSpPr>
          <p:spPr>
            <a:xfrm>
              <a:off x="4151609" y="3406309"/>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41" name="TextBox 40">
              <a:extLst>
                <a:ext uri="{FF2B5EF4-FFF2-40B4-BE49-F238E27FC236}">
                  <a16:creationId xmlns:a16="http://schemas.microsoft.com/office/drawing/2014/main" id="{C77A1C81-3D5E-ABD9-02B9-B427246A3405}"/>
                </a:ext>
              </a:extLst>
            </p:cNvPr>
            <p:cNvSpPr txBox="1"/>
            <p:nvPr/>
          </p:nvSpPr>
          <p:spPr>
            <a:xfrm>
              <a:off x="4343079" y="3540639"/>
              <a:ext cx="1850755" cy="316402"/>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Mark-up regulated </a:t>
              </a:r>
            </a:p>
          </p:txBody>
        </p:sp>
      </p:grpSp>
      <p:grpSp>
        <p:nvGrpSpPr>
          <p:cNvPr id="56" name="Group 55">
            <a:extLst>
              <a:ext uri="{FF2B5EF4-FFF2-40B4-BE49-F238E27FC236}">
                <a16:creationId xmlns:a16="http://schemas.microsoft.com/office/drawing/2014/main" id="{92FA1AFF-80B1-C41C-D2DB-38CEDCF605E4}"/>
              </a:ext>
            </a:extLst>
          </p:cNvPr>
          <p:cNvGrpSpPr/>
          <p:nvPr/>
        </p:nvGrpSpPr>
        <p:grpSpPr>
          <a:xfrm>
            <a:off x="4151609" y="4407264"/>
            <a:ext cx="2233694" cy="585062"/>
            <a:chOff x="4151609" y="4407264"/>
            <a:chExt cx="2233694" cy="585062"/>
          </a:xfrm>
        </p:grpSpPr>
        <p:sp>
          <p:nvSpPr>
            <p:cNvPr id="25" name="Rectangle: Rounded Corners 24">
              <a:extLst>
                <a:ext uri="{FF2B5EF4-FFF2-40B4-BE49-F238E27FC236}">
                  <a16:creationId xmlns:a16="http://schemas.microsoft.com/office/drawing/2014/main" id="{8C75F456-1182-341B-DA65-933EC282F770}"/>
                </a:ext>
              </a:extLst>
            </p:cNvPr>
            <p:cNvSpPr/>
            <p:nvPr/>
          </p:nvSpPr>
          <p:spPr>
            <a:xfrm>
              <a:off x="4151609" y="4407264"/>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43" name="TextBox 42">
              <a:extLst>
                <a:ext uri="{FF2B5EF4-FFF2-40B4-BE49-F238E27FC236}">
                  <a16:creationId xmlns:a16="http://schemas.microsoft.com/office/drawing/2014/main" id="{177CE6C7-E7C1-0CB6-B8F6-4E76798C7559}"/>
                </a:ext>
              </a:extLst>
            </p:cNvPr>
            <p:cNvSpPr txBox="1"/>
            <p:nvPr/>
          </p:nvSpPr>
          <p:spPr>
            <a:xfrm>
              <a:off x="4343079" y="4438185"/>
              <a:ext cx="1850754" cy="523220"/>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80% of all registered SKUs </a:t>
              </a:r>
            </a:p>
          </p:txBody>
        </p:sp>
      </p:grpSp>
      <p:grpSp>
        <p:nvGrpSpPr>
          <p:cNvPr id="57" name="Group 56">
            <a:extLst>
              <a:ext uri="{FF2B5EF4-FFF2-40B4-BE49-F238E27FC236}">
                <a16:creationId xmlns:a16="http://schemas.microsoft.com/office/drawing/2014/main" id="{AA7D3B0F-08E0-149F-32C7-4C5578806C03}"/>
              </a:ext>
            </a:extLst>
          </p:cNvPr>
          <p:cNvGrpSpPr/>
          <p:nvPr/>
        </p:nvGrpSpPr>
        <p:grpSpPr>
          <a:xfrm>
            <a:off x="4151609" y="5408218"/>
            <a:ext cx="2233694" cy="585062"/>
            <a:chOff x="4151609" y="5408218"/>
            <a:chExt cx="2233694" cy="585062"/>
          </a:xfrm>
        </p:grpSpPr>
        <p:sp>
          <p:nvSpPr>
            <p:cNvPr id="26" name="Rectangle: Rounded Corners 25">
              <a:extLst>
                <a:ext uri="{FF2B5EF4-FFF2-40B4-BE49-F238E27FC236}">
                  <a16:creationId xmlns:a16="http://schemas.microsoft.com/office/drawing/2014/main" id="{1100F75B-E842-F63A-DAD2-3AA946253C8F}"/>
                </a:ext>
              </a:extLst>
            </p:cNvPr>
            <p:cNvSpPr/>
            <p:nvPr/>
          </p:nvSpPr>
          <p:spPr>
            <a:xfrm>
              <a:off x="4151609" y="5408218"/>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45" name="TextBox 44">
              <a:extLst>
                <a:ext uri="{FF2B5EF4-FFF2-40B4-BE49-F238E27FC236}">
                  <a16:creationId xmlns:a16="http://schemas.microsoft.com/office/drawing/2014/main" id="{970E236C-4029-207E-7D05-6D539BE4B93C}"/>
                </a:ext>
              </a:extLst>
            </p:cNvPr>
            <p:cNvSpPr txBox="1"/>
            <p:nvPr/>
          </p:nvSpPr>
          <p:spPr>
            <a:xfrm>
              <a:off x="4256255" y="5546861"/>
              <a:ext cx="2024403" cy="307777"/>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Central Purchasing </a:t>
              </a:r>
            </a:p>
          </p:txBody>
        </p:sp>
      </p:grpSp>
      <p:grpSp>
        <p:nvGrpSpPr>
          <p:cNvPr id="58" name="Group 57">
            <a:extLst>
              <a:ext uri="{FF2B5EF4-FFF2-40B4-BE49-F238E27FC236}">
                <a16:creationId xmlns:a16="http://schemas.microsoft.com/office/drawing/2014/main" id="{34E25273-C282-5894-0055-2E10CCBFC521}"/>
              </a:ext>
            </a:extLst>
          </p:cNvPr>
          <p:cNvGrpSpPr/>
          <p:nvPr/>
        </p:nvGrpSpPr>
        <p:grpSpPr>
          <a:xfrm>
            <a:off x="6907724" y="2405354"/>
            <a:ext cx="2233694" cy="585062"/>
            <a:chOff x="6907724" y="2405354"/>
            <a:chExt cx="2233694" cy="585062"/>
          </a:xfrm>
        </p:grpSpPr>
        <p:sp>
          <p:nvSpPr>
            <p:cNvPr id="23" name="Rectangle: Rounded Corners 22">
              <a:extLst>
                <a:ext uri="{FF2B5EF4-FFF2-40B4-BE49-F238E27FC236}">
                  <a16:creationId xmlns:a16="http://schemas.microsoft.com/office/drawing/2014/main" id="{4D942D42-94B6-2E72-B58B-B7ED1A0D43DC}"/>
                </a:ext>
              </a:extLst>
            </p:cNvPr>
            <p:cNvSpPr/>
            <p:nvPr/>
          </p:nvSpPr>
          <p:spPr>
            <a:xfrm>
              <a:off x="6907724" y="2405354"/>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47" name="TextBox 46">
              <a:extLst>
                <a:ext uri="{FF2B5EF4-FFF2-40B4-BE49-F238E27FC236}">
                  <a16:creationId xmlns:a16="http://schemas.microsoft.com/office/drawing/2014/main" id="{236C6C4F-58D7-7E7C-F9CE-37C060E780B2}"/>
                </a:ext>
              </a:extLst>
            </p:cNvPr>
            <p:cNvSpPr txBox="1"/>
            <p:nvPr/>
          </p:nvSpPr>
          <p:spPr>
            <a:xfrm>
              <a:off x="7346199" y="2543997"/>
              <a:ext cx="1356745" cy="307777"/>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Free Pricing</a:t>
              </a:r>
            </a:p>
          </p:txBody>
        </p:sp>
      </p:grpSp>
      <p:grpSp>
        <p:nvGrpSpPr>
          <p:cNvPr id="59" name="Group 58">
            <a:extLst>
              <a:ext uri="{FF2B5EF4-FFF2-40B4-BE49-F238E27FC236}">
                <a16:creationId xmlns:a16="http://schemas.microsoft.com/office/drawing/2014/main" id="{6E53C151-533C-84DC-BA9E-5823559F0C76}"/>
              </a:ext>
            </a:extLst>
          </p:cNvPr>
          <p:cNvGrpSpPr/>
          <p:nvPr/>
        </p:nvGrpSpPr>
        <p:grpSpPr>
          <a:xfrm>
            <a:off x="6907724" y="3406309"/>
            <a:ext cx="2233694" cy="585062"/>
            <a:chOff x="6907724" y="3406309"/>
            <a:chExt cx="2233694" cy="585062"/>
          </a:xfrm>
        </p:grpSpPr>
        <p:sp>
          <p:nvSpPr>
            <p:cNvPr id="27" name="Rectangle: Rounded Corners 26">
              <a:extLst>
                <a:ext uri="{FF2B5EF4-FFF2-40B4-BE49-F238E27FC236}">
                  <a16:creationId xmlns:a16="http://schemas.microsoft.com/office/drawing/2014/main" id="{0A41BF9A-0FD9-CC34-EB85-8ABE5D6FE170}"/>
                </a:ext>
              </a:extLst>
            </p:cNvPr>
            <p:cNvSpPr/>
            <p:nvPr/>
          </p:nvSpPr>
          <p:spPr>
            <a:xfrm>
              <a:off x="6907724" y="3406309"/>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Jost"/>
                <a:ea typeface="+mn-ea"/>
                <a:cs typeface="+mn-cs"/>
              </a:endParaRPr>
            </a:p>
          </p:txBody>
        </p:sp>
        <p:sp>
          <p:nvSpPr>
            <p:cNvPr id="49" name="TextBox 48">
              <a:extLst>
                <a:ext uri="{FF2B5EF4-FFF2-40B4-BE49-F238E27FC236}">
                  <a16:creationId xmlns:a16="http://schemas.microsoft.com/office/drawing/2014/main" id="{97D90DD1-AC59-886A-C622-1C7C2723B820}"/>
                </a:ext>
              </a:extLst>
            </p:cNvPr>
            <p:cNvSpPr txBox="1"/>
            <p:nvPr/>
          </p:nvSpPr>
          <p:spPr>
            <a:xfrm>
              <a:off x="7278716" y="3544952"/>
              <a:ext cx="1491711" cy="307777"/>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Market driven</a:t>
              </a:r>
            </a:p>
          </p:txBody>
        </p:sp>
      </p:grpSp>
      <p:grpSp>
        <p:nvGrpSpPr>
          <p:cNvPr id="60" name="Group 59">
            <a:extLst>
              <a:ext uri="{FF2B5EF4-FFF2-40B4-BE49-F238E27FC236}">
                <a16:creationId xmlns:a16="http://schemas.microsoft.com/office/drawing/2014/main" id="{9034E288-5E3F-7927-3AA0-C76DB1667A5C}"/>
              </a:ext>
            </a:extLst>
          </p:cNvPr>
          <p:cNvGrpSpPr/>
          <p:nvPr/>
        </p:nvGrpSpPr>
        <p:grpSpPr>
          <a:xfrm>
            <a:off x="6907724" y="4407264"/>
            <a:ext cx="2233694" cy="585062"/>
            <a:chOff x="6907724" y="4407264"/>
            <a:chExt cx="2233694" cy="585062"/>
          </a:xfrm>
        </p:grpSpPr>
        <p:sp>
          <p:nvSpPr>
            <p:cNvPr id="28" name="Rectangle: Rounded Corners 27">
              <a:extLst>
                <a:ext uri="{FF2B5EF4-FFF2-40B4-BE49-F238E27FC236}">
                  <a16:creationId xmlns:a16="http://schemas.microsoft.com/office/drawing/2014/main" id="{66AF3BDA-C3F9-440B-841E-0A7DFCCD92B7}"/>
                </a:ext>
              </a:extLst>
            </p:cNvPr>
            <p:cNvSpPr/>
            <p:nvPr/>
          </p:nvSpPr>
          <p:spPr>
            <a:xfrm>
              <a:off x="6907724" y="4407264"/>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Jost"/>
                <a:ea typeface="+mn-ea"/>
                <a:cs typeface="+mn-cs"/>
              </a:endParaRPr>
            </a:p>
          </p:txBody>
        </p:sp>
        <p:sp>
          <p:nvSpPr>
            <p:cNvPr id="51" name="TextBox 50">
              <a:extLst>
                <a:ext uri="{FF2B5EF4-FFF2-40B4-BE49-F238E27FC236}">
                  <a16:creationId xmlns:a16="http://schemas.microsoft.com/office/drawing/2014/main" id="{FB55B2DF-41E9-C8D2-B002-D64EE49F0BA4}"/>
                </a:ext>
              </a:extLst>
            </p:cNvPr>
            <p:cNvSpPr txBox="1"/>
            <p:nvPr/>
          </p:nvSpPr>
          <p:spPr>
            <a:xfrm>
              <a:off x="7501507" y="4545907"/>
              <a:ext cx="1046129" cy="307777"/>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None</a:t>
              </a:r>
            </a:p>
          </p:txBody>
        </p:sp>
      </p:grpSp>
      <p:grpSp>
        <p:nvGrpSpPr>
          <p:cNvPr id="61" name="Group 60">
            <a:extLst>
              <a:ext uri="{FF2B5EF4-FFF2-40B4-BE49-F238E27FC236}">
                <a16:creationId xmlns:a16="http://schemas.microsoft.com/office/drawing/2014/main" id="{730E42ED-3B30-BEA4-3E07-F1005F88C213}"/>
              </a:ext>
            </a:extLst>
          </p:cNvPr>
          <p:cNvGrpSpPr/>
          <p:nvPr/>
        </p:nvGrpSpPr>
        <p:grpSpPr>
          <a:xfrm>
            <a:off x="6907724" y="5408218"/>
            <a:ext cx="2233694" cy="585062"/>
            <a:chOff x="6907724" y="5408218"/>
            <a:chExt cx="2233694" cy="585062"/>
          </a:xfrm>
        </p:grpSpPr>
        <p:sp>
          <p:nvSpPr>
            <p:cNvPr id="29" name="Rectangle: Rounded Corners 28">
              <a:extLst>
                <a:ext uri="{FF2B5EF4-FFF2-40B4-BE49-F238E27FC236}">
                  <a16:creationId xmlns:a16="http://schemas.microsoft.com/office/drawing/2014/main" id="{F37AF07E-EEDE-237C-ACEA-32423C50FAE1}"/>
                </a:ext>
              </a:extLst>
            </p:cNvPr>
            <p:cNvSpPr/>
            <p:nvPr/>
          </p:nvSpPr>
          <p:spPr>
            <a:xfrm>
              <a:off x="6907724" y="5408218"/>
              <a:ext cx="2233694" cy="585062"/>
            </a:xfrm>
            <a:prstGeom prst="roundRect">
              <a:avLst/>
            </a:prstGeom>
            <a:solidFill>
              <a:schemeClr val="bg1">
                <a:lumMod val="95000"/>
              </a:schemeClr>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53" name="TextBox 52">
              <a:extLst>
                <a:ext uri="{FF2B5EF4-FFF2-40B4-BE49-F238E27FC236}">
                  <a16:creationId xmlns:a16="http://schemas.microsoft.com/office/drawing/2014/main" id="{FA7F464B-7EA0-DADB-8EF6-491F2EE1A10B}"/>
                </a:ext>
              </a:extLst>
            </p:cNvPr>
            <p:cNvSpPr txBox="1"/>
            <p:nvPr/>
          </p:nvSpPr>
          <p:spPr>
            <a:xfrm>
              <a:off x="7322497" y="5546861"/>
              <a:ext cx="1404148" cy="307777"/>
            </a:xfrm>
            <a:prstGeom prst="rect">
              <a:avLst/>
            </a:prstGeom>
            <a:noFill/>
          </p:spPr>
          <p:txBody>
            <a:bodyPr wrap="square">
              <a:spAutoFit/>
            </a:bodyPr>
            <a:lstStyle>
              <a:defPPr>
                <a:defRPr lang="en-US"/>
              </a:defPPr>
              <a:lvl1pPr algn="ctr">
                <a:defRPr sz="1400">
                  <a:solidFill>
                    <a:srgbClr val="000000"/>
                  </a:solidFil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Jost"/>
                  <a:ea typeface="+mn-ea"/>
                  <a:cs typeface="Arial"/>
                </a:rPr>
                <a:t>Direct Import</a:t>
              </a:r>
            </a:p>
          </p:txBody>
        </p:sp>
      </p:grpSp>
      <p:grpSp>
        <p:nvGrpSpPr>
          <p:cNvPr id="68" name="Group 67">
            <a:extLst>
              <a:ext uri="{FF2B5EF4-FFF2-40B4-BE49-F238E27FC236}">
                <a16:creationId xmlns:a16="http://schemas.microsoft.com/office/drawing/2014/main" id="{C87E20F2-E514-C4D0-7943-917642A686AB}"/>
              </a:ext>
            </a:extLst>
          </p:cNvPr>
          <p:cNvGrpSpPr/>
          <p:nvPr/>
        </p:nvGrpSpPr>
        <p:grpSpPr>
          <a:xfrm>
            <a:off x="6465980" y="2504230"/>
            <a:ext cx="379314" cy="3398732"/>
            <a:chOff x="6465980" y="2504230"/>
            <a:chExt cx="379314" cy="3398732"/>
          </a:xfrm>
        </p:grpSpPr>
        <p:sp>
          <p:nvSpPr>
            <p:cNvPr id="64" name="ZoneTexte 2">
              <a:extLst>
                <a:ext uri="{FF2B5EF4-FFF2-40B4-BE49-F238E27FC236}">
                  <a16:creationId xmlns:a16="http://schemas.microsoft.com/office/drawing/2014/main" id="{FFD65BC7-763F-4EFD-4C5E-041C5AEDC236}"/>
                </a:ext>
              </a:extLst>
            </p:cNvPr>
            <p:cNvSpPr txBox="1"/>
            <p:nvPr/>
          </p:nvSpPr>
          <p:spPr>
            <a:xfrm>
              <a:off x="6465980" y="2504230"/>
              <a:ext cx="322524" cy="369332"/>
            </a:xfrm>
            <a:prstGeom prst="rect">
              <a:avLst/>
            </a:prstGeom>
            <a:solidFill>
              <a:schemeClr val="bg1"/>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2AEF1"/>
                  </a:solidFill>
                  <a:effectLst/>
                  <a:uLnTx/>
                  <a:uFillTx/>
                  <a:latin typeface="Jost"/>
                  <a:ea typeface="+mn-ea"/>
                  <a:cs typeface="+mn-cs"/>
                </a:rPr>
                <a:t>≠</a:t>
              </a:r>
            </a:p>
          </p:txBody>
        </p:sp>
        <p:sp>
          <p:nvSpPr>
            <p:cNvPr id="65" name="ZoneTexte 2">
              <a:extLst>
                <a:ext uri="{FF2B5EF4-FFF2-40B4-BE49-F238E27FC236}">
                  <a16:creationId xmlns:a16="http://schemas.microsoft.com/office/drawing/2014/main" id="{21A3B292-2B82-186A-79C4-1FD5F74DB173}"/>
                </a:ext>
              </a:extLst>
            </p:cNvPr>
            <p:cNvSpPr txBox="1"/>
            <p:nvPr/>
          </p:nvSpPr>
          <p:spPr>
            <a:xfrm>
              <a:off x="6484910" y="3514030"/>
              <a:ext cx="322524" cy="369332"/>
            </a:xfrm>
            <a:prstGeom prst="rect">
              <a:avLst/>
            </a:prstGeom>
            <a:solidFill>
              <a:schemeClr val="bg1"/>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2AEF1"/>
                  </a:solidFill>
                  <a:effectLst/>
                  <a:uLnTx/>
                  <a:uFillTx/>
                  <a:latin typeface="Jost"/>
                  <a:ea typeface="+mn-ea"/>
                  <a:cs typeface="+mn-cs"/>
                </a:rPr>
                <a:t>≠</a:t>
              </a:r>
            </a:p>
          </p:txBody>
        </p:sp>
        <p:sp>
          <p:nvSpPr>
            <p:cNvPr id="66" name="ZoneTexte 2">
              <a:extLst>
                <a:ext uri="{FF2B5EF4-FFF2-40B4-BE49-F238E27FC236}">
                  <a16:creationId xmlns:a16="http://schemas.microsoft.com/office/drawing/2014/main" id="{FF1F926F-DD91-62D1-C585-0A0A43268D78}"/>
                </a:ext>
              </a:extLst>
            </p:cNvPr>
            <p:cNvSpPr txBox="1"/>
            <p:nvPr/>
          </p:nvSpPr>
          <p:spPr>
            <a:xfrm>
              <a:off x="6503840" y="4523830"/>
              <a:ext cx="322524" cy="369332"/>
            </a:xfrm>
            <a:prstGeom prst="rect">
              <a:avLst/>
            </a:prstGeom>
            <a:solidFill>
              <a:schemeClr val="bg1"/>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2AEF1"/>
                  </a:solidFill>
                  <a:effectLst/>
                  <a:uLnTx/>
                  <a:uFillTx/>
                  <a:latin typeface="Jost"/>
                  <a:ea typeface="+mn-ea"/>
                  <a:cs typeface="+mn-cs"/>
                </a:rPr>
                <a:t>≠</a:t>
              </a:r>
            </a:p>
          </p:txBody>
        </p:sp>
        <p:sp>
          <p:nvSpPr>
            <p:cNvPr id="67" name="ZoneTexte 2">
              <a:extLst>
                <a:ext uri="{FF2B5EF4-FFF2-40B4-BE49-F238E27FC236}">
                  <a16:creationId xmlns:a16="http://schemas.microsoft.com/office/drawing/2014/main" id="{9BEEC61D-B44B-290C-8362-87A86876D483}"/>
                </a:ext>
              </a:extLst>
            </p:cNvPr>
            <p:cNvSpPr txBox="1"/>
            <p:nvPr/>
          </p:nvSpPr>
          <p:spPr>
            <a:xfrm>
              <a:off x="6522770" y="5533630"/>
              <a:ext cx="322524" cy="369332"/>
            </a:xfrm>
            <a:prstGeom prst="rect">
              <a:avLst/>
            </a:prstGeom>
            <a:solidFill>
              <a:schemeClr val="bg1"/>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2AEF1"/>
                  </a:solidFill>
                  <a:effectLst/>
                  <a:uLnTx/>
                  <a:uFillTx/>
                  <a:latin typeface="Jost"/>
                  <a:ea typeface="+mn-ea"/>
                  <a:cs typeface="+mn-cs"/>
                </a:rPr>
                <a:t>≠</a:t>
              </a:r>
            </a:p>
          </p:txBody>
        </p:sp>
      </p:grpSp>
      <p:pic>
        <p:nvPicPr>
          <p:cNvPr id="76" name="Graphic 75">
            <a:extLst>
              <a:ext uri="{FF2B5EF4-FFF2-40B4-BE49-F238E27FC236}">
                <a16:creationId xmlns:a16="http://schemas.microsoft.com/office/drawing/2014/main" id="{236B85AB-3A59-CBE7-5FED-978DC912A7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5283" y="5520582"/>
            <a:ext cx="457200" cy="457200"/>
          </a:xfrm>
          <a:prstGeom prst="rect">
            <a:avLst/>
          </a:prstGeom>
        </p:spPr>
      </p:pic>
      <p:pic>
        <p:nvPicPr>
          <p:cNvPr id="78" name="Graphic 77">
            <a:extLst>
              <a:ext uri="{FF2B5EF4-FFF2-40B4-BE49-F238E27FC236}">
                <a16:creationId xmlns:a16="http://schemas.microsoft.com/office/drawing/2014/main" id="{8B897930-B138-7D26-6652-6C8FDF8694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5283" y="4488891"/>
            <a:ext cx="457200" cy="457200"/>
          </a:xfrm>
          <a:prstGeom prst="rect">
            <a:avLst/>
          </a:prstGeom>
        </p:spPr>
      </p:pic>
      <p:pic>
        <p:nvPicPr>
          <p:cNvPr id="80" name="Graphic 79">
            <a:extLst>
              <a:ext uri="{FF2B5EF4-FFF2-40B4-BE49-F238E27FC236}">
                <a16:creationId xmlns:a16="http://schemas.microsoft.com/office/drawing/2014/main" id="{8E59284C-058B-2B83-197F-364E373F95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5283" y="3429000"/>
            <a:ext cx="457200" cy="457200"/>
          </a:xfrm>
          <a:prstGeom prst="rect">
            <a:avLst/>
          </a:prstGeom>
        </p:spPr>
      </p:pic>
      <p:pic>
        <p:nvPicPr>
          <p:cNvPr id="82" name="Graphic 81">
            <a:extLst>
              <a:ext uri="{FF2B5EF4-FFF2-40B4-BE49-F238E27FC236}">
                <a16:creationId xmlns:a16="http://schemas.microsoft.com/office/drawing/2014/main" id="{2E6C19F5-F34F-6434-4CC1-43DBF178FEC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5283" y="2400322"/>
            <a:ext cx="457200" cy="457200"/>
          </a:xfrm>
          <a:prstGeom prst="rect">
            <a:avLst/>
          </a:prstGeom>
        </p:spPr>
      </p:pic>
      <p:sp>
        <p:nvSpPr>
          <p:cNvPr id="5" name="Rectangle 4">
            <a:extLst>
              <a:ext uri="{FF2B5EF4-FFF2-40B4-BE49-F238E27FC236}">
                <a16:creationId xmlns:a16="http://schemas.microsoft.com/office/drawing/2014/main" id="{15A9E598-6C3A-C686-C98E-97415DAEF46E}"/>
              </a:ext>
            </a:extLst>
          </p:cNvPr>
          <p:cNvSpPr/>
          <p:nvPr/>
        </p:nvSpPr>
        <p:spPr>
          <a:xfrm rot="2261073">
            <a:off x="5659102" y="6616370"/>
            <a:ext cx="2995708" cy="855198"/>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Tree>
    <p:extLst>
      <p:ext uri="{BB962C8B-B14F-4D97-AF65-F5344CB8AC3E}">
        <p14:creationId xmlns:p14="http://schemas.microsoft.com/office/powerpoint/2010/main" val="7893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53" presetClass="entr" presetSubtype="16" fill="hold" nodeType="withEffect">
                                  <p:stCondLst>
                                    <p:cond delay="200"/>
                                  </p:stCondLst>
                                  <p:childTnLst>
                                    <p:set>
                                      <p:cBhvr>
                                        <p:cTn id="10" dur="1" fill="hold">
                                          <p:stCondLst>
                                            <p:cond delay="0"/>
                                          </p:stCondLst>
                                        </p:cTn>
                                        <p:tgtEl>
                                          <p:spTgt spid="82"/>
                                        </p:tgtEl>
                                        <p:attrNameLst>
                                          <p:attrName>style.visibility</p:attrName>
                                        </p:attrNameLst>
                                      </p:cBhvr>
                                      <p:to>
                                        <p:strVal val="visible"/>
                                      </p:to>
                                    </p:set>
                                    <p:anim calcmode="lin" valueType="num">
                                      <p:cBhvr>
                                        <p:cTn id="11" dur="1000" fill="hold"/>
                                        <p:tgtEl>
                                          <p:spTgt spid="82"/>
                                        </p:tgtEl>
                                        <p:attrNameLst>
                                          <p:attrName>ppt_w</p:attrName>
                                        </p:attrNameLst>
                                      </p:cBhvr>
                                      <p:tavLst>
                                        <p:tav tm="0">
                                          <p:val>
                                            <p:fltVal val="0"/>
                                          </p:val>
                                        </p:tav>
                                        <p:tav tm="100000">
                                          <p:val>
                                            <p:strVal val="#ppt_w"/>
                                          </p:val>
                                        </p:tav>
                                      </p:tavLst>
                                    </p:anim>
                                    <p:anim calcmode="lin" valueType="num">
                                      <p:cBhvr>
                                        <p:cTn id="12" dur="1000" fill="hold"/>
                                        <p:tgtEl>
                                          <p:spTgt spid="82"/>
                                        </p:tgtEl>
                                        <p:attrNameLst>
                                          <p:attrName>ppt_h</p:attrName>
                                        </p:attrNameLst>
                                      </p:cBhvr>
                                      <p:tavLst>
                                        <p:tav tm="0">
                                          <p:val>
                                            <p:fltVal val="0"/>
                                          </p:val>
                                        </p:tav>
                                        <p:tav tm="100000">
                                          <p:val>
                                            <p:strVal val="#ppt_h"/>
                                          </p:val>
                                        </p:tav>
                                      </p:tavLst>
                                    </p:anim>
                                    <p:animEffect transition="in" filter="fade">
                                      <p:cBhvr>
                                        <p:cTn id="13" dur="1000"/>
                                        <p:tgtEl>
                                          <p:spTgt spid="82"/>
                                        </p:tgtEl>
                                      </p:cBhvr>
                                    </p:animEffect>
                                  </p:childTnLst>
                                </p:cTn>
                              </p:par>
                              <p:par>
                                <p:cTn id="14" presetID="53" presetClass="entr" presetSubtype="16" fill="hold" nodeType="withEffect">
                                  <p:stCondLst>
                                    <p:cond delay="300"/>
                                  </p:stCondLst>
                                  <p:childTnLst>
                                    <p:set>
                                      <p:cBhvr>
                                        <p:cTn id="15" dur="1" fill="hold">
                                          <p:stCondLst>
                                            <p:cond delay="0"/>
                                          </p:stCondLst>
                                        </p:cTn>
                                        <p:tgtEl>
                                          <p:spTgt spid="80"/>
                                        </p:tgtEl>
                                        <p:attrNameLst>
                                          <p:attrName>style.visibility</p:attrName>
                                        </p:attrNameLst>
                                      </p:cBhvr>
                                      <p:to>
                                        <p:strVal val="visible"/>
                                      </p:to>
                                    </p:set>
                                    <p:anim calcmode="lin" valueType="num">
                                      <p:cBhvr>
                                        <p:cTn id="16" dur="1000" fill="hold"/>
                                        <p:tgtEl>
                                          <p:spTgt spid="80"/>
                                        </p:tgtEl>
                                        <p:attrNameLst>
                                          <p:attrName>ppt_w</p:attrName>
                                        </p:attrNameLst>
                                      </p:cBhvr>
                                      <p:tavLst>
                                        <p:tav tm="0">
                                          <p:val>
                                            <p:fltVal val="0"/>
                                          </p:val>
                                        </p:tav>
                                        <p:tav tm="100000">
                                          <p:val>
                                            <p:strVal val="#ppt_w"/>
                                          </p:val>
                                        </p:tav>
                                      </p:tavLst>
                                    </p:anim>
                                    <p:anim calcmode="lin" valueType="num">
                                      <p:cBhvr>
                                        <p:cTn id="17" dur="1000" fill="hold"/>
                                        <p:tgtEl>
                                          <p:spTgt spid="80"/>
                                        </p:tgtEl>
                                        <p:attrNameLst>
                                          <p:attrName>ppt_h</p:attrName>
                                        </p:attrNameLst>
                                      </p:cBhvr>
                                      <p:tavLst>
                                        <p:tav tm="0">
                                          <p:val>
                                            <p:fltVal val="0"/>
                                          </p:val>
                                        </p:tav>
                                        <p:tav tm="100000">
                                          <p:val>
                                            <p:strVal val="#ppt_h"/>
                                          </p:val>
                                        </p:tav>
                                      </p:tavLst>
                                    </p:anim>
                                    <p:animEffect transition="in" filter="fade">
                                      <p:cBhvr>
                                        <p:cTn id="18" dur="1000"/>
                                        <p:tgtEl>
                                          <p:spTgt spid="80"/>
                                        </p:tgtEl>
                                      </p:cBhvr>
                                    </p:animEffect>
                                  </p:childTnLst>
                                </p:cTn>
                              </p:par>
                              <p:par>
                                <p:cTn id="19" presetID="53" presetClass="entr" presetSubtype="16" fill="hold" nodeType="withEffect">
                                  <p:stCondLst>
                                    <p:cond delay="400"/>
                                  </p:stCondLst>
                                  <p:childTnLst>
                                    <p:set>
                                      <p:cBhvr>
                                        <p:cTn id="20" dur="1" fill="hold">
                                          <p:stCondLst>
                                            <p:cond delay="0"/>
                                          </p:stCondLst>
                                        </p:cTn>
                                        <p:tgtEl>
                                          <p:spTgt spid="78"/>
                                        </p:tgtEl>
                                        <p:attrNameLst>
                                          <p:attrName>style.visibility</p:attrName>
                                        </p:attrNameLst>
                                      </p:cBhvr>
                                      <p:to>
                                        <p:strVal val="visible"/>
                                      </p:to>
                                    </p:set>
                                    <p:anim calcmode="lin" valueType="num">
                                      <p:cBhvr>
                                        <p:cTn id="21" dur="1000" fill="hold"/>
                                        <p:tgtEl>
                                          <p:spTgt spid="78"/>
                                        </p:tgtEl>
                                        <p:attrNameLst>
                                          <p:attrName>ppt_w</p:attrName>
                                        </p:attrNameLst>
                                      </p:cBhvr>
                                      <p:tavLst>
                                        <p:tav tm="0">
                                          <p:val>
                                            <p:fltVal val="0"/>
                                          </p:val>
                                        </p:tav>
                                        <p:tav tm="100000">
                                          <p:val>
                                            <p:strVal val="#ppt_w"/>
                                          </p:val>
                                        </p:tav>
                                      </p:tavLst>
                                    </p:anim>
                                    <p:anim calcmode="lin" valueType="num">
                                      <p:cBhvr>
                                        <p:cTn id="22" dur="1000" fill="hold"/>
                                        <p:tgtEl>
                                          <p:spTgt spid="78"/>
                                        </p:tgtEl>
                                        <p:attrNameLst>
                                          <p:attrName>ppt_h</p:attrName>
                                        </p:attrNameLst>
                                      </p:cBhvr>
                                      <p:tavLst>
                                        <p:tav tm="0">
                                          <p:val>
                                            <p:fltVal val="0"/>
                                          </p:val>
                                        </p:tav>
                                        <p:tav tm="100000">
                                          <p:val>
                                            <p:strVal val="#ppt_h"/>
                                          </p:val>
                                        </p:tav>
                                      </p:tavLst>
                                    </p:anim>
                                    <p:animEffect transition="in" filter="fade">
                                      <p:cBhvr>
                                        <p:cTn id="23" dur="1000"/>
                                        <p:tgtEl>
                                          <p:spTgt spid="78"/>
                                        </p:tgtEl>
                                      </p:cBhvr>
                                    </p:animEffect>
                                  </p:childTnLst>
                                </p:cTn>
                              </p:par>
                              <p:par>
                                <p:cTn id="24" presetID="53" presetClass="entr" presetSubtype="16" fill="hold" nodeType="withEffect">
                                  <p:stCondLst>
                                    <p:cond delay="500"/>
                                  </p:stCondLst>
                                  <p:childTnLst>
                                    <p:set>
                                      <p:cBhvr>
                                        <p:cTn id="25" dur="1" fill="hold">
                                          <p:stCondLst>
                                            <p:cond delay="0"/>
                                          </p:stCondLst>
                                        </p:cTn>
                                        <p:tgtEl>
                                          <p:spTgt spid="76"/>
                                        </p:tgtEl>
                                        <p:attrNameLst>
                                          <p:attrName>style.visibility</p:attrName>
                                        </p:attrNameLst>
                                      </p:cBhvr>
                                      <p:to>
                                        <p:strVal val="visible"/>
                                      </p:to>
                                    </p:set>
                                    <p:anim calcmode="lin" valueType="num">
                                      <p:cBhvr>
                                        <p:cTn id="26" dur="1000" fill="hold"/>
                                        <p:tgtEl>
                                          <p:spTgt spid="76"/>
                                        </p:tgtEl>
                                        <p:attrNameLst>
                                          <p:attrName>ppt_w</p:attrName>
                                        </p:attrNameLst>
                                      </p:cBhvr>
                                      <p:tavLst>
                                        <p:tav tm="0">
                                          <p:val>
                                            <p:fltVal val="0"/>
                                          </p:val>
                                        </p:tav>
                                        <p:tav tm="100000">
                                          <p:val>
                                            <p:strVal val="#ppt_w"/>
                                          </p:val>
                                        </p:tav>
                                      </p:tavLst>
                                    </p:anim>
                                    <p:anim calcmode="lin" valueType="num">
                                      <p:cBhvr>
                                        <p:cTn id="27" dur="1000" fill="hold"/>
                                        <p:tgtEl>
                                          <p:spTgt spid="76"/>
                                        </p:tgtEl>
                                        <p:attrNameLst>
                                          <p:attrName>ppt_h</p:attrName>
                                        </p:attrNameLst>
                                      </p:cBhvr>
                                      <p:tavLst>
                                        <p:tav tm="0">
                                          <p:val>
                                            <p:fltVal val="0"/>
                                          </p:val>
                                        </p:tav>
                                        <p:tav tm="100000">
                                          <p:val>
                                            <p:strVal val="#ppt_h"/>
                                          </p:val>
                                        </p:tav>
                                      </p:tavLst>
                                    </p:anim>
                                    <p:animEffect transition="in" filter="fade">
                                      <p:cBhvr>
                                        <p:cTn id="28" dur="1000"/>
                                        <p:tgtEl>
                                          <p:spTgt spid="76"/>
                                        </p:tgtEl>
                                      </p:cBhvr>
                                    </p:animEffect>
                                  </p:childTnLst>
                                </p:cTn>
                              </p:par>
                              <p:par>
                                <p:cTn id="29" presetID="2" presetClass="entr" presetSubtype="4" decel="100000" fill="hold" nodeType="withEffect">
                                  <p:stCondLst>
                                    <p:cond delay="600"/>
                                  </p:stCondLst>
                                  <p:childTnLst>
                                    <p:set>
                                      <p:cBhvr>
                                        <p:cTn id="30" dur="1" fill="hold">
                                          <p:stCondLst>
                                            <p:cond delay="0"/>
                                          </p:stCondLst>
                                        </p:cTn>
                                        <p:tgtEl>
                                          <p:spTgt spid="72"/>
                                        </p:tgtEl>
                                        <p:attrNameLst>
                                          <p:attrName>style.visibility</p:attrName>
                                        </p:attrNameLst>
                                      </p:cBhvr>
                                      <p:to>
                                        <p:strVal val="visible"/>
                                      </p:to>
                                    </p:set>
                                    <p:anim calcmode="lin" valueType="num">
                                      <p:cBhvr additive="base">
                                        <p:cTn id="31" dur="1000" fill="hold"/>
                                        <p:tgtEl>
                                          <p:spTgt spid="72"/>
                                        </p:tgtEl>
                                        <p:attrNameLst>
                                          <p:attrName>ppt_x</p:attrName>
                                        </p:attrNameLst>
                                      </p:cBhvr>
                                      <p:tavLst>
                                        <p:tav tm="0">
                                          <p:val>
                                            <p:strVal val="#ppt_x"/>
                                          </p:val>
                                        </p:tav>
                                        <p:tav tm="100000">
                                          <p:val>
                                            <p:strVal val="#ppt_x"/>
                                          </p:val>
                                        </p:tav>
                                      </p:tavLst>
                                    </p:anim>
                                    <p:anim calcmode="lin" valueType="num">
                                      <p:cBhvr additive="base">
                                        <p:cTn id="32" dur="1000" fill="hold"/>
                                        <p:tgtEl>
                                          <p:spTgt spid="72"/>
                                        </p:tgtEl>
                                        <p:attrNameLst>
                                          <p:attrName>ppt_y</p:attrName>
                                        </p:attrNameLst>
                                      </p:cBhvr>
                                      <p:tavLst>
                                        <p:tav tm="0">
                                          <p:val>
                                            <p:strVal val="1+#ppt_h/2"/>
                                          </p:val>
                                        </p:tav>
                                        <p:tav tm="100000">
                                          <p:val>
                                            <p:strVal val="#ppt_y"/>
                                          </p:val>
                                        </p:tav>
                                      </p:tavLst>
                                    </p:anim>
                                  </p:childTnLst>
                                </p:cTn>
                              </p:par>
                              <p:par>
                                <p:cTn id="33" presetID="2" presetClass="entr" presetSubtype="4" decel="100000" fill="hold" nodeType="withEffect">
                                  <p:stCondLst>
                                    <p:cond delay="600"/>
                                  </p:stCondLst>
                                  <p:childTnLst>
                                    <p:set>
                                      <p:cBhvr>
                                        <p:cTn id="34" dur="1" fill="hold">
                                          <p:stCondLst>
                                            <p:cond delay="0"/>
                                          </p:stCondLst>
                                        </p:cTn>
                                        <p:tgtEl>
                                          <p:spTgt spid="71"/>
                                        </p:tgtEl>
                                        <p:attrNameLst>
                                          <p:attrName>style.visibility</p:attrName>
                                        </p:attrNameLst>
                                      </p:cBhvr>
                                      <p:to>
                                        <p:strVal val="visible"/>
                                      </p:to>
                                    </p:set>
                                    <p:anim calcmode="lin" valueType="num">
                                      <p:cBhvr additive="base">
                                        <p:cTn id="35" dur="1000" fill="hold"/>
                                        <p:tgtEl>
                                          <p:spTgt spid="71"/>
                                        </p:tgtEl>
                                        <p:attrNameLst>
                                          <p:attrName>ppt_x</p:attrName>
                                        </p:attrNameLst>
                                      </p:cBhvr>
                                      <p:tavLst>
                                        <p:tav tm="0">
                                          <p:val>
                                            <p:strVal val="#ppt_x"/>
                                          </p:val>
                                        </p:tav>
                                        <p:tav tm="100000">
                                          <p:val>
                                            <p:strVal val="#ppt_x"/>
                                          </p:val>
                                        </p:tav>
                                      </p:tavLst>
                                    </p:anim>
                                    <p:anim calcmode="lin" valueType="num">
                                      <p:cBhvr additive="base">
                                        <p:cTn id="36" dur="1000" fill="hold"/>
                                        <p:tgtEl>
                                          <p:spTgt spid="71"/>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600"/>
                                  </p:stCondLst>
                                  <p:childTnLst>
                                    <p:set>
                                      <p:cBhvr>
                                        <p:cTn id="38" dur="1" fill="hold">
                                          <p:stCondLst>
                                            <p:cond delay="0"/>
                                          </p:stCondLst>
                                        </p:cTn>
                                        <p:tgtEl>
                                          <p:spTgt spid="70"/>
                                        </p:tgtEl>
                                        <p:attrNameLst>
                                          <p:attrName>style.visibility</p:attrName>
                                        </p:attrNameLst>
                                      </p:cBhvr>
                                      <p:to>
                                        <p:strVal val="visible"/>
                                      </p:to>
                                    </p:set>
                                    <p:anim calcmode="lin" valueType="num">
                                      <p:cBhvr additive="base">
                                        <p:cTn id="39" dur="1000" fill="hold"/>
                                        <p:tgtEl>
                                          <p:spTgt spid="70"/>
                                        </p:tgtEl>
                                        <p:attrNameLst>
                                          <p:attrName>ppt_x</p:attrName>
                                        </p:attrNameLst>
                                      </p:cBhvr>
                                      <p:tavLst>
                                        <p:tav tm="0">
                                          <p:val>
                                            <p:strVal val="#ppt_x"/>
                                          </p:val>
                                        </p:tav>
                                        <p:tav tm="100000">
                                          <p:val>
                                            <p:strVal val="#ppt_x"/>
                                          </p:val>
                                        </p:tav>
                                      </p:tavLst>
                                    </p:anim>
                                    <p:anim calcmode="lin" valueType="num">
                                      <p:cBhvr additive="base">
                                        <p:cTn id="40" dur="1000" fill="hold"/>
                                        <p:tgtEl>
                                          <p:spTgt spid="70"/>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600"/>
                                  </p:stCondLst>
                                  <p:childTnLst>
                                    <p:set>
                                      <p:cBhvr>
                                        <p:cTn id="42" dur="1" fill="hold">
                                          <p:stCondLst>
                                            <p:cond delay="0"/>
                                          </p:stCondLst>
                                        </p:cTn>
                                        <p:tgtEl>
                                          <p:spTgt spid="69"/>
                                        </p:tgtEl>
                                        <p:attrNameLst>
                                          <p:attrName>style.visibility</p:attrName>
                                        </p:attrNameLst>
                                      </p:cBhvr>
                                      <p:to>
                                        <p:strVal val="visible"/>
                                      </p:to>
                                    </p:set>
                                    <p:anim calcmode="lin" valueType="num">
                                      <p:cBhvr additive="base">
                                        <p:cTn id="43" dur="1000" fill="hold"/>
                                        <p:tgtEl>
                                          <p:spTgt spid="69"/>
                                        </p:tgtEl>
                                        <p:attrNameLst>
                                          <p:attrName>ppt_x</p:attrName>
                                        </p:attrNameLst>
                                      </p:cBhvr>
                                      <p:tavLst>
                                        <p:tav tm="0">
                                          <p:val>
                                            <p:strVal val="#ppt_x"/>
                                          </p:val>
                                        </p:tav>
                                        <p:tav tm="100000">
                                          <p:val>
                                            <p:strVal val="#ppt_x"/>
                                          </p:val>
                                        </p:tav>
                                      </p:tavLst>
                                    </p:anim>
                                    <p:anim calcmode="lin" valueType="num">
                                      <p:cBhvr additive="base">
                                        <p:cTn id="44" dur="1000" fill="hold"/>
                                        <p:tgtEl>
                                          <p:spTgt spid="69"/>
                                        </p:tgtEl>
                                        <p:attrNameLst>
                                          <p:attrName>ppt_y</p:attrName>
                                        </p:attrNameLst>
                                      </p:cBhvr>
                                      <p:tavLst>
                                        <p:tav tm="0">
                                          <p:val>
                                            <p:strVal val="1+#ppt_h/2"/>
                                          </p:val>
                                        </p:tav>
                                        <p:tav tm="100000">
                                          <p:val>
                                            <p:strVal val="#ppt_y"/>
                                          </p:val>
                                        </p:tav>
                                      </p:tavLst>
                                    </p:anim>
                                  </p:childTnLst>
                                </p:cTn>
                              </p:par>
                              <p:par>
                                <p:cTn id="45" presetID="53" presetClass="entr" presetSubtype="16" fill="hold" nodeType="withEffect">
                                  <p:stCondLst>
                                    <p:cond delay="700"/>
                                  </p:stCondLst>
                                  <p:childTnLst>
                                    <p:set>
                                      <p:cBhvr>
                                        <p:cTn id="46" dur="1" fill="hold">
                                          <p:stCondLst>
                                            <p:cond delay="0"/>
                                          </p:stCondLst>
                                        </p:cTn>
                                        <p:tgtEl>
                                          <p:spTgt spid="22"/>
                                        </p:tgtEl>
                                        <p:attrNameLst>
                                          <p:attrName>style.visibility</p:attrName>
                                        </p:attrNameLst>
                                      </p:cBhvr>
                                      <p:to>
                                        <p:strVal val="visible"/>
                                      </p:to>
                                    </p:set>
                                    <p:anim calcmode="lin" valueType="num">
                                      <p:cBhvr>
                                        <p:cTn id="47" dur="1000" fill="hold"/>
                                        <p:tgtEl>
                                          <p:spTgt spid="22"/>
                                        </p:tgtEl>
                                        <p:attrNameLst>
                                          <p:attrName>ppt_w</p:attrName>
                                        </p:attrNameLst>
                                      </p:cBhvr>
                                      <p:tavLst>
                                        <p:tav tm="0">
                                          <p:val>
                                            <p:fltVal val="0"/>
                                          </p:val>
                                        </p:tav>
                                        <p:tav tm="100000">
                                          <p:val>
                                            <p:strVal val="#ppt_w"/>
                                          </p:val>
                                        </p:tav>
                                      </p:tavLst>
                                    </p:anim>
                                    <p:anim calcmode="lin" valueType="num">
                                      <p:cBhvr>
                                        <p:cTn id="48" dur="1000" fill="hold"/>
                                        <p:tgtEl>
                                          <p:spTgt spid="22"/>
                                        </p:tgtEl>
                                        <p:attrNameLst>
                                          <p:attrName>ppt_h</p:attrName>
                                        </p:attrNameLst>
                                      </p:cBhvr>
                                      <p:tavLst>
                                        <p:tav tm="0">
                                          <p:val>
                                            <p:fltVal val="0"/>
                                          </p:val>
                                        </p:tav>
                                        <p:tav tm="100000">
                                          <p:val>
                                            <p:strVal val="#ppt_h"/>
                                          </p:val>
                                        </p:tav>
                                      </p:tavLst>
                                    </p:anim>
                                    <p:animEffect transition="in" filter="fade">
                                      <p:cBhvr>
                                        <p:cTn id="49" dur="1000"/>
                                        <p:tgtEl>
                                          <p:spTgt spid="22"/>
                                        </p:tgtEl>
                                      </p:cBhvr>
                                    </p:animEffect>
                                  </p:childTnLst>
                                </p:cTn>
                              </p:par>
                              <p:par>
                                <p:cTn id="50" presetID="22" presetClass="entr" presetSubtype="2" fill="hold" grpId="0" nodeType="withEffect">
                                  <p:stCondLst>
                                    <p:cond delay="800"/>
                                  </p:stCondLst>
                                  <p:childTnLst>
                                    <p:set>
                                      <p:cBhvr>
                                        <p:cTn id="51" dur="1" fill="hold">
                                          <p:stCondLst>
                                            <p:cond delay="0"/>
                                          </p:stCondLst>
                                        </p:cTn>
                                        <p:tgtEl>
                                          <p:spTgt spid="15"/>
                                        </p:tgtEl>
                                        <p:attrNameLst>
                                          <p:attrName>style.visibility</p:attrName>
                                        </p:attrNameLst>
                                      </p:cBhvr>
                                      <p:to>
                                        <p:strVal val="visible"/>
                                      </p:to>
                                    </p:set>
                                    <p:animEffect transition="in" filter="wipe(right)">
                                      <p:cBhvr>
                                        <p:cTn id="52" dur="1000"/>
                                        <p:tgtEl>
                                          <p:spTgt spid="15"/>
                                        </p:tgtEl>
                                      </p:cBhvr>
                                    </p:animEffect>
                                  </p:childTnLst>
                                </p:cTn>
                              </p:par>
                              <p:par>
                                <p:cTn id="53" presetID="53" presetClass="entr" presetSubtype="16" fill="hold" nodeType="withEffect">
                                  <p:stCondLst>
                                    <p:cond delay="900"/>
                                  </p:stCondLst>
                                  <p:childTnLst>
                                    <p:set>
                                      <p:cBhvr>
                                        <p:cTn id="54" dur="1" fill="hold">
                                          <p:stCondLst>
                                            <p:cond delay="0"/>
                                          </p:stCondLst>
                                        </p:cTn>
                                        <p:tgtEl>
                                          <p:spTgt spid="20"/>
                                        </p:tgtEl>
                                        <p:attrNameLst>
                                          <p:attrName>style.visibility</p:attrName>
                                        </p:attrNameLst>
                                      </p:cBhvr>
                                      <p:to>
                                        <p:strVal val="visible"/>
                                      </p:to>
                                    </p:set>
                                    <p:anim calcmode="lin" valueType="num">
                                      <p:cBhvr>
                                        <p:cTn id="55" dur="1000" fill="hold"/>
                                        <p:tgtEl>
                                          <p:spTgt spid="20"/>
                                        </p:tgtEl>
                                        <p:attrNameLst>
                                          <p:attrName>ppt_w</p:attrName>
                                        </p:attrNameLst>
                                      </p:cBhvr>
                                      <p:tavLst>
                                        <p:tav tm="0">
                                          <p:val>
                                            <p:fltVal val="0"/>
                                          </p:val>
                                        </p:tav>
                                        <p:tav tm="100000">
                                          <p:val>
                                            <p:strVal val="#ppt_w"/>
                                          </p:val>
                                        </p:tav>
                                      </p:tavLst>
                                    </p:anim>
                                    <p:anim calcmode="lin" valueType="num">
                                      <p:cBhvr>
                                        <p:cTn id="56" dur="1000" fill="hold"/>
                                        <p:tgtEl>
                                          <p:spTgt spid="20"/>
                                        </p:tgtEl>
                                        <p:attrNameLst>
                                          <p:attrName>ppt_h</p:attrName>
                                        </p:attrNameLst>
                                      </p:cBhvr>
                                      <p:tavLst>
                                        <p:tav tm="0">
                                          <p:val>
                                            <p:fltVal val="0"/>
                                          </p:val>
                                        </p:tav>
                                        <p:tav tm="100000">
                                          <p:val>
                                            <p:strVal val="#ppt_h"/>
                                          </p:val>
                                        </p:tav>
                                      </p:tavLst>
                                    </p:anim>
                                    <p:animEffect transition="in" filter="fade">
                                      <p:cBhvr>
                                        <p:cTn id="57" dur="1000"/>
                                        <p:tgtEl>
                                          <p:spTgt spid="20"/>
                                        </p:tgtEl>
                                      </p:cBhvr>
                                    </p:animEffect>
                                  </p:childTnLst>
                                </p:cTn>
                              </p:par>
                              <p:par>
                                <p:cTn id="58" presetID="22" presetClass="entr" presetSubtype="2" fill="hold" grpId="0" nodeType="withEffect">
                                  <p:stCondLst>
                                    <p:cond delay="1000"/>
                                  </p:stCondLst>
                                  <p:childTnLst>
                                    <p:set>
                                      <p:cBhvr>
                                        <p:cTn id="59" dur="1" fill="hold">
                                          <p:stCondLst>
                                            <p:cond delay="0"/>
                                          </p:stCondLst>
                                        </p:cTn>
                                        <p:tgtEl>
                                          <p:spTgt spid="17"/>
                                        </p:tgtEl>
                                        <p:attrNameLst>
                                          <p:attrName>style.visibility</p:attrName>
                                        </p:attrNameLst>
                                      </p:cBhvr>
                                      <p:to>
                                        <p:strVal val="visible"/>
                                      </p:to>
                                    </p:set>
                                    <p:animEffect transition="in" filter="wipe(right)">
                                      <p:cBhvr>
                                        <p:cTn id="60" dur="1000"/>
                                        <p:tgtEl>
                                          <p:spTgt spid="17"/>
                                        </p:tgtEl>
                                      </p:cBhvr>
                                    </p:animEffect>
                                  </p:childTnLst>
                                </p:cTn>
                              </p:par>
                              <p:par>
                                <p:cTn id="61" presetID="2" presetClass="entr" presetSubtype="4" decel="100000" fill="hold" nodeType="withEffect">
                                  <p:stCondLst>
                                    <p:cond delay="1100"/>
                                  </p:stCondLst>
                                  <p:childTnLst>
                                    <p:set>
                                      <p:cBhvr>
                                        <p:cTn id="62" dur="1" fill="hold">
                                          <p:stCondLst>
                                            <p:cond delay="0"/>
                                          </p:stCondLst>
                                        </p:cTn>
                                        <p:tgtEl>
                                          <p:spTgt spid="54"/>
                                        </p:tgtEl>
                                        <p:attrNameLst>
                                          <p:attrName>style.visibility</p:attrName>
                                        </p:attrNameLst>
                                      </p:cBhvr>
                                      <p:to>
                                        <p:strVal val="visible"/>
                                      </p:to>
                                    </p:set>
                                    <p:anim calcmode="lin" valueType="num">
                                      <p:cBhvr additive="base">
                                        <p:cTn id="63" dur="1000" fill="hold"/>
                                        <p:tgtEl>
                                          <p:spTgt spid="54"/>
                                        </p:tgtEl>
                                        <p:attrNameLst>
                                          <p:attrName>ppt_x</p:attrName>
                                        </p:attrNameLst>
                                      </p:cBhvr>
                                      <p:tavLst>
                                        <p:tav tm="0">
                                          <p:val>
                                            <p:strVal val="#ppt_x"/>
                                          </p:val>
                                        </p:tav>
                                        <p:tav tm="100000">
                                          <p:val>
                                            <p:strVal val="#ppt_x"/>
                                          </p:val>
                                        </p:tav>
                                      </p:tavLst>
                                    </p:anim>
                                    <p:anim calcmode="lin" valueType="num">
                                      <p:cBhvr additive="base">
                                        <p:cTn id="64" dur="1000" fill="hold"/>
                                        <p:tgtEl>
                                          <p:spTgt spid="54"/>
                                        </p:tgtEl>
                                        <p:attrNameLst>
                                          <p:attrName>ppt_y</p:attrName>
                                        </p:attrNameLst>
                                      </p:cBhvr>
                                      <p:tavLst>
                                        <p:tav tm="0">
                                          <p:val>
                                            <p:strVal val="1+#ppt_h/2"/>
                                          </p:val>
                                        </p:tav>
                                        <p:tav tm="100000">
                                          <p:val>
                                            <p:strVal val="#ppt_y"/>
                                          </p:val>
                                        </p:tav>
                                      </p:tavLst>
                                    </p:anim>
                                  </p:childTnLst>
                                </p:cTn>
                              </p:par>
                              <p:par>
                                <p:cTn id="65" presetID="2" presetClass="entr" presetSubtype="4" decel="100000" fill="hold" nodeType="withEffect">
                                  <p:stCondLst>
                                    <p:cond delay="1200"/>
                                  </p:stCondLst>
                                  <p:childTnLst>
                                    <p:set>
                                      <p:cBhvr>
                                        <p:cTn id="66" dur="1" fill="hold">
                                          <p:stCondLst>
                                            <p:cond delay="0"/>
                                          </p:stCondLst>
                                        </p:cTn>
                                        <p:tgtEl>
                                          <p:spTgt spid="55"/>
                                        </p:tgtEl>
                                        <p:attrNameLst>
                                          <p:attrName>style.visibility</p:attrName>
                                        </p:attrNameLst>
                                      </p:cBhvr>
                                      <p:to>
                                        <p:strVal val="visible"/>
                                      </p:to>
                                    </p:set>
                                    <p:anim calcmode="lin" valueType="num">
                                      <p:cBhvr additive="base">
                                        <p:cTn id="67" dur="1000" fill="hold"/>
                                        <p:tgtEl>
                                          <p:spTgt spid="55"/>
                                        </p:tgtEl>
                                        <p:attrNameLst>
                                          <p:attrName>ppt_x</p:attrName>
                                        </p:attrNameLst>
                                      </p:cBhvr>
                                      <p:tavLst>
                                        <p:tav tm="0">
                                          <p:val>
                                            <p:strVal val="#ppt_x"/>
                                          </p:val>
                                        </p:tav>
                                        <p:tav tm="100000">
                                          <p:val>
                                            <p:strVal val="#ppt_x"/>
                                          </p:val>
                                        </p:tav>
                                      </p:tavLst>
                                    </p:anim>
                                    <p:anim calcmode="lin" valueType="num">
                                      <p:cBhvr additive="base">
                                        <p:cTn id="68" dur="1000" fill="hold"/>
                                        <p:tgtEl>
                                          <p:spTgt spid="55"/>
                                        </p:tgtEl>
                                        <p:attrNameLst>
                                          <p:attrName>ppt_y</p:attrName>
                                        </p:attrNameLst>
                                      </p:cBhvr>
                                      <p:tavLst>
                                        <p:tav tm="0">
                                          <p:val>
                                            <p:strVal val="1+#ppt_h/2"/>
                                          </p:val>
                                        </p:tav>
                                        <p:tav tm="100000">
                                          <p:val>
                                            <p:strVal val="#ppt_y"/>
                                          </p:val>
                                        </p:tav>
                                      </p:tavLst>
                                    </p:anim>
                                  </p:childTnLst>
                                </p:cTn>
                              </p:par>
                              <p:par>
                                <p:cTn id="69" presetID="2" presetClass="entr" presetSubtype="4" decel="100000" fill="hold" nodeType="withEffect">
                                  <p:stCondLst>
                                    <p:cond delay="1300"/>
                                  </p:stCondLst>
                                  <p:childTnLst>
                                    <p:set>
                                      <p:cBhvr>
                                        <p:cTn id="70" dur="1" fill="hold">
                                          <p:stCondLst>
                                            <p:cond delay="0"/>
                                          </p:stCondLst>
                                        </p:cTn>
                                        <p:tgtEl>
                                          <p:spTgt spid="56"/>
                                        </p:tgtEl>
                                        <p:attrNameLst>
                                          <p:attrName>style.visibility</p:attrName>
                                        </p:attrNameLst>
                                      </p:cBhvr>
                                      <p:to>
                                        <p:strVal val="visible"/>
                                      </p:to>
                                    </p:set>
                                    <p:anim calcmode="lin" valueType="num">
                                      <p:cBhvr additive="base">
                                        <p:cTn id="71" dur="1000" fill="hold"/>
                                        <p:tgtEl>
                                          <p:spTgt spid="56"/>
                                        </p:tgtEl>
                                        <p:attrNameLst>
                                          <p:attrName>ppt_x</p:attrName>
                                        </p:attrNameLst>
                                      </p:cBhvr>
                                      <p:tavLst>
                                        <p:tav tm="0">
                                          <p:val>
                                            <p:strVal val="#ppt_x"/>
                                          </p:val>
                                        </p:tav>
                                        <p:tav tm="100000">
                                          <p:val>
                                            <p:strVal val="#ppt_x"/>
                                          </p:val>
                                        </p:tav>
                                      </p:tavLst>
                                    </p:anim>
                                    <p:anim calcmode="lin" valueType="num">
                                      <p:cBhvr additive="base">
                                        <p:cTn id="72" dur="1000" fill="hold"/>
                                        <p:tgtEl>
                                          <p:spTgt spid="56"/>
                                        </p:tgtEl>
                                        <p:attrNameLst>
                                          <p:attrName>ppt_y</p:attrName>
                                        </p:attrNameLst>
                                      </p:cBhvr>
                                      <p:tavLst>
                                        <p:tav tm="0">
                                          <p:val>
                                            <p:strVal val="1+#ppt_h/2"/>
                                          </p:val>
                                        </p:tav>
                                        <p:tav tm="100000">
                                          <p:val>
                                            <p:strVal val="#ppt_y"/>
                                          </p:val>
                                        </p:tav>
                                      </p:tavLst>
                                    </p:anim>
                                  </p:childTnLst>
                                </p:cTn>
                              </p:par>
                              <p:par>
                                <p:cTn id="73" presetID="2" presetClass="entr" presetSubtype="4" decel="100000" fill="hold" nodeType="withEffect">
                                  <p:stCondLst>
                                    <p:cond delay="1400"/>
                                  </p:stCondLst>
                                  <p:childTnLst>
                                    <p:set>
                                      <p:cBhvr>
                                        <p:cTn id="74" dur="1" fill="hold">
                                          <p:stCondLst>
                                            <p:cond delay="0"/>
                                          </p:stCondLst>
                                        </p:cTn>
                                        <p:tgtEl>
                                          <p:spTgt spid="57"/>
                                        </p:tgtEl>
                                        <p:attrNameLst>
                                          <p:attrName>style.visibility</p:attrName>
                                        </p:attrNameLst>
                                      </p:cBhvr>
                                      <p:to>
                                        <p:strVal val="visible"/>
                                      </p:to>
                                    </p:set>
                                    <p:anim calcmode="lin" valueType="num">
                                      <p:cBhvr additive="base">
                                        <p:cTn id="75" dur="1000" fill="hold"/>
                                        <p:tgtEl>
                                          <p:spTgt spid="57"/>
                                        </p:tgtEl>
                                        <p:attrNameLst>
                                          <p:attrName>ppt_x</p:attrName>
                                        </p:attrNameLst>
                                      </p:cBhvr>
                                      <p:tavLst>
                                        <p:tav tm="0">
                                          <p:val>
                                            <p:strVal val="#ppt_x"/>
                                          </p:val>
                                        </p:tav>
                                        <p:tav tm="100000">
                                          <p:val>
                                            <p:strVal val="#ppt_x"/>
                                          </p:val>
                                        </p:tav>
                                      </p:tavLst>
                                    </p:anim>
                                    <p:anim calcmode="lin" valueType="num">
                                      <p:cBhvr additive="base">
                                        <p:cTn id="76" dur="1000" fill="hold"/>
                                        <p:tgtEl>
                                          <p:spTgt spid="57"/>
                                        </p:tgtEl>
                                        <p:attrNameLst>
                                          <p:attrName>ppt_y</p:attrName>
                                        </p:attrNameLst>
                                      </p:cBhvr>
                                      <p:tavLst>
                                        <p:tav tm="0">
                                          <p:val>
                                            <p:strVal val="1+#ppt_h/2"/>
                                          </p:val>
                                        </p:tav>
                                        <p:tav tm="100000">
                                          <p:val>
                                            <p:strVal val="#ppt_y"/>
                                          </p:val>
                                        </p:tav>
                                      </p:tavLst>
                                    </p:anim>
                                  </p:childTnLst>
                                </p:cTn>
                              </p:par>
                              <p:par>
                                <p:cTn id="77" presetID="22" presetClass="entr" presetSubtype="1" fill="hold" nodeType="withEffect">
                                  <p:stCondLst>
                                    <p:cond delay="1500"/>
                                  </p:stCondLst>
                                  <p:childTnLst>
                                    <p:set>
                                      <p:cBhvr>
                                        <p:cTn id="78" dur="1" fill="hold">
                                          <p:stCondLst>
                                            <p:cond delay="0"/>
                                          </p:stCondLst>
                                        </p:cTn>
                                        <p:tgtEl>
                                          <p:spTgt spid="68"/>
                                        </p:tgtEl>
                                        <p:attrNameLst>
                                          <p:attrName>style.visibility</p:attrName>
                                        </p:attrNameLst>
                                      </p:cBhvr>
                                      <p:to>
                                        <p:strVal val="visible"/>
                                      </p:to>
                                    </p:set>
                                    <p:animEffect transition="in" filter="wipe(up)">
                                      <p:cBhvr>
                                        <p:cTn id="79" dur="1000"/>
                                        <p:tgtEl>
                                          <p:spTgt spid="68"/>
                                        </p:tgtEl>
                                      </p:cBhvr>
                                    </p:animEffect>
                                  </p:childTnLst>
                                </p:cTn>
                              </p:par>
                              <p:par>
                                <p:cTn id="80" presetID="2" presetClass="entr" presetSubtype="4" decel="100000" fill="hold" nodeType="withEffect">
                                  <p:stCondLst>
                                    <p:cond delay="1600"/>
                                  </p:stCondLst>
                                  <p:childTnLst>
                                    <p:set>
                                      <p:cBhvr>
                                        <p:cTn id="81" dur="1" fill="hold">
                                          <p:stCondLst>
                                            <p:cond delay="0"/>
                                          </p:stCondLst>
                                        </p:cTn>
                                        <p:tgtEl>
                                          <p:spTgt spid="58"/>
                                        </p:tgtEl>
                                        <p:attrNameLst>
                                          <p:attrName>style.visibility</p:attrName>
                                        </p:attrNameLst>
                                      </p:cBhvr>
                                      <p:to>
                                        <p:strVal val="visible"/>
                                      </p:to>
                                    </p:set>
                                    <p:anim calcmode="lin" valueType="num">
                                      <p:cBhvr additive="base">
                                        <p:cTn id="82" dur="1000" fill="hold"/>
                                        <p:tgtEl>
                                          <p:spTgt spid="58"/>
                                        </p:tgtEl>
                                        <p:attrNameLst>
                                          <p:attrName>ppt_x</p:attrName>
                                        </p:attrNameLst>
                                      </p:cBhvr>
                                      <p:tavLst>
                                        <p:tav tm="0">
                                          <p:val>
                                            <p:strVal val="#ppt_x"/>
                                          </p:val>
                                        </p:tav>
                                        <p:tav tm="100000">
                                          <p:val>
                                            <p:strVal val="#ppt_x"/>
                                          </p:val>
                                        </p:tav>
                                      </p:tavLst>
                                    </p:anim>
                                    <p:anim calcmode="lin" valueType="num">
                                      <p:cBhvr additive="base">
                                        <p:cTn id="83" dur="1000" fill="hold"/>
                                        <p:tgtEl>
                                          <p:spTgt spid="58"/>
                                        </p:tgtEl>
                                        <p:attrNameLst>
                                          <p:attrName>ppt_y</p:attrName>
                                        </p:attrNameLst>
                                      </p:cBhvr>
                                      <p:tavLst>
                                        <p:tav tm="0">
                                          <p:val>
                                            <p:strVal val="1+#ppt_h/2"/>
                                          </p:val>
                                        </p:tav>
                                        <p:tav tm="100000">
                                          <p:val>
                                            <p:strVal val="#ppt_y"/>
                                          </p:val>
                                        </p:tav>
                                      </p:tavLst>
                                    </p:anim>
                                  </p:childTnLst>
                                </p:cTn>
                              </p:par>
                              <p:par>
                                <p:cTn id="84" presetID="2" presetClass="entr" presetSubtype="4" decel="100000" fill="hold" nodeType="withEffect">
                                  <p:stCondLst>
                                    <p:cond delay="1700"/>
                                  </p:stCondLst>
                                  <p:childTnLst>
                                    <p:set>
                                      <p:cBhvr>
                                        <p:cTn id="85" dur="1" fill="hold">
                                          <p:stCondLst>
                                            <p:cond delay="0"/>
                                          </p:stCondLst>
                                        </p:cTn>
                                        <p:tgtEl>
                                          <p:spTgt spid="59"/>
                                        </p:tgtEl>
                                        <p:attrNameLst>
                                          <p:attrName>style.visibility</p:attrName>
                                        </p:attrNameLst>
                                      </p:cBhvr>
                                      <p:to>
                                        <p:strVal val="visible"/>
                                      </p:to>
                                    </p:set>
                                    <p:anim calcmode="lin" valueType="num">
                                      <p:cBhvr additive="base">
                                        <p:cTn id="86" dur="1000" fill="hold"/>
                                        <p:tgtEl>
                                          <p:spTgt spid="59"/>
                                        </p:tgtEl>
                                        <p:attrNameLst>
                                          <p:attrName>ppt_x</p:attrName>
                                        </p:attrNameLst>
                                      </p:cBhvr>
                                      <p:tavLst>
                                        <p:tav tm="0">
                                          <p:val>
                                            <p:strVal val="#ppt_x"/>
                                          </p:val>
                                        </p:tav>
                                        <p:tav tm="100000">
                                          <p:val>
                                            <p:strVal val="#ppt_x"/>
                                          </p:val>
                                        </p:tav>
                                      </p:tavLst>
                                    </p:anim>
                                    <p:anim calcmode="lin" valueType="num">
                                      <p:cBhvr additive="base">
                                        <p:cTn id="87" dur="1000" fill="hold"/>
                                        <p:tgtEl>
                                          <p:spTgt spid="59"/>
                                        </p:tgtEl>
                                        <p:attrNameLst>
                                          <p:attrName>ppt_y</p:attrName>
                                        </p:attrNameLst>
                                      </p:cBhvr>
                                      <p:tavLst>
                                        <p:tav tm="0">
                                          <p:val>
                                            <p:strVal val="1+#ppt_h/2"/>
                                          </p:val>
                                        </p:tav>
                                        <p:tav tm="100000">
                                          <p:val>
                                            <p:strVal val="#ppt_y"/>
                                          </p:val>
                                        </p:tav>
                                      </p:tavLst>
                                    </p:anim>
                                  </p:childTnLst>
                                </p:cTn>
                              </p:par>
                              <p:par>
                                <p:cTn id="88" presetID="2" presetClass="entr" presetSubtype="4" decel="100000" fill="hold" nodeType="withEffect">
                                  <p:stCondLst>
                                    <p:cond delay="1800"/>
                                  </p:stCondLst>
                                  <p:childTnLst>
                                    <p:set>
                                      <p:cBhvr>
                                        <p:cTn id="89" dur="1" fill="hold">
                                          <p:stCondLst>
                                            <p:cond delay="0"/>
                                          </p:stCondLst>
                                        </p:cTn>
                                        <p:tgtEl>
                                          <p:spTgt spid="60"/>
                                        </p:tgtEl>
                                        <p:attrNameLst>
                                          <p:attrName>style.visibility</p:attrName>
                                        </p:attrNameLst>
                                      </p:cBhvr>
                                      <p:to>
                                        <p:strVal val="visible"/>
                                      </p:to>
                                    </p:set>
                                    <p:anim calcmode="lin" valueType="num">
                                      <p:cBhvr additive="base">
                                        <p:cTn id="90" dur="1000" fill="hold"/>
                                        <p:tgtEl>
                                          <p:spTgt spid="60"/>
                                        </p:tgtEl>
                                        <p:attrNameLst>
                                          <p:attrName>ppt_x</p:attrName>
                                        </p:attrNameLst>
                                      </p:cBhvr>
                                      <p:tavLst>
                                        <p:tav tm="0">
                                          <p:val>
                                            <p:strVal val="#ppt_x"/>
                                          </p:val>
                                        </p:tav>
                                        <p:tav tm="100000">
                                          <p:val>
                                            <p:strVal val="#ppt_x"/>
                                          </p:val>
                                        </p:tav>
                                      </p:tavLst>
                                    </p:anim>
                                    <p:anim calcmode="lin" valueType="num">
                                      <p:cBhvr additive="base">
                                        <p:cTn id="91" dur="1000" fill="hold"/>
                                        <p:tgtEl>
                                          <p:spTgt spid="60"/>
                                        </p:tgtEl>
                                        <p:attrNameLst>
                                          <p:attrName>ppt_y</p:attrName>
                                        </p:attrNameLst>
                                      </p:cBhvr>
                                      <p:tavLst>
                                        <p:tav tm="0">
                                          <p:val>
                                            <p:strVal val="1+#ppt_h/2"/>
                                          </p:val>
                                        </p:tav>
                                        <p:tav tm="100000">
                                          <p:val>
                                            <p:strVal val="#ppt_y"/>
                                          </p:val>
                                        </p:tav>
                                      </p:tavLst>
                                    </p:anim>
                                  </p:childTnLst>
                                </p:cTn>
                              </p:par>
                              <p:par>
                                <p:cTn id="92" presetID="2" presetClass="entr" presetSubtype="4" decel="100000" fill="hold" nodeType="withEffect">
                                  <p:stCondLst>
                                    <p:cond delay="1900"/>
                                  </p:stCondLst>
                                  <p:childTnLst>
                                    <p:set>
                                      <p:cBhvr>
                                        <p:cTn id="93" dur="1" fill="hold">
                                          <p:stCondLst>
                                            <p:cond delay="0"/>
                                          </p:stCondLst>
                                        </p:cTn>
                                        <p:tgtEl>
                                          <p:spTgt spid="61"/>
                                        </p:tgtEl>
                                        <p:attrNameLst>
                                          <p:attrName>style.visibility</p:attrName>
                                        </p:attrNameLst>
                                      </p:cBhvr>
                                      <p:to>
                                        <p:strVal val="visible"/>
                                      </p:to>
                                    </p:set>
                                    <p:anim calcmode="lin" valueType="num">
                                      <p:cBhvr additive="base">
                                        <p:cTn id="94" dur="1000" fill="hold"/>
                                        <p:tgtEl>
                                          <p:spTgt spid="61"/>
                                        </p:tgtEl>
                                        <p:attrNameLst>
                                          <p:attrName>ppt_x</p:attrName>
                                        </p:attrNameLst>
                                      </p:cBhvr>
                                      <p:tavLst>
                                        <p:tav tm="0">
                                          <p:val>
                                            <p:strVal val="#ppt_x"/>
                                          </p:val>
                                        </p:tav>
                                        <p:tav tm="100000">
                                          <p:val>
                                            <p:strVal val="#ppt_x"/>
                                          </p:val>
                                        </p:tav>
                                      </p:tavLst>
                                    </p:anim>
                                    <p:anim calcmode="lin" valueType="num">
                                      <p:cBhvr additive="base">
                                        <p:cTn id="95" dur="1000" fill="hold"/>
                                        <p:tgtEl>
                                          <p:spTgt spid="61"/>
                                        </p:tgtEl>
                                        <p:attrNameLst>
                                          <p:attrName>ppt_y</p:attrName>
                                        </p:attrNameLst>
                                      </p:cBhvr>
                                      <p:tavLst>
                                        <p:tav tm="0">
                                          <p:val>
                                            <p:strVal val="1+#ppt_h/2"/>
                                          </p:val>
                                        </p:tav>
                                        <p:tav tm="100000">
                                          <p:val>
                                            <p:strVal val="#ppt_y"/>
                                          </p:val>
                                        </p:tav>
                                      </p:tavLst>
                                    </p:anim>
                                  </p:childTnLst>
                                </p:cTn>
                              </p:par>
                              <p:par>
                                <p:cTn id="96" presetID="10" presetClass="entr" presetSubtype="0" fill="hold" nodeType="withEffect">
                                  <p:stCondLst>
                                    <p:cond delay="2000"/>
                                  </p:stCondLst>
                                  <p:childTnLst>
                                    <p:set>
                                      <p:cBhvr>
                                        <p:cTn id="97" dur="1" fill="hold">
                                          <p:stCondLst>
                                            <p:cond delay="0"/>
                                          </p:stCondLst>
                                        </p:cTn>
                                        <p:tgtEl>
                                          <p:spTgt spid="96"/>
                                        </p:tgtEl>
                                        <p:attrNameLst>
                                          <p:attrName>style.visibility</p:attrName>
                                        </p:attrNameLst>
                                      </p:cBhvr>
                                      <p:to>
                                        <p:strVal val="visible"/>
                                      </p:to>
                                    </p:set>
                                    <p:animEffect transition="in" filter="fade">
                                      <p:cBhvr>
                                        <p:cTn id="98" dur="1000"/>
                                        <p:tgtEl>
                                          <p:spTgt spid="96"/>
                                        </p:tgtEl>
                                      </p:cBhvr>
                                    </p:animEffect>
                                  </p:childTnLst>
                                </p:cTn>
                              </p:par>
                              <p:par>
                                <p:cTn id="99" presetID="22" presetClass="entr" presetSubtype="8" fill="hold" grpId="0" nodeType="withEffect">
                                  <p:stCondLst>
                                    <p:cond delay="2000"/>
                                  </p:stCondLst>
                                  <p:childTnLst>
                                    <p:set>
                                      <p:cBhvr>
                                        <p:cTn id="100" dur="1" fill="hold">
                                          <p:stCondLst>
                                            <p:cond delay="0"/>
                                          </p:stCondLst>
                                        </p:cTn>
                                        <p:tgtEl>
                                          <p:spTgt spid="3"/>
                                        </p:tgtEl>
                                        <p:attrNameLst>
                                          <p:attrName>style.visibility</p:attrName>
                                        </p:attrNameLst>
                                      </p:cBhvr>
                                      <p:to>
                                        <p:strVal val="visible"/>
                                      </p:to>
                                    </p:set>
                                    <p:animEffect transition="in" filter="wipe(left)">
                                      <p:cBhvr>
                                        <p:cTn id="101" dur="1000"/>
                                        <p:tgtEl>
                                          <p:spTgt spid="3"/>
                                        </p:tgtEl>
                                      </p:cBhvr>
                                    </p:animEffect>
                                  </p:childTnLst>
                                </p:cTn>
                              </p:par>
                              <p:par>
                                <p:cTn id="102" presetID="22" presetClass="entr" presetSubtype="4" fill="hold" grpId="0" nodeType="withEffect">
                                  <p:stCondLst>
                                    <p:cond delay="2100"/>
                                  </p:stCondLst>
                                  <p:childTnLst>
                                    <p:set>
                                      <p:cBhvr>
                                        <p:cTn id="103" dur="1" fill="hold">
                                          <p:stCondLst>
                                            <p:cond delay="0"/>
                                          </p:stCondLst>
                                        </p:cTn>
                                        <p:tgtEl>
                                          <p:spTgt spid="5"/>
                                        </p:tgtEl>
                                        <p:attrNameLst>
                                          <p:attrName>style.visibility</p:attrName>
                                        </p:attrNameLst>
                                      </p:cBhvr>
                                      <p:to>
                                        <p:strVal val="visible"/>
                                      </p:to>
                                    </p:set>
                                    <p:animEffect transition="in" filter="wipe(down)">
                                      <p:cBhvr>
                                        <p:cTn id="104" dur="1000"/>
                                        <p:tgtEl>
                                          <p:spTgt spid="5"/>
                                        </p:tgtEl>
                                      </p:cBhvr>
                                    </p:animEffect>
                                  </p:childTnLst>
                                </p:cTn>
                              </p:par>
                              <p:par>
                                <p:cTn id="105" presetID="22" presetClass="entr" presetSubtype="4" fill="hold" grpId="0" nodeType="withEffect">
                                  <p:stCondLst>
                                    <p:cond delay="2100"/>
                                  </p:stCondLst>
                                  <p:childTnLst>
                                    <p:set>
                                      <p:cBhvr>
                                        <p:cTn id="106" dur="1" fill="hold">
                                          <p:stCondLst>
                                            <p:cond delay="0"/>
                                          </p:stCondLst>
                                        </p:cTn>
                                        <p:tgtEl>
                                          <p:spTgt spid="2"/>
                                        </p:tgtEl>
                                        <p:attrNameLst>
                                          <p:attrName>style.visibility</p:attrName>
                                        </p:attrNameLst>
                                      </p:cBhvr>
                                      <p:to>
                                        <p:strVal val="visible"/>
                                      </p:to>
                                    </p:set>
                                    <p:animEffect transition="in" filter="wipe(down)">
                                      <p:cBhvr>
                                        <p:cTn id="10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animBg="1"/>
      <p:bldP spid="6" grpId="0"/>
      <p:bldP spid="15" grpId="0"/>
      <p:bldP spid="17" grpId="0"/>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ángulo: esquinas redondeadas 44">
            <a:extLst>
              <a:ext uri="{FF2B5EF4-FFF2-40B4-BE49-F238E27FC236}">
                <a16:creationId xmlns:a16="http://schemas.microsoft.com/office/drawing/2014/main" id="{7E13027F-A54C-4A43-4895-706F6E539AF6}"/>
              </a:ext>
            </a:extLst>
          </p:cNvPr>
          <p:cNvSpPr/>
          <p:nvPr/>
        </p:nvSpPr>
        <p:spPr>
          <a:xfrm flipH="1" flipV="1">
            <a:off x="570916" y="4385279"/>
            <a:ext cx="10507736"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13">
            <a:grayscl/>
            <a:alphaModFix amt="5000"/>
            <a:extLst>
              <a:ext uri="{28A0092B-C50C-407E-A947-70E740481C1C}">
                <a14:useLocalDpi xmlns:a14="http://schemas.microsoft.com/office/drawing/2010/main" val="0"/>
              </a:ext>
            </a:extLst>
          </a:blip>
          <a:stretch>
            <a:fillRect/>
          </a:stretch>
        </p:blipFill>
        <p:spPr>
          <a:xfrm>
            <a:off x="9396262" y="2845015"/>
            <a:ext cx="3278067" cy="2780503"/>
          </a:xfrm>
          <a:prstGeom prst="rect">
            <a:avLst/>
          </a:prstGeom>
        </p:spPr>
      </p:pic>
      <p:sp>
        <p:nvSpPr>
          <p:cNvPr id="53" name="Rectángulo: esquinas redondeadas 52">
            <a:extLst>
              <a:ext uri="{FF2B5EF4-FFF2-40B4-BE49-F238E27FC236}">
                <a16:creationId xmlns:a16="http://schemas.microsoft.com/office/drawing/2014/main" id="{BCDAF261-0565-E0A7-276B-0055AD9E6FD3}"/>
              </a:ext>
            </a:extLst>
          </p:cNvPr>
          <p:cNvSpPr/>
          <p:nvPr/>
        </p:nvSpPr>
        <p:spPr>
          <a:xfrm flipH="1" flipV="1">
            <a:off x="588244" y="4866094"/>
            <a:ext cx="10507736" cy="434389"/>
          </a:xfrm>
          <a:prstGeom prst="roundRect">
            <a:avLst>
              <a:gd name="adj" fmla="val 10030"/>
            </a:avLst>
          </a:prstGeom>
          <a:solidFill>
            <a:srgbClr val="0F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ángulo: esquinas redondeadas 44">
            <a:extLst>
              <a:ext uri="{FF2B5EF4-FFF2-40B4-BE49-F238E27FC236}">
                <a16:creationId xmlns:a16="http://schemas.microsoft.com/office/drawing/2014/main" id="{DE8DC42F-1C1A-2ECC-2231-6E3B5F5F3089}"/>
              </a:ext>
            </a:extLst>
          </p:cNvPr>
          <p:cNvSpPr/>
          <p:nvPr/>
        </p:nvSpPr>
        <p:spPr>
          <a:xfrm flipH="1" flipV="1">
            <a:off x="569236" y="1107865"/>
            <a:ext cx="10507736"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999017" y="234511"/>
            <a:ext cx="299205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Price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Structure</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543239" y="-780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10657080" y="5834199"/>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14"/>
            <a:extLst>
              <a:ext uri="{FF2B5EF4-FFF2-40B4-BE49-F238E27FC236}">
                <a16:creationId xmlns:a16="http://schemas.microsoft.com/office/drawing/2014/main" id="{AA5171B4-6FAD-670B-5D79-BB9E1C555602}"/>
              </a:ext>
            </a:extLst>
          </p:cNvPr>
          <p:cNvSpPr txBox="1"/>
          <p:nvPr/>
        </p:nvSpPr>
        <p:spPr>
          <a:xfrm>
            <a:off x="0" y="6521347"/>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519520"/>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627242"/>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graphicFrame>
        <p:nvGraphicFramePr>
          <p:cNvPr id="54" name="Content Placeholder 5">
            <a:extLst>
              <a:ext uri="{FF2B5EF4-FFF2-40B4-BE49-F238E27FC236}">
                <a16:creationId xmlns:a16="http://schemas.microsoft.com/office/drawing/2014/main" id="{C2FE36DD-70EE-F4F5-B803-3962A98E633A}"/>
              </a:ext>
            </a:extLst>
          </p:cNvPr>
          <p:cNvGraphicFramePr>
            <a:graphicFrameLocks/>
          </p:cNvGraphicFramePr>
          <p:nvPr>
            <p:extLst>
              <p:ext uri="{D42A27DB-BD31-4B8C-83A1-F6EECF244321}">
                <p14:modId xmlns:p14="http://schemas.microsoft.com/office/powerpoint/2010/main" val="3507656558"/>
              </p:ext>
            </p:extLst>
          </p:nvPr>
        </p:nvGraphicFramePr>
        <p:xfrm>
          <a:off x="947452" y="4830304"/>
          <a:ext cx="9709628" cy="540000"/>
        </p:xfrm>
        <a:graphic>
          <a:graphicData uri="http://schemas.openxmlformats.org/drawingml/2006/table">
            <a:tbl>
              <a:tblPr>
                <a:tableStyleId>{5940675A-B579-460E-94D1-54222C63F5DA}</a:tableStyleId>
              </a:tblPr>
              <a:tblGrid>
                <a:gridCol w="3242902">
                  <a:extLst>
                    <a:ext uri="{9D8B030D-6E8A-4147-A177-3AD203B41FA5}">
                      <a16:colId xmlns:a16="http://schemas.microsoft.com/office/drawing/2014/main" val="2683528064"/>
                    </a:ext>
                  </a:extLst>
                </a:gridCol>
                <a:gridCol w="2120011">
                  <a:extLst>
                    <a:ext uri="{9D8B030D-6E8A-4147-A177-3AD203B41FA5}">
                      <a16:colId xmlns:a16="http://schemas.microsoft.com/office/drawing/2014/main" val="305657707"/>
                    </a:ext>
                  </a:extLst>
                </a:gridCol>
                <a:gridCol w="2268830">
                  <a:extLst>
                    <a:ext uri="{9D8B030D-6E8A-4147-A177-3AD203B41FA5}">
                      <a16:colId xmlns:a16="http://schemas.microsoft.com/office/drawing/2014/main" val="3017635315"/>
                    </a:ext>
                  </a:extLst>
                </a:gridCol>
                <a:gridCol w="2077885">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  To- Distributor</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20% S&amp;M markup)</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fontAlgn="ctr"/>
                      <a:r>
                        <a:rPr lang="en-US" sz="1600" b="0" u="none" strike="noStrike" dirty="0">
                          <a:solidFill>
                            <a:schemeClr val="bg1"/>
                          </a:solidFill>
                          <a:effectLst/>
                          <a:latin typeface="Oswald Medium" pitchFamily="2" charset="0"/>
                          <a:cs typeface="Poppins Light" panose="00000400000000000000" pitchFamily="2" charset="0"/>
                        </a:rPr>
                        <a:t>0.95</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USD</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bl>
          </a:graphicData>
        </a:graphic>
      </p:graphicFrame>
      <p:graphicFrame>
        <p:nvGraphicFramePr>
          <p:cNvPr id="57" name="Content Placeholder 5">
            <a:extLst>
              <a:ext uri="{FF2B5EF4-FFF2-40B4-BE49-F238E27FC236}">
                <a16:creationId xmlns:a16="http://schemas.microsoft.com/office/drawing/2014/main" id="{0F924B9B-4059-AE3B-E9FC-74E3752BAE9D}"/>
              </a:ext>
            </a:extLst>
          </p:cNvPr>
          <p:cNvGraphicFramePr>
            <a:graphicFrameLocks noGrp="1"/>
          </p:cNvGraphicFramePr>
          <p:nvPr>
            <p:ph idx="1"/>
            <p:extLst>
              <p:ext uri="{D42A27DB-BD31-4B8C-83A1-F6EECF244321}">
                <p14:modId xmlns:p14="http://schemas.microsoft.com/office/powerpoint/2010/main" val="115947643"/>
              </p:ext>
            </p:extLst>
          </p:nvPr>
        </p:nvGraphicFramePr>
        <p:xfrm>
          <a:off x="948323" y="1051618"/>
          <a:ext cx="9749562" cy="1084006"/>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FOB</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fontAlgn="ctr"/>
                      <a:r>
                        <a:rPr lang="en-US" sz="1600" b="0" u="none" strike="noStrike" dirty="0">
                          <a:solidFill>
                            <a:schemeClr val="bg1"/>
                          </a:solidFill>
                          <a:effectLst/>
                          <a:latin typeface="Oswald Medium" pitchFamily="2" charset="0"/>
                          <a:cs typeface="Poppins Light" panose="00000400000000000000" pitchFamily="2" charset="0"/>
                        </a:rPr>
                        <a:t>0.70</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USD</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C&amp;F</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4.00%</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3</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3023115"/>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Insurance</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1</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19916"/>
                  </a:ext>
                </a:extLst>
              </a:tr>
            </a:tbl>
          </a:graphicData>
        </a:graphic>
      </p:graphicFrame>
      <p:sp>
        <p:nvSpPr>
          <p:cNvPr id="3" name="Flecha: hacia arriba 218">
            <a:extLst>
              <a:ext uri="{FF2B5EF4-FFF2-40B4-BE49-F238E27FC236}">
                <a16:creationId xmlns:a16="http://schemas.microsoft.com/office/drawing/2014/main" id="{A0AD3D51-CB85-5304-A508-4DBF30468653}"/>
              </a:ext>
            </a:extLst>
          </p:cNvPr>
          <p:cNvSpPr/>
          <p:nvPr/>
        </p:nvSpPr>
        <p:spPr>
          <a:xfrm flipH="1">
            <a:off x="6409746" y="7082687"/>
            <a:ext cx="2437724" cy="6314602"/>
          </a:xfrm>
          <a:custGeom>
            <a:avLst/>
            <a:gdLst>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643808 w 4043004"/>
              <a:gd name="connsiteY5" fmla="*/ 6290951 h 6290951"/>
              <a:gd name="connsiteX6" fmla="*/ 643808 w 4043004"/>
              <a:gd name="connsiteY6" fmla="*/ 684400 h 6290951"/>
              <a:gd name="connsiteX7" fmla="*/ 0 w 4043004"/>
              <a:gd name="connsiteY7" fmla="*/ 684400 h 6290951"/>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2001520 w 4043004"/>
              <a:gd name="connsiteY5" fmla="*/ 6281027 h 6290951"/>
              <a:gd name="connsiteX6" fmla="*/ 643808 w 4043004"/>
              <a:gd name="connsiteY6" fmla="*/ 6290951 h 6290951"/>
              <a:gd name="connsiteX7" fmla="*/ 643808 w 4043004"/>
              <a:gd name="connsiteY7" fmla="*/ 684400 h 6290951"/>
              <a:gd name="connsiteX8" fmla="*/ 0 w 4043004"/>
              <a:gd name="connsiteY8" fmla="*/ 684400 h 6290951"/>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290951 h 6728067"/>
              <a:gd name="connsiteX7" fmla="*/ 643808 w 4043004"/>
              <a:gd name="connsiteY7" fmla="*/ 684400 h 6728067"/>
              <a:gd name="connsiteX8" fmla="*/ 0 w 4043004"/>
              <a:gd name="connsiteY8"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1981200 w 4043004"/>
              <a:gd name="connsiteY4" fmla="*/ 6728067 h 6728067"/>
              <a:gd name="connsiteX5" fmla="*/ 643808 w 4043004"/>
              <a:gd name="connsiteY5" fmla="*/ 684400 h 6728067"/>
              <a:gd name="connsiteX6" fmla="*/ 0 w 4043004"/>
              <a:gd name="connsiteY6" fmla="*/ 684400 h 672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3004" h="6728067">
                <a:moveTo>
                  <a:pt x="0" y="684400"/>
                </a:moveTo>
                <a:lnTo>
                  <a:pt x="2021502" y="0"/>
                </a:lnTo>
                <a:lnTo>
                  <a:pt x="4043004" y="684400"/>
                </a:lnTo>
                <a:lnTo>
                  <a:pt x="3399196" y="684400"/>
                </a:lnTo>
                <a:lnTo>
                  <a:pt x="1981200" y="6728067"/>
                </a:lnTo>
                <a:lnTo>
                  <a:pt x="643808" y="684400"/>
                </a:lnTo>
                <a:lnTo>
                  <a:pt x="0" y="684400"/>
                </a:lnTo>
                <a:close/>
              </a:path>
            </a:pathLst>
          </a:cu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Map_Africa">
            <a:extLst>
              <a:ext uri="{FF2B5EF4-FFF2-40B4-BE49-F238E27FC236}">
                <a16:creationId xmlns:a16="http://schemas.microsoft.com/office/drawing/2014/main" id="{FE4431D7-D810-3807-B70B-49E980131F31}"/>
              </a:ext>
            </a:extLst>
          </p:cNvPr>
          <p:cNvGrpSpPr/>
          <p:nvPr/>
        </p:nvGrpSpPr>
        <p:grpSpPr>
          <a:xfrm>
            <a:off x="578447" y="7689088"/>
            <a:ext cx="5931540" cy="5576226"/>
            <a:chOff x="4858807" y="775624"/>
            <a:chExt cx="4833772" cy="5384801"/>
          </a:xfrm>
          <a:solidFill>
            <a:sysClr val="window" lastClr="FFFFFF">
              <a:lumMod val="85000"/>
            </a:sysClr>
          </a:solidFill>
        </p:grpSpPr>
        <p:sp>
          <p:nvSpPr>
            <p:cNvPr id="37" name="Angola">
              <a:extLst>
                <a:ext uri="{FF2B5EF4-FFF2-40B4-BE49-F238E27FC236}">
                  <a16:creationId xmlns:a16="http://schemas.microsoft.com/office/drawing/2014/main" id="{148A8E11-46D9-BBB5-1002-F5856DCD40DE}"/>
                </a:ext>
              </a:extLst>
            </p:cNvPr>
            <p:cNvSpPr>
              <a:spLocks noEditPoints="1"/>
            </p:cNvSpPr>
            <p:nvPr/>
          </p:nvSpPr>
          <p:spPr bwMode="auto">
            <a:xfrm>
              <a:off x="6904929" y="3895062"/>
              <a:ext cx="881063" cy="1006475"/>
            </a:xfrm>
            <a:custGeom>
              <a:avLst/>
              <a:gdLst>
                <a:gd name="T0" fmla="*/ 83 w 555"/>
                <a:gd name="T1" fmla="*/ 67 h 634"/>
                <a:gd name="T2" fmla="*/ 55 w 555"/>
                <a:gd name="T3" fmla="*/ 72 h 634"/>
                <a:gd name="T4" fmla="*/ 32 w 555"/>
                <a:gd name="T5" fmla="*/ 88 h 634"/>
                <a:gd name="T6" fmla="*/ 63 w 555"/>
                <a:gd name="T7" fmla="*/ 149 h 634"/>
                <a:gd name="T8" fmla="*/ 62 w 555"/>
                <a:gd name="T9" fmla="*/ 213 h 634"/>
                <a:gd name="T10" fmla="*/ 70 w 555"/>
                <a:gd name="T11" fmla="*/ 251 h 634"/>
                <a:gd name="T12" fmla="*/ 95 w 555"/>
                <a:gd name="T13" fmla="*/ 296 h 634"/>
                <a:gd name="T14" fmla="*/ 92 w 555"/>
                <a:gd name="T15" fmla="*/ 358 h 634"/>
                <a:gd name="T16" fmla="*/ 51 w 555"/>
                <a:gd name="T17" fmla="*/ 409 h 634"/>
                <a:gd name="T18" fmla="*/ 26 w 555"/>
                <a:gd name="T19" fmla="*/ 471 h 634"/>
                <a:gd name="T20" fmla="*/ 7 w 555"/>
                <a:gd name="T21" fmla="*/ 533 h 634"/>
                <a:gd name="T22" fmla="*/ 4 w 555"/>
                <a:gd name="T23" fmla="*/ 605 h 634"/>
                <a:gd name="T24" fmla="*/ 52 w 555"/>
                <a:gd name="T25" fmla="*/ 588 h 634"/>
                <a:gd name="T26" fmla="*/ 106 w 555"/>
                <a:gd name="T27" fmla="*/ 611 h 634"/>
                <a:gd name="T28" fmla="*/ 291 w 555"/>
                <a:gd name="T29" fmla="*/ 605 h 634"/>
                <a:gd name="T30" fmla="*/ 427 w 555"/>
                <a:gd name="T31" fmla="*/ 634 h 634"/>
                <a:gd name="T32" fmla="*/ 482 w 555"/>
                <a:gd name="T33" fmla="*/ 585 h 634"/>
                <a:gd name="T34" fmla="*/ 459 w 555"/>
                <a:gd name="T35" fmla="*/ 398 h 634"/>
                <a:gd name="T36" fmla="*/ 548 w 555"/>
                <a:gd name="T37" fmla="*/ 382 h 634"/>
                <a:gd name="T38" fmla="*/ 548 w 555"/>
                <a:gd name="T39" fmla="*/ 342 h 634"/>
                <a:gd name="T40" fmla="*/ 549 w 555"/>
                <a:gd name="T41" fmla="*/ 305 h 634"/>
                <a:gd name="T42" fmla="*/ 501 w 555"/>
                <a:gd name="T43" fmla="*/ 309 h 634"/>
                <a:gd name="T44" fmla="*/ 471 w 555"/>
                <a:gd name="T45" fmla="*/ 313 h 634"/>
                <a:gd name="T46" fmla="*/ 460 w 555"/>
                <a:gd name="T47" fmla="*/ 239 h 634"/>
                <a:gd name="T48" fmla="*/ 464 w 555"/>
                <a:gd name="T49" fmla="*/ 182 h 634"/>
                <a:gd name="T50" fmla="*/ 455 w 555"/>
                <a:gd name="T51" fmla="*/ 134 h 634"/>
                <a:gd name="T52" fmla="*/ 405 w 555"/>
                <a:gd name="T53" fmla="*/ 117 h 634"/>
                <a:gd name="T54" fmla="*/ 380 w 555"/>
                <a:gd name="T55" fmla="*/ 126 h 634"/>
                <a:gd name="T56" fmla="*/ 341 w 555"/>
                <a:gd name="T57" fmla="*/ 156 h 634"/>
                <a:gd name="T58" fmla="*/ 309 w 555"/>
                <a:gd name="T59" fmla="*/ 161 h 634"/>
                <a:gd name="T60" fmla="*/ 265 w 555"/>
                <a:gd name="T61" fmla="*/ 171 h 634"/>
                <a:gd name="T62" fmla="*/ 238 w 555"/>
                <a:gd name="T63" fmla="*/ 131 h 634"/>
                <a:gd name="T64" fmla="*/ 215 w 555"/>
                <a:gd name="T65" fmla="*/ 67 h 634"/>
                <a:gd name="T66" fmla="*/ 42 w 555"/>
                <a:gd name="T67" fmla="*/ 59 h 634"/>
                <a:gd name="T68" fmla="*/ 50 w 555"/>
                <a:gd name="T69" fmla="*/ 27 h 634"/>
                <a:gd name="T70" fmla="*/ 50 w 555"/>
                <a:gd name="T71" fmla="*/ 0 h 634"/>
                <a:gd name="T72" fmla="*/ 18 w 555"/>
                <a:gd name="T73" fmla="*/ 28 h 634"/>
                <a:gd name="T74" fmla="*/ 42 w 555"/>
                <a:gd name="T75" fmla="*/ 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634">
                  <a:moveTo>
                    <a:pt x="215" y="67"/>
                  </a:moveTo>
                  <a:lnTo>
                    <a:pt x="83" y="67"/>
                  </a:lnTo>
                  <a:lnTo>
                    <a:pt x="68" y="72"/>
                  </a:lnTo>
                  <a:lnTo>
                    <a:pt x="55" y="72"/>
                  </a:lnTo>
                  <a:lnTo>
                    <a:pt x="37" y="78"/>
                  </a:lnTo>
                  <a:lnTo>
                    <a:pt x="32" y="88"/>
                  </a:lnTo>
                  <a:lnTo>
                    <a:pt x="54" y="117"/>
                  </a:lnTo>
                  <a:lnTo>
                    <a:pt x="63" y="149"/>
                  </a:lnTo>
                  <a:lnTo>
                    <a:pt x="76" y="194"/>
                  </a:lnTo>
                  <a:lnTo>
                    <a:pt x="62" y="213"/>
                  </a:lnTo>
                  <a:lnTo>
                    <a:pt x="60" y="222"/>
                  </a:lnTo>
                  <a:lnTo>
                    <a:pt x="70" y="251"/>
                  </a:lnTo>
                  <a:lnTo>
                    <a:pt x="82" y="279"/>
                  </a:lnTo>
                  <a:lnTo>
                    <a:pt x="95" y="296"/>
                  </a:lnTo>
                  <a:lnTo>
                    <a:pt x="97" y="322"/>
                  </a:lnTo>
                  <a:lnTo>
                    <a:pt x="92" y="358"/>
                  </a:lnTo>
                  <a:lnTo>
                    <a:pt x="78" y="378"/>
                  </a:lnTo>
                  <a:lnTo>
                    <a:pt x="51" y="409"/>
                  </a:lnTo>
                  <a:lnTo>
                    <a:pt x="41" y="428"/>
                  </a:lnTo>
                  <a:lnTo>
                    <a:pt x="26" y="471"/>
                  </a:lnTo>
                  <a:lnTo>
                    <a:pt x="23" y="490"/>
                  </a:lnTo>
                  <a:lnTo>
                    <a:pt x="7" y="533"/>
                  </a:lnTo>
                  <a:lnTo>
                    <a:pt x="0" y="575"/>
                  </a:lnTo>
                  <a:lnTo>
                    <a:pt x="4" y="605"/>
                  </a:lnTo>
                  <a:lnTo>
                    <a:pt x="26" y="595"/>
                  </a:lnTo>
                  <a:lnTo>
                    <a:pt x="52" y="588"/>
                  </a:lnTo>
                  <a:lnTo>
                    <a:pt x="80" y="589"/>
                  </a:lnTo>
                  <a:lnTo>
                    <a:pt x="106" y="611"/>
                  </a:lnTo>
                  <a:lnTo>
                    <a:pt x="113" y="607"/>
                  </a:lnTo>
                  <a:lnTo>
                    <a:pt x="291" y="605"/>
                  </a:lnTo>
                  <a:lnTo>
                    <a:pt x="322" y="628"/>
                  </a:lnTo>
                  <a:lnTo>
                    <a:pt x="427" y="634"/>
                  </a:lnTo>
                  <a:lnTo>
                    <a:pt x="510" y="615"/>
                  </a:lnTo>
                  <a:lnTo>
                    <a:pt x="482" y="585"/>
                  </a:lnTo>
                  <a:lnTo>
                    <a:pt x="453" y="547"/>
                  </a:lnTo>
                  <a:lnTo>
                    <a:pt x="459" y="398"/>
                  </a:lnTo>
                  <a:lnTo>
                    <a:pt x="552" y="398"/>
                  </a:lnTo>
                  <a:lnTo>
                    <a:pt x="548" y="382"/>
                  </a:lnTo>
                  <a:lnTo>
                    <a:pt x="555" y="364"/>
                  </a:lnTo>
                  <a:lnTo>
                    <a:pt x="548" y="342"/>
                  </a:lnTo>
                  <a:lnTo>
                    <a:pt x="554" y="319"/>
                  </a:lnTo>
                  <a:lnTo>
                    <a:pt x="549" y="305"/>
                  </a:lnTo>
                  <a:lnTo>
                    <a:pt x="529" y="303"/>
                  </a:lnTo>
                  <a:lnTo>
                    <a:pt x="501" y="309"/>
                  </a:lnTo>
                  <a:lnTo>
                    <a:pt x="482" y="308"/>
                  </a:lnTo>
                  <a:lnTo>
                    <a:pt x="471" y="313"/>
                  </a:lnTo>
                  <a:lnTo>
                    <a:pt x="474" y="257"/>
                  </a:lnTo>
                  <a:lnTo>
                    <a:pt x="460" y="239"/>
                  </a:lnTo>
                  <a:lnTo>
                    <a:pt x="457" y="210"/>
                  </a:lnTo>
                  <a:lnTo>
                    <a:pt x="464" y="182"/>
                  </a:lnTo>
                  <a:lnTo>
                    <a:pt x="455" y="164"/>
                  </a:lnTo>
                  <a:lnTo>
                    <a:pt x="455" y="134"/>
                  </a:lnTo>
                  <a:lnTo>
                    <a:pt x="401" y="134"/>
                  </a:lnTo>
                  <a:lnTo>
                    <a:pt x="405" y="117"/>
                  </a:lnTo>
                  <a:lnTo>
                    <a:pt x="382" y="118"/>
                  </a:lnTo>
                  <a:lnTo>
                    <a:pt x="380" y="126"/>
                  </a:lnTo>
                  <a:lnTo>
                    <a:pt x="352" y="128"/>
                  </a:lnTo>
                  <a:lnTo>
                    <a:pt x="341" y="156"/>
                  </a:lnTo>
                  <a:lnTo>
                    <a:pt x="333" y="167"/>
                  </a:lnTo>
                  <a:lnTo>
                    <a:pt x="309" y="161"/>
                  </a:lnTo>
                  <a:lnTo>
                    <a:pt x="294" y="167"/>
                  </a:lnTo>
                  <a:lnTo>
                    <a:pt x="265" y="171"/>
                  </a:lnTo>
                  <a:lnTo>
                    <a:pt x="248" y="146"/>
                  </a:lnTo>
                  <a:lnTo>
                    <a:pt x="238" y="131"/>
                  </a:lnTo>
                  <a:lnTo>
                    <a:pt x="226" y="103"/>
                  </a:lnTo>
                  <a:lnTo>
                    <a:pt x="215" y="67"/>
                  </a:lnTo>
                  <a:lnTo>
                    <a:pt x="215" y="67"/>
                  </a:lnTo>
                  <a:close/>
                  <a:moveTo>
                    <a:pt x="42" y="59"/>
                  </a:moveTo>
                  <a:lnTo>
                    <a:pt x="43" y="38"/>
                  </a:lnTo>
                  <a:lnTo>
                    <a:pt x="50" y="27"/>
                  </a:lnTo>
                  <a:lnTo>
                    <a:pt x="67" y="16"/>
                  </a:lnTo>
                  <a:lnTo>
                    <a:pt x="50" y="0"/>
                  </a:lnTo>
                  <a:lnTo>
                    <a:pt x="37" y="8"/>
                  </a:lnTo>
                  <a:lnTo>
                    <a:pt x="18" y="28"/>
                  </a:lnTo>
                  <a:lnTo>
                    <a:pt x="30" y="64"/>
                  </a:lnTo>
                  <a:lnTo>
                    <a:pt x="42" y="59"/>
                  </a:lnTo>
                  <a:lnTo>
                    <a:pt x="42" y="5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38" name="Burundi">
              <a:extLst>
                <a:ext uri="{FF2B5EF4-FFF2-40B4-BE49-F238E27FC236}">
                  <a16:creationId xmlns:a16="http://schemas.microsoft.com/office/drawing/2014/main" id="{36AE0995-A13A-6F4B-6978-9BC107EE6089}"/>
                </a:ext>
              </a:extLst>
            </p:cNvPr>
            <p:cNvSpPr>
              <a:spLocks/>
            </p:cNvSpPr>
            <p:nvPr/>
          </p:nvSpPr>
          <p:spPr bwMode="auto">
            <a:xfrm>
              <a:off x="8147941" y="3739487"/>
              <a:ext cx="120650" cy="157163"/>
            </a:xfrm>
            <a:custGeom>
              <a:avLst/>
              <a:gdLst>
                <a:gd name="T0" fmla="*/ 66 w 76"/>
                <a:gd name="T1" fmla="*/ 21 h 99"/>
                <a:gd name="T2" fmla="*/ 65 w 76"/>
                <a:gd name="T3" fmla="*/ 3 h 99"/>
                <a:gd name="T4" fmla="*/ 65 w 76"/>
                <a:gd name="T5" fmla="*/ 3 h 99"/>
                <a:gd name="T6" fmla="*/ 41 w 76"/>
                <a:gd name="T7" fmla="*/ 0 h 99"/>
                <a:gd name="T8" fmla="*/ 26 w 76"/>
                <a:gd name="T9" fmla="*/ 27 h 99"/>
                <a:gd name="T10" fmla="*/ 0 w 76"/>
                <a:gd name="T11" fmla="*/ 23 h 99"/>
                <a:gd name="T12" fmla="*/ 11 w 76"/>
                <a:gd name="T13" fmla="*/ 45 h 99"/>
                <a:gd name="T14" fmla="*/ 11 w 76"/>
                <a:gd name="T15" fmla="*/ 52 h 99"/>
                <a:gd name="T16" fmla="*/ 26 w 76"/>
                <a:gd name="T17" fmla="*/ 97 h 99"/>
                <a:gd name="T18" fmla="*/ 26 w 76"/>
                <a:gd name="T19" fmla="*/ 99 h 99"/>
                <a:gd name="T20" fmla="*/ 31 w 76"/>
                <a:gd name="T21" fmla="*/ 99 h 99"/>
                <a:gd name="T22" fmla="*/ 47 w 76"/>
                <a:gd name="T23" fmla="*/ 82 h 99"/>
                <a:gd name="T24" fmla="*/ 65 w 76"/>
                <a:gd name="T25" fmla="*/ 58 h 99"/>
                <a:gd name="T26" fmla="*/ 76 w 76"/>
                <a:gd name="T27" fmla="*/ 47 h 99"/>
                <a:gd name="T28" fmla="*/ 76 w 76"/>
                <a:gd name="T29" fmla="*/ 32 h 99"/>
                <a:gd name="T30" fmla="*/ 66 w 76"/>
                <a:gd name="T31" fmla="*/ 21 h 99"/>
                <a:gd name="T32" fmla="*/ 66 w 76"/>
                <a:gd name="T33" fmla="*/ 2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99">
                  <a:moveTo>
                    <a:pt x="66" y="21"/>
                  </a:moveTo>
                  <a:lnTo>
                    <a:pt x="65" y="3"/>
                  </a:lnTo>
                  <a:lnTo>
                    <a:pt x="65" y="3"/>
                  </a:lnTo>
                  <a:lnTo>
                    <a:pt x="41" y="0"/>
                  </a:lnTo>
                  <a:lnTo>
                    <a:pt x="26" y="27"/>
                  </a:lnTo>
                  <a:lnTo>
                    <a:pt x="0" y="23"/>
                  </a:lnTo>
                  <a:lnTo>
                    <a:pt x="11" y="45"/>
                  </a:lnTo>
                  <a:lnTo>
                    <a:pt x="11" y="52"/>
                  </a:lnTo>
                  <a:lnTo>
                    <a:pt x="26" y="97"/>
                  </a:lnTo>
                  <a:lnTo>
                    <a:pt x="26" y="99"/>
                  </a:lnTo>
                  <a:lnTo>
                    <a:pt x="31" y="99"/>
                  </a:lnTo>
                  <a:lnTo>
                    <a:pt x="47" y="82"/>
                  </a:lnTo>
                  <a:lnTo>
                    <a:pt x="65" y="58"/>
                  </a:lnTo>
                  <a:lnTo>
                    <a:pt x="76" y="47"/>
                  </a:lnTo>
                  <a:lnTo>
                    <a:pt x="76" y="32"/>
                  </a:lnTo>
                  <a:lnTo>
                    <a:pt x="66" y="21"/>
                  </a:lnTo>
                  <a:lnTo>
                    <a:pt x="66" y="21"/>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0" name="Benin">
              <a:extLst>
                <a:ext uri="{FF2B5EF4-FFF2-40B4-BE49-F238E27FC236}">
                  <a16:creationId xmlns:a16="http://schemas.microsoft.com/office/drawing/2014/main" id="{F5945F07-C191-BB5A-E5B6-D66575C93D15}"/>
                </a:ext>
              </a:extLst>
            </p:cNvPr>
            <p:cNvSpPr>
              <a:spLocks/>
            </p:cNvSpPr>
            <p:nvPr/>
          </p:nvSpPr>
          <p:spPr bwMode="auto">
            <a:xfrm>
              <a:off x="6146104" y="2652050"/>
              <a:ext cx="212725" cy="454025"/>
            </a:xfrm>
            <a:custGeom>
              <a:avLst/>
              <a:gdLst>
                <a:gd name="T0" fmla="*/ 126 w 134"/>
                <a:gd name="T1" fmla="*/ 27 h 286"/>
                <a:gd name="T2" fmla="*/ 92 w 134"/>
                <a:gd name="T3" fmla="*/ 0 h 286"/>
                <a:gd name="T4" fmla="*/ 76 w 134"/>
                <a:gd name="T5" fmla="*/ 0 h 286"/>
                <a:gd name="T6" fmla="*/ 61 w 134"/>
                <a:gd name="T7" fmla="*/ 13 h 286"/>
                <a:gd name="T8" fmla="*/ 52 w 134"/>
                <a:gd name="T9" fmla="*/ 28 h 286"/>
                <a:gd name="T10" fmla="*/ 30 w 134"/>
                <a:gd name="T11" fmla="*/ 32 h 286"/>
                <a:gd name="T12" fmla="*/ 21 w 134"/>
                <a:gd name="T13" fmla="*/ 52 h 286"/>
                <a:gd name="T14" fmla="*/ 5 w 134"/>
                <a:gd name="T15" fmla="*/ 58 h 286"/>
                <a:gd name="T16" fmla="*/ 0 w 134"/>
                <a:gd name="T17" fmla="*/ 83 h 286"/>
                <a:gd name="T18" fmla="*/ 13 w 134"/>
                <a:gd name="T19" fmla="*/ 96 h 286"/>
                <a:gd name="T20" fmla="*/ 29 w 134"/>
                <a:gd name="T21" fmla="*/ 113 h 286"/>
                <a:gd name="T22" fmla="*/ 31 w 134"/>
                <a:gd name="T23" fmla="*/ 136 h 286"/>
                <a:gd name="T24" fmla="*/ 40 w 134"/>
                <a:gd name="T25" fmla="*/ 146 h 286"/>
                <a:gd name="T26" fmla="*/ 38 w 134"/>
                <a:gd name="T27" fmla="*/ 254 h 286"/>
                <a:gd name="T28" fmla="*/ 49 w 134"/>
                <a:gd name="T29" fmla="*/ 286 h 286"/>
                <a:gd name="T30" fmla="*/ 85 w 134"/>
                <a:gd name="T31" fmla="*/ 281 h 286"/>
                <a:gd name="T32" fmla="*/ 87 w 134"/>
                <a:gd name="T33" fmla="*/ 205 h 286"/>
                <a:gd name="T34" fmla="*/ 86 w 134"/>
                <a:gd name="T35" fmla="*/ 175 h 286"/>
                <a:gd name="T36" fmla="*/ 95 w 134"/>
                <a:gd name="T37" fmla="*/ 146 h 286"/>
                <a:gd name="T38" fmla="*/ 108 w 134"/>
                <a:gd name="T39" fmla="*/ 130 h 286"/>
                <a:gd name="T40" fmla="*/ 130 w 134"/>
                <a:gd name="T41" fmla="*/ 102 h 286"/>
                <a:gd name="T42" fmla="*/ 126 w 134"/>
                <a:gd name="T43" fmla="*/ 90 h 286"/>
                <a:gd name="T44" fmla="*/ 134 w 134"/>
                <a:gd name="T45" fmla="*/ 70 h 286"/>
                <a:gd name="T46" fmla="*/ 124 w 134"/>
                <a:gd name="T47" fmla="*/ 42 h 286"/>
                <a:gd name="T48" fmla="*/ 126 w 134"/>
                <a:gd name="T49" fmla="*/ 27 h 286"/>
                <a:gd name="T50" fmla="*/ 126 w 134"/>
                <a:gd name="T51" fmla="*/ 2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286">
                  <a:moveTo>
                    <a:pt x="126" y="27"/>
                  </a:moveTo>
                  <a:lnTo>
                    <a:pt x="92" y="0"/>
                  </a:lnTo>
                  <a:lnTo>
                    <a:pt x="76" y="0"/>
                  </a:lnTo>
                  <a:lnTo>
                    <a:pt x="61" y="13"/>
                  </a:lnTo>
                  <a:lnTo>
                    <a:pt x="52" y="28"/>
                  </a:lnTo>
                  <a:lnTo>
                    <a:pt x="30" y="32"/>
                  </a:lnTo>
                  <a:lnTo>
                    <a:pt x="21" y="52"/>
                  </a:lnTo>
                  <a:lnTo>
                    <a:pt x="5" y="58"/>
                  </a:lnTo>
                  <a:lnTo>
                    <a:pt x="0" y="83"/>
                  </a:lnTo>
                  <a:lnTo>
                    <a:pt x="13" y="96"/>
                  </a:lnTo>
                  <a:lnTo>
                    <a:pt x="29" y="113"/>
                  </a:lnTo>
                  <a:lnTo>
                    <a:pt x="31" y="136"/>
                  </a:lnTo>
                  <a:lnTo>
                    <a:pt x="40" y="146"/>
                  </a:lnTo>
                  <a:lnTo>
                    <a:pt x="38" y="254"/>
                  </a:lnTo>
                  <a:lnTo>
                    <a:pt x="49" y="286"/>
                  </a:lnTo>
                  <a:lnTo>
                    <a:pt x="85" y="281"/>
                  </a:lnTo>
                  <a:lnTo>
                    <a:pt x="87" y="205"/>
                  </a:lnTo>
                  <a:lnTo>
                    <a:pt x="86" y="175"/>
                  </a:lnTo>
                  <a:lnTo>
                    <a:pt x="95" y="146"/>
                  </a:lnTo>
                  <a:lnTo>
                    <a:pt x="108" y="130"/>
                  </a:lnTo>
                  <a:lnTo>
                    <a:pt x="130" y="102"/>
                  </a:lnTo>
                  <a:lnTo>
                    <a:pt x="126" y="90"/>
                  </a:lnTo>
                  <a:lnTo>
                    <a:pt x="134" y="70"/>
                  </a:lnTo>
                  <a:lnTo>
                    <a:pt x="124" y="42"/>
                  </a:lnTo>
                  <a:lnTo>
                    <a:pt x="126" y="27"/>
                  </a:lnTo>
                  <a:lnTo>
                    <a:pt x="12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1" name="Burkina Faso">
              <a:extLst>
                <a:ext uri="{FF2B5EF4-FFF2-40B4-BE49-F238E27FC236}">
                  <a16:creationId xmlns:a16="http://schemas.microsoft.com/office/drawing/2014/main" id="{D9EBE5C3-FBFF-0B73-DB79-7FB858470A03}"/>
                </a:ext>
              </a:extLst>
            </p:cNvPr>
            <p:cNvSpPr>
              <a:spLocks/>
            </p:cNvSpPr>
            <p:nvPr/>
          </p:nvSpPr>
          <p:spPr bwMode="auto">
            <a:xfrm>
              <a:off x="5704779" y="2437737"/>
              <a:ext cx="539750" cy="409575"/>
            </a:xfrm>
            <a:custGeom>
              <a:avLst/>
              <a:gdLst>
                <a:gd name="T0" fmla="*/ 260 w 340"/>
                <a:gd name="T1" fmla="*/ 8 h 258"/>
                <a:gd name="T2" fmla="*/ 232 w 340"/>
                <a:gd name="T3" fmla="*/ 8 h 258"/>
                <a:gd name="T4" fmla="*/ 221 w 340"/>
                <a:gd name="T5" fmla="*/ 0 h 258"/>
                <a:gd name="T6" fmla="*/ 196 w 340"/>
                <a:gd name="T7" fmla="*/ 6 h 258"/>
                <a:gd name="T8" fmla="*/ 155 w 340"/>
                <a:gd name="T9" fmla="*/ 26 h 258"/>
                <a:gd name="T10" fmla="*/ 146 w 340"/>
                <a:gd name="T11" fmla="*/ 40 h 258"/>
                <a:gd name="T12" fmla="*/ 112 w 340"/>
                <a:gd name="T13" fmla="*/ 62 h 258"/>
                <a:gd name="T14" fmla="*/ 106 w 340"/>
                <a:gd name="T15" fmla="*/ 74 h 258"/>
                <a:gd name="T16" fmla="*/ 88 w 340"/>
                <a:gd name="T17" fmla="*/ 83 h 258"/>
                <a:gd name="T18" fmla="*/ 66 w 340"/>
                <a:gd name="T19" fmla="*/ 77 h 258"/>
                <a:gd name="T20" fmla="*/ 54 w 340"/>
                <a:gd name="T21" fmla="*/ 88 h 258"/>
                <a:gd name="T22" fmla="*/ 47 w 340"/>
                <a:gd name="T23" fmla="*/ 120 h 258"/>
                <a:gd name="T24" fmla="*/ 12 w 340"/>
                <a:gd name="T25" fmla="*/ 159 h 258"/>
                <a:gd name="T26" fmla="*/ 13 w 340"/>
                <a:gd name="T27" fmla="*/ 175 h 258"/>
                <a:gd name="T28" fmla="*/ 0 w 340"/>
                <a:gd name="T29" fmla="*/ 195 h 258"/>
                <a:gd name="T30" fmla="*/ 4 w 340"/>
                <a:gd name="T31" fmla="*/ 222 h 258"/>
                <a:gd name="T32" fmla="*/ 24 w 340"/>
                <a:gd name="T33" fmla="*/ 232 h 258"/>
                <a:gd name="T34" fmla="*/ 31 w 340"/>
                <a:gd name="T35" fmla="*/ 248 h 258"/>
                <a:gd name="T36" fmla="*/ 51 w 340"/>
                <a:gd name="T37" fmla="*/ 258 h 258"/>
                <a:gd name="T38" fmla="*/ 67 w 340"/>
                <a:gd name="T39" fmla="*/ 247 h 258"/>
                <a:gd name="T40" fmla="*/ 88 w 340"/>
                <a:gd name="T41" fmla="*/ 244 h 258"/>
                <a:gd name="T42" fmla="*/ 118 w 340"/>
                <a:gd name="T43" fmla="*/ 257 h 258"/>
                <a:gd name="T44" fmla="*/ 111 w 340"/>
                <a:gd name="T45" fmla="*/ 221 h 258"/>
                <a:gd name="T46" fmla="*/ 113 w 340"/>
                <a:gd name="T47" fmla="*/ 194 h 258"/>
                <a:gd name="T48" fmla="*/ 190 w 340"/>
                <a:gd name="T49" fmla="*/ 192 h 258"/>
                <a:gd name="T50" fmla="*/ 210 w 340"/>
                <a:gd name="T51" fmla="*/ 196 h 258"/>
                <a:gd name="T52" fmla="*/ 224 w 340"/>
                <a:gd name="T53" fmla="*/ 188 h 258"/>
                <a:gd name="T54" fmla="*/ 245 w 340"/>
                <a:gd name="T55" fmla="*/ 192 h 258"/>
                <a:gd name="T56" fmla="*/ 283 w 340"/>
                <a:gd name="T57" fmla="*/ 193 h 258"/>
                <a:gd name="T58" fmla="*/ 299 w 340"/>
                <a:gd name="T59" fmla="*/ 187 h 258"/>
                <a:gd name="T60" fmla="*/ 308 w 340"/>
                <a:gd name="T61" fmla="*/ 167 h 258"/>
                <a:gd name="T62" fmla="*/ 330 w 340"/>
                <a:gd name="T63" fmla="*/ 163 h 258"/>
                <a:gd name="T64" fmla="*/ 339 w 340"/>
                <a:gd name="T65" fmla="*/ 148 h 258"/>
                <a:gd name="T66" fmla="*/ 340 w 340"/>
                <a:gd name="T67" fmla="*/ 116 h 258"/>
                <a:gd name="T68" fmla="*/ 288 w 340"/>
                <a:gd name="T69" fmla="*/ 106 h 258"/>
                <a:gd name="T70" fmla="*/ 288 w 340"/>
                <a:gd name="T71" fmla="*/ 83 h 258"/>
                <a:gd name="T72" fmla="*/ 262 w 340"/>
                <a:gd name="T73" fmla="*/ 52 h 258"/>
                <a:gd name="T74" fmla="*/ 257 w 340"/>
                <a:gd name="T75" fmla="*/ 31 h 258"/>
                <a:gd name="T76" fmla="*/ 260 w 340"/>
                <a:gd name="T77" fmla="*/ 8 h 258"/>
                <a:gd name="T78" fmla="*/ 260 w 340"/>
                <a:gd name="T79" fmla="*/ 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258">
                  <a:moveTo>
                    <a:pt x="260" y="8"/>
                  </a:moveTo>
                  <a:lnTo>
                    <a:pt x="232" y="8"/>
                  </a:lnTo>
                  <a:lnTo>
                    <a:pt x="221" y="0"/>
                  </a:lnTo>
                  <a:lnTo>
                    <a:pt x="196" y="6"/>
                  </a:lnTo>
                  <a:lnTo>
                    <a:pt x="155" y="26"/>
                  </a:lnTo>
                  <a:lnTo>
                    <a:pt x="146" y="40"/>
                  </a:lnTo>
                  <a:lnTo>
                    <a:pt x="112" y="62"/>
                  </a:lnTo>
                  <a:lnTo>
                    <a:pt x="106" y="74"/>
                  </a:lnTo>
                  <a:lnTo>
                    <a:pt x="88" y="83"/>
                  </a:lnTo>
                  <a:lnTo>
                    <a:pt x="66" y="77"/>
                  </a:lnTo>
                  <a:lnTo>
                    <a:pt x="54" y="88"/>
                  </a:lnTo>
                  <a:lnTo>
                    <a:pt x="47" y="120"/>
                  </a:lnTo>
                  <a:lnTo>
                    <a:pt x="12" y="159"/>
                  </a:lnTo>
                  <a:lnTo>
                    <a:pt x="13" y="175"/>
                  </a:lnTo>
                  <a:lnTo>
                    <a:pt x="0" y="195"/>
                  </a:lnTo>
                  <a:lnTo>
                    <a:pt x="4" y="222"/>
                  </a:lnTo>
                  <a:lnTo>
                    <a:pt x="24" y="232"/>
                  </a:lnTo>
                  <a:lnTo>
                    <a:pt x="31" y="248"/>
                  </a:lnTo>
                  <a:lnTo>
                    <a:pt x="51" y="258"/>
                  </a:lnTo>
                  <a:lnTo>
                    <a:pt x="67" y="247"/>
                  </a:lnTo>
                  <a:lnTo>
                    <a:pt x="88" y="244"/>
                  </a:lnTo>
                  <a:lnTo>
                    <a:pt x="118" y="257"/>
                  </a:lnTo>
                  <a:lnTo>
                    <a:pt x="111" y="221"/>
                  </a:lnTo>
                  <a:lnTo>
                    <a:pt x="113" y="194"/>
                  </a:lnTo>
                  <a:lnTo>
                    <a:pt x="190" y="192"/>
                  </a:lnTo>
                  <a:lnTo>
                    <a:pt x="210" y="196"/>
                  </a:lnTo>
                  <a:lnTo>
                    <a:pt x="224" y="188"/>
                  </a:lnTo>
                  <a:lnTo>
                    <a:pt x="245" y="192"/>
                  </a:lnTo>
                  <a:lnTo>
                    <a:pt x="283" y="193"/>
                  </a:lnTo>
                  <a:lnTo>
                    <a:pt x="299" y="187"/>
                  </a:lnTo>
                  <a:lnTo>
                    <a:pt x="308" y="167"/>
                  </a:lnTo>
                  <a:lnTo>
                    <a:pt x="330" y="163"/>
                  </a:lnTo>
                  <a:lnTo>
                    <a:pt x="339" y="148"/>
                  </a:lnTo>
                  <a:lnTo>
                    <a:pt x="340" y="116"/>
                  </a:lnTo>
                  <a:lnTo>
                    <a:pt x="288" y="106"/>
                  </a:lnTo>
                  <a:lnTo>
                    <a:pt x="288" y="83"/>
                  </a:lnTo>
                  <a:lnTo>
                    <a:pt x="262" y="52"/>
                  </a:lnTo>
                  <a:lnTo>
                    <a:pt x="257" y="31"/>
                  </a:lnTo>
                  <a:lnTo>
                    <a:pt x="260" y="8"/>
                  </a:lnTo>
                  <a:lnTo>
                    <a:pt x="260"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2" name="Botswana">
              <a:extLst>
                <a:ext uri="{FF2B5EF4-FFF2-40B4-BE49-F238E27FC236}">
                  <a16:creationId xmlns:a16="http://schemas.microsoft.com/office/drawing/2014/main" id="{E6FFAAFC-CA91-94C7-CBA7-B81644F55F1C}"/>
                </a:ext>
              </a:extLst>
            </p:cNvPr>
            <p:cNvSpPr>
              <a:spLocks/>
            </p:cNvSpPr>
            <p:nvPr/>
          </p:nvSpPr>
          <p:spPr bwMode="auto">
            <a:xfrm>
              <a:off x="7463729" y="4882487"/>
              <a:ext cx="668338" cy="682625"/>
            </a:xfrm>
            <a:custGeom>
              <a:avLst/>
              <a:gdLst>
                <a:gd name="T0" fmla="*/ 247 w 421"/>
                <a:gd name="T1" fmla="*/ 3 h 430"/>
                <a:gd name="T2" fmla="*/ 240 w 421"/>
                <a:gd name="T3" fmla="*/ 0 h 430"/>
                <a:gd name="T4" fmla="*/ 214 w 421"/>
                <a:gd name="T5" fmla="*/ 10 h 430"/>
                <a:gd name="T6" fmla="*/ 202 w 421"/>
                <a:gd name="T7" fmla="*/ 10 h 430"/>
                <a:gd name="T8" fmla="*/ 172 w 421"/>
                <a:gd name="T9" fmla="*/ 29 h 430"/>
                <a:gd name="T10" fmla="*/ 156 w 421"/>
                <a:gd name="T11" fmla="*/ 9 h 430"/>
                <a:gd name="T12" fmla="*/ 88 w 421"/>
                <a:gd name="T13" fmla="*/ 26 h 430"/>
                <a:gd name="T14" fmla="*/ 55 w 421"/>
                <a:gd name="T15" fmla="*/ 27 h 430"/>
                <a:gd name="T16" fmla="*/ 48 w 421"/>
                <a:gd name="T17" fmla="*/ 194 h 430"/>
                <a:gd name="T18" fmla="*/ 5 w 421"/>
                <a:gd name="T19" fmla="*/ 196 h 430"/>
                <a:gd name="T20" fmla="*/ 0 w 421"/>
                <a:gd name="T21" fmla="*/ 333 h 430"/>
                <a:gd name="T22" fmla="*/ 12 w 421"/>
                <a:gd name="T23" fmla="*/ 340 h 430"/>
                <a:gd name="T24" fmla="*/ 35 w 421"/>
                <a:gd name="T25" fmla="*/ 385 h 430"/>
                <a:gd name="T26" fmla="*/ 30 w 421"/>
                <a:gd name="T27" fmla="*/ 413 h 430"/>
                <a:gd name="T28" fmla="*/ 39 w 421"/>
                <a:gd name="T29" fmla="*/ 430 h 430"/>
                <a:gd name="T30" fmla="*/ 70 w 421"/>
                <a:gd name="T31" fmla="*/ 425 h 430"/>
                <a:gd name="T32" fmla="*/ 93 w 421"/>
                <a:gd name="T33" fmla="*/ 405 h 430"/>
                <a:gd name="T34" fmla="*/ 114 w 421"/>
                <a:gd name="T35" fmla="*/ 390 h 430"/>
                <a:gd name="T36" fmla="*/ 126 w 421"/>
                <a:gd name="T37" fmla="*/ 367 h 430"/>
                <a:gd name="T38" fmla="*/ 148 w 421"/>
                <a:gd name="T39" fmla="*/ 357 h 430"/>
                <a:gd name="T40" fmla="*/ 165 w 421"/>
                <a:gd name="T41" fmla="*/ 362 h 430"/>
                <a:gd name="T42" fmla="*/ 185 w 421"/>
                <a:gd name="T43" fmla="*/ 376 h 430"/>
                <a:gd name="T44" fmla="*/ 221 w 421"/>
                <a:gd name="T45" fmla="*/ 378 h 430"/>
                <a:gd name="T46" fmla="*/ 249 w 421"/>
                <a:gd name="T47" fmla="*/ 367 h 430"/>
                <a:gd name="T48" fmla="*/ 254 w 421"/>
                <a:gd name="T49" fmla="*/ 352 h 430"/>
                <a:gd name="T50" fmla="*/ 263 w 421"/>
                <a:gd name="T51" fmla="*/ 330 h 430"/>
                <a:gd name="T52" fmla="*/ 286 w 421"/>
                <a:gd name="T53" fmla="*/ 327 h 430"/>
                <a:gd name="T54" fmla="*/ 301 w 421"/>
                <a:gd name="T55" fmla="*/ 309 h 430"/>
                <a:gd name="T56" fmla="*/ 317 w 421"/>
                <a:gd name="T57" fmla="*/ 277 h 430"/>
                <a:gd name="T58" fmla="*/ 358 w 421"/>
                <a:gd name="T59" fmla="*/ 242 h 430"/>
                <a:gd name="T60" fmla="*/ 421 w 421"/>
                <a:gd name="T61" fmla="*/ 208 h 430"/>
                <a:gd name="T62" fmla="*/ 394 w 421"/>
                <a:gd name="T63" fmla="*/ 186 h 430"/>
                <a:gd name="T64" fmla="*/ 360 w 421"/>
                <a:gd name="T65" fmla="*/ 179 h 430"/>
                <a:gd name="T66" fmla="*/ 349 w 421"/>
                <a:gd name="T67" fmla="*/ 149 h 430"/>
                <a:gd name="T68" fmla="*/ 350 w 421"/>
                <a:gd name="T69" fmla="*/ 133 h 430"/>
                <a:gd name="T70" fmla="*/ 331 w 421"/>
                <a:gd name="T71" fmla="*/ 128 h 430"/>
                <a:gd name="T72" fmla="*/ 284 w 421"/>
                <a:gd name="T73" fmla="*/ 76 h 430"/>
                <a:gd name="T74" fmla="*/ 271 w 421"/>
                <a:gd name="T75" fmla="*/ 49 h 430"/>
                <a:gd name="T76" fmla="*/ 263 w 421"/>
                <a:gd name="T77" fmla="*/ 40 h 430"/>
                <a:gd name="T78" fmla="*/ 247 w 421"/>
                <a:gd name="T79" fmla="*/ 3 h 430"/>
                <a:gd name="T80" fmla="*/ 247 w 421"/>
                <a:gd name="T81"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30">
                  <a:moveTo>
                    <a:pt x="247" y="3"/>
                  </a:moveTo>
                  <a:lnTo>
                    <a:pt x="240" y="0"/>
                  </a:lnTo>
                  <a:lnTo>
                    <a:pt x="214" y="10"/>
                  </a:lnTo>
                  <a:lnTo>
                    <a:pt x="202" y="10"/>
                  </a:lnTo>
                  <a:lnTo>
                    <a:pt x="172" y="29"/>
                  </a:lnTo>
                  <a:lnTo>
                    <a:pt x="156" y="9"/>
                  </a:lnTo>
                  <a:lnTo>
                    <a:pt x="88" y="26"/>
                  </a:lnTo>
                  <a:lnTo>
                    <a:pt x="55" y="27"/>
                  </a:lnTo>
                  <a:lnTo>
                    <a:pt x="48" y="194"/>
                  </a:lnTo>
                  <a:lnTo>
                    <a:pt x="5" y="196"/>
                  </a:lnTo>
                  <a:lnTo>
                    <a:pt x="0" y="333"/>
                  </a:lnTo>
                  <a:lnTo>
                    <a:pt x="12" y="340"/>
                  </a:lnTo>
                  <a:lnTo>
                    <a:pt x="35" y="385"/>
                  </a:lnTo>
                  <a:lnTo>
                    <a:pt x="30" y="413"/>
                  </a:lnTo>
                  <a:lnTo>
                    <a:pt x="39" y="430"/>
                  </a:lnTo>
                  <a:lnTo>
                    <a:pt x="70" y="425"/>
                  </a:lnTo>
                  <a:lnTo>
                    <a:pt x="93" y="405"/>
                  </a:lnTo>
                  <a:lnTo>
                    <a:pt x="114" y="390"/>
                  </a:lnTo>
                  <a:lnTo>
                    <a:pt x="126" y="367"/>
                  </a:lnTo>
                  <a:lnTo>
                    <a:pt x="148" y="357"/>
                  </a:lnTo>
                  <a:lnTo>
                    <a:pt x="165" y="362"/>
                  </a:lnTo>
                  <a:lnTo>
                    <a:pt x="185" y="376"/>
                  </a:lnTo>
                  <a:lnTo>
                    <a:pt x="221" y="378"/>
                  </a:lnTo>
                  <a:lnTo>
                    <a:pt x="249" y="367"/>
                  </a:lnTo>
                  <a:lnTo>
                    <a:pt x="254" y="352"/>
                  </a:lnTo>
                  <a:lnTo>
                    <a:pt x="263" y="330"/>
                  </a:lnTo>
                  <a:lnTo>
                    <a:pt x="286" y="327"/>
                  </a:lnTo>
                  <a:lnTo>
                    <a:pt x="301" y="309"/>
                  </a:lnTo>
                  <a:lnTo>
                    <a:pt x="317" y="277"/>
                  </a:lnTo>
                  <a:lnTo>
                    <a:pt x="358" y="242"/>
                  </a:lnTo>
                  <a:lnTo>
                    <a:pt x="421" y="208"/>
                  </a:lnTo>
                  <a:lnTo>
                    <a:pt x="394" y="186"/>
                  </a:lnTo>
                  <a:lnTo>
                    <a:pt x="360" y="179"/>
                  </a:lnTo>
                  <a:lnTo>
                    <a:pt x="349" y="149"/>
                  </a:lnTo>
                  <a:lnTo>
                    <a:pt x="350" y="133"/>
                  </a:lnTo>
                  <a:lnTo>
                    <a:pt x="331" y="128"/>
                  </a:lnTo>
                  <a:lnTo>
                    <a:pt x="284" y="76"/>
                  </a:lnTo>
                  <a:lnTo>
                    <a:pt x="271" y="49"/>
                  </a:lnTo>
                  <a:lnTo>
                    <a:pt x="263" y="40"/>
                  </a:lnTo>
                  <a:lnTo>
                    <a:pt x="247" y="3"/>
                  </a:lnTo>
                  <a:lnTo>
                    <a:pt x="247"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3" name="Central African Rep.">
              <a:extLst>
                <a:ext uri="{FF2B5EF4-FFF2-40B4-BE49-F238E27FC236}">
                  <a16:creationId xmlns:a16="http://schemas.microsoft.com/office/drawing/2014/main" id="{1848A359-DB4D-0185-88DA-10D070392AF3}"/>
                </a:ext>
              </a:extLst>
            </p:cNvPr>
            <p:cNvSpPr>
              <a:spLocks/>
            </p:cNvSpPr>
            <p:nvPr/>
          </p:nvSpPr>
          <p:spPr bwMode="auto">
            <a:xfrm>
              <a:off x="7114479" y="2733012"/>
              <a:ext cx="914400" cy="661988"/>
            </a:xfrm>
            <a:custGeom>
              <a:avLst/>
              <a:gdLst>
                <a:gd name="T0" fmla="*/ 418 w 576"/>
                <a:gd name="T1" fmla="*/ 118 h 417"/>
                <a:gd name="T2" fmla="*/ 414 w 576"/>
                <a:gd name="T3" fmla="*/ 117 h 417"/>
                <a:gd name="T4" fmla="*/ 399 w 576"/>
                <a:gd name="T5" fmla="*/ 103 h 417"/>
                <a:gd name="T6" fmla="*/ 396 w 576"/>
                <a:gd name="T7" fmla="*/ 88 h 417"/>
                <a:gd name="T8" fmla="*/ 402 w 576"/>
                <a:gd name="T9" fmla="*/ 69 h 417"/>
                <a:gd name="T10" fmla="*/ 402 w 576"/>
                <a:gd name="T11" fmla="*/ 50 h 417"/>
                <a:gd name="T12" fmla="*/ 376 w 576"/>
                <a:gd name="T13" fmla="*/ 20 h 417"/>
                <a:gd name="T14" fmla="*/ 370 w 576"/>
                <a:gd name="T15" fmla="*/ 0 h 417"/>
                <a:gd name="T16" fmla="*/ 342 w 576"/>
                <a:gd name="T17" fmla="*/ 8 h 417"/>
                <a:gd name="T18" fmla="*/ 320 w 576"/>
                <a:gd name="T19" fmla="*/ 27 h 417"/>
                <a:gd name="T20" fmla="*/ 289 w 576"/>
                <a:gd name="T21" fmla="*/ 79 h 417"/>
                <a:gd name="T22" fmla="*/ 248 w 576"/>
                <a:gd name="T23" fmla="*/ 100 h 417"/>
                <a:gd name="T24" fmla="*/ 204 w 576"/>
                <a:gd name="T25" fmla="*/ 97 h 417"/>
                <a:gd name="T26" fmla="*/ 192 w 576"/>
                <a:gd name="T27" fmla="*/ 101 h 417"/>
                <a:gd name="T28" fmla="*/ 197 w 576"/>
                <a:gd name="T29" fmla="*/ 118 h 417"/>
                <a:gd name="T30" fmla="*/ 173 w 576"/>
                <a:gd name="T31" fmla="*/ 135 h 417"/>
                <a:gd name="T32" fmla="*/ 155 w 576"/>
                <a:gd name="T33" fmla="*/ 152 h 417"/>
                <a:gd name="T34" fmla="*/ 99 w 576"/>
                <a:gd name="T35" fmla="*/ 171 h 417"/>
                <a:gd name="T36" fmla="*/ 88 w 576"/>
                <a:gd name="T37" fmla="*/ 160 h 417"/>
                <a:gd name="T38" fmla="*/ 80 w 576"/>
                <a:gd name="T39" fmla="*/ 159 h 417"/>
                <a:gd name="T40" fmla="*/ 73 w 576"/>
                <a:gd name="T41" fmla="*/ 171 h 417"/>
                <a:gd name="T42" fmla="*/ 36 w 576"/>
                <a:gd name="T43" fmla="*/ 175 h 417"/>
                <a:gd name="T44" fmla="*/ 13 w 576"/>
                <a:gd name="T45" fmla="*/ 222 h 417"/>
                <a:gd name="T46" fmla="*/ 3 w 576"/>
                <a:gd name="T47" fmla="*/ 231 h 417"/>
                <a:gd name="T48" fmla="*/ 0 w 576"/>
                <a:gd name="T49" fmla="*/ 268 h 417"/>
                <a:gd name="T50" fmla="*/ 4 w 576"/>
                <a:gd name="T51" fmla="*/ 287 h 417"/>
                <a:gd name="T52" fmla="*/ 1 w 576"/>
                <a:gd name="T53" fmla="*/ 301 h 417"/>
                <a:gd name="T54" fmla="*/ 22 w 576"/>
                <a:gd name="T55" fmla="*/ 326 h 417"/>
                <a:gd name="T56" fmla="*/ 26 w 576"/>
                <a:gd name="T57" fmla="*/ 343 h 417"/>
                <a:gd name="T58" fmla="*/ 43 w 576"/>
                <a:gd name="T59" fmla="*/ 367 h 417"/>
                <a:gd name="T60" fmla="*/ 64 w 576"/>
                <a:gd name="T61" fmla="*/ 382 h 417"/>
                <a:gd name="T62" fmla="*/ 65 w 576"/>
                <a:gd name="T63" fmla="*/ 404 h 417"/>
                <a:gd name="T64" fmla="*/ 70 w 576"/>
                <a:gd name="T65" fmla="*/ 417 h 417"/>
                <a:gd name="T66" fmla="*/ 93 w 576"/>
                <a:gd name="T67" fmla="*/ 373 h 417"/>
                <a:gd name="T68" fmla="*/ 120 w 576"/>
                <a:gd name="T69" fmla="*/ 349 h 417"/>
                <a:gd name="T70" fmla="*/ 149 w 576"/>
                <a:gd name="T71" fmla="*/ 356 h 417"/>
                <a:gd name="T72" fmla="*/ 179 w 576"/>
                <a:gd name="T73" fmla="*/ 359 h 417"/>
                <a:gd name="T74" fmla="*/ 182 w 576"/>
                <a:gd name="T75" fmla="*/ 326 h 417"/>
                <a:gd name="T76" fmla="*/ 200 w 576"/>
                <a:gd name="T77" fmla="*/ 302 h 417"/>
                <a:gd name="T78" fmla="*/ 223 w 576"/>
                <a:gd name="T79" fmla="*/ 287 h 417"/>
                <a:gd name="T80" fmla="*/ 260 w 576"/>
                <a:gd name="T81" fmla="*/ 304 h 417"/>
                <a:gd name="T82" fmla="*/ 288 w 576"/>
                <a:gd name="T83" fmla="*/ 321 h 417"/>
                <a:gd name="T84" fmla="*/ 321 w 576"/>
                <a:gd name="T85" fmla="*/ 326 h 417"/>
                <a:gd name="T86" fmla="*/ 355 w 576"/>
                <a:gd name="T87" fmla="*/ 334 h 417"/>
                <a:gd name="T88" fmla="*/ 368 w 576"/>
                <a:gd name="T89" fmla="*/ 306 h 417"/>
                <a:gd name="T90" fmla="*/ 374 w 576"/>
                <a:gd name="T91" fmla="*/ 302 h 417"/>
                <a:gd name="T92" fmla="*/ 394 w 576"/>
                <a:gd name="T93" fmla="*/ 307 h 417"/>
                <a:gd name="T94" fmla="*/ 443 w 576"/>
                <a:gd name="T95" fmla="*/ 283 h 417"/>
                <a:gd name="T96" fmla="*/ 462 w 576"/>
                <a:gd name="T97" fmla="*/ 293 h 417"/>
                <a:gd name="T98" fmla="*/ 475 w 576"/>
                <a:gd name="T99" fmla="*/ 292 h 417"/>
                <a:gd name="T100" fmla="*/ 482 w 576"/>
                <a:gd name="T101" fmla="*/ 281 h 417"/>
                <a:gd name="T102" fmla="*/ 498 w 576"/>
                <a:gd name="T103" fmla="*/ 276 h 417"/>
                <a:gd name="T104" fmla="*/ 532 w 576"/>
                <a:gd name="T105" fmla="*/ 281 h 417"/>
                <a:gd name="T106" fmla="*/ 561 w 576"/>
                <a:gd name="T107" fmla="*/ 283 h 417"/>
                <a:gd name="T108" fmla="*/ 576 w 576"/>
                <a:gd name="T109" fmla="*/ 278 h 417"/>
                <a:gd name="T110" fmla="*/ 569 w 576"/>
                <a:gd name="T111" fmla="*/ 263 h 417"/>
                <a:gd name="T112" fmla="*/ 535 w 576"/>
                <a:gd name="T113" fmla="*/ 244 h 417"/>
                <a:gd name="T114" fmla="*/ 523 w 576"/>
                <a:gd name="T115" fmla="*/ 216 h 417"/>
                <a:gd name="T116" fmla="*/ 504 w 576"/>
                <a:gd name="T117" fmla="*/ 196 h 417"/>
                <a:gd name="T118" fmla="*/ 474 w 576"/>
                <a:gd name="T119" fmla="*/ 171 h 417"/>
                <a:gd name="T120" fmla="*/ 474 w 576"/>
                <a:gd name="T121" fmla="*/ 156 h 417"/>
                <a:gd name="T122" fmla="*/ 449 w 576"/>
                <a:gd name="T123" fmla="*/ 137 h 417"/>
                <a:gd name="T124" fmla="*/ 418 w 576"/>
                <a:gd name="T125" fmla="*/ 1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417">
                  <a:moveTo>
                    <a:pt x="418" y="118"/>
                  </a:moveTo>
                  <a:lnTo>
                    <a:pt x="414" y="117"/>
                  </a:lnTo>
                  <a:lnTo>
                    <a:pt x="399" y="103"/>
                  </a:lnTo>
                  <a:lnTo>
                    <a:pt x="396" y="88"/>
                  </a:lnTo>
                  <a:lnTo>
                    <a:pt x="402" y="69"/>
                  </a:lnTo>
                  <a:lnTo>
                    <a:pt x="402" y="50"/>
                  </a:lnTo>
                  <a:lnTo>
                    <a:pt x="376" y="20"/>
                  </a:lnTo>
                  <a:lnTo>
                    <a:pt x="370" y="0"/>
                  </a:lnTo>
                  <a:lnTo>
                    <a:pt x="342" y="8"/>
                  </a:lnTo>
                  <a:lnTo>
                    <a:pt x="320" y="27"/>
                  </a:lnTo>
                  <a:lnTo>
                    <a:pt x="289" y="79"/>
                  </a:lnTo>
                  <a:lnTo>
                    <a:pt x="248" y="100"/>
                  </a:lnTo>
                  <a:lnTo>
                    <a:pt x="204" y="97"/>
                  </a:lnTo>
                  <a:lnTo>
                    <a:pt x="192" y="101"/>
                  </a:lnTo>
                  <a:lnTo>
                    <a:pt x="197" y="118"/>
                  </a:lnTo>
                  <a:lnTo>
                    <a:pt x="173" y="135"/>
                  </a:lnTo>
                  <a:lnTo>
                    <a:pt x="155" y="152"/>
                  </a:lnTo>
                  <a:lnTo>
                    <a:pt x="99" y="171"/>
                  </a:lnTo>
                  <a:lnTo>
                    <a:pt x="88" y="160"/>
                  </a:lnTo>
                  <a:lnTo>
                    <a:pt x="80" y="159"/>
                  </a:lnTo>
                  <a:lnTo>
                    <a:pt x="73" y="171"/>
                  </a:lnTo>
                  <a:lnTo>
                    <a:pt x="36" y="175"/>
                  </a:lnTo>
                  <a:lnTo>
                    <a:pt x="13" y="222"/>
                  </a:lnTo>
                  <a:lnTo>
                    <a:pt x="3" y="231"/>
                  </a:lnTo>
                  <a:lnTo>
                    <a:pt x="0" y="268"/>
                  </a:lnTo>
                  <a:lnTo>
                    <a:pt x="4" y="287"/>
                  </a:lnTo>
                  <a:lnTo>
                    <a:pt x="1" y="301"/>
                  </a:lnTo>
                  <a:lnTo>
                    <a:pt x="22" y="326"/>
                  </a:lnTo>
                  <a:lnTo>
                    <a:pt x="26" y="343"/>
                  </a:lnTo>
                  <a:lnTo>
                    <a:pt x="43" y="367"/>
                  </a:lnTo>
                  <a:lnTo>
                    <a:pt x="64" y="382"/>
                  </a:lnTo>
                  <a:lnTo>
                    <a:pt x="65" y="404"/>
                  </a:lnTo>
                  <a:lnTo>
                    <a:pt x="70" y="417"/>
                  </a:lnTo>
                  <a:lnTo>
                    <a:pt x="93" y="373"/>
                  </a:lnTo>
                  <a:lnTo>
                    <a:pt x="120" y="349"/>
                  </a:lnTo>
                  <a:lnTo>
                    <a:pt x="149" y="356"/>
                  </a:lnTo>
                  <a:lnTo>
                    <a:pt x="179" y="359"/>
                  </a:lnTo>
                  <a:lnTo>
                    <a:pt x="182" y="326"/>
                  </a:lnTo>
                  <a:lnTo>
                    <a:pt x="200" y="302"/>
                  </a:lnTo>
                  <a:lnTo>
                    <a:pt x="223" y="287"/>
                  </a:lnTo>
                  <a:lnTo>
                    <a:pt x="260" y="304"/>
                  </a:lnTo>
                  <a:lnTo>
                    <a:pt x="288" y="321"/>
                  </a:lnTo>
                  <a:lnTo>
                    <a:pt x="321" y="326"/>
                  </a:lnTo>
                  <a:lnTo>
                    <a:pt x="355" y="334"/>
                  </a:lnTo>
                  <a:lnTo>
                    <a:pt x="368" y="306"/>
                  </a:lnTo>
                  <a:lnTo>
                    <a:pt x="374" y="302"/>
                  </a:lnTo>
                  <a:lnTo>
                    <a:pt x="394" y="307"/>
                  </a:lnTo>
                  <a:lnTo>
                    <a:pt x="443" y="283"/>
                  </a:lnTo>
                  <a:lnTo>
                    <a:pt x="462" y="293"/>
                  </a:lnTo>
                  <a:lnTo>
                    <a:pt x="475" y="292"/>
                  </a:lnTo>
                  <a:lnTo>
                    <a:pt x="482" y="281"/>
                  </a:lnTo>
                  <a:lnTo>
                    <a:pt x="498" y="276"/>
                  </a:lnTo>
                  <a:lnTo>
                    <a:pt x="532" y="281"/>
                  </a:lnTo>
                  <a:lnTo>
                    <a:pt x="561" y="283"/>
                  </a:lnTo>
                  <a:lnTo>
                    <a:pt x="576" y="278"/>
                  </a:lnTo>
                  <a:lnTo>
                    <a:pt x="569" y="263"/>
                  </a:lnTo>
                  <a:lnTo>
                    <a:pt x="535" y="244"/>
                  </a:lnTo>
                  <a:lnTo>
                    <a:pt x="523" y="216"/>
                  </a:lnTo>
                  <a:lnTo>
                    <a:pt x="504" y="196"/>
                  </a:lnTo>
                  <a:lnTo>
                    <a:pt x="474" y="171"/>
                  </a:lnTo>
                  <a:lnTo>
                    <a:pt x="474" y="156"/>
                  </a:lnTo>
                  <a:lnTo>
                    <a:pt x="449" y="137"/>
                  </a:lnTo>
                  <a:lnTo>
                    <a:pt x="418" y="11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4" name="Côte d'Ivoire">
              <a:extLst>
                <a:ext uri="{FF2B5EF4-FFF2-40B4-BE49-F238E27FC236}">
                  <a16:creationId xmlns:a16="http://schemas.microsoft.com/office/drawing/2014/main" id="{FC4EA0FA-171D-8156-E232-435E50EC5863}"/>
                </a:ext>
              </a:extLst>
            </p:cNvPr>
            <p:cNvSpPr>
              <a:spLocks/>
            </p:cNvSpPr>
            <p:nvPr/>
          </p:nvSpPr>
          <p:spPr bwMode="auto">
            <a:xfrm>
              <a:off x="5482529" y="2779050"/>
              <a:ext cx="428625" cy="461963"/>
            </a:xfrm>
            <a:custGeom>
              <a:avLst/>
              <a:gdLst>
                <a:gd name="T0" fmla="*/ 144 w 270"/>
                <a:gd name="T1" fmla="*/ 7 h 291"/>
                <a:gd name="T2" fmla="*/ 125 w 270"/>
                <a:gd name="T3" fmla="*/ 15 h 291"/>
                <a:gd name="T4" fmla="*/ 114 w 270"/>
                <a:gd name="T5" fmla="*/ 20 h 291"/>
                <a:gd name="T6" fmla="*/ 108 w 270"/>
                <a:gd name="T7" fmla="*/ 0 h 291"/>
                <a:gd name="T8" fmla="*/ 95 w 270"/>
                <a:gd name="T9" fmla="*/ 5 h 291"/>
                <a:gd name="T10" fmla="*/ 87 w 270"/>
                <a:gd name="T11" fmla="*/ 5 h 291"/>
                <a:gd name="T12" fmla="*/ 79 w 270"/>
                <a:gd name="T13" fmla="*/ 18 h 291"/>
                <a:gd name="T14" fmla="*/ 45 w 270"/>
                <a:gd name="T15" fmla="*/ 18 h 291"/>
                <a:gd name="T16" fmla="*/ 32 w 270"/>
                <a:gd name="T17" fmla="*/ 11 h 291"/>
                <a:gd name="T18" fmla="*/ 27 w 270"/>
                <a:gd name="T19" fmla="*/ 15 h 291"/>
                <a:gd name="T20" fmla="*/ 18 w 270"/>
                <a:gd name="T21" fmla="*/ 19 h 291"/>
                <a:gd name="T22" fmla="*/ 14 w 270"/>
                <a:gd name="T23" fmla="*/ 35 h 291"/>
                <a:gd name="T24" fmla="*/ 24 w 270"/>
                <a:gd name="T25" fmla="*/ 54 h 291"/>
                <a:gd name="T26" fmla="*/ 35 w 270"/>
                <a:gd name="T27" fmla="*/ 92 h 291"/>
                <a:gd name="T28" fmla="*/ 18 w 270"/>
                <a:gd name="T29" fmla="*/ 97 h 291"/>
                <a:gd name="T30" fmla="*/ 14 w 270"/>
                <a:gd name="T31" fmla="*/ 104 h 291"/>
                <a:gd name="T32" fmla="*/ 18 w 270"/>
                <a:gd name="T33" fmla="*/ 113 h 291"/>
                <a:gd name="T34" fmla="*/ 15 w 270"/>
                <a:gd name="T35" fmla="*/ 134 h 291"/>
                <a:gd name="T36" fmla="*/ 7 w 270"/>
                <a:gd name="T37" fmla="*/ 134 h 291"/>
                <a:gd name="T38" fmla="*/ 6 w 270"/>
                <a:gd name="T39" fmla="*/ 147 h 291"/>
                <a:gd name="T40" fmla="*/ 10 w 270"/>
                <a:gd name="T41" fmla="*/ 170 h 291"/>
                <a:gd name="T42" fmla="*/ 0 w 270"/>
                <a:gd name="T43" fmla="*/ 191 h 291"/>
                <a:gd name="T44" fmla="*/ 13 w 270"/>
                <a:gd name="T45" fmla="*/ 203 h 291"/>
                <a:gd name="T46" fmla="*/ 27 w 270"/>
                <a:gd name="T47" fmla="*/ 207 h 291"/>
                <a:gd name="T48" fmla="*/ 46 w 270"/>
                <a:gd name="T49" fmla="*/ 226 h 291"/>
                <a:gd name="T50" fmla="*/ 47 w 270"/>
                <a:gd name="T51" fmla="*/ 245 h 291"/>
                <a:gd name="T52" fmla="*/ 43 w 270"/>
                <a:gd name="T53" fmla="*/ 251 h 291"/>
                <a:gd name="T54" fmla="*/ 39 w 270"/>
                <a:gd name="T55" fmla="*/ 290 h 291"/>
                <a:gd name="T56" fmla="*/ 48 w 270"/>
                <a:gd name="T57" fmla="*/ 291 h 291"/>
                <a:gd name="T58" fmla="*/ 92 w 270"/>
                <a:gd name="T59" fmla="*/ 274 h 291"/>
                <a:gd name="T60" fmla="*/ 123 w 270"/>
                <a:gd name="T61" fmla="*/ 260 h 291"/>
                <a:gd name="T62" fmla="*/ 176 w 270"/>
                <a:gd name="T63" fmla="*/ 252 h 291"/>
                <a:gd name="T64" fmla="*/ 205 w 270"/>
                <a:gd name="T65" fmla="*/ 251 h 291"/>
                <a:gd name="T66" fmla="*/ 236 w 270"/>
                <a:gd name="T67" fmla="*/ 260 h 291"/>
                <a:gd name="T68" fmla="*/ 256 w 270"/>
                <a:gd name="T69" fmla="*/ 260 h 291"/>
                <a:gd name="T70" fmla="*/ 258 w 270"/>
                <a:gd name="T71" fmla="*/ 241 h 291"/>
                <a:gd name="T72" fmla="*/ 239 w 270"/>
                <a:gd name="T73" fmla="*/ 201 h 291"/>
                <a:gd name="T74" fmla="*/ 250 w 270"/>
                <a:gd name="T75" fmla="*/ 148 h 291"/>
                <a:gd name="T76" fmla="*/ 270 w 270"/>
                <a:gd name="T77" fmla="*/ 108 h 291"/>
                <a:gd name="T78" fmla="*/ 258 w 270"/>
                <a:gd name="T79" fmla="*/ 42 h 291"/>
                <a:gd name="T80" fmla="*/ 228 w 270"/>
                <a:gd name="T81" fmla="*/ 29 h 291"/>
                <a:gd name="T82" fmla="*/ 207 w 270"/>
                <a:gd name="T83" fmla="*/ 32 h 291"/>
                <a:gd name="T84" fmla="*/ 191 w 270"/>
                <a:gd name="T85" fmla="*/ 43 h 291"/>
                <a:gd name="T86" fmla="*/ 171 w 270"/>
                <a:gd name="T87" fmla="*/ 33 h 291"/>
                <a:gd name="T88" fmla="*/ 164 w 270"/>
                <a:gd name="T89" fmla="*/ 17 h 291"/>
                <a:gd name="T90" fmla="*/ 144 w 270"/>
                <a:gd name="T91" fmla="*/ 7 h 291"/>
                <a:gd name="T92" fmla="*/ 144 w 270"/>
                <a:gd name="T93" fmla="*/ 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91">
                  <a:moveTo>
                    <a:pt x="144" y="7"/>
                  </a:moveTo>
                  <a:lnTo>
                    <a:pt x="125" y="15"/>
                  </a:lnTo>
                  <a:lnTo>
                    <a:pt x="114" y="20"/>
                  </a:lnTo>
                  <a:lnTo>
                    <a:pt x="108" y="0"/>
                  </a:lnTo>
                  <a:lnTo>
                    <a:pt x="95" y="5"/>
                  </a:lnTo>
                  <a:lnTo>
                    <a:pt x="87" y="5"/>
                  </a:lnTo>
                  <a:lnTo>
                    <a:pt x="79" y="18"/>
                  </a:lnTo>
                  <a:lnTo>
                    <a:pt x="45" y="18"/>
                  </a:lnTo>
                  <a:lnTo>
                    <a:pt x="32" y="11"/>
                  </a:lnTo>
                  <a:lnTo>
                    <a:pt x="27" y="15"/>
                  </a:lnTo>
                  <a:lnTo>
                    <a:pt x="18" y="19"/>
                  </a:lnTo>
                  <a:lnTo>
                    <a:pt x="14" y="35"/>
                  </a:lnTo>
                  <a:lnTo>
                    <a:pt x="24" y="54"/>
                  </a:lnTo>
                  <a:lnTo>
                    <a:pt x="35" y="92"/>
                  </a:lnTo>
                  <a:lnTo>
                    <a:pt x="18" y="97"/>
                  </a:lnTo>
                  <a:lnTo>
                    <a:pt x="14" y="104"/>
                  </a:lnTo>
                  <a:lnTo>
                    <a:pt x="18" y="113"/>
                  </a:lnTo>
                  <a:lnTo>
                    <a:pt x="15" y="134"/>
                  </a:lnTo>
                  <a:lnTo>
                    <a:pt x="7" y="134"/>
                  </a:lnTo>
                  <a:lnTo>
                    <a:pt x="6" y="147"/>
                  </a:lnTo>
                  <a:lnTo>
                    <a:pt x="10" y="170"/>
                  </a:lnTo>
                  <a:lnTo>
                    <a:pt x="0" y="191"/>
                  </a:lnTo>
                  <a:lnTo>
                    <a:pt x="13" y="203"/>
                  </a:lnTo>
                  <a:lnTo>
                    <a:pt x="27" y="207"/>
                  </a:lnTo>
                  <a:lnTo>
                    <a:pt x="46" y="226"/>
                  </a:lnTo>
                  <a:lnTo>
                    <a:pt x="47" y="245"/>
                  </a:lnTo>
                  <a:lnTo>
                    <a:pt x="43" y="251"/>
                  </a:lnTo>
                  <a:lnTo>
                    <a:pt x="39" y="290"/>
                  </a:lnTo>
                  <a:lnTo>
                    <a:pt x="48" y="291"/>
                  </a:lnTo>
                  <a:lnTo>
                    <a:pt x="92" y="274"/>
                  </a:lnTo>
                  <a:lnTo>
                    <a:pt x="123" y="260"/>
                  </a:lnTo>
                  <a:lnTo>
                    <a:pt x="176" y="252"/>
                  </a:lnTo>
                  <a:lnTo>
                    <a:pt x="205" y="251"/>
                  </a:lnTo>
                  <a:lnTo>
                    <a:pt x="236" y="260"/>
                  </a:lnTo>
                  <a:lnTo>
                    <a:pt x="256" y="260"/>
                  </a:lnTo>
                  <a:lnTo>
                    <a:pt x="258" y="241"/>
                  </a:lnTo>
                  <a:lnTo>
                    <a:pt x="239" y="201"/>
                  </a:lnTo>
                  <a:lnTo>
                    <a:pt x="250" y="148"/>
                  </a:lnTo>
                  <a:lnTo>
                    <a:pt x="270" y="108"/>
                  </a:lnTo>
                  <a:lnTo>
                    <a:pt x="258" y="42"/>
                  </a:lnTo>
                  <a:lnTo>
                    <a:pt x="228" y="29"/>
                  </a:lnTo>
                  <a:lnTo>
                    <a:pt x="207" y="32"/>
                  </a:lnTo>
                  <a:lnTo>
                    <a:pt x="191" y="43"/>
                  </a:lnTo>
                  <a:lnTo>
                    <a:pt x="171" y="33"/>
                  </a:lnTo>
                  <a:lnTo>
                    <a:pt x="164" y="17"/>
                  </a:lnTo>
                  <a:lnTo>
                    <a:pt x="144" y="7"/>
                  </a:lnTo>
                  <a:lnTo>
                    <a:pt x="144" y="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6" name="Cameroon">
              <a:extLst>
                <a:ext uri="{FF2B5EF4-FFF2-40B4-BE49-F238E27FC236}">
                  <a16:creationId xmlns:a16="http://schemas.microsoft.com/office/drawing/2014/main" id="{5180F1A7-0F54-73E1-B7D4-D3ADE7EB2767}"/>
                </a:ext>
              </a:extLst>
            </p:cNvPr>
            <p:cNvSpPr>
              <a:spLocks/>
            </p:cNvSpPr>
            <p:nvPr/>
          </p:nvSpPr>
          <p:spPr bwMode="auto">
            <a:xfrm>
              <a:off x="6692204" y="2606012"/>
              <a:ext cx="533400" cy="830263"/>
            </a:xfrm>
            <a:custGeom>
              <a:avLst/>
              <a:gdLst>
                <a:gd name="T0" fmla="*/ 284 w 336"/>
                <a:gd name="T1" fmla="*/ 92 h 523"/>
                <a:gd name="T2" fmla="*/ 286 w 336"/>
                <a:gd name="T3" fmla="*/ 61 h 523"/>
                <a:gd name="T4" fmla="*/ 282 w 336"/>
                <a:gd name="T5" fmla="*/ 30 h 523"/>
                <a:gd name="T6" fmla="*/ 264 w 336"/>
                <a:gd name="T7" fmla="*/ 0 h 523"/>
                <a:gd name="T8" fmla="*/ 251 w 336"/>
                <a:gd name="T9" fmla="*/ 2 h 523"/>
                <a:gd name="T10" fmla="*/ 250 w 336"/>
                <a:gd name="T11" fmla="*/ 17 h 523"/>
                <a:gd name="T12" fmla="*/ 267 w 336"/>
                <a:gd name="T13" fmla="*/ 35 h 523"/>
                <a:gd name="T14" fmla="*/ 263 w 336"/>
                <a:gd name="T15" fmla="*/ 44 h 523"/>
                <a:gd name="T16" fmla="*/ 261 w 336"/>
                <a:gd name="T17" fmla="*/ 60 h 523"/>
                <a:gd name="T18" fmla="*/ 224 w 336"/>
                <a:gd name="T19" fmla="*/ 97 h 523"/>
                <a:gd name="T20" fmla="*/ 213 w 336"/>
                <a:gd name="T21" fmla="*/ 126 h 523"/>
                <a:gd name="T22" fmla="*/ 207 w 336"/>
                <a:gd name="T23" fmla="*/ 151 h 523"/>
                <a:gd name="T24" fmla="*/ 197 w 336"/>
                <a:gd name="T25" fmla="*/ 161 h 523"/>
                <a:gd name="T26" fmla="*/ 189 w 336"/>
                <a:gd name="T27" fmla="*/ 194 h 523"/>
                <a:gd name="T28" fmla="*/ 165 w 336"/>
                <a:gd name="T29" fmla="*/ 214 h 523"/>
                <a:gd name="T30" fmla="*/ 158 w 336"/>
                <a:gd name="T31" fmla="*/ 238 h 523"/>
                <a:gd name="T32" fmla="*/ 149 w 336"/>
                <a:gd name="T33" fmla="*/ 256 h 523"/>
                <a:gd name="T34" fmla="*/ 144 w 336"/>
                <a:gd name="T35" fmla="*/ 276 h 523"/>
                <a:gd name="T36" fmla="*/ 114 w 336"/>
                <a:gd name="T37" fmla="*/ 292 h 523"/>
                <a:gd name="T38" fmla="*/ 88 w 336"/>
                <a:gd name="T39" fmla="*/ 272 h 523"/>
                <a:gd name="T40" fmla="*/ 72 w 336"/>
                <a:gd name="T41" fmla="*/ 273 h 523"/>
                <a:gd name="T42" fmla="*/ 45 w 336"/>
                <a:gd name="T43" fmla="*/ 300 h 523"/>
                <a:gd name="T44" fmla="*/ 33 w 336"/>
                <a:gd name="T45" fmla="*/ 300 h 523"/>
                <a:gd name="T46" fmla="*/ 12 w 336"/>
                <a:gd name="T47" fmla="*/ 346 h 523"/>
                <a:gd name="T48" fmla="*/ 1 w 336"/>
                <a:gd name="T49" fmla="*/ 379 h 523"/>
                <a:gd name="T50" fmla="*/ 0 w 336"/>
                <a:gd name="T51" fmla="*/ 392 h 523"/>
                <a:gd name="T52" fmla="*/ 12 w 336"/>
                <a:gd name="T53" fmla="*/ 399 h 523"/>
                <a:gd name="T54" fmla="*/ 21 w 336"/>
                <a:gd name="T55" fmla="*/ 420 h 523"/>
                <a:gd name="T56" fmla="*/ 41 w 336"/>
                <a:gd name="T57" fmla="*/ 428 h 523"/>
                <a:gd name="T58" fmla="*/ 58 w 336"/>
                <a:gd name="T59" fmla="*/ 459 h 523"/>
                <a:gd name="T60" fmla="*/ 52 w 336"/>
                <a:gd name="T61" fmla="*/ 496 h 523"/>
                <a:gd name="T62" fmla="*/ 125 w 336"/>
                <a:gd name="T63" fmla="*/ 497 h 523"/>
                <a:gd name="T64" fmla="*/ 146 w 336"/>
                <a:gd name="T65" fmla="*/ 494 h 523"/>
                <a:gd name="T66" fmla="*/ 172 w 336"/>
                <a:gd name="T67" fmla="*/ 501 h 523"/>
                <a:gd name="T68" fmla="*/ 200 w 336"/>
                <a:gd name="T69" fmla="*/ 495 h 523"/>
                <a:gd name="T70" fmla="*/ 205 w 336"/>
                <a:gd name="T71" fmla="*/ 497 h 523"/>
                <a:gd name="T72" fmla="*/ 261 w 336"/>
                <a:gd name="T73" fmla="*/ 499 h 523"/>
                <a:gd name="T74" fmla="*/ 298 w 336"/>
                <a:gd name="T75" fmla="*/ 511 h 523"/>
                <a:gd name="T76" fmla="*/ 333 w 336"/>
                <a:gd name="T77" fmla="*/ 523 h 523"/>
                <a:gd name="T78" fmla="*/ 336 w 336"/>
                <a:gd name="T79" fmla="*/ 497 h 523"/>
                <a:gd name="T80" fmla="*/ 331 w 336"/>
                <a:gd name="T81" fmla="*/ 484 h 523"/>
                <a:gd name="T82" fmla="*/ 330 w 336"/>
                <a:gd name="T83" fmla="*/ 462 h 523"/>
                <a:gd name="T84" fmla="*/ 309 w 336"/>
                <a:gd name="T85" fmla="*/ 447 h 523"/>
                <a:gd name="T86" fmla="*/ 292 w 336"/>
                <a:gd name="T87" fmla="*/ 423 h 523"/>
                <a:gd name="T88" fmla="*/ 288 w 336"/>
                <a:gd name="T89" fmla="*/ 406 h 523"/>
                <a:gd name="T90" fmla="*/ 267 w 336"/>
                <a:gd name="T91" fmla="*/ 381 h 523"/>
                <a:gd name="T92" fmla="*/ 270 w 336"/>
                <a:gd name="T93" fmla="*/ 367 h 523"/>
                <a:gd name="T94" fmla="*/ 266 w 336"/>
                <a:gd name="T95" fmla="*/ 348 h 523"/>
                <a:gd name="T96" fmla="*/ 269 w 336"/>
                <a:gd name="T97" fmla="*/ 311 h 523"/>
                <a:gd name="T98" fmla="*/ 279 w 336"/>
                <a:gd name="T99" fmla="*/ 302 h 523"/>
                <a:gd name="T100" fmla="*/ 302 w 336"/>
                <a:gd name="T101" fmla="*/ 255 h 523"/>
                <a:gd name="T102" fmla="*/ 309 w 336"/>
                <a:gd name="T103" fmla="*/ 243 h 523"/>
                <a:gd name="T104" fmla="*/ 294 w 336"/>
                <a:gd name="T105" fmla="*/ 210 h 523"/>
                <a:gd name="T106" fmla="*/ 288 w 336"/>
                <a:gd name="T107" fmla="*/ 190 h 523"/>
                <a:gd name="T108" fmla="*/ 268 w 336"/>
                <a:gd name="T109" fmla="*/ 182 h 523"/>
                <a:gd name="T110" fmla="*/ 242 w 336"/>
                <a:gd name="T111" fmla="*/ 155 h 523"/>
                <a:gd name="T112" fmla="*/ 251 w 336"/>
                <a:gd name="T113" fmla="*/ 133 h 523"/>
                <a:gd name="T114" fmla="*/ 271 w 336"/>
                <a:gd name="T115" fmla="*/ 137 h 523"/>
                <a:gd name="T116" fmla="*/ 284 w 336"/>
                <a:gd name="T117" fmla="*/ 134 h 523"/>
                <a:gd name="T118" fmla="*/ 309 w 336"/>
                <a:gd name="T119" fmla="*/ 135 h 523"/>
                <a:gd name="T120" fmla="*/ 284 w 336"/>
                <a:gd name="T121" fmla="*/ 92 h 523"/>
                <a:gd name="T122" fmla="*/ 284 w 336"/>
                <a:gd name="T123"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523">
                  <a:moveTo>
                    <a:pt x="284" y="92"/>
                  </a:moveTo>
                  <a:lnTo>
                    <a:pt x="286" y="61"/>
                  </a:lnTo>
                  <a:lnTo>
                    <a:pt x="282" y="30"/>
                  </a:lnTo>
                  <a:lnTo>
                    <a:pt x="264" y="0"/>
                  </a:lnTo>
                  <a:lnTo>
                    <a:pt x="251" y="2"/>
                  </a:lnTo>
                  <a:lnTo>
                    <a:pt x="250" y="17"/>
                  </a:lnTo>
                  <a:lnTo>
                    <a:pt x="267" y="35"/>
                  </a:lnTo>
                  <a:lnTo>
                    <a:pt x="263" y="44"/>
                  </a:lnTo>
                  <a:lnTo>
                    <a:pt x="261" y="60"/>
                  </a:lnTo>
                  <a:lnTo>
                    <a:pt x="224" y="97"/>
                  </a:lnTo>
                  <a:lnTo>
                    <a:pt x="213" y="126"/>
                  </a:lnTo>
                  <a:lnTo>
                    <a:pt x="207" y="151"/>
                  </a:lnTo>
                  <a:lnTo>
                    <a:pt x="197" y="161"/>
                  </a:lnTo>
                  <a:lnTo>
                    <a:pt x="189" y="194"/>
                  </a:lnTo>
                  <a:lnTo>
                    <a:pt x="165" y="214"/>
                  </a:lnTo>
                  <a:lnTo>
                    <a:pt x="158" y="238"/>
                  </a:lnTo>
                  <a:lnTo>
                    <a:pt x="149" y="256"/>
                  </a:lnTo>
                  <a:lnTo>
                    <a:pt x="144" y="276"/>
                  </a:lnTo>
                  <a:lnTo>
                    <a:pt x="114" y="292"/>
                  </a:lnTo>
                  <a:lnTo>
                    <a:pt x="88" y="272"/>
                  </a:lnTo>
                  <a:lnTo>
                    <a:pt x="72" y="273"/>
                  </a:lnTo>
                  <a:lnTo>
                    <a:pt x="45" y="300"/>
                  </a:lnTo>
                  <a:lnTo>
                    <a:pt x="33" y="300"/>
                  </a:lnTo>
                  <a:lnTo>
                    <a:pt x="12" y="346"/>
                  </a:lnTo>
                  <a:lnTo>
                    <a:pt x="1" y="379"/>
                  </a:lnTo>
                  <a:lnTo>
                    <a:pt x="0" y="392"/>
                  </a:lnTo>
                  <a:lnTo>
                    <a:pt x="12" y="399"/>
                  </a:lnTo>
                  <a:lnTo>
                    <a:pt x="21" y="420"/>
                  </a:lnTo>
                  <a:lnTo>
                    <a:pt x="41" y="428"/>
                  </a:lnTo>
                  <a:lnTo>
                    <a:pt x="58" y="459"/>
                  </a:lnTo>
                  <a:lnTo>
                    <a:pt x="52" y="496"/>
                  </a:lnTo>
                  <a:lnTo>
                    <a:pt x="125" y="497"/>
                  </a:lnTo>
                  <a:lnTo>
                    <a:pt x="146" y="494"/>
                  </a:lnTo>
                  <a:lnTo>
                    <a:pt x="172" y="501"/>
                  </a:lnTo>
                  <a:lnTo>
                    <a:pt x="200" y="495"/>
                  </a:lnTo>
                  <a:lnTo>
                    <a:pt x="205" y="497"/>
                  </a:lnTo>
                  <a:lnTo>
                    <a:pt x="261" y="499"/>
                  </a:lnTo>
                  <a:lnTo>
                    <a:pt x="298" y="511"/>
                  </a:lnTo>
                  <a:lnTo>
                    <a:pt x="333" y="523"/>
                  </a:lnTo>
                  <a:lnTo>
                    <a:pt x="336" y="497"/>
                  </a:lnTo>
                  <a:lnTo>
                    <a:pt x="331" y="484"/>
                  </a:lnTo>
                  <a:lnTo>
                    <a:pt x="330" y="462"/>
                  </a:lnTo>
                  <a:lnTo>
                    <a:pt x="309" y="447"/>
                  </a:lnTo>
                  <a:lnTo>
                    <a:pt x="292" y="423"/>
                  </a:lnTo>
                  <a:lnTo>
                    <a:pt x="288" y="406"/>
                  </a:lnTo>
                  <a:lnTo>
                    <a:pt x="267" y="381"/>
                  </a:lnTo>
                  <a:lnTo>
                    <a:pt x="270" y="367"/>
                  </a:lnTo>
                  <a:lnTo>
                    <a:pt x="266" y="348"/>
                  </a:lnTo>
                  <a:lnTo>
                    <a:pt x="269" y="311"/>
                  </a:lnTo>
                  <a:lnTo>
                    <a:pt x="279" y="302"/>
                  </a:lnTo>
                  <a:lnTo>
                    <a:pt x="302" y="255"/>
                  </a:lnTo>
                  <a:lnTo>
                    <a:pt x="309" y="243"/>
                  </a:lnTo>
                  <a:lnTo>
                    <a:pt x="294" y="210"/>
                  </a:lnTo>
                  <a:lnTo>
                    <a:pt x="288" y="190"/>
                  </a:lnTo>
                  <a:lnTo>
                    <a:pt x="268" y="182"/>
                  </a:lnTo>
                  <a:lnTo>
                    <a:pt x="242" y="155"/>
                  </a:lnTo>
                  <a:lnTo>
                    <a:pt x="251" y="133"/>
                  </a:lnTo>
                  <a:lnTo>
                    <a:pt x="271" y="137"/>
                  </a:lnTo>
                  <a:lnTo>
                    <a:pt x="284" y="134"/>
                  </a:lnTo>
                  <a:lnTo>
                    <a:pt x="309" y="135"/>
                  </a:lnTo>
                  <a:lnTo>
                    <a:pt x="284" y="92"/>
                  </a:lnTo>
                  <a:lnTo>
                    <a:pt x="284" y="92"/>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7" name="The Democratic Republic of the Congo">
              <a:extLst>
                <a:ext uri="{FF2B5EF4-FFF2-40B4-BE49-F238E27FC236}">
                  <a16:creationId xmlns:a16="http://schemas.microsoft.com/office/drawing/2014/main" id="{553905AE-FB56-F453-DA56-93CA1E24D4FA}"/>
                </a:ext>
              </a:extLst>
            </p:cNvPr>
            <p:cNvSpPr>
              <a:spLocks/>
            </p:cNvSpPr>
            <p:nvPr/>
          </p:nvSpPr>
          <p:spPr bwMode="auto">
            <a:xfrm>
              <a:off x="6952554" y="3171162"/>
              <a:ext cx="1347788" cy="1382713"/>
            </a:xfrm>
            <a:custGeom>
              <a:avLst/>
              <a:gdLst>
                <a:gd name="T0" fmla="*/ 584 w 849"/>
                <a:gd name="T1" fmla="*/ 5 h 871"/>
                <a:gd name="T2" fmla="*/ 545 w 849"/>
                <a:gd name="T3" fmla="*/ 7 h 871"/>
                <a:gd name="T4" fmla="*/ 470 w 849"/>
                <a:gd name="T5" fmla="*/ 30 h 871"/>
                <a:gd name="T6" fmla="*/ 390 w 849"/>
                <a:gd name="T7" fmla="*/ 45 h 871"/>
                <a:gd name="T8" fmla="*/ 302 w 849"/>
                <a:gd name="T9" fmla="*/ 26 h 871"/>
                <a:gd name="T10" fmla="*/ 278 w 849"/>
                <a:gd name="T11" fmla="*/ 112 h 871"/>
                <a:gd name="T12" fmla="*/ 250 w 849"/>
                <a:gd name="T13" fmla="*/ 208 h 871"/>
                <a:gd name="T14" fmla="*/ 245 w 849"/>
                <a:gd name="T15" fmla="*/ 268 h 871"/>
                <a:gd name="T16" fmla="*/ 189 w 849"/>
                <a:gd name="T17" fmla="*/ 330 h 871"/>
                <a:gd name="T18" fmla="*/ 160 w 849"/>
                <a:gd name="T19" fmla="*/ 428 h 871"/>
                <a:gd name="T20" fmla="*/ 91 w 849"/>
                <a:gd name="T21" fmla="*/ 472 h 871"/>
                <a:gd name="T22" fmla="*/ 49 w 849"/>
                <a:gd name="T23" fmla="*/ 478 h 871"/>
                <a:gd name="T24" fmla="*/ 13 w 849"/>
                <a:gd name="T25" fmla="*/ 494 h 871"/>
                <a:gd name="T26" fmla="*/ 7 w 849"/>
                <a:gd name="T27" fmla="*/ 534 h 871"/>
                <a:gd name="T28" fmla="*/ 53 w 849"/>
                <a:gd name="T29" fmla="*/ 523 h 871"/>
                <a:gd name="T30" fmla="*/ 208 w 849"/>
                <a:gd name="T31" fmla="*/ 587 h 871"/>
                <a:gd name="T32" fmla="*/ 264 w 849"/>
                <a:gd name="T33" fmla="*/ 623 h 871"/>
                <a:gd name="T34" fmla="*/ 311 w 849"/>
                <a:gd name="T35" fmla="*/ 612 h 871"/>
                <a:gd name="T36" fmla="*/ 352 w 849"/>
                <a:gd name="T37" fmla="*/ 574 h 871"/>
                <a:gd name="T38" fmla="*/ 425 w 849"/>
                <a:gd name="T39" fmla="*/ 590 h 871"/>
                <a:gd name="T40" fmla="*/ 427 w 849"/>
                <a:gd name="T41" fmla="*/ 666 h 871"/>
                <a:gd name="T42" fmla="*/ 441 w 849"/>
                <a:gd name="T43" fmla="*/ 769 h 871"/>
                <a:gd name="T44" fmla="*/ 499 w 849"/>
                <a:gd name="T45" fmla="*/ 759 h 871"/>
                <a:gd name="T46" fmla="*/ 536 w 849"/>
                <a:gd name="T47" fmla="*/ 776 h 871"/>
                <a:gd name="T48" fmla="*/ 600 w 849"/>
                <a:gd name="T49" fmla="*/ 801 h 871"/>
                <a:gd name="T50" fmla="*/ 672 w 849"/>
                <a:gd name="T51" fmla="*/ 818 h 871"/>
                <a:gd name="T52" fmla="*/ 739 w 849"/>
                <a:gd name="T53" fmla="*/ 870 h 871"/>
                <a:gd name="T54" fmla="*/ 758 w 849"/>
                <a:gd name="T55" fmla="*/ 828 h 871"/>
                <a:gd name="T56" fmla="*/ 723 w 849"/>
                <a:gd name="T57" fmla="*/ 754 h 871"/>
                <a:gd name="T58" fmla="*/ 735 w 849"/>
                <a:gd name="T59" fmla="*/ 648 h 871"/>
                <a:gd name="T60" fmla="*/ 816 w 849"/>
                <a:gd name="T61" fmla="*/ 637 h 871"/>
                <a:gd name="T62" fmla="*/ 799 w 849"/>
                <a:gd name="T63" fmla="*/ 590 h 871"/>
                <a:gd name="T64" fmla="*/ 766 w 849"/>
                <a:gd name="T65" fmla="*/ 511 h 871"/>
                <a:gd name="T66" fmla="*/ 764 w 849"/>
                <a:gd name="T67" fmla="*/ 410 h 871"/>
                <a:gd name="T68" fmla="*/ 757 w 849"/>
                <a:gd name="T69" fmla="*/ 355 h 871"/>
                <a:gd name="T70" fmla="*/ 777 w 849"/>
                <a:gd name="T71" fmla="*/ 311 h 871"/>
                <a:gd name="T72" fmla="*/ 791 w 849"/>
                <a:gd name="T73" fmla="*/ 219 h 871"/>
                <a:gd name="T74" fmla="*/ 834 w 849"/>
                <a:gd name="T75" fmla="*/ 161 h 871"/>
                <a:gd name="T76" fmla="*/ 833 w 849"/>
                <a:gd name="T77" fmla="*/ 83 h 871"/>
                <a:gd name="T78" fmla="*/ 783 w 849"/>
                <a:gd name="T79" fmla="*/ 32 h 871"/>
                <a:gd name="T80" fmla="*/ 725 w 849"/>
                <a:gd name="T81" fmla="*/ 46 h 871"/>
                <a:gd name="T82" fmla="*/ 663 w 849"/>
                <a:gd name="T83" fmla="*/ 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9" h="871">
                  <a:moveTo>
                    <a:pt x="634" y="5"/>
                  </a:moveTo>
                  <a:lnTo>
                    <a:pt x="600" y="0"/>
                  </a:lnTo>
                  <a:lnTo>
                    <a:pt x="584" y="5"/>
                  </a:lnTo>
                  <a:lnTo>
                    <a:pt x="577" y="16"/>
                  </a:lnTo>
                  <a:lnTo>
                    <a:pt x="564" y="17"/>
                  </a:lnTo>
                  <a:lnTo>
                    <a:pt x="545" y="7"/>
                  </a:lnTo>
                  <a:lnTo>
                    <a:pt x="496" y="31"/>
                  </a:lnTo>
                  <a:lnTo>
                    <a:pt x="476" y="26"/>
                  </a:lnTo>
                  <a:lnTo>
                    <a:pt x="470" y="30"/>
                  </a:lnTo>
                  <a:lnTo>
                    <a:pt x="457" y="58"/>
                  </a:lnTo>
                  <a:lnTo>
                    <a:pt x="423" y="50"/>
                  </a:lnTo>
                  <a:lnTo>
                    <a:pt x="390" y="45"/>
                  </a:lnTo>
                  <a:lnTo>
                    <a:pt x="362" y="28"/>
                  </a:lnTo>
                  <a:lnTo>
                    <a:pt x="325" y="11"/>
                  </a:lnTo>
                  <a:lnTo>
                    <a:pt x="302" y="26"/>
                  </a:lnTo>
                  <a:lnTo>
                    <a:pt x="284" y="50"/>
                  </a:lnTo>
                  <a:lnTo>
                    <a:pt x="281" y="83"/>
                  </a:lnTo>
                  <a:lnTo>
                    <a:pt x="278" y="112"/>
                  </a:lnTo>
                  <a:lnTo>
                    <a:pt x="265" y="136"/>
                  </a:lnTo>
                  <a:lnTo>
                    <a:pt x="256" y="166"/>
                  </a:lnTo>
                  <a:lnTo>
                    <a:pt x="250" y="208"/>
                  </a:lnTo>
                  <a:lnTo>
                    <a:pt x="253" y="234"/>
                  </a:lnTo>
                  <a:lnTo>
                    <a:pt x="246" y="250"/>
                  </a:lnTo>
                  <a:lnTo>
                    <a:pt x="245" y="268"/>
                  </a:lnTo>
                  <a:lnTo>
                    <a:pt x="239" y="282"/>
                  </a:lnTo>
                  <a:lnTo>
                    <a:pt x="210" y="305"/>
                  </a:lnTo>
                  <a:lnTo>
                    <a:pt x="189" y="330"/>
                  </a:lnTo>
                  <a:lnTo>
                    <a:pt x="170" y="375"/>
                  </a:lnTo>
                  <a:lnTo>
                    <a:pt x="171" y="414"/>
                  </a:lnTo>
                  <a:lnTo>
                    <a:pt x="160" y="428"/>
                  </a:lnTo>
                  <a:lnTo>
                    <a:pt x="134" y="452"/>
                  </a:lnTo>
                  <a:lnTo>
                    <a:pt x="107" y="481"/>
                  </a:lnTo>
                  <a:lnTo>
                    <a:pt x="91" y="472"/>
                  </a:lnTo>
                  <a:lnTo>
                    <a:pt x="88" y="460"/>
                  </a:lnTo>
                  <a:lnTo>
                    <a:pt x="64" y="459"/>
                  </a:lnTo>
                  <a:lnTo>
                    <a:pt x="49" y="478"/>
                  </a:lnTo>
                  <a:lnTo>
                    <a:pt x="37" y="472"/>
                  </a:lnTo>
                  <a:lnTo>
                    <a:pt x="20" y="483"/>
                  </a:lnTo>
                  <a:lnTo>
                    <a:pt x="13" y="494"/>
                  </a:lnTo>
                  <a:lnTo>
                    <a:pt x="12" y="515"/>
                  </a:lnTo>
                  <a:lnTo>
                    <a:pt x="0" y="520"/>
                  </a:lnTo>
                  <a:lnTo>
                    <a:pt x="7" y="534"/>
                  </a:lnTo>
                  <a:lnTo>
                    <a:pt x="25" y="528"/>
                  </a:lnTo>
                  <a:lnTo>
                    <a:pt x="38" y="528"/>
                  </a:lnTo>
                  <a:lnTo>
                    <a:pt x="53" y="523"/>
                  </a:lnTo>
                  <a:lnTo>
                    <a:pt x="185" y="523"/>
                  </a:lnTo>
                  <a:lnTo>
                    <a:pt x="196" y="559"/>
                  </a:lnTo>
                  <a:lnTo>
                    <a:pt x="208" y="587"/>
                  </a:lnTo>
                  <a:lnTo>
                    <a:pt x="218" y="602"/>
                  </a:lnTo>
                  <a:lnTo>
                    <a:pt x="235" y="627"/>
                  </a:lnTo>
                  <a:lnTo>
                    <a:pt x="264" y="623"/>
                  </a:lnTo>
                  <a:lnTo>
                    <a:pt x="279" y="617"/>
                  </a:lnTo>
                  <a:lnTo>
                    <a:pt x="303" y="623"/>
                  </a:lnTo>
                  <a:lnTo>
                    <a:pt x="311" y="612"/>
                  </a:lnTo>
                  <a:lnTo>
                    <a:pt x="322" y="584"/>
                  </a:lnTo>
                  <a:lnTo>
                    <a:pt x="350" y="582"/>
                  </a:lnTo>
                  <a:lnTo>
                    <a:pt x="352" y="574"/>
                  </a:lnTo>
                  <a:lnTo>
                    <a:pt x="375" y="573"/>
                  </a:lnTo>
                  <a:lnTo>
                    <a:pt x="371" y="590"/>
                  </a:lnTo>
                  <a:lnTo>
                    <a:pt x="425" y="590"/>
                  </a:lnTo>
                  <a:lnTo>
                    <a:pt x="425" y="620"/>
                  </a:lnTo>
                  <a:lnTo>
                    <a:pt x="434" y="638"/>
                  </a:lnTo>
                  <a:lnTo>
                    <a:pt x="427" y="666"/>
                  </a:lnTo>
                  <a:lnTo>
                    <a:pt x="430" y="695"/>
                  </a:lnTo>
                  <a:lnTo>
                    <a:pt x="444" y="713"/>
                  </a:lnTo>
                  <a:lnTo>
                    <a:pt x="441" y="769"/>
                  </a:lnTo>
                  <a:lnTo>
                    <a:pt x="452" y="764"/>
                  </a:lnTo>
                  <a:lnTo>
                    <a:pt x="471" y="765"/>
                  </a:lnTo>
                  <a:lnTo>
                    <a:pt x="499" y="759"/>
                  </a:lnTo>
                  <a:lnTo>
                    <a:pt x="519" y="761"/>
                  </a:lnTo>
                  <a:lnTo>
                    <a:pt x="534" y="762"/>
                  </a:lnTo>
                  <a:lnTo>
                    <a:pt x="536" y="776"/>
                  </a:lnTo>
                  <a:lnTo>
                    <a:pt x="557" y="775"/>
                  </a:lnTo>
                  <a:lnTo>
                    <a:pt x="586" y="780"/>
                  </a:lnTo>
                  <a:lnTo>
                    <a:pt x="600" y="801"/>
                  </a:lnTo>
                  <a:lnTo>
                    <a:pt x="635" y="808"/>
                  </a:lnTo>
                  <a:lnTo>
                    <a:pt x="662" y="793"/>
                  </a:lnTo>
                  <a:lnTo>
                    <a:pt x="672" y="818"/>
                  </a:lnTo>
                  <a:lnTo>
                    <a:pt x="706" y="824"/>
                  </a:lnTo>
                  <a:lnTo>
                    <a:pt x="722" y="844"/>
                  </a:lnTo>
                  <a:lnTo>
                    <a:pt x="739" y="870"/>
                  </a:lnTo>
                  <a:lnTo>
                    <a:pt x="773" y="871"/>
                  </a:lnTo>
                  <a:lnTo>
                    <a:pt x="771" y="820"/>
                  </a:lnTo>
                  <a:lnTo>
                    <a:pt x="758" y="828"/>
                  </a:lnTo>
                  <a:lnTo>
                    <a:pt x="728" y="810"/>
                  </a:lnTo>
                  <a:lnTo>
                    <a:pt x="716" y="802"/>
                  </a:lnTo>
                  <a:lnTo>
                    <a:pt x="723" y="754"/>
                  </a:lnTo>
                  <a:lnTo>
                    <a:pt x="732" y="699"/>
                  </a:lnTo>
                  <a:lnTo>
                    <a:pt x="723" y="678"/>
                  </a:lnTo>
                  <a:lnTo>
                    <a:pt x="735" y="648"/>
                  </a:lnTo>
                  <a:lnTo>
                    <a:pt x="748" y="642"/>
                  </a:lnTo>
                  <a:lnTo>
                    <a:pt x="808" y="635"/>
                  </a:lnTo>
                  <a:lnTo>
                    <a:pt x="816" y="637"/>
                  </a:lnTo>
                  <a:lnTo>
                    <a:pt x="818" y="629"/>
                  </a:lnTo>
                  <a:lnTo>
                    <a:pt x="805" y="617"/>
                  </a:lnTo>
                  <a:lnTo>
                    <a:pt x="799" y="590"/>
                  </a:lnTo>
                  <a:lnTo>
                    <a:pt x="773" y="565"/>
                  </a:lnTo>
                  <a:lnTo>
                    <a:pt x="758" y="531"/>
                  </a:lnTo>
                  <a:lnTo>
                    <a:pt x="766" y="511"/>
                  </a:lnTo>
                  <a:lnTo>
                    <a:pt x="755" y="485"/>
                  </a:lnTo>
                  <a:lnTo>
                    <a:pt x="764" y="410"/>
                  </a:lnTo>
                  <a:lnTo>
                    <a:pt x="764" y="410"/>
                  </a:lnTo>
                  <a:lnTo>
                    <a:pt x="764" y="403"/>
                  </a:lnTo>
                  <a:lnTo>
                    <a:pt x="753" y="381"/>
                  </a:lnTo>
                  <a:lnTo>
                    <a:pt x="757" y="355"/>
                  </a:lnTo>
                  <a:lnTo>
                    <a:pt x="763" y="352"/>
                  </a:lnTo>
                  <a:lnTo>
                    <a:pt x="765" y="324"/>
                  </a:lnTo>
                  <a:lnTo>
                    <a:pt x="777" y="311"/>
                  </a:lnTo>
                  <a:lnTo>
                    <a:pt x="778" y="275"/>
                  </a:lnTo>
                  <a:lnTo>
                    <a:pt x="788" y="257"/>
                  </a:lnTo>
                  <a:lnTo>
                    <a:pt x="791" y="219"/>
                  </a:lnTo>
                  <a:lnTo>
                    <a:pt x="800" y="197"/>
                  </a:lnTo>
                  <a:lnTo>
                    <a:pt x="818" y="174"/>
                  </a:lnTo>
                  <a:lnTo>
                    <a:pt x="834" y="161"/>
                  </a:lnTo>
                  <a:lnTo>
                    <a:pt x="849" y="144"/>
                  </a:lnTo>
                  <a:lnTo>
                    <a:pt x="830" y="138"/>
                  </a:lnTo>
                  <a:lnTo>
                    <a:pt x="833" y="83"/>
                  </a:lnTo>
                  <a:lnTo>
                    <a:pt x="833" y="83"/>
                  </a:lnTo>
                  <a:lnTo>
                    <a:pt x="793" y="51"/>
                  </a:lnTo>
                  <a:lnTo>
                    <a:pt x="783" y="32"/>
                  </a:lnTo>
                  <a:lnTo>
                    <a:pt x="757" y="41"/>
                  </a:lnTo>
                  <a:lnTo>
                    <a:pt x="737" y="39"/>
                  </a:lnTo>
                  <a:lnTo>
                    <a:pt x="725" y="46"/>
                  </a:lnTo>
                  <a:lnTo>
                    <a:pt x="705" y="40"/>
                  </a:lnTo>
                  <a:lnTo>
                    <a:pt x="678" y="2"/>
                  </a:lnTo>
                  <a:lnTo>
                    <a:pt x="663" y="7"/>
                  </a:lnTo>
                  <a:lnTo>
                    <a:pt x="634" y="5"/>
                  </a:lnTo>
                  <a:lnTo>
                    <a:pt x="634" y="5"/>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8" name="Congo">
              <a:extLst>
                <a:ext uri="{FF2B5EF4-FFF2-40B4-BE49-F238E27FC236}">
                  <a16:creationId xmlns:a16="http://schemas.microsoft.com/office/drawing/2014/main" id="{F89C3008-B972-DB45-5E44-247200C794A6}"/>
                </a:ext>
              </a:extLst>
            </p:cNvPr>
            <p:cNvSpPr>
              <a:spLocks/>
            </p:cNvSpPr>
            <p:nvPr/>
          </p:nvSpPr>
          <p:spPr bwMode="auto">
            <a:xfrm>
              <a:off x="6876354" y="3287050"/>
              <a:ext cx="522288" cy="652463"/>
            </a:xfrm>
            <a:custGeom>
              <a:avLst/>
              <a:gdLst>
                <a:gd name="T0" fmla="*/ 329 w 329"/>
                <a:gd name="T1" fmla="*/ 10 h 411"/>
                <a:gd name="T2" fmla="*/ 299 w 329"/>
                <a:gd name="T3" fmla="*/ 7 h 411"/>
                <a:gd name="T4" fmla="*/ 270 w 329"/>
                <a:gd name="T5" fmla="*/ 0 h 411"/>
                <a:gd name="T6" fmla="*/ 243 w 329"/>
                <a:gd name="T7" fmla="*/ 24 h 411"/>
                <a:gd name="T8" fmla="*/ 220 w 329"/>
                <a:gd name="T9" fmla="*/ 68 h 411"/>
                <a:gd name="T10" fmla="*/ 217 w 329"/>
                <a:gd name="T11" fmla="*/ 94 h 411"/>
                <a:gd name="T12" fmla="*/ 182 w 329"/>
                <a:gd name="T13" fmla="*/ 82 h 411"/>
                <a:gd name="T14" fmla="*/ 145 w 329"/>
                <a:gd name="T15" fmla="*/ 70 h 411"/>
                <a:gd name="T16" fmla="*/ 89 w 329"/>
                <a:gd name="T17" fmla="*/ 68 h 411"/>
                <a:gd name="T18" fmla="*/ 86 w 329"/>
                <a:gd name="T19" fmla="*/ 89 h 411"/>
                <a:gd name="T20" fmla="*/ 98 w 329"/>
                <a:gd name="T21" fmla="*/ 112 h 411"/>
                <a:gd name="T22" fmla="*/ 131 w 329"/>
                <a:gd name="T23" fmla="*/ 109 h 411"/>
                <a:gd name="T24" fmla="*/ 142 w 329"/>
                <a:gd name="T25" fmla="*/ 118 h 411"/>
                <a:gd name="T26" fmla="*/ 123 w 329"/>
                <a:gd name="T27" fmla="*/ 173 h 411"/>
                <a:gd name="T28" fmla="*/ 144 w 329"/>
                <a:gd name="T29" fmla="*/ 201 h 411"/>
                <a:gd name="T30" fmla="*/ 150 w 329"/>
                <a:gd name="T31" fmla="*/ 237 h 411"/>
                <a:gd name="T32" fmla="*/ 143 w 329"/>
                <a:gd name="T33" fmla="*/ 269 h 411"/>
                <a:gd name="T34" fmla="*/ 129 w 329"/>
                <a:gd name="T35" fmla="*/ 291 h 411"/>
                <a:gd name="T36" fmla="*/ 90 w 329"/>
                <a:gd name="T37" fmla="*/ 289 h 411"/>
                <a:gd name="T38" fmla="*/ 66 w 329"/>
                <a:gd name="T39" fmla="*/ 266 h 411"/>
                <a:gd name="T40" fmla="*/ 63 w 329"/>
                <a:gd name="T41" fmla="*/ 287 h 411"/>
                <a:gd name="T42" fmla="*/ 33 w 329"/>
                <a:gd name="T43" fmla="*/ 292 h 411"/>
                <a:gd name="T44" fmla="*/ 17 w 329"/>
                <a:gd name="T45" fmla="*/ 304 h 411"/>
                <a:gd name="T46" fmla="*/ 35 w 329"/>
                <a:gd name="T47" fmla="*/ 336 h 411"/>
                <a:gd name="T48" fmla="*/ 0 w 329"/>
                <a:gd name="T49" fmla="*/ 362 h 411"/>
                <a:gd name="T50" fmla="*/ 36 w 329"/>
                <a:gd name="T51" fmla="*/ 411 h 411"/>
                <a:gd name="T52" fmla="*/ 55 w 329"/>
                <a:gd name="T53" fmla="*/ 391 h 411"/>
                <a:gd name="T54" fmla="*/ 68 w 329"/>
                <a:gd name="T55" fmla="*/ 383 h 411"/>
                <a:gd name="T56" fmla="*/ 85 w 329"/>
                <a:gd name="T57" fmla="*/ 399 h 411"/>
                <a:gd name="T58" fmla="*/ 97 w 329"/>
                <a:gd name="T59" fmla="*/ 405 h 411"/>
                <a:gd name="T60" fmla="*/ 112 w 329"/>
                <a:gd name="T61" fmla="*/ 386 h 411"/>
                <a:gd name="T62" fmla="*/ 136 w 329"/>
                <a:gd name="T63" fmla="*/ 387 h 411"/>
                <a:gd name="T64" fmla="*/ 139 w 329"/>
                <a:gd name="T65" fmla="*/ 399 h 411"/>
                <a:gd name="T66" fmla="*/ 155 w 329"/>
                <a:gd name="T67" fmla="*/ 408 h 411"/>
                <a:gd name="T68" fmla="*/ 182 w 329"/>
                <a:gd name="T69" fmla="*/ 379 h 411"/>
                <a:gd name="T70" fmla="*/ 208 w 329"/>
                <a:gd name="T71" fmla="*/ 355 h 411"/>
                <a:gd name="T72" fmla="*/ 219 w 329"/>
                <a:gd name="T73" fmla="*/ 341 h 411"/>
                <a:gd name="T74" fmla="*/ 218 w 329"/>
                <a:gd name="T75" fmla="*/ 302 h 411"/>
                <a:gd name="T76" fmla="*/ 237 w 329"/>
                <a:gd name="T77" fmla="*/ 257 h 411"/>
                <a:gd name="T78" fmla="*/ 258 w 329"/>
                <a:gd name="T79" fmla="*/ 232 h 411"/>
                <a:gd name="T80" fmla="*/ 287 w 329"/>
                <a:gd name="T81" fmla="*/ 209 h 411"/>
                <a:gd name="T82" fmla="*/ 293 w 329"/>
                <a:gd name="T83" fmla="*/ 195 h 411"/>
                <a:gd name="T84" fmla="*/ 294 w 329"/>
                <a:gd name="T85" fmla="*/ 177 h 411"/>
                <a:gd name="T86" fmla="*/ 301 w 329"/>
                <a:gd name="T87" fmla="*/ 161 h 411"/>
                <a:gd name="T88" fmla="*/ 298 w 329"/>
                <a:gd name="T89" fmla="*/ 135 h 411"/>
                <a:gd name="T90" fmla="*/ 304 w 329"/>
                <a:gd name="T91" fmla="*/ 93 h 411"/>
                <a:gd name="T92" fmla="*/ 313 w 329"/>
                <a:gd name="T93" fmla="*/ 63 h 411"/>
                <a:gd name="T94" fmla="*/ 326 w 329"/>
                <a:gd name="T95" fmla="*/ 39 h 411"/>
                <a:gd name="T96" fmla="*/ 329 w 329"/>
                <a:gd name="T97" fmla="*/ 10 h 411"/>
                <a:gd name="T98" fmla="*/ 329 w 329"/>
                <a:gd name="T99" fmla="*/ 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411">
                  <a:moveTo>
                    <a:pt x="329" y="10"/>
                  </a:moveTo>
                  <a:lnTo>
                    <a:pt x="299" y="7"/>
                  </a:lnTo>
                  <a:lnTo>
                    <a:pt x="270" y="0"/>
                  </a:lnTo>
                  <a:lnTo>
                    <a:pt x="243" y="24"/>
                  </a:lnTo>
                  <a:lnTo>
                    <a:pt x="220" y="68"/>
                  </a:lnTo>
                  <a:lnTo>
                    <a:pt x="217" y="94"/>
                  </a:lnTo>
                  <a:lnTo>
                    <a:pt x="182" y="82"/>
                  </a:lnTo>
                  <a:lnTo>
                    <a:pt x="145" y="70"/>
                  </a:lnTo>
                  <a:lnTo>
                    <a:pt x="89" y="68"/>
                  </a:lnTo>
                  <a:lnTo>
                    <a:pt x="86" y="89"/>
                  </a:lnTo>
                  <a:lnTo>
                    <a:pt x="98" y="112"/>
                  </a:lnTo>
                  <a:lnTo>
                    <a:pt x="131" y="109"/>
                  </a:lnTo>
                  <a:lnTo>
                    <a:pt x="142" y="118"/>
                  </a:lnTo>
                  <a:lnTo>
                    <a:pt x="123" y="173"/>
                  </a:lnTo>
                  <a:lnTo>
                    <a:pt x="144" y="201"/>
                  </a:lnTo>
                  <a:lnTo>
                    <a:pt x="150" y="237"/>
                  </a:lnTo>
                  <a:lnTo>
                    <a:pt x="143" y="269"/>
                  </a:lnTo>
                  <a:lnTo>
                    <a:pt x="129" y="291"/>
                  </a:lnTo>
                  <a:lnTo>
                    <a:pt x="90" y="289"/>
                  </a:lnTo>
                  <a:lnTo>
                    <a:pt x="66" y="266"/>
                  </a:lnTo>
                  <a:lnTo>
                    <a:pt x="63" y="287"/>
                  </a:lnTo>
                  <a:lnTo>
                    <a:pt x="33" y="292"/>
                  </a:lnTo>
                  <a:lnTo>
                    <a:pt x="17" y="304"/>
                  </a:lnTo>
                  <a:lnTo>
                    <a:pt x="35" y="336"/>
                  </a:lnTo>
                  <a:lnTo>
                    <a:pt x="0" y="362"/>
                  </a:lnTo>
                  <a:lnTo>
                    <a:pt x="36" y="411"/>
                  </a:lnTo>
                  <a:lnTo>
                    <a:pt x="55" y="391"/>
                  </a:lnTo>
                  <a:lnTo>
                    <a:pt x="68" y="383"/>
                  </a:lnTo>
                  <a:lnTo>
                    <a:pt x="85" y="399"/>
                  </a:lnTo>
                  <a:lnTo>
                    <a:pt x="97" y="405"/>
                  </a:lnTo>
                  <a:lnTo>
                    <a:pt x="112" y="386"/>
                  </a:lnTo>
                  <a:lnTo>
                    <a:pt x="136" y="387"/>
                  </a:lnTo>
                  <a:lnTo>
                    <a:pt x="139" y="399"/>
                  </a:lnTo>
                  <a:lnTo>
                    <a:pt x="155" y="408"/>
                  </a:lnTo>
                  <a:lnTo>
                    <a:pt x="182" y="379"/>
                  </a:lnTo>
                  <a:lnTo>
                    <a:pt x="208" y="355"/>
                  </a:lnTo>
                  <a:lnTo>
                    <a:pt x="219" y="341"/>
                  </a:lnTo>
                  <a:lnTo>
                    <a:pt x="218" y="302"/>
                  </a:lnTo>
                  <a:lnTo>
                    <a:pt x="237" y="257"/>
                  </a:lnTo>
                  <a:lnTo>
                    <a:pt x="258" y="232"/>
                  </a:lnTo>
                  <a:lnTo>
                    <a:pt x="287" y="209"/>
                  </a:lnTo>
                  <a:lnTo>
                    <a:pt x="293" y="195"/>
                  </a:lnTo>
                  <a:lnTo>
                    <a:pt x="294" y="177"/>
                  </a:lnTo>
                  <a:lnTo>
                    <a:pt x="301" y="161"/>
                  </a:lnTo>
                  <a:lnTo>
                    <a:pt x="298" y="135"/>
                  </a:lnTo>
                  <a:lnTo>
                    <a:pt x="304" y="93"/>
                  </a:lnTo>
                  <a:lnTo>
                    <a:pt x="313" y="63"/>
                  </a:lnTo>
                  <a:lnTo>
                    <a:pt x="326" y="39"/>
                  </a:lnTo>
                  <a:lnTo>
                    <a:pt x="329" y="10"/>
                  </a:lnTo>
                  <a:lnTo>
                    <a:pt x="329" y="1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9" name="Djibouti">
              <a:extLst>
                <a:ext uri="{FF2B5EF4-FFF2-40B4-BE49-F238E27FC236}">
                  <a16:creationId xmlns:a16="http://schemas.microsoft.com/office/drawing/2014/main" id="{AF11EEB1-16D2-AF2B-3FD4-2E25C055CB54}"/>
                </a:ext>
              </a:extLst>
            </p:cNvPr>
            <p:cNvSpPr>
              <a:spLocks/>
            </p:cNvSpPr>
            <p:nvPr/>
          </p:nvSpPr>
          <p:spPr bwMode="auto">
            <a:xfrm>
              <a:off x="9025829" y="2617125"/>
              <a:ext cx="114300" cy="131763"/>
            </a:xfrm>
            <a:custGeom>
              <a:avLst/>
              <a:gdLst>
                <a:gd name="T0" fmla="*/ 66 w 72"/>
                <a:gd name="T1" fmla="*/ 58 h 83"/>
                <a:gd name="T2" fmla="*/ 47 w 72"/>
                <a:gd name="T3" fmla="*/ 45 h 83"/>
                <a:gd name="T4" fmla="*/ 71 w 72"/>
                <a:gd name="T5" fmla="*/ 34 h 83"/>
                <a:gd name="T6" fmla="*/ 72 w 72"/>
                <a:gd name="T7" fmla="*/ 15 h 83"/>
                <a:gd name="T8" fmla="*/ 61 w 72"/>
                <a:gd name="T9" fmla="*/ 0 h 83"/>
                <a:gd name="T10" fmla="*/ 48 w 72"/>
                <a:gd name="T11" fmla="*/ 11 h 83"/>
                <a:gd name="T12" fmla="*/ 28 w 72"/>
                <a:gd name="T13" fmla="*/ 7 h 83"/>
                <a:gd name="T14" fmla="*/ 14 w 72"/>
                <a:gd name="T15" fmla="*/ 28 h 83"/>
                <a:gd name="T16" fmla="*/ 0 w 72"/>
                <a:gd name="T17" fmla="*/ 51 h 83"/>
                <a:gd name="T18" fmla="*/ 4 w 72"/>
                <a:gd name="T19" fmla="*/ 63 h 83"/>
                <a:gd name="T20" fmla="*/ 5 w 72"/>
                <a:gd name="T21" fmla="*/ 78 h 83"/>
                <a:gd name="T22" fmla="*/ 30 w 72"/>
                <a:gd name="T23" fmla="*/ 78 h 83"/>
                <a:gd name="T24" fmla="*/ 40 w 72"/>
                <a:gd name="T25" fmla="*/ 75 h 83"/>
                <a:gd name="T26" fmla="*/ 50 w 72"/>
                <a:gd name="T27" fmla="*/ 83 h 83"/>
                <a:gd name="T28" fmla="*/ 66 w 72"/>
                <a:gd name="T29" fmla="*/ 58 h 83"/>
                <a:gd name="T30" fmla="*/ 66 w 72"/>
                <a:gd name="T31" fmla="*/ 5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3">
                  <a:moveTo>
                    <a:pt x="66" y="58"/>
                  </a:moveTo>
                  <a:lnTo>
                    <a:pt x="47" y="45"/>
                  </a:lnTo>
                  <a:lnTo>
                    <a:pt x="71" y="34"/>
                  </a:lnTo>
                  <a:lnTo>
                    <a:pt x="72" y="15"/>
                  </a:lnTo>
                  <a:lnTo>
                    <a:pt x="61" y="0"/>
                  </a:lnTo>
                  <a:lnTo>
                    <a:pt x="48" y="11"/>
                  </a:lnTo>
                  <a:lnTo>
                    <a:pt x="28" y="7"/>
                  </a:lnTo>
                  <a:lnTo>
                    <a:pt x="14" y="28"/>
                  </a:lnTo>
                  <a:lnTo>
                    <a:pt x="0" y="51"/>
                  </a:lnTo>
                  <a:lnTo>
                    <a:pt x="4" y="63"/>
                  </a:lnTo>
                  <a:lnTo>
                    <a:pt x="5" y="78"/>
                  </a:lnTo>
                  <a:lnTo>
                    <a:pt x="30" y="78"/>
                  </a:lnTo>
                  <a:lnTo>
                    <a:pt x="40" y="75"/>
                  </a:lnTo>
                  <a:lnTo>
                    <a:pt x="50" y="83"/>
                  </a:lnTo>
                  <a:lnTo>
                    <a:pt x="66" y="58"/>
                  </a:lnTo>
                  <a:lnTo>
                    <a:pt x="66" y="5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0" name="Algeria">
              <a:extLst>
                <a:ext uri="{FF2B5EF4-FFF2-40B4-BE49-F238E27FC236}">
                  <a16:creationId xmlns:a16="http://schemas.microsoft.com/office/drawing/2014/main" id="{CA91C669-F1FD-5D00-DC7E-338DD8093DE2}"/>
                </a:ext>
              </a:extLst>
            </p:cNvPr>
            <p:cNvSpPr>
              <a:spLocks/>
            </p:cNvSpPr>
            <p:nvPr/>
          </p:nvSpPr>
          <p:spPr bwMode="auto">
            <a:xfrm>
              <a:off x="5495229" y="793087"/>
              <a:ext cx="1425575" cy="1349375"/>
            </a:xfrm>
            <a:custGeom>
              <a:avLst/>
              <a:gdLst>
                <a:gd name="T0" fmla="*/ 727 w 898"/>
                <a:gd name="T1" fmla="*/ 8 h 850"/>
                <a:gd name="T2" fmla="*/ 698 w 898"/>
                <a:gd name="T3" fmla="*/ 11 h 850"/>
                <a:gd name="T4" fmla="*/ 681 w 898"/>
                <a:gd name="T5" fmla="*/ 0 h 850"/>
                <a:gd name="T6" fmla="*/ 636 w 898"/>
                <a:gd name="T7" fmla="*/ 1 h 850"/>
                <a:gd name="T8" fmla="*/ 598 w 898"/>
                <a:gd name="T9" fmla="*/ 19 h 850"/>
                <a:gd name="T10" fmla="*/ 577 w 898"/>
                <a:gd name="T11" fmla="*/ 12 h 850"/>
                <a:gd name="T12" fmla="*/ 507 w 898"/>
                <a:gd name="T13" fmla="*/ 16 h 850"/>
                <a:gd name="T14" fmla="*/ 437 w 898"/>
                <a:gd name="T15" fmla="*/ 25 h 850"/>
                <a:gd name="T16" fmla="*/ 397 w 898"/>
                <a:gd name="T17" fmla="*/ 39 h 850"/>
                <a:gd name="T18" fmla="*/ 370 w 898"/>
                <a:gd name="T19" fmla="*/ 59 h 850"/>
                <a:gd name="T20" fmla="*/ 325 w 898"/>
                <a:gd name="T21" fmla="*/ 67 h 850"/>
                <a:gd name="T22" fmla="*/ 284 w 898"/>
                <a:gd name="T23" fmla="*/ 93 h 850"/>
                <a:gd name="T24" fmla="*/ 300 w 898"/>
                <a:gd name="T25" fmla="*/ 124 h 850"/>
                <a:gd name="T26" fmla="*/ 302 w 898"/>
                <a:gd name="T27" fmla="*/ 152 h 850"/>
                <a:gd name="T28" fmla="*/ 316 w 898"/>
                <a:gd name="T29" fmla="*/ 202 h 850"/>
                <a:gd name="T30" fmla="*/ 327 w 898"/>
                <a:gd name="T31" fmla="*/ 212 h 850"/>
                <a:gd name="T32" fmla="*/ 320 w 898"/>
                <a:gd name="T33" fmla="*/ 230 h 850"/>
                <a:gd name="T34" fmla="*/ 264 w 898"/>
                <a:gd name="T35" fmla="*/ 239 h 850"/>
                <a:gd name="T36" fmla="*/ 244 w 898"/>
                <a:gd name="T37" fmla="*/ 255 h 850"/>
                <a:gd name="T38" fmla="*/ 220 w 898"/>
                <a:gd name="T39" fmla="*/ 260 h 850"/>
                <a:gd name="T40" fmla="*/ 218 w 898"/>
                <a:gd name="T41" fmla="*/ 295 h 850"/>
                <a:gd name="T42" fmla="*/ 168 w 898"/>
                <a:gd name="T43" fmla="*/ 312 h 850"/>
                <a:gd name="T44" fmla="*/ 150 w 898"/>
                <a:gd name="T45" fmla="*/ 336 h 850"/>
                <a:gd name="T46" fmla="*/ 115 w 898"/>
                <a:gd name="T47" fmla="*/ 349 h 850"/>
                <a:gd name="T48" fmla="*/ 73 w 898"/>
                <a:gd name="T49" fmla="*/ 356 h 850"/>
                <a:gd name="T50" fmla="*/ 2 w 898"/>
                <a:gd name="T51" fmla="*/ 390 h 850"/>
                <a:gd name="T52" fmla="*/ 1 w 898"/>
                <a:gd name="T53" fmla="*/ 446 h 850"/>
                <a:gd name="T54" fmla="*/ 1 w 898"/>
                <a:gd name="T55" fmla="*/ 449 h 850"/>
                <a:gd name="T56" fmla="*/ 0 w 898"/>
                <a:gd name="T57" fmla="*/ 458 h 850"/>
                <a:gd name="T58" fmla="*/ 161 w 898"/>
                <a:gd name="T59" fmla="*/ 572 h 850"/>
                <a:gd name="T60" fmla="*/ 307 w 898"/>
                <a:gd name="T61" fmla="*/ 675 h 850"/>
                <a:gd name="T62" fmla="*/ 455 w 898"/>
                <a:gd name="T63" fmla="*/ 778 h 850"/>
                <a:gd name="T64" fmla="*/ 466 w 898"/>
                <a:gd name="T65" fmla="*/ 799 h 850"/>
                <a:gd name="T66" fmla="*/ 494 w 898"/>
                <a:gd name="T67" fmla="*/ 812 h 850"/>
                <a:gd name="T68" fmla="*/ 514 w 898"/>
                <a:gd name="T69" fmla="*/ 820 h 850"/>
                <a:gd name="T70" fmla="*/ 514 w 898"/>
                <a:gd name="T71" fmla="*/ 850 h 850"/>
                <a:gd name="T72" fmla="*/ 563 w 898"/>
                <a:gd name="T73" fmla="*/ 846 h 850"/>
                <a:gd name="T74" fmla="*/ 624 w 898"/>
                <a:gd name="T75" fmla="*/ 824 h 850"/>
                <a:gd name="T76" fmla="*/ 750 w 898"/>
                <a:gd name="T77" fmla="*/ 733 h 850"/>
                <a:gd name="T78" fmla="*/ 898 w 898"/>
                <a:gd name="T79" fmla="*/ 643 h 850"/>
                <a:gd name="T80" fmla="*/ 879 w 898"/>
                <a:gd name="T81" fmla="*/ 614 h 850"/>
                <a:gd name="T82" fmla="*/ 843 w 898"/>
                <a:gd name="T83" fmla="*/ 592 h 850"/>
                <a:gd name="T84" fmla="*/ 823 w 898"/>
                <a:gd name="T85" fmla="*/ 600 h 850"/>
                <a:gd name="T86" fmla="*/ 808 w 898"/>
                <a:gd name="T87" fmla="*/ 574 h 850"/>
                <a:gd name="T88" fmla="*/ 806 w 898"/>
                <a:gd name="T89" fmla="*/ 554 h 850"/>
                <a:gd name="T90" fmla="*/ 779 w 898"/>
                <a:gd name="T91" fmla="*/ 520 h 850"/>
                <a:gd name="T92" fmla="*/ 796 w 898"/>
                <a:gd name="T93" fmla="*/ 500 h 850"/>
                <a:gd name="T94" fmla="*/ 791 w 898"/>
                <a:gd name="T95" fmla="*/ 470 h 850"/>
                <a:gd name="T96" fmla="*/ 797 w 898"/>
                <a:gd name="T97" fmla="*/ 445 h 850"/>
                <a:gd name="T98" fmla="*/ 793 w 898"/>
                <a:gd name="T99" fmla="*/ 424 h 850"/>
                <a:gd name="T100" fmla="*/ 799 w 898"/>
                <a:gd name="T101" fmla="*/ 385 h 850"/>
                <a:gd name="T102" fmla="*/ 797 w 898"/>
                <a:gd name="T103" fmla="*/ 363 h 850"/>
                <a:gd name="T104" fmla="*/ 781 w 898"/>
                <a:gd name="T105" fmla="*/ 322 h 850"/>
                <a:gd name="T106" fmla="*/ 760 w 898"/>
                <a:gd name="T107" fmla="*/ 238 h 850"/>
                <a:gd name="T108" fmla="*/ 734 w 898"/>
                <a:gd name="T109" fmla="*/ 219 h 850"/>
                <a:gd name="T110" fmla="*/ 733 w 898"/>
                <a:gd name="T111" fmla="*/ 208 h 850"/>
                <a:gd name="T112" fmla="*/ 698 w 898"/>
                <a:gd name="T113" fmla="*/ 179 h 850"/>
                <a:gd name="T114" fmla="*/ 693 w 898"/>
                <a:gd name="T115" fmla="*/ 144 h 850"/>
                <a:gd name="T116" fmla="*/ 718 w 898"/>
                <a:gd name="T117" fmla="*/ 118 h 850"/>
                <a:gd name="T118" fmla="*/ 727 w 898"/>
                <a:gd name="T119" fmla="*/ 78 h 850"/>
                <a:gd name="T120" fmla="*/ 719 w 898"/>
                <a:gd name="T121" fmla="*/ 33 h 850"/>
                <a:gd name="T122" fmla="*/ 727 w 898"/>
                <a:gd name="T123" fmla="*/ 8 h 850"/>
                <a:gd name="T124" fmla="*/ 727 w 898"/>
                <a:gd name="T125" fmla="*/ 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850">
                  <a:moveTo>
                    <a:pt x="727" y="8"/>
                  </a:moveTo>
                  <a:lnTo>
                    <a:pt x="698" y="11"/>
                  </a:lnTo>
                  <a:lnTo>
                    <a:pt x="681" y="0"/>
                  </a:lnTo>
                  <a:lnTo>
                    <a:pt x="636" y="1"/>
                  </a:lnTo>
                  <a:lnTo>
                    <a:pt x="598" y="19"/>
                  </a:lnTo>
                  <a:lnTo>
                    <a:pt x="577" y="12"/>
                  </a:lnTo>
                  <a:lnTo>
                    <a:pt x="507" y="16"/>
                  </a:lnTo>
                  <a:lnTo>
                    <a:pt x="437" y="25"/>
                  </a:lnTo>
                  <a:lnTo>
                    <a:pt x="397" y="39"/>
                  </a:lnTo>
                  <a:lnTo>
                    <a:pt x="370" y="59"/>
                  </a:lnTo>
                  <a:lnTo>
                    <a:pt x="325" y="67"/>
                  </a:lnTo>
                  <a:lnTo>
                    <a:pt x="284" y="93"/>
                  </a:lnTo>
                  <a:lnTo>
                    <a:pt x="300" y="124"/>
                  </a:lnTo>
                  <a:lnTo>
                    <a:pt x="302" y="152"/>
                  </a:lnTo>
                  <a:lnTo>
                    <a:pt x="316" y="202"/>
                  </a:lnTo>
                  <a:lnTo>
                    <a:pt x="327" y="212"/>
                  </a:lnTo>
                  <a:lnTo>
                    <a:pt x="320" y="230"/>
                  </a:lnTo>
                  <a:lnTo>
                    <a:pt x="264" y="239"/>
                  </a:lnTo>
                  <a:lnTo>
                    <a:pt x="244" y="255"/>
                  </a:lnTo>
                  <a:lnTo>
                    <a:pt x="220" y="260"/>
                  </a:lnTo>
                  <a:lnTo>
                    <a:pt x="218" y="295"/>
                  </a:lnTo>
                  <a:lnTo>
                    <a:pt x="168" y="312"/>
                  </a:lnTo>
                  <a:lnTo>
                    <a:pt x="150" y="336"/>
                  </a:lnTo>
                  <a:lnTo>
                    <a:pt x="115" y="349"/>
                  </a:lnTo>
                  <a:lnTo>
                    <a:pt x="73" y="356"/>
                  </a:lnTo>
                  <a:lnTo>
                    <a:pt x="2" y="390"/>
                  </a:lnTo>
                  <a:lnTo>
                    <a:pt x="1" y="446"/>
                  </a:lnTo>
                  <a:lnTo>
                    <a:pt x="1" y="449"/>
                  </a:lnTo>
                  <a:lnTo>
                    <a:pt x="0" y="458"/>
                  </a:lnTo>
                  <a:lnTo>
                    <a:pt x="161" y="572"/>
                  </a:lnTo>
                  <a:lnTo>
                    <a:pt x="307" y="675"/>
                  </a:lnTo>
                  <a:lnTo>
                    <a:pt x="455" y="778"/>
                  </a:lnTo>
                  <a:lnTo>
                    <a:pt x="466" y="799"/>
                  </a:lnTo>
                  <a:lnTo>
                    <a:pt x="494" y="812"/>
                  </a:lnTo>
                  <a:lnTo>
                    <a:pt x="514" y="820"/>
                  </a:lnTo>
                  <a:lnTo>
                    <a:pt x="514" y="850"/>
                  </a:lnTo>
                  <a:lnTo>
                    <a:pt x="563" y="846"/>
                  </a:lnTo>
                  <a:lnTo>
                    <a:pt x="624" y="824"/>
                  </a:lnTo>
                  <a:lnTo>
                    <a:pt x="750" y="733"/>
                  </a:lnTo>
                  <a:lnTo>
                    <a:pt x="898" y="643"/>
                  </a:lnTo>
                  <a:lnTo>
                    <a:pt x="879" y="614"/>
                  </a:lnTo>
                  <a:lnTo>
                    <a:pt x="843" y="592"/>
                  </a:lnTo>
                  <a:lnTo>
                    <a:pt x="823" y="600"/>
                  </a:lnTo>
                  <a:lnTo>
                    <a:pt x="808" y="574"/>
                  </a:lnTo>
                  <a:lnTo>
                    <a:pt x="806" y="554"/>
                  </a:lnTo>
                  <a:lnTo>
                    <a:pt x="779" y="520"/>
                  </a:lnTo>
                  <a:lnTo>
                    <a:pt x="796" y="500"/>
                  </a:lnTo>
                  <a:lnTo>
                    <a:pt x="791" y="470"/>
                  </a:lnTo>
                  <a:lnTo>
                    <a:pt x="797" y="445"/>
                  </a:lnTo>
                  <a:lnTo>
                    <a:pt x="793" y="424"/>
                  </a:lnTo>
                  <a:lnTo>
                    <a:pt x="799" y="385"/>
                  </a:lnTo>
                  <a:lnTo>
                    <a:pt x="797" y="363"/>
                  </a:lnTo>
                  <a:lnTo>
                    <a:pt x="781" y="322"/>
                  </a:lnTo>
                  <a:lnTo>
                    <a:pt x="760" y="238"/>
                  </a:lnTo>
                  <a:lnTo>
                    <a:pt x="734" y="219"/>
                  </a:lnTo>
                  <a:lnTo>
                    <a:pt x="733" y="208"/>
                  </a:lnTo>
                  <a:lnTo>
                    <a:pt x="698" y="179"/>
                  </a:lnTo>
                  <a:lnTo>
                    <a:pt x="693" y="144"/>
                  </a:lnTo>
                  <a:lnTo>
                    <a:pt x="718" y="118"/>
                  </a:lnTo>
                  <a:lnTo>
                    <a:pt x="727" y="78"/>
                  </a:lnTo>
                  <a:lnTo>
                    <a:pt x="719" y="33"/>
                  </a:lnTo>
                  <a:lnTo>
                    <a:pt x="727" y="8"/>
                  </a:lnTo>
                  <a:lnTo>
                    <a:pt x="727"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1" name="Egypt">
              <a:extLst>
                <a:ext uri="{FF2B5EF4-FFF2-40B4-BE49-F238E27FC236}">
                  <a16:creationId xmlns:a16="http://schemas.microsoft.com/office/drawing/2014/main" id="{FD6A9FE5-42A6-89A0-47A3-3FA3903E8476}"/>
                </a:ext>
              </a:extLst>
            </p:cNvPr>
            <p:cNvSpPr>
              <a:spLocks/>
            </p:cNvSpPr>
            <p:nvPr/>
          </p:nvSpPr>
          <p:spPr bwMode="auto">
            <a:xfrm>
              <a:off x="7771704" y="1209012"/>
              <a:ext cx="876300" cy="714375"/>
            </a:xfrm>
            <a:custGeom>
              <a:avLst/>
              <a:gdLst>
                <a:gd name="T0" fmla="*/ 156 w 552"/>
                <a:gd name="T1" fmla="*/ 26 h 450"/>
                <a:gd name="T2" fmla="*/ 113 w 552"/>
                <a:gd name="T3" fmla="*/ 12 h 450"/>
                <a:gd name="T4" fmla="*/ 71 w 552"/>
                <a:gd name="T5" fmla="*/ 0 h 450"/>
                <a:gd name="T6" fmla="*/ 14 w 552"/>
                <a:gd name="T7" fmla="*/ 0 h 450"/>
                <a:gd name="T8" fmla="*/ 0 w 552"/>
                <a:gd name="T9" fmla="*/ 23 h 450"/>
                <a:gd name="T10" fmla="*/ 8 w 552"/>
                <a:gd name="T11" fmla="*/ 43 h 450"/>
                <a:gd name="T12" fmla="*/ 0 w 552"/>
                <a:gd name="T13" fmla="*/ 72 h 450"/>
                <a:gd name="T14" fmla="*/ 15 w 552"/>
                <a:gd name="T15" fmla="*/ 110 h 450"/>
                <a:gd name="T16" fmla="*/ 26 w 552"/>
                <a:gd name="T17" fmla="*/ 277 h 450"/>
                <a:gd name="T18" fmla="*/ 34 w 552"/>
                <a:gd name="T19" fmla="*/ 450 h 450"/>
                <a:gd name="T20" fmla="*/ 209 w 552"/>
                <a:gd name="T21" fmla="*/ 450 h 450"/>
                <a:gd name="T22" fmla="*/ 379 w 552"/>
                <a:gd name="T23" fmla="*/ 450 h 450"/>
                <a:gd name="T24" fmla="*/ 552 w 552"/>
                <a:gd name="T25" fmla="*/ 450 h 450"/>
                <a:gd name="T26" fmla="*/ 544 w 552"/>
                <a:gd name="T27" fmla="*/ 440 h 450"/>
                <a:gd name="T28" fmla="*/ 491 w 552"/>
                <a:gd name="T29" fmla="*/ 398 h 450"/>
                <a:gd name="T30" fmla="*/ 487 w 552"/>
                <a:gd name="T31" fmla="*/ 368 h 450"/>
                <a:gd name="T32" fmla="*/ 495 w 552"/>
                <a:gd name="T33" fmla="*/ 359 h 450"/>
                <a:gd name="T34" fmla="*/ 453 w 552"/>
                <a:gd name="T35" fmla="*/ 308 h 450"/>
                <a:gd name="T36" fmla="*/ 437 w 552"/>
                <a:gd name="T37" fmla="*/ 280 h 450"/>
                <a:gd name="T38" fmla="*/ 418 w 552"/>
                <a:gd name="T39" fmla="*/ 255 h 450"/>
                <a:gd name="T40" fmla="*/ 380 w 552"/>
                <a:gd name="T41" fmla="*/ 182 h 450"/>
                <a:gd name="T42" fmla="*/ 350 w 552"/>
                <a:gd name="T43" fmla="*/ 134 h 450"/>
                <a:gd name="T44" fmla="*/ 327 w 552"/>
                <a:gd name="T45" fmla="*/ 85 h 450"/>
                <a:gd name="T46" fmla="*/ 332 w 552"/>
                <a:gd name="T47" fmla="*/ 81 h 450"/>
                <a:gd name="T48" fmla="*/ 368 w 552"/>
                <a:gd name="T49" fmla="*/ 148 h 450"/>
                <a:gd name="T50" fmla="*/ 389 w 552"/>
                <a:gd name="T51" fmla="*/ 169 h 450"/>
                <a:gd name="T52" fmla="*/ 406 w 552"/>
                <a:gd name="T53" fmla="*/ 185 h 450"/>
                <a:gd name="T54" fmla="*/ 415 w 552"/>
                <a:gd name="T55" fmla="*/ 176 h 450"/>
                <a:gd name="T56" fmla="*/ 424 w 552"/>
                <a:gd name="T57" fmla="*/ 151 h 450"/>
                <a:gd name="T58" fmla="*/ 430 w 552"/>
                <a:gd name="T59" fmla="*/ 117 h 450"/>
                <a:gd name="T60" fmla="*/ 440 w 552"/>
                <a:gd name="T61" fmla="*/ 97 h 450"/>
                <a:gd name="T62" fmla="*/ 435 w 552"/>
                <a:gd name="T63" fmla="*/ 85 h 450"/>
                <a:gd name="T64" fmla="*/ 404 w 552"/>
                <a:gd name="T65" fmla="*/ 17 h 450"/>
                <a:gd name="T66" fmla="*/ 404 w 552"/>
                <a:gd name="T67" fmla="*/ 17 h 450"/>
                <a:gd name="T68" fmla="*/ 384 w 552"/>
                <a:gd name="T69" fmla="*/ 29 h 450"/>
                <a:gd name="T70" fmla="*/ 351 w 552"/>
                <a:gd name="T71" fmla="*/ 26 h 450"/>
                <a:gd name="T72" fmla="*/ 315 w 552"/>
                <a:gd name="T73" fmla="*/ 16 h 450"/>
                <a:gd name="T74" fmla="*/ 307 w 552"/>
                <a:gd name="T75" fmla="*/ 31 h 450"/>
                <a:gd name="T76" fmla="*/ 293 w 552"/>
                <a:gd name="T77" fmla="*/ 7 h 450"/>
                <a:gd name="T78" fmla="*/ 262 w 552"/>
                <a:gd name="T79" fmla="*/ 1 h 450"/>
                <a:gd name="T80" fmla="*/ 225 w 552"/>
                <a:gd name="T81" fmla="*/ 5 h 450"/>
                <a:gd name="T82" fmla="*/ 208 w 552"/>
                <a:gd name="T83" fmla="*/ 19 h 450"/>
                <a:gd name="T84" fmla="*/ 177 w 552"/>
                <a:gd name="T85" fmla="*/ 33 h 450"/>
                <a:gd name="T86" fmla="*/ 156 w 552"/>
                <a:gd name="T87" fmla="*/ 26 h 450"/>
                <a:gd name="T88" fmla="*/ 156 w 552"/>
                <a:gd name="T89" fmla="*/ 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450">
                  <a:moveTo>
                    <a:pt x="156" y="26"/>
                  </a:moveTo>
                  <a:lnTo>
                    <a:pt x="113" y="12"/>
                  </a:lnTo>
                  <a:lnTo>
                    <a:pt x="71" y="0"/>
                  </a:lnTo>
                  <a:lnTo>
                    <a:pt x="14" y="0"/>
                  </a:lnTo>
                  <a:lnTo>
                    <a:pt x="0" y="23"/>
                  </a:lnTo>
                  <a:lnTo>
                    <a:pt x="8" y="43"/>
                  </a:lnTo>
                  <a:lnTo>
                    <a:pt x="0" y="72"/>
                  </a:lnTo>
                  <a:lnTo>
                    <a:pt x="15" y="110"/>
                  </a:lnTo>
                  <a:lnTo>
                    <a:pt x="26" y="277"/>
                  </a:lnTo>
                  <a:lnTo>
                    <a:pt x="34" y="450"/>
                  </a:lnTo>
                  <a:lnTo>
                    <a:pt x="209" y="450"/>
                  </a:lnTo>
                  <a:lnTo>
                    <a:pt x="379" y="450"/>
                  </a:lnTo>
                  <a:lnTo>
                    <a:pt x="552" y="450"/>
                  </a:lnTo>
                  <a:lnTo>
                    <a:pt x="544" y="440"/>
                  </a:lnTo>
                  <a:lnTo>
                    <a:pt x="491" y="398"/>
                  </a:lnTo>
                  <a:lnTo>
                    <a:pt x="487" y="368"/>
                  </a:lnTo>
                  <a:lnTo>
                    <a:pt x="495" y="359"/>
                  </a:lnTo>
                  <a:lnTo>
                    <a:pt x="453" y="308"/>
                  </a:lnTo>
                  <a:lnTo>
                    <a:pt x="437" y="280"/>
                  </a:lnTo>
                  <a:lnTo>
                    <a:pt x="418" y="255"/>
                  </a:lnTo>
                  <a:lnTo>
                    <a:pt x="380" y="182"/>
                  </a:lnTo>
                  <a:lnTo>
                    <a:pt x="350" y="134"/>
                  </a:lnTo>
                  <a:lnTo>
                    <a:pt x="327" y="85"/>
                  </a:lnTo>
                  <a:lnTo>
                    <a:pt x="332" y="81"/>
                  </a:lnTo>
                  <a:lnTo>
                    <a:pt x="368" y="148"/>
                  </a:lnTo>
                  <a:lnTo>
                    <a:pt x="389" y="169"/>
                  </a:lnTo>
                  <a:lnTo>
                    <a:pt x="406" y="185"/>
                  </a:lnTo>
                  <a:lnTo>
                    <a:pt x="415" y="176"/>
                  </a:lnTo>
                  <a:lnTo>
                    <a:pt x="424" y="151"/>
                  </a:lnTo>
                  <a:lnTo>
                    <a:pt x="430" y="117"/>
                  </a:lnTo>
                  <a:lnTo>
                    <a:pt x="440" y="97"/>
                  </a:lnTo>
                  <a:lnTo>
                    <a:pt x="435" y="85"/>
                  </a:lnTo>
                  <a:lnTo>
                    <a:pt x="404" y="17"/>
                  </a:lnTo>
                  <a:lnTo>
                    <a:pt x="404" y="17"/>
                  </a:lnTo>
                  <a:lnTo>
                    <a:pt x="384" y="29"/>
                  </a:lnTo>
                  <a:lnTo>
                    <a:pt x="351" y="26"/>
                  </a:lnTo>
                  <a:lnTo>
                    <a:pt x="315" y="16"/>
                  </a:lnTo>
                  <a:lnTo>
                    <a:pt x="307" y="31"/>
                  </a:lnTo>
                  <a:lnTo>
                    <a:pt x="293" y="7"/>
                  </a:lnTo>
                  <a:lnTo>
                    <a:pt x="262" y="1"/>
                  </a:lnTo>
                  <a:lnTo>
                    <a:pt x="225" y="5"/>
                  </a:lnTo>
                  <a:lnTo>
                    <a:pt x="208" y="19"/>
                  </a:lnTo>
                  <a:lnTo>
                    <a:pt x="177" y="33"/>
                  </a:lnTo>
                  <a:lnTo>
                    <a:pt x="156" y="26"/>
                  </a:lnTo>
                  <a:lnTo>
                    <a:pt x="156" y="2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2" name="Eritrea">
              <a:extLst>
                <a:ext uri="{FF2B5EF4-FFF2-40B4-BE49-F238E27FC236}">
                  <a16:creationId xmlns:a16="http://schemas.microsoft.com/office/drawing/2014/main" id="{85E78981-F47A-F158-A7E1-5372E38ED7EB}"/>
                </a:ext>
              </a:extLst>
            </p:cNvPr>
            <p:cNvSpPr>
              <a:spLocks/>
            </p:cNvSpPr>
            <p:nvPr/>
          </p:nvSpPr>
          <p:spPr bwMode="auto">
            <a:xfrm>
              <a:off x="8640066" y="2221837"/>
              <a:ext cx="482600" cy="412750"/>
            </a:xfrm>
            <a:custGeom>
              <a:avLst/>
              <a:gdLst>
                <a:gd name="T0" fmla="*/ 153 w 304"/>
                <a:gd name="T1" fmla="*/ 120 h 260"/>
                <a:gd name="T2" fmla="*/ 127 w 304"/>
                <a:gd name="T3" fmla="*/ 97 h 260"/>
                <a:gd name="T4" fmla="*/ 113 w 304"/>
                <a:gd name="T5" fmla="*/ 54 h 260"/>
                <a:gd name="T6" fmla="*/ 84 w 304"/>
                <a:gd name="T7" fmla="*/ 0 h 260"/>
                <a:gd name="T8" fmla="*/ 63 w 304"/>
                <a:gd name="T9" fmla="*/ 27 h 260"/>
                <a:gd name="T10" fmla="*/ 31 w 304"/>
                <a:gd name="T11" fmla="*/ 35 h 260"/>
                <a:gd name="T12" fmla="*/ 18 w 304"/>
                <a:gd name="T13" fmla="*/ 49 h 260"/>
                <a:gd name="T14" fmla="*/ 16 w 304"/>
                <a:gd name="T15" fmla="*/ 81 h 260"/>
                <a:gd name="T16" fmla="*/ 0 w 304"/>
                <a:gd name="T17" fmla="*/ 149 h 260"/>
                <a:gd name="T18" fmla="*/ 6 w 304"/>
                <a:gd name="T19" fmla="*/ 168 h 260"/>
                <a:gd name="T20" fmla="*/ 58 w 304"/>
                <a:gd name="T21" fmla="*/ 178 h 260"/>
                <a:gd name="T22" fmla="*/ 70 w 304"/>
                <a:gd name="T23" fmla="*/ 142 h 260"/>
                <a:gd name="T24" fmla="*/ 98 w 304"/>
                <a:gd name="T25" fmla="*/ 164 h 260"/>
                <a:gd name="T26" fmla="*/ 124 w 304"/>
                <a:gd name="T27" fmla="*/ 154 h 260"/>
                <a:gd name="T28" fmla="*/ 134 w 304"/>
                <a:gd name="T29" fmla="*/ 163 h 260"/>
                <a:gd name="T30" fmla="*/ 165 w 304"/>
                <a:gd name="T31" fmla="*/ 164 h 260"/>
                <a:gd name="T32" fmla="*/ 204 w 304"/>
                <a:gd name="T33" fmla="*/ 182 h 260"/>
                <a:gd name="T34" fmla="*/ 217 w 304"/>
                <a:gd name="T35" fmla="*/ 199 h 260"/>
                <a:gd name="T36" fmla="*/ 237 w 304"/>
                <a:gd name="T37" fmla="*/ 214 h 260"/>
                <a:gd name="T38" fmla="*/ 256 w 304"/>
                <a:gd name="T39" fmla="*/ 241 h 260"/>
                <a:gd name="T40" fmla="*/ 271 w 304"/>
                <a:gd name="T41" fmla="*/ 256 h 260"/>
                <a:gd name="T42" fmla="*/ 291 w 304"/>
                <a:gd name="T43" fmla="*/ 260 h 260"/>
                <a:gd name="T44" fmla="*/ 304 w 304"/>
                <a:gd name="T45" fmla="*/ 249 h 260"/>
                <a:gd name="T46" fmla="*/ 282 w 304"/>
                <a:gd name="T47" fmla="*/ 235 h 260"/>
                <a:gd name="T48" fmla="*/ 267 w 304"/>
                <a:gd name="T49" fmla="*/ 219 h 260"/>
                <a:gd name="T50" fmla="*/ 241 w 304"/>
                <a:gd name="T51" fmla="*/ 192 h 260"/>
                <a:gd name="T52" fmla="*/ 216 w 304"/>
                <a:gd name="T53" fmla="*/ 165 h 260"/>
                <a:gd name="T54" fmla="*/ 153 w 304"/>
                <a:gd name="T55" fmla="*/ 120 h 260"/>
                <a:gd name="T56" fmla="*/ 153 w 304"/>
                <a:gd name="T57" fmla="*/ 12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4" h="260">
                  <a:moveTo>
                    <a:pt x="153" y="120"/>
                  </a:moveTo>
                  <a:lnTo>
                    <a:pt x="127" y="97"/>
                  </a:lnTo>
                  <a:lnTo>
                    <a:pt x="113" y="54"/>
                  </a:lnTo>
                  <a:lnTo>
                    <a:pt x="84" y="0"/>
                  </a:lnTo>
                  <a:lnTo>
                    <a:pt x="63" y="27"/>
                  </a:lnTo>
                  <a:lnTo>
                    <a:pt x="31" y="35"/>
                  </a:lnTo>
                  <a:lnTo>
                    <a:pt x="18" y="49"/>
                  </a:lnTo>
                  <a:lnTo>
                    <a:pt x="16" y="81"/>
                  </a:lnTo>
                  <a:lnTo>
                    <a:pt x="0" y="149"/>
                  </a:lnTo>
                  <a:lnTo>
                    <a:pt x="6" y="168"/>
                  </a:lnTo>
                  <a:lnTo>
                    <a:pt x="58" y="178"/>
                  </a:lnTo>
                  <a:lnTo>
                    <a:pt x="70" y="142"/>
                  </a:lnTo>
                  <a:lnTo>
                    <a:pt x="98" y="164"/>
                  </a:lnTo>
                  <a:lnTo>
                    <a:pt x="124" y="154"/>
                  </a:lnTo>
                  <a:lnTo>
                    <a:pt x="134" y="163"/>
                  </a:lnTo>
                  <a:lnTo>
                    <a:pt x="165" y="164"/>
                  </a:lnTo>
                  <a:lnTo>
                    <a:pt x="204" y="182"/>
                  </a:lnTo>
                  <a:lnTo>
                    <a:pt x="217" y="199"/>
                  </a:lnTo>
                  <a:lnTo>
                    <a:pt x="237" y="214"/>
                  </a:lnTo>
                  <a:lnTo>
                    <a:pt x="256" y="241"/>
                  </a:lnTo>
                  <a:lnTo>
                    <a:pt x="271" y="256"/>
                  </a:lnTo>
                  <a:lnTo>
                    <a:pt x="291" y="260"/>
                  </a:lnTo>
                  <a:lnTo>
                    <a:pt x="304" y="249"/>
                  </a:lnTo>
                  <a:lnTo>
                    <a:pt x="282" y="235"/>
                  </a:lnTo>
                  <a:lnTo>
                    <a:pt x="267" y="219"/>
                  </a:lnTo>
                  <a:lnTo>
                    <a:pt x="241" y="192"/>
                  </a:lnTo>
                  <a:lnTo>
                    <a:pt x="216" y="165"/>
                  </a:lnTo>
                  <a:lnTo>
                    <a:pt x="153" y="120"/>
                  </a:lnTo>
                  <a:lnTo>
                    <a:pt x="153" y="1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5" name="Ethiopia">
              <a:extLst>
                <a:ext uri="{FF2B5EF4-FFF2-40B4-BE49-F238E27FC236}">
                  <a16:creationId xmlns:a16="http://schemas.microsoft.com/office/drawing/2014/main" id="{76D2B884-2404-0E2C-592A-0B080AA4E97F}"/>
                </a:ext>
              </a:extLst>
            </p:cNvPr>
            <p:cNvSpPr>
              <a:spLocks/>
            </p:cNvSpPr>
            <p:nvPr/>
          </p:nvSpPr>
          <p:spPr bwMode="auto">
            <a:xfrm>
              <a:off x="8419746" y="2446808"/>
              <a:ext cx="1049338" cy="862013"/>
            </a:xfrm>
            <a:custGeom>
              <a:avLst/>
              <a:gdLst>
                <a:gd name="T0" fmla="*/ 209 w 661"/>
                <a:gd name="T1" fmla="*/ 0 h 543"/>
                <a:gd name="T2" fmla="*/ 197 w 661"/>
                <a:gd name="T3" fmla="*/ 36 h 543"/>
                <a:gd name="T4" fmla="*/ 145 w 661"/>
                <a:gd name="T5" fmla="*/ 26 h 543"/>
                <a:gd name="T6" fmla="*/ 139 w 661"/>
                <a:gd name="T7" fmla="*/ 67 h 543"/>
                <a:gd name="T8" fmla="*/ 123 w 661"/>
                <a:gd name="T9" fmla="*/ 113 h 543"/>
                <a:gd name="T10" fmla="*/ 97 w 661"/>
                <a:gd name="T11" fmla="*/ 135 h 543"/>
                <a:gd name="T12" fmla="*/ 80 w 661"/>
                <a:gd name="T13" fmla="*/ 172 h 543"/>
                <a:gd name="T14" fmla="*/ 75 w 661"/>
                <a:gd name="T15" fmla="*/ 192 h 543"/>
                <a:gd name="T16" fmla="*/ 55 w 661"/>
                <a:gd name="T17" fmla="*/ 204 h 543"/>
                <a:gd name="T18" fmla="*/ 43 w 661"/>
                <a:gd name="T19" fmla="*/ 253 h 543"/>
                <a:gd name="T20" fmla="*/ 43 w 661"/>
                <a:gd name="T21" fmla="*/ 259 h 543"/>
                <a:gd name="T22" fmla="*/ 45 w 661"/>
                <a:gd name="T23" fmla="*/ 296 h 543"/>
                <a:gd name="T24" fmla="*/ 38 w 661"/>
                <a:gd name="T25" fmla="*/ 310 h 543"/>
                <a:gd name="T26" fmla="*/ 15 w 661"/>
                <a:gd name="T27" fmla="*/ 311 h 543"/>
                <a:gd name="T28" fmla="*/ 0 w 661"/>
                <a:gd name="T29" fmla="*/ 338 h 543"/>
                <a:gd name="T30" fmla="*/ 28 w 661"/>
                <a:gd name="T31" fmla="*/ 341 h 543"/>
                <a:gd name="T32" fmla="*/ 51 w 661"/>
                <a:gd name="T33" fmla="*/ 364 h 543"/>
                <a:gd name="T34" fmla="*/ 59 w 661"/>
                <a:gd name="T35" fmla="*/ 383 h 543"/>
                <a:gd name="T36" fmla="*/ 80 w 661"/>
                <a:gd name="T37" fmla="*/ 394 h 543"/>
                <a:gd name="T38" fmla="*/ 106 w 661"/>
                <a:gd name="T39" fmla="*/ 445 h 543"/>
                <a:gd name="T40" fmla="*/ 130 w 661"/>
                <a:gd name="T41" fmla="*/ 453 h 543"/>
                <a:gd name="T42" fmla="*/ 130 w 661"/>
                <a:gd name="T43" fmla="*/ 479 h 543"/>
                <a:gd name="T44" fmla="*/ 146 w 661"/>
                <a:gd name="T45" fmla="*/ 495 h 543"/>
                <a:gd name="T46" fmla="*/ 177 w 661"/>
                <a:gd name="T47" fmla="*/ 495 h 543"/>
                <a:gd name="T48" fmla="*/ 234 w 661"/>
                <a:gd name="T49" fmla="*/ 534 h 543"/>
                <a:gd name="T50" fmla="*/ 248 w 661"/>
                <a:gd name="T51" fmla="*/ 535 h 543"/>
                <a:gd name="T52" fmla="*/ 259 w 661"/>
                <a:gd name="T53" fmla="*/ 534 h 543"/>
                <a:gd name="T54" fmla="*/ 268 w 661"/>
                <a:gd name="T55" fmla="*/ 540 h 543"/>
                <a:gd name="T56" fmla="*/ 298 w 661"/>
                <a:gd name="T57" fmla="*/ 543 h 543"/>
                <a:gd name="T58" fmla="*/ 311 w 661"/>
                <a:gd name="T59" fmla="*/ 523 h 543"/>
                <a:gd name="T60" fmla="*/ 352 w 661"/>
                <a:gd name="T61" fmla="*/ 504 h 543"/>
                <a:gd name="T62" fmla="*/ 369 w 661"/>
                <a:gd name="T63" fmla="*/ 519 h 543"/>
                <a:gd name="T64" fmla="*/ 400 w 661"/>
                <a:gd name="T65" fmla="*/ 519 h 543"/>
                <a:gd name="T66" fmla="*/ 412 w 661"/>
                <a:gd name="T67" fmla="*/ 505 h 543"/>
                <a:gd name="T68" fmla="*/ 441 w 661"/>
                <a:gd name="T69" fmla="*/ 504 h 543"/>
                <a:gd name="T70" fmla="*/ 480 w 661"/>
                <a:gd name="T71" fmla="*/ 471 h 543"/>
                <a:gd name="T72" fmla="*/ 538 w 661"/>
                <a:gd name="T73" fmla="*/ 468 h 543"/>
                <a:gd name="T74" fmla="*/ 661 w 661"/>
                <a:gd name="T75" fmla="*/ 327 h 543"/>
                <a:gd name="T76" fmla="*/ 622 w 661"/>
                <a:gd name="T77" fmla="*/ 328 h 543"/>
                <a:gd name="T78" fmla="*/ 475 w 661"/>
                <a:gd name="T79" fmla="*/ 272 h 543"/>
                <a:gd name="T80" fmla="*/ 458 w 661"/>
                <a:gd name="T81" fmla="*/ 255 h 543"/>
                <a:gd name="T82" fmla="*/ 442 w 661"/>
                <a:gd name="T83" fmla="*/ 233 h 543"/>
                <a:gd name="T84" fmla="*/ 423 w 661"/>
                <a:gd name="T85" fmla="*/ 207 h 543"/>
                <a:gd name="T86" fmla="*/ 432 w 661"/>
                <a:gd name="T87" fmla="*/ 190 h 543"/>
                <a:gd name="T88" fmla="*/ 422 w 661"/>
                <a:gd name="T89" fmla="*/ 182 h 543"/>
                <a:gd name="T90" fmla="*/ 412 w 661"/>
                <a:gd name="T91" fmla="*/ 185 h 543"/>
                <a:gd name="T92" fmla="*/ 387 w 661"/>
                <a:gd name="T93" fmla="*/ 185 h 543"/>
                <a:gd name="T94" fmla="*/ 386 w 661"/>
                <a:gd name="T95" fmla="*/ 170 h 543"/>
                <a:gd name="T96" fmla="*/ 382 w 661"/>
                <a:gd name="T97" fmla="*/ 158 h 543"/>
                <a:gd name="T98" fmla="*/ 396 w 661"/>
                <a:gd name="T99" fmla="*/ 135 h 543"/>
                <a:gd name="T100" fmla="*/ 410 w 661"/>
                <a:gd name="T101" fmla="*/ 114 h 543"/>
                <a:gd name="T102" fmla="*/ 395 w 661"/>
                <a:gd name="T103" fmla="*/ 99 h 543"/>
                <a:gd name="T104" fmla="*/ 376 w 661"/>
                <a:gd name="T105" fmla="*/ 72 h 543"/>
                <a:gd name="T106" fmla="*/ 356 w 661"/>
                <a:gd name="T107" fmla="*/ 57 h 543"/>
                <a:gd name="T108" fmla="*/ 343 w 661"/>
                <a:gd name="T109" fmla="*/ 40 h 543"/>
                <a:gd name="T110" fmla="*/ 304 w 661"/>
                <a:gd name="T111" fmla="*/ 22 h 543"/>
                <a:gd name="T112" fmla="*/ 273 w 661"/>
                <a:gd name="T113" fmla="*/ 21 h 543"/>
                <a:gd name="T114" fmla="*/ 263 w 661"/>
                <a:gd name="T115" fmla="*/ 12 h 543"/>
                <a:gd name="T116" fmla="*/ 237 w 661"/>
                <a:gd name="T117" fmla="*/ 22 h 543"/>
                <a:gd name="T118" fmla="*/ 209 w 661"/>
                <a:gd name="T119" fmla="*/ 0 h 543"/>
                <a:gd name="T120" fmla="*/ 209 w 661"/>
                <a:gd name="T1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1" h="543">
                  <a:moveTo>
                    <a:pt x="209" y="0"/>
                  </a:moveTo>
                  <a:lnTo>
                    <a:pt x="197" y="36"/>
                  </a:lnTo>
                  <a:lnTo>
                    <a:pt x="145" y="26"/>
                  </a:lnTo>
                  <a:lnTo>
                    <a:pt x="139" y="67"/>
                  </a:lnTo>
                  <a:lnTo>
                    <a:pt x="123" y="113"/>
                  </a:lnTo>
                  <a:lnTo>
                    <a:pt x="97" y="135"/>
                  </a:lnTo>
                  <a:lnTo>
                    <a:pt x="80" y="172"/>
                  </a:lnTo>
                  <a:lnTo>
                    <a:pt x="75" y="192"/>
                  </a:lnTo>
                  <a:lnTo>
                    <a:pt x="55" y="204"/>
                  </a:lnTo>
                  <a:lnTo>
                    <a:pt x="43" y="253"/>
                  </a:lnTo>
                  <a:lnTo>
                    <a:pt x="43" y="259"/>
                  </a:lnTo>
                  <a:lnTo>
                    <a:pt x="45" y="296"/>
                  </a:lnTo>
                  <a:lnTo>
                    <a:pt x="38" y="310"/>
                  </a:lnTo>
                  <a:lnTo>
                    <a:pt x="15" y="311"/>
                  </a:lnTo>
                  <a:lnTo>
                    <a:pt x="0" y="338"/>
                  </a:lnTo>
                  <a:lnTo>
                    <a:pt x="28" y="341"/>
                  </a:lnTo>
                  <a:lnTo>
                    <a:pt x="51" y="364"/>
                  </a:lnTo>
                  <a:lnTo>
                    <a:pt x="59" y="383"/>
                  </a:lnTo>
                  <a:lnTo>
                    <a:pt x="80" y="394"/>
                  </a:lnTo>
                  <a:lnTo>
                    <a:pt x="106" y="445"/>
                  </a:lnTo>
                  <a:lnTo>
                    <a:pt x="130" y="453"/>
                  </a:lnTo>
                  <a:lnTo>
                    <a:pt x="130" y="479"/>
                  </a:lnTo>
                  <a:lnTo>
                    <a:pt x="146" y="495"/>
                  </a:lnTo>
                  <a:lnTo>
                    <a:pt x="177" y="495"/>
                  </a:lnTo>
                  <a:lnTo>
                    <a:pt x="234" y="534"/>
                  </a:lnTo>
                  <a:lnTo>
                    <a:pt x="248" y="535"/>
                  </a:lnTo>
                  <a:lnTo>
                    <a:pt x="259" y="534"/>
                  </a:lnTo>
                  <a:lnTo>
                    <a:pt x="268" y="540"/>
                  </a:lnTo>
                  <a:lnTo>
                    <a:pt x="298" y="543"/>
                  </a:lnTo>
                  <a:lnTo>
                    <a:pt x="311" y="523"/>
                  </a:lnTo>
                  <a:lnTo>
                    <a:pt x="352" y="504"/>
                  </a:lnTo>
                  <a:lnTo>
                    <a:pt x="369" y="519"/>
                  </a:lnTo>
                  <a:lnTo>
                    <a:pt x="400" y="519"/>
                  </a:lnTo>
                  <a:lnTo>
                    <a:pt x="412" y="505"/>
                  </a:lnTo>
                  <a:lnTo>
                    <a:pt x="441" y="504"/>
                  </a:lnTo>
                  <a:lnTo>
                    <a:pt x="480" y="471"/>
                  </a:lnTo>
                  <a:lnTo>
                    <a:pt x="538" y="468"/>
                  </a:lnTo>
                  <a:lnTo>
                    <a:pt x="661" y="327"/>
                  </a:lnTo>
                  <a:lnTo>
                    <a:pt x="622" y="328"/>
                  </a:lnTo>
                  <a:lnTo>
                    <a:pt x="475" y="272"/>
                  </a:lnTo>
                  <a:lnTo>
                    <a:pt x="458" y="255"/>
                  </a:lnTo>
                  <a:lnTo>
                    <a:pt x="442" y="233"/>
                  </a:lnTo>
                  <a:lnTo>
                    <a:pt x="423" y="207"/>
                  </a:lnTo>
                  <a:lnTo>
                    <a:pt x="432" y="190"/>
                  </a:lnTo>
                  <a:lnTo>
                    <a:pt x="422" y="182"/>
                  </a:lnTo>
                  <a:lnTo>
                    <a:pt x="412" y="185"/>
                  </a:lnTo>
                  <a:lnTo>
                    <a:pt x="387" y="185"/>
                  </a:lnTo>
                  <a:lnTo>
                    <a:pt x="386" y="170"/>
                  </a:lnTo>
                  <a:lnTo>
                    <a:pt x="382" y="158"/>
                  </a:lnTo>
                  <a:lnTo>
                    <a:pt x="396" y="135"/>
                  </a:lnTo>
                  <a:lnTo>
                    <a:pt x="410" y="114"/>
                  </a:lnTo>
                  <a:lnTo>
                    <a:pt x="395" y="99"/>
                  </a:lnTo>
                  <a:lnTo>
                    <a:pt x="376" y="72"/>
                  </a:lnTo>
                  <a:lnTo>
                    <a:pt x="356" y="57"/>
                  </a:lnTo>
                  <a:lnTo>
                    <a:pt x="343" y="40"/>
                  </a:lnTo>
                  <a:lnTo>
                    <a:pt x="304" y="22"/>
                  </a:lnTo>
                  <a:lnTo>
                    <a:pt x="273" y="21"/>
                  </a:lnTo>
                  <a:lnTo>
                    <a:pt x="263" y="12"/>
                  </a:lnTo>
                  <a:lnTo>
                    <a:pt x="237" y="22"/>
                  </a:lnTo>
                  <a:lnTo>
                    <a:pt x="209" y="0"/>
                  </a:lnTo>
                  <a:lnTo>
                    <a:pt x="209"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6" name="Gabon">
              <a:extLst>
                <a:ext uri="{FF2B5EF4-FFF2-40B4-BE49-F238E27FC236}">
                  <a16:creationId xmlns:a16="http://schemas.microsoft.com/office/drawing/2014/main" id="{E4149308-2D18-7CC4-A127-F4B665C093F0}"/>
                </a:ext>
              </a:extLst>
            </p:cNvPr>
            <p:cNvSpPr>
              <a:spLocks/>
            </p:cNvSpPr>
            <p:nvPr/>
          </p:nvSpPr>
          <p:spPr bwMode="auto">
            <a:xfrm>
              <a:off x="6714429" y="3390237"/>
              <a:ext cx="400050" cy="471488"/>
            </a:xfrm>
            <a:custGeom>
              <a:avLst/>
              <a:gdLst>
                <a:gd name="T0" fmla="*/ 191 w 252"/>
                <a:gd name="T1" fmla="*/ 3 h 297"/>
                <a:gd name="T2" fmla="*/ 186 w 252"/>
                <a:gd name="T3" fmla="*/ 1 h 297"/>
                <a:gd name="T4" fmla="*/ 158 w 252"/>
                <a:gd name="T5" fmla="*/ 7 h 297"/>
                <a:gd name="T6" fmla="*/ 132 w 252"/>
                <a:gd name="T7" fmla="*/ 0 h 297"/>
                <a:gd name="T8" fmla="*/ 111 w 252"/>
                <a:gd name="T9" fmla="*/ 3 h 297"/>
                <a:gd name="T10" fmla="*/ 111 w 252"/>
                <a:gd name="T11" fmla="*/ 60 h 297"/>
                <a:gd name="T12" fmla="*/ 46 w 252"/>
                <a:gd name="T13" fmla="*/ 59 h 297"/>
                <a:gd name="T14" fmla="*/ 31 w 252"/>
                <a:gd name="T15" fmla="*/ 62 h 297"/>
                <a:gd name="T16" fmla="*/ 22 w 252"/>
                <a:gd name="T17" fmla="*/ 97 h 297"/>
                <a:gd name="T18" fmla="*/ 11 w 252"/>
                <a:gd name="T19" fmla="*/ 132 h 297"/>
                <a:gd name="T20" fmla="*/ 1 w 252"/>
                <a:gd name="T21" fmla="*/ 146 h 297"/>
                <a:gd name="T22" fmla="*/ 0 w 252"/>
                <a:gd name="T23" fmla="*/ 162 h 297"/>
                <a:gd name="T24" fmla="*/ 27 w 252"/>
                <a:gd name="T25" fmla="*/ 210 h 297"/>
                <a:gd name="T26" fmla="*/ 56 w 252"/>
                <a:gd name="T27" fmla="*/ 250 h 297"/>
                <a:gd name="T28" fmla="*/ 102 w 252"/>
                <a:gd name="T29" fmla="*/ 297 h 297"/>
                <a:gd name="T30" fmla="*/ 137 w 252"/>
                <a:gd name="T31" fmla="*/ 271 h 297"/>
                <a:gd name="T32" fmla="*/ 119 w 252"/>
                <a:gd name="T33" fmla="*/ 239 h 297"/>
                <a:gd name="T34" fmla="*/ 135 w 252"/>
                <a:gd name="T35" fmla="*/ 227 h 297"/>
                <a:gd name="T36" fmla="*/ 165 w 252"/>
                <a:gd name="T37" fmla="*/ 222 h 297"/>
                <a:gd name="T38" fmla="*/ 168 w 252"/>
                <a:gd name="T39" fmla="*/ 201 h 297"/>
                <a:gd name="T40" fmla="*/ 192 w 252"/>
                <a:gd name="T41" fmla="*/ 224 h 297"/>
                <a:gd name="T42" fmla="*/ 231 w 252"/>
                <a:gd name="T43" fmla="*/ 226 h 297"/>
                <a:gd name="T44" fmla="*/ 245 w 252"/>
                <a:gd name="T45" fmla="*/ 204 h 297"/>
                <a:gd name="T46" fmla="*/ 252 w 252"/>
                <a:gd name="T47" fmla="*/ 172 h 297"/>
                <a:gd name="T48" fmla="*/ 246 w 252"/>
                <a:gd name="T49" fmla="*/ 136 h 297"/>
                <a:gd name="T50" fmla="*/ 225 w 252"/>
                <a:gd name="T51" fmla="*/ 108 h 297"/>
                <a:gd name="T52" fmla="*/ 244 w 252"/>
                <a:gd name="T53" fmla="*/ 53 h 297"/>
                <a:gd name="T54" fmla="*/ 233 w 252"/>
                <a:gd name="T55" fmla="*/ 44 h 297"/>
                <a:gd name="T56" fmla="*/ 200 w 252"/>
                <a:gd name="T57" fmla="*/ 47 h 297"/>
                <a:gd name="T58" fmla="*/ 188 w 252"/>
                <a:gd name="T59" fmla="*/ 24 h 297"/>
                <a:gd name="T60" fmla="*/ 191 w 252"/>
                <a:gd name="T61" fmla="*/ 3 h 297"/>
                <a:gd name="T62" fmla="*/ 191 w 252"/>
                <a:gd name="T6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97">
                  <a:moveTo>
                    <a:pt x="191" y="3"/>
                  </a:moveTo>
                  <a:lnTo>
                    <a:pt x="186" y="1"/>
                  </a:lnTo>
                  <a:lnTo>
                    <a:pt x="158" y="7"/>
                  </a:lnTo>
                  <a:lnTo>
                    <a:pt x="132" y="0"/>
                  </a:lnTo>
                  <a:lnTo>
                    <a:pt x="111" y="3"/>
                  </a:lnTo>
                  <a:lnTo>
                    <a:pt x="111" y="60"/>
                  </a:lnTo>
                  <a:lnTo>
                    <a:pt x="46" y="59"/>
                  </a:lnTo>
                  <a:lnTo>
                    <a:pt x="31" y="62"/>
                  </a:lnTo>
                  <a:lnTo>
                    <a:pt x="22" y="97"/>
                  </a:lnTo>
                  <a:lnTo>
                    <a:pt x="11" y="132"/>
                  </a:lnTo>
                  <a:lnTo>
                    <a:pt x="1" y="146"/>
                  </a:lnTo>
                  <a:lnTo>
                    <a:pt x="0" y="162"/>
                  </a:lnTo>
                  <a:lnTo>
                    <a:pt x="27" y="210"/>
                  </a:lnTo>
                  <a:lnTo>
                    <a:pt x="56" y="250"/>
                  </a:lnTo>
                  <a:lnTo>
                    <a:pt x="102" y="297"/>
                  </a:lnTo>
                  <a:lnTo>
                    <a:pt x="137" y="271"/>
                  </a:lnTo>
                  <a:lnTo>
                    <a:pt x="119" y="239"/>
                  </a:lnTo>
                  <a:lnTo>
                    <a:pt x="135" y="227"/>
                  </a:lnTo>
                  <a:lnTo>
                    <a:pt x="165" y="222"/>
                  </a:lnTo>
                  <a:lnTo>
                    <a:pt x="168" y="201"/>
                  </a:lnTo>
                  <a:lnTo>
                    <a:pt x="192" y="224"/>
                  </a:lnTo>
                  <a:lnTo>
                    <a:pt x="231" y="226"/>
                  </a:lnTo>
                  <a:lnTo>
                    <a:pt x="245" y="204"/>
                  </a:lnTo>
                  <a:lnTo>
                    <a:pt x="252" y="172"/>
                  </a:lnTo>
                  <a:lnTo>
                    <a:pt x="246" y="136"/>
                  </a:lnTo>
                  <a:lnTo>
                    <a:pt x="225" y="108"/>
                  </a:lnTo>
                  <a:lnTo>
                    <a:pt x="244" y="53"/>
                  </a:lnTo>
                  <a:lnTo>
                    <a:pt x="233" y="44"/>
                  </a:lnTo>
                  <a:lnTo>
                    <a:pt x="200" y="47"/>
                  </a:lnTo>
                  <a:lnTo>
                    <a:pt x="188" y="24"/>
                  </a:lnTo>
                  <a:lnTo>
                    <a:pt x="191" y="3"/>
                  </a:lnTo>
                  <a:lnTo>
                    <a:pt x="191"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8" name="Ghana">
              <a:extLst>
                <a:ext uri="{FF2B5EF4-FFF2-40B4-BE49-F238E27FC236}">
                  <a16:creationId xmlns:a16="http://schemas.microsoft.com/office/drawing/2014/main" id="{D7EB8632-380C-B281-40D8-B854F593D9E6}"/>
                </a:ext>
              </a:extLst>
            </p:cNvPr>
            <p:cNvSpPr>
              <a:spLocks/>
            </p:cNvSpPr>
            <p:nvPr/>
          </p:nvSpPr>
          <p:spPr bwMode="auto">
            <a:xfrm>
              <a:off x="5861941" y="2736187"/>
              <a:ext cx="303213" cy="476250"/>
            </a:xfrm>
            <a:custGeom>
              <a:avLst/>
              <a:gdLst>
                <a:gd name="T0" fmla="*/ 146 w 191"/>
                <a:gd name="T1" fmla="*/ 4 h 300"/>
                <a:gd name="T2" fmla="*/ 125 w 191"/>
                <a:gd name="T3" fmla="*/ 0 h 300"/>
                <a:gd name="T4" fmla="*/ 111 w 191"/>
                <a:gd name="T5" fmla="*/ 8 h 300"/>
                <a:gd name="T6" fmla="*/ 91 w 191"/>
                <a:gd name="T7" fmla="*/ 4 h 300"/>
                <a:gd name="T8" fmla="*/ 14 w 191"/>
                <a:gd name="T9" fmla="*/ 6 h 300"/>
                <a:gd name="T10" fmla="*/ 12 w 191"/>
                <a:gd name="T11" fmla="*/ 33 h 300"/>
                <a:gd name="T12" fmla="*/ 19 w 191"/>
                <a:gd name="T13" fmla="*/ 69 h 300"/>
                <a:gd name="T14" fmla="*/ 31 w 191"/>
                <a:gd name="T15" fmla="*/ 135 h 300"/>
                <a:gd name="T16" fmla="*/ 11 w 191"/>
                <a:gd name="T17" fmla="*/ 175 h 300"/>
                <a:gd name="T18" fmla="*/ 0 w 191"/>
                <a:gd name="T19" fmla="*/ 228 h 300"/>
                <a:gd name="T20" fmla="*/ 19 w 191"/>
                <a:gd name="T21" fmla="*/ 268 h 300"/>
                <a:gd name="T22" fmla="*/ 17 w 191"/>
                <a:gd name="T23" fmla="*/ 287 h 300"/>
                <a:gd name="T24" fmla="*/ 57 w 191"/>
                <a:gd name="T25" fmla="*/ 300 h 300"/>
                <a:gd name="T26" fmla="*/ 97 w 191"/>
                <a:gd name="T27" fmla="*/ 286 h 300"/>
                <a:gd name="T28" fmla="*/ 122 w 191"/>
                <a:gd name="T29" fmla="*/ 271 h 300"/>
                <a:gd name="T30" fmla="*/ 191 w 191"/>
                <a:gd name="T31" fmla="*/ 243 h 300"/>
                <a:gd name="T32" fmla="*/ 181 w 191"/>
                <a:gd name="T33" fmla="*/ 227 h 300"/>
                <a:gd name="T34" fmla="*/ 169 w 191"/>
                <a:gd name="T35" fmla="*/ 196 h 300"/>
                <a:gd name="T36" fmla="*/ 166 w 191"/>
                <a:gd name="T37" fmla="*/ 173 h 300"/>
                <a:gd name="T38" fmla="*/ 176 w 191"/>
                <a:gd name="T39" fmla="*/ 131 h 300"/>
                <a:gd name="T40" fmla="*/ 165 w 191"/>
                <a:gd name="T41" fmla="*/ 114 h 300"/>
                <a:gd name="T42" fmla="*/ 160 w 191"/>
                <a:gd name="T43" fmla="*/ 77 h 300"/>
                <a:gd name="T44" fmla="*/ 160 w 191"/>
                <a:gd name="T45" fmla="*/ 43 h 300"/>
                <a:gd name="T46" fmla="*/ 142 w 191"/>
                <a:gd name="T47" fmla="*/ 19 h 300"/>
                <a:gd name="T48" fmla="*/ 146 w 191"/>
                <a:gd name="T49" fmla="*/ 4 h 300"/>
                <a:gd name="T50" fmla="*/ 146 w 191"/>
                <a:gd name="T5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00">
                  <a:moveTo>
                    <a:pt x="146" y="4"/>
                  </a:moveTo>
                  <a:lnTo>
                    <a:pt x="125" y="0"/>
                  </a:lnTo>
                  <a:lnTo>
                    <a:pt x="111" y="8"/>
                  </a:lnTo>
                  <a:lnTo>
                    <a:pt x="91" y="4"/>
                  </a:lnTo>
                  <a:lnTo>
                    <a:pt x="14" y="6"/>
                  </a:lnTo>
                  <a:lnTo>
                    <a:pt x="12" y="33"/>
                  </a:lnTo>
                  <a:lnTo>
                    <a:pt x="19" y="69"/>
                  </a:lnTo>
                  <a:lnTo>
                    <a:pt x="31" y="135"/>
                  </a:lnTo>
                  <a:lnTo>
                    <a:pt x="11" y="175"/>
                  </a:lnTo>
                  <a:lnTo>
                    <a:pt x="0" y="228"/>
                  </a:lnTo>
                  <a:lnTo>
                    <a:pt x="19" y="268"/>
                  </a:lnTo>
                  <a:lnTo>
                    <a:pt x="17" y="287"/>
                  </a:lnTo>
                  <a:lnTo>
                    <a:pt x="57" y="300"/>
                  </a:lnTo>
                  <a:lnTo>
                    <a:pt x="97" y="286"/>
                  </a:lnTo>
                  <a:lnTo>
                    <a:pt x="122" y="271"/>
                  </a:lnTo>
                  <a:lnTo>
                    <a:pt x="191" y="243"/>
                  </a:lnTo>
                  <a:lnTo>
                    <a:pt x="181" y="227"/>
                  </a:lnTo>
                  <a:lnTo>
                    <a:pt x="169" y="196"/>
                  </a:lnTo>
                  <a:lnTo>
                    <a:pt x="166" y="173"/>
                  </a:lnTo>
                  <a:lnTo>
                    <a:pt x="176" y="131"/>
                  </a:lnTo>
                  <a:lnTo>
                    <a:pt x="165" y="114"/>
                  </a:lnTo>
                  <a:lnTo>
                    <a:pt x="160" y="77"/>
                  </a:lnTo>
                  <a:lnTo>
                    <a:pt x="160" y="43"/>
                  </a:lnTo>
                  <a:lnTo>
                    <a:pt x="142" y="19"/>
                  </a:lnTo>
                  <a:lnTo>
                    <a:pt x="146" y="4"/>
                  </a:lnTo>
                  <a:lnTo>
                    <a:pt x="146" y="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9" name="Guinea">
              <a:extLst>
                <a:ext uri="{FF2B5EF4-FFF2-40B4-BE49-F238E27FC236}">
                  <a16:creationId xmlns:a16="http://schemas.microsoft.com/office/drawing/2014/main" id="{E602F6B7-58B5-F78F-C07A-589F1A18994E}"/>
                </a:ext>
              </a:extLst>
            </p:cNvPr>
            <p:cNvSpPr>
              <a:spLocks/>
            </p:cNvSpPr>
            <p:nvPr/>
          </p:nvSpPr>
          <p:spPr bwMode="auto">
            <a:xfrm>
              <a:off x="5025329" y="2626650"/>
              <a:ext cx="512763" cy="392113"/>
            </a:xfrm>
            <a:custGeom>
              <a:avLst/>
              <a:gdLst>
                <a:gd name="T0" fmla="*/ 154 w 323"/>
                <a:gd name="T1" fmla="*/ 9 h 247"/>
                <a:gd name="T2" fmla="*/ 127 w 323"/>
                <a:gd name="T3" fmla="*/ 11 h 247"/>
                <a:gd name="T4" fmla="*/ 85 w 323"/>
                <a:gd name="T5" fmla="*/ 0 h 247"/>
                <a:gd name="T6" fmla="*/ 63 w 323"/>
                <a:gd name="T7" fmla="*/ 16 h 247"/>
                <a:gd name="T8" fmla="*/ 62 w 323"/>
                <a:gd name="T9" fmla="*/ 36 h 247"/>
                <a:gd name="T10" fmla="*/ 44 w 323"/>
                <a:gd name="T11" fmla="*/ 42 h 247"/>
                <a:gd name="T12" fmla="*/ 20 w 323"/>
                <a:gd name="T13" fmla="*/ 49 h 247"/>
                <a:gd name="T14" fmla="*/ 12 w 323"/>
                <a:gd name="T15" fmla="*/ 79 h 247"/>
                <a:gd name="T16" fmla="*/ 23 w 323"/>
                <a:gd name="T17" fmla="*/ 111 h 247"/>
                <a:gd name="T18" fmla="*/ 46 w 323"/>
                <a:gd name="T19" fmla="*/ 126 h 247"/>
                <a:gd name="T20" fmla="*/ 83 w 323"/>
                <a:gd name="T21" fmla="*/ 172 h 247"/>
                <a:gd name="T22" fmla="*/ 112 w 323"/>
                <a:gd name="T23" fmla="*/ 139 h 247"/>
                <a:gd name="T24" fmla="*/ 131 w 323"/>
                <a:gd name="T25" fmla="*/ 128 h 247"/>
                <a:gd name="T26" fmla="*/ 178 w 323"/>
                <a:gd name="T27" fmla="*/ 118 h 247"/>
                <a:gd name="T28" fmla="*/ 199 w 323"/>
                <a:gd name="T29" fmla="*/ 155 h 247"/>
                <a:gd name="T30" fmla="*/ 204 w 323"/>
                <a:gd name="T31" fmla="*/ 181 h 247"/>
                <a:gd name="T32" fmla="*/ 216 w 323"/>
                <a:gd name="T33" fmla="*/ 196 h 247"/>
                <a:gd name="T34" fmla="*/ 237 w 323"/>
                <a:gd name="T35" fmla="*/ 189 h 247"/>
                <a:gd name="T36" fmla="*/ 253 w 323"/>
                <a:gd name="T37" fmla="*/ 237 h 247"/>
                <a:gd name="T38" fmla="*/ 274 w 323"/>
                <a:gd name="T39" fmla="*/ 247 h 247"/>
                <a:gd name="T40" fmla="*/ 295 w 323"/>
                <a:gd name="T41" fmla="*/ 230 h 247"/>
                <a:gd name="T42" fmla="*/ 306 w 323"/>
                <a:gd name="T43" fmla="*/ 209 h 247"/>
                <a:gd name="T44" fmla="*/ 306 w 323"/>
                <a:gd name="T45" fmla="*/ 193 h 247"/>
                <a:gd name="T46" fmla="*/ 312 w 323"/>
                <a:gd name="T47" fmla="*/ 150 h 247"/>
                <a:gd name="T48" fmla="*/ 306 w 323"/>
                <a:gd name="T49" fmla="*/ 115 h 247"/>
                <a:gd name="T50" fmla="*/ 301 w 323"/>
                <a:gd name="T51" fmla="*/ 97 h 247"/>
                <a:gd name="T52" fmla="*/ 298 w 323"/>
                <a:gd name="T53" fmla="*/ 79 h 247"/>
                <a:gd name="T54" fmla="*/ 291 w 323"/>
                <a:gd name="T55" fmla="*/ 67 h 247"/>
                <a:gd name="T56" fmla="*/ 282 w 323"/>
                <a:gd name="T57" fmla="*/ 36 h 247"/>
                <a:gd name="T58" fmla="*/ 266 w 323"/>
                <a:gd name="T59" fmla="*/ 12 h 247"/>
                <a:gd name="T60" fmla="*/ 247 w 323"/>
                <a:gd name="T61" fmla="*/ 17 h 247"/>
                <a:gd name="T62" fmla="*/ 221 w 323"/>
                <a:gd name="T63" fmla="*/ 34 h 247"/>
                <a:gd name="T64" fmla="*/ 190 w 323"/>
                <a:gd name="T65" fmla="*/ 18 h 247"/>
                <a:gd name="T66" fmla="*/ 170 w 323"/>
                <a:gd name="T67" fmla="*/ 23 h 247"/>
                <a:gd name="T68" fmla="*/ 161 w 323"/>
                <a:gd name="T69"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47">
                  <a:moveTo>
                    <a:pt x="161" y="6"/>
                  </a:moveTo>
                  <a:lnTo>
                    <a:pt x="154" y="9"/>
                  </a:lnTo>
                  <a:lnTo>
                    <a:pt x="130" y="5"/>
                  </a:lnTo>
                  <a:lnTo>
                    <a:pt x="127" y="11"/>
                  </a:lnTo>
                  <a:lnTo>
                    <a:pt x="117" y="11"/>
                  </a:lnTo>
                  <a:lnTo>
                    <a:pt x="85" y="0"/>
                  </a:lnTo>
                  <a:lnTo>
                    <a:pt x="64" y="0"/>
                  </a:lnTo>
                  <a:lnTo>
                    <a:pt x="63" y="16"/>
                  </a:lnTo>
                  <a:lnTo>
                    <a:pt x="58" y="20"/>
                  </a:lnTo>
                  <a:lnTo>
                    <a:pt x="62" y="36"/>
                  </a:lnTo>
                  <a:lnTo>
                    <a:pt x="54" y="42"/>
                  </a:lnTo>
                  <a:lnTo>
                    <a:pt x="44" y="42"/>
                  </a:lnTo>
                  <a:lnTo>
                    <a:pt x="33" y="50"/>
                  </a:lnTo>
                  <a:lnTo>
                    <a:pt x="20" y="49"/>
                  </a:lnTo>
                  <a:lnTo>
                    <a:pt x="0" y="72"/>
                  </a:lnTo>
                  <a:lnTo>
                    <a:pt x="12" y="79"/>
                  </a:lnTo>
                  <a:lnTo>
                    <a:pt x="19" y="90"/>
                  </a:lnTo>
                  <a:lnTo>
                    <a:pt x="23" y="111"/>
                  </a:lnTo>
                  <a:lnTo>
                    <a:pt x="34" y="120"/>
                  </a:lnTo>
                  <a:lnTo>
                    <a:pt x="46" y="126"/>
                  </a:lnTo>
                  <a:lnTo>
                    <a:pt x="63" y="145"/>
                  </a:lnTo>
                  <a:lnTo>
                    <a:pt x="83" y="172"/>
                  </a:lnTo>
                  <a:lnTo>
                    <a:pt x="106" y="152"/>
                  </a:lnTo>
                  <a:lnTo>
                    <a:pt x="112" y="139"/>
                  </a:lnTo>
                  <a:lnTo>
                    <a:pt x="119" y="129"/>
                  </a:lnTo>
                  <a:lnTo>
                    <a:pt x="131" y="128"/>
                  </a:lnTo>
                  <a:lnTo>
                    <a:pt x="142" y="118"/>
                  </a:lnTo>
                  <a:lnTo>
                    <a:pt x="178" y="118"/>
                  </a:lnTo>
                  <a:lnTo>
                    <a:pt x="190" y="135"/>
                  </a:lnTo>
                  <a:lnTo>
                    <a:pt x="199" y="155"/>
                  </a:lnTo>
                  <a:lnTo>
                    <a:pt x="198" y="168"/>
                  </a:lnTo>
                  <a:lnTo>
                    <a:pt x="204" y="181"/>
                  </a:lnTo>
                  <a:lnTo>
                    <a:pt x="204" y="198"/>
                  </a:lnTo>
                  <a:lnTo>
                    <a:pt x="216" y="196"/>
                  </a:lnTo>
                  <a:lnTo>
                    <a:pt x="225" y="195"/>
                  </a:lnTo>
                  <a:lnTo>
                    <a:pt x="237" y="189"/>
                  </a:lnTo>
                  <a:lnTo>
                    <a:pt x="256" y="218"/>
                  </a:lnTo>
                  <a:lnTo>
                    <a:pt x="253" y="237"/>
                  </a:lnTo>
                  <a:lnTo>
                    <a:pt x="262" y="247"/>
                  </a:lnTo>
                  <a:lnTo>
                    <a:pt x="274" y="247"/>
                  </a:lnTo>
                  <a:lnTo>
                    <a:pt x="284" y="228"/>
                  </a:lnTo>
                  <a:lnTo>
                    <a:pt x="295" y="230"/>
                  </a:lnTo>
                  <a:lnTo>
                    <a:pt x="303" y="230"/>
                  </a:lnTo>
                  <a:lnTo>
                    <a:pt x="306" y="209"/>
                  </a:lnTo>
                  <a:lnTo>
                    <a:pt x="302" y="200"/>
                  </a:lnTo>
                  <a:lnTo>
                    <a:pt x="306" y="193"/>
                  </a:lnTo>
                  <a:lnTo>
                    <a:pt x="323" y="188"/>
                  </a:lnTo>
                  <a:lnTo>
                    <a:pt x="312" y="150"/>
                  </a:lnTo>
                  <a:lnTo>
                    <a:pt x="302" y="131"/>
                  </a:lnTo>
                  <a:lnTo>
                    <a:pt x="306" y="115"/>
                  </a:lnTo>
                  <a:lnTo>
                    <a:pt x="315" y="111"/>
                  </a:lnTo>
                  <a:lnTo>
                    <a:pt x="301" y="97"/>
                  </a:lnTo>
                  <a:lnTo>
                    <a:pt x="304" y="84"/>
                  </a:lnTo>
                  <a:lnTo>
                    <a:pt x="298" y="79"/>
                  </a:lnTo>
                  <a:lnTo>
                    <a:pt x="288" y="83"/>
                  </a:lnTo>
                  <a:lnTo>
                    <a:pt x="291" y="67"/>
                  </a:lnTo>
                  <a:lnTo>
                    <a:pt x="300" y="56"/>
                  </a:lnTo>
                  <a:lnTo>
                    <a:pt x="282" y="36"/>
                  </a:lnTo>
                  <a:lnTo>
                    <a:pt x="276" y="22"/>
                  </a:lnTo>
                  <a:lnTo>
                    <a:pt x="266" y="12"/>
                  </a:lnTo>
                  <a:lnTo>
                    <a:pt x="258" y="11"/>
                  </a:lnTo>
                  <a:lnTo>
                    <a:pt x="247" y="17"/>
                  </a:lnTo>
                  <a:lnTo>
                    <a:pt x="232" y="24"/>
                  </a:lnTo>
                  <a:lnTo>
                    <a:pt x="221" y="34"/>
                  </a:lnTo>
                  <a:lnTo>
                    <a:pt x="201" y="30"/>
                  </a:lnTo>
                  <a:lnTo>
                    <a:pt x="190" y="18"/>
                  </a:lnTo>
                  <a:lnTo>
                    <a:pt x="182" y="17"/>
                  </a:lnTo>
                  <a:lnTo>
                    <a:pt x="170" y="23"/>
                  </a:lnTo>
                  <a:lnTo>
                    <a:pt x="163" y="23"/>
                  </a:lnTo>
                  <a:lnTo>
                    <a:pt x="161" y="6"/>
                  </a:lnTo>
                  <a:lnTo>
                    <a:pt x="161" y="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0" name="Gambia">
              <a:extLst>
                <a:ext uri="{FF2B5EF4-FFF2-40B4-BE49-F238E27FC236}">
                  <a16:creationId xmlns:a16="http://schemas.microsoft.com/office/drawing/2014/main" id="{A2E5A8A5-73B2-0496-D1DD-58A66403DC04}"/>
                </a:ext>
              </a:extLst>
            </p:cNvPr>
            <p:cNvSpPr>
              <a:spLocks/>
            </p:cNvSpPr>
            <p:nvPr/>
          </p:nvSpPr>
          <p:spPr bwMode="auto">
            <a:xfrm>
              <a:off x="4909407" y="2522706"/>
              <a:ext cx="209550" cy="55563"/>
            </a:xfrm>
            <a:custGeom>
              <a:avLst/>
              <a:gdLst>
                <a:gd name="T0" fmla="*/ 0 w 132"/>
                <a:gd name="T1" fmla="*/ 35 h 35"/>
                <a:gd name="T2" fmla="*/ 40 w 132"/>
                <a:gd name="T3" fmla="*/ 35 h 35"/>
                <a:gd name="T4" fmla="*/ 51 w 132"/>
                <a:gd name="T5" fmla="*/ 29 h 35"/>
                <a:gd name="T6" fmla="*/ 58 w 132"/>
                <a:gd name="T7" fmla="*/ 28 h 35"/>
                <a:gd name="T8" fmla="*/ 75 w 132"/>
                <a:gd name="T9" fmla="*/ 18 h 35"/>
                <a:gd name="T10" fmla="*/ 94 w 132"/>
                <a:gd name="T11" fmla="*/ 28 h 35"/>
                <a:gd name="T12" fmla="*/ 113 w 132"/>
                <a:gd name="T13" fmla="*/ 28 h 35"/>
                <a:gd name="T14" fmla="*/ 132 w 132"/>
                <a:gd name="T15" fmla="*/ 18 h 35"/>
                <a:gd name="T16" fmla="*/ 124 w 132"/>
                <a:gd name="T17" fmla="*/ 5 h 35"/>
                <a:gd name="T18" fmla="*/ 109 w 132"/>
                <a:gd name="T19" fmla="*/ 12 h 35"/>
                <a:gd name="T20" fmla="*/ 95 w 132"/>
                <a:gd name="T21" fmla="*/ 12 h 35"/>
                <a:gd name="T22" fmla="*/ 78 w 132"/>
                <a:gd name="T23" fmla="*/ 0 h 35"/>
                <a:gd name="T24" fmla="*/ 64 w 132"/>
                <a:gd name="T25" fmla="*/ 1 h 35"/>
                <a:gd name="T26" fmla="*/ 54 w 132"/>
                <a:gd name="T27" fmla="*/ 12 h 35"/>
                <a:gd name="T28" fmla="*/ 5 w 132"/>
                <a:gd name="T29" fmla="*/ 14 h 35"/>
                <a:gd name="T30" fmla="*/ 0 w 132"/>
                <a:gd name="T31" fmla="*/ 35 h 35"/>
                <a:gd name="T32" fmla="*/ 0 w 1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35">
                  <a:moveTo>
                    <a:pt x="0" y="35"/>
                  </a:moveTo>
                  <a:lnTo>
                    <a:pt x="40" y="35"/>
                  </a:lnTo>
                  <a:lnTo>
                    <a:pt x="51" y="29"/>
                  </a:lnTo>
                  <a:lnTo>
                    <a:pt x="58" y="28"/>
                  </a:lnTo>
                  <a:lnTo>
                    <a:pt x="75" y="18"/>
                  </a:lnTo>
                  <a:lnTo>
                    <a:pt x="94" y="28"/>
                  </a:lnTo>
                  <a:lnTo>
                    <a:pt x="113" y="28"/>
                  </a:lnTo>
                  <a:lnTo>
                    <a:pt x="132" y="18"/>
                  </a:lnTo>
                  <a:lnTo>
                    <a:pt x="124" y="5"/>
                  </a:lnTo>
                  <a:lnTo>
                    <a:pt x="109" y="12"/>
                  </a:lnTo>
                  <a:lnTo>
                    <a:pt x="95" y="12"/>
                  </a:lnTo>
                  <a:lnTo>
                    <a:pt x="78" y="0"/>
                  </a:lnTo>
                  <a:lnTo>
                    <a:pt x="64" y="1"/>
                  </a:lnTo>
                  <a:lnTo>
                    <a:pt x="54" y="12"/>
                  </a:lnTo>
                  <a:lnTo>
                    <a:pt x="5" y="14"/>
                  </a:lnTo>
                  <a:lnTo>
                    <a:pt x="0" y="35"/>
                  </a:lnTo>
                  <a:lnTo>
                    <a:pt x="0" y="3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1" name="Guinea-Bissau">
              <a:extLst>
                <a:ext uri="{FF2B5EF4-FFF2-40B4-BE49-F238E27FC236}">
                  <a16:creationId xmlns:a16="http://schemas.microsoft.com/office/drawing/2014/main" id="{E2C640F2-9D92-122E-EF31-5EBBC4A4FEB2}"/>
                </a:ext>
              </a:extLst>
            </p:cNvPr>
            <p:cNvSpPr>
              <a:spLocks/>
            </p:cNvSpPr>
            <p:nvPr/>
          </p:nvSpPr>
          <p:spPr bwMode="auto">
            <a:xfrm>
              <a:off x="4917379" y="2621887"/>
              <a:ext cx="209550" cy="119063"/>
            </a:xfrm>
            <a:custGeom>
              <a:avLst/>
              <a:gdLst>
                <a:gd name="T0" fmla="*/ 132 w 132"/>
                <a:gd name="T1" fmla="*/ 3 h 75"/>
                <a:gd name="T2" fmla="*/ 50 w 132"/>
                <a:gd name="T3" fmla="*/ 0 h 75"/>
                <a:gd name="T4" fmla="*/ 38 w 132"/>
                <a:gd name="T5" fmla="*/ 6 h 75"/>
                <a:gd name="T6" fmla="*/ 24 w 132"/>
                <a:gd name="T7" fmla="*/ 4 h 75"/>
                <a:gd name="T8" fmla="*/ 0 w 132"/>
                <a:gd name="T9" fmla="*/ 12 h 75"/>
                <a:gd name="T10" fmla="*/ 3 w 132"/>
                <a:gd name="T11" fmla="*/ 22 h 75"/>
                <a:gd name="T12" fmla="*/ 16 w 132"/>
                <a:gd name="T13" fmla="*/ 32 h 75"/>
                <a:gd name="T14" fmla="*/ 16 w 132"/>
                <a:gd name="T15" fmla="*/ 39 h 75"/>
                <a:gd name="T16" fmla="*/ 26 w 132"/>
                <a:gd name="T17" fmla="*/ 53 h 75"/>
                <a:gd name="T18" fmla="*/ 44 w 132"/>
                <a:gd name="T19" fmla="*/ 55 h 75"/>
                <a:gd name="T20" fmla="*/ 68 w 132"/>
                <a:gd name="T21" fmla="*/ 75 h 75"/>
                <a:gd name="T22" fmla="*/ 88 w 132"/>
                <a:gd name="T23" fmla="*/ 52 h 75"/>
                <a:gd name="T24" fmla="*/ 101 w 132"/>
                <a:gd name="T25" fmla="*/ 53 h 75"/>
                <a:gd name="T26" fmla="*/ 112 w 132"/>
                <a:gd name="T27" fmla="*/ 45 h 75"/>
                <a:gd name="T28" fmla="*/ 122 w 132"/>
                <a:gd name="T29" fmla="*/ 45 h 75"/>
                <a:gd name="T30" fmla="*/ 130 w 132"/>
                <a:gd name="T31" fmla="*/ 39 h 75"/>
                <a:gd name="T32" fmla="*/ 126 w 132"/>
                <a:gd name="T33" fmla="*/ 23 h 75"/>
                <a:gd name="T34" fmla="*/ 131 w 132"/>
                <a:gd name="T35" fmla="*/ 19 h 75"/>
                <a:gd name="T36" fmla="*/ 132 w 132"/>
                <a:gd name="T37" fmla="*/ 3 h 75"/>
                <a:gd name="T38" fmla="*/ 132 w 132"/>
                <a:gd name="T39"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75">
                  <a:moveTo>
                    <a:pt x="132" y="3"/>
                  </a:moveTo>
                  <a:lnTo>
                    <a:pt x="50" y="0"/>
                  </a:lnTo>
                  <a:lnTo>
                    <a:pt x="38" y="6"/>
                  </a:lnTo>
                  <a:lnTo>
                    <a:pt x="24" y="4"/>
                  </a:lnTo>
                  <a:lnTo>
                    <a:pt x="0" y="12"/>
                  </a:lnTo>
                  <a:lnTo>
                    <a:pt x="3" y="22"/>
                  </a:lnTo>
                  <a:lnTo>
                    <a:pt x="16" y="32"/>
                  </a:lnTo>
                  <a:lnTo>
                    <a:pt x="16" y="39"/>
                  </a:lnTo>
                  <a:lnTo>
                    <a:pt x="26" y="53"/>
                  </a:lnTo>
                  <a:lnTo>
                    <a:pt x="44" y="55"/>
                  </a:lnTo>
                  <a:lnTo>
                    <a:pt x="68" y="75"/>
                  </a:lnTo>
                  <a:lnTo>
                    <a:pt x="88" y="52"/>
                  </a:lnTo>
                  <a:lnTo>
                    <a:pt x="101" y="53"/>
                  </a:lnTo>
                  <a:lnTo>
                    <a:pt x="112" y="45"/>
                  </a:lnTo>
                  <a:lnTo>
                    <a:pt x="122" y="45"/>
                  </a:lnTo>
                  <a:lnTo>
                    <a:pt x="130" y="39"/>
                  </a:lnTo>
                  <a:lnTo>
                    <a:pt x="126" y="23"/>
                  </a:lnTo>
                  <a:lnTo>
                    <a:pt x="131" y="19"/>
                  </a:lnTo>
                  <a:lnTo>
                    <a:pt x="132" y="3"/>
                  </a:lnTo>
                  <a:lnTo>
                    <a:pt x="132"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2" name="Equatorial Guinea">
              <a:extLst>
                <a:ext uri="{FF2B5EF4-FFF2-40B4-BE49-F238E27FC236}">
                  <a16:creationId xmlns:a16="http://schemas.microsoft.com/office/drawing/2014/main" id="{F32E32F7-957C-5F05-0896-62270BDD9A77}"/>
                </a:ext>
              </a:extLst>
            </p:cNvPr>
            <p:cNvSpPr>
              <a:spLocks/>
            </p:cNvSpPr>
            <p:nvPr/>
          </p:nvSpPr>
          <p:spPr bwMode="auto">
            <a:xfrm>
              <a:off x="6750941" y="3393412"/>
              <a:ext cx="139700" cy="95250"/>
            </a:xfrm>
            <a:custGeom>
              <a:avLst/>
              <a:gdLst>
                <a:gd name="T0" fmla="*/ 88 w 88"/>
                <a:gd name="T1" fmla="*/ 1 h 60"/>
                <a:gd name="T2" fmla="*/ 15 w 88"/>
                <a:gd name="T3" fmla="*/ 0 h 60"/>
                <a:gd name="T4" fmla="*/ 0 w 88"/>
                <a:gd name="T5" fmla="*/ 53 h 60"/>
                <a:gd name="T6" fmla="*/ 8 w 88"/>
                <a:gd name="T7" fmla="*/ 60 h 60"/>
                <a:gd name="T8" fmla="*/ 23 w 88"/>
                <a:gd name="T9" fmla="*/ 57 h 60"/>
                <a:gd name="T10" fmla="*/ 88 w 88"/>
                <a:gd name="T11" fmla="*/ 58 h 60"/>
                <a:gd name="T12" fmla="*/ 88 w 88"/>
                <a:gd name="T13" fmla="*/ 1 h 60"/>
                <a:gd name="T14" fmla="*/ 88 w 88"/>
                <a:gd name="T15" fmla="*/ 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0">
                  <a:moveTo>
                    <a:pt x="88" y="1"/>
                  </a:moveTo>
                  <a:lnTo>
                    <a:pt x="15" y="0"/>
                  </a:lnTo>
                  <a:lnTo>
                    <a:pt x="0" y="53"/>
                  </a:lnTo>
                  <a:lnTo>
                    <a:pt x="8" y="60"/>
                  </a:lnTo>
                  <a:lnTo>
                    <a:pt x="23" y="57"/>
                  </a:lnTo>
                  <a:lnTo>
                    <a:pt x="88" y="58"/>
                  </a:lnTo>
                  <a:lnTo>
                    <a:pt x="88" y="1"/>
                  </a:lnTo>
                  <a:lnTo>
                    <a:pt x="88"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3" name="Kenya">
              <a:extLst>
                <a:ext uri="{FF2B5EF4-FFF2-40B4-BE49-F238E27FC236}">
                  <a16:creationId xmlns:a16="http://schemas.microsoft.com/office/drawing/2014/main" id="{C906EB48-CB39-AED7-5B90-AA7324505FBA}"/>
                </a:ext>
              </a:extLst>
            </p:cNvPr>
            <p:cNvSpPr>
              <a:spLocks/>
            </p:cNvSpPr>
            <p:nvPr/>
          </p:nvSpPr>
          <p:spPr bwMode="auto">
            <a:xfrm>
              <a:off x="8494016" y="3153700"/>
              <a:ext cx="560388" cy="758825"/>
            </a:xfrm>
            <a:custGeom>
              <a:avLst/>
              <a:gdLst>
                <a:gd name="T0" fmla="*/ 353 w 353"/>
                <a:gd name="T1" fmla="*/ 74 h 478"/>
                <a:gd name="T2" fmla="*/ 322 w 353"/>
                <a:gd name="T3" fmla="*/ 74 h 478"/>
                <a:gd name="T4" fmla="*/ 305 w 353"/>
                <a:gd name="T5" fmla="*/ 59 h 478"/>
                <a:gd name="T6" fmla="*/ 264 w 353"/>
                <a:gd name="T7" fmla="*/ 78 h 478"/>
                <a:gd name="T8" fmla="*/ 251 w 353"/>
                <a:gd name="T9" fmla="*/ 98 h 478"/>
                <a:gd name="T10" fmla="*/ 221 w 353"/>
                <a:gd name="T11" fmla="*/ 95 h 478"/>
                <a:gd name="T12" fmla="*/ 212 w 353"/>
                <a:gd name="T13" fmla="*/ 89 h 478"/>
                <a:gd name="T14" fmla="*/ 201 w 353"/>
                <a:gd name="T15" fmla="*/ 90 h 478"/>
                <a:gd name="T16" fmla="*/ 187 w 353"/>
                <a:gd name="T17" fmla="*/ 89 h 478"/>
                <a:gd name="T18" fmla="*/ 130 w 353"/>
                <a:gd name="T19" fmla="*/ 50 h 478"/>
                <a:gd name="T20" fmla="*/ 99 w 353"/>
                <a:gd name="T21" fmla="*/ 50 h 478"/>
                <a:gd name="T22" fmla="*/ 83 w 353"/>
                <a:gd name="T23" fmla="*/ 34 h 478"/>
                <a:gd name="T24" fmla="*/ 83 w 353"/>
                <a:gd name="T25" fmla="*/ 8 h 478"/>
                <a:gd name="T26" fmla="*/ 59 w 353"/>
                <a:gd name="T27" fmla="*/ 0 h 478"/>
                <a:gd name="T28" fmla="*/ 30 w 353"/>
                <a:gd name="T29" fmla="*/ 31 h 478"/>
                <a:gd name="T30" fmla="*/ 3 w 353"/>
                <a:gd name="T31" fmla="*/ 59 h 478"/>
                <a:gd name="T32" fmla="*/ 25 w 353"/>
                <a:gd name="T33" fmla="*/ 91 h 478"/>
                <a:gd name="T34" fmla="*/ 30 w 353"/>
                <a:gd name="T35" fmla="*/ 115 h 478"/>
                <a:gd name="T36" fmla="*/ 50 w 353"/>
                <a:gd name="T37" fmla="*/ 169 h 478"/>
                <a:gd name="T38" fmla="*/ 34 w 353"/>
                <a:gd name="T39" fmla="*/ 203 h 478"/>
                <a:gd name="T40" fmla="*/ 13 w 353"/>
                <a:gd name="T41" fmla="*/ 235 h 478"/>
                <a:gd name="T42" fmla="*/ 0 w 353"/>
                <a:gd name="T43" fmla="*/ 253 h 478"/>
                <a:gd name="T44" fmla="*/ 0 w 353"/>
                <a:gd name="T45" fmla="*/ 256 h 478"/>
                <a:gd name="T46" fmla="*/ 10 w 353"/>
                <a:gd name="T47" fmla="*/ 274 h 478"/>
                <a:gd name="T48" fmla="*/ 7 w 353"/>
                <a:gd name="T49" fmla="*/ 309 h 478"/>
                <a:gd name="T50" fmla="*/ 168 w 353"/>
                <a:gd name="T51" fmla="*/ 404 h 478"/>
                <a:gd name="T52" fmla="*/ 171 w 353"/>
                <a:gd name="T53" fmla="*/ 432 h 478"/>
                <a:gd name="T54" fmla="*/ 234 w 353"/>
                <a:gd name="T55" fmla="*/ 478 h 478"/>
                <a:gd name="T56" fmla="*/ 252 w 353"/>
                <a:gd name="T57" fmla="*/ 463 h 478"/>
                <a:gd name="T58" fmla="*/ 261 w 353"/>
                <a:gd name="T59" fmla="*/ 432 h 478"/>
                <a:gd name="T60" fmla="*/ 276 w 353"/>
                <a:gd name="T61" fmla="*/ 413 h 478"/>
                <a:gd name="T62" fmla="*/ 283 w 353"/>
                <a:gd name="T63" fmla="*/ 380 h 478"/>
                <a:gd name="T64" fmla="*/ 300 w 353"/>
                <a:gd name="T65" fmla="*/ 376 h 478"/>
                <a:gd name="T66" fmla="*/ 311 w 353"/>
                <a:gd name="T67" fmla="*/ 356 h 478"/>
                <a:gd name="T68" fmla="*/ 342 w 353"/>
                <a:gd name="T69" fmla="*/ 337 h 478"/>
                <a:gd name="T70" fmla="*/ 316 w 353"/>
                <a:gd name="T71" fmla="*/ 299 h 478"/>
                <a:gd name="T72" fmla="*/ 315 w 353"/>
                <a:gd name="T73" fmla="*/ 128 h 478"/>
                <a:gd name="T74" fmla="*/ 353 w 353"/>
                <a:gd name="T75" fmla="*/ 74 h 478"/>
                <a:gd name="T76" fmla="*/ 353 w 353"/>
                <a:gd name="T77"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3" h="478">
                  <a:moveTo>
                    <a:pt x="353" y="74"/>
                  </a:moveTo>
                  <a:lnTo>
                    <a:pt x="322" y="74"/>
                  </a:lnTo>
                  <a:lnTo>
                    <a:pt x="305" y="59"/>
                  </a:lnTo>
                  <a:lnTo>
                    <a:pt x="264" y="78"/>
                  </a:lnTo>
                  <a:lnTo>
                    <a:pt x="251" y="98"/>
                  </a:lnTo>
                  <a:lnTo>
                    <a:pt x="221" y="95"/>
                  </a:lnTo>
                  <a:lnTo>
                    <a:pt x="212" y="89"/>
                  </a:lnTo>
                  <a:lnTo>
                    <a:pt x="201" y="90"/>
                  </a:lnTo>
                  <a:lnTo>
                    <a:pt x="187" y="89"/>
                  </a:lnTo>
                  <a:lnTo>
                    <a:pt x="130" y="50"/>
                  </a:lnTo>
                  <a:lnTo>
                    <a:pt x="99" y="50"/>
                  </a:lnTo>
                  <a:lnTo>
                    <a:pt x="83" y="34"/>
                  </a:lnTo>
                  <a:lnTo>
                    <a:pt x="83" y="8"/>
                  </a:lnTo>
                  <a:lnTo>
                    <a:pt x="59" y="0"/>
                  </a:lnTo>
                  <a:lnTo>
                    <a:pt x="30" y="31"/>
                  </a:lnTo>
                  <a:lnTo>
                    <a:pt x="3" y="59"/>
                  </a:lnTo>
                  <a:lnTo>
                    <a:pt x="25" y="91"/>
                  </a:lnTo>
                  <a:lnTo>
                    <a:pt x="30" y="115"/>
                  </a:lnTo>
                  <a:lnTo>
                    <a:pt x="50" y="169"/>
                  </a:lnTo>
                  <a:lnTo>
                    <a:pt x="34" y="203"/>
                  </a:lnTo>
                  <a:lnTo>
                    <a:pt x="13" y="235"/>
                  </a:lnTo>
                  <a:lnTo>
                    <a:pt x="0" y="253"/>
                  </a:lnTo>
                  <a:lnTo>
                    <a:pt x="0" y="256"/>
                  </a:lnTo>
                  <a:lnTo>
                    <a:pt x="10" y="274"/>
                  </a:lnTo>
                  <a:lnTo>
                    <a:pt x="7" y="309"/>
                  </a:lnTo>
                  <a:lnTo>
                    <a:pt x="168" y="404"/>
                  </a:lnTo>
                  <a:lnTo>
                    <a:pt x="171" y="432"/>
                  </a:lnTo>
                  <a:lnTo>
                    <a:pt x="234" y="478"/>
                  </a:lnTo>
                  <a:lnTo>
                    <a:pt x="252" y="463"/>
                  </a:lnTo>
                  <a:lnTo>
                    <a:pt x="261" y="432"/>
                  </a:lnTo>
                  <a:lnTo>
                    <a:pt x="276" y="413"/>
                  </a:lnTo>
                  <a:lnTo>
                    <a:pt x="283" y="380"/>
                  </a:lnTo>
                  <a:lnTo>
                    <a:pt x="300" y="376"/>
                  </a:lnTo>
                  <a:lnTo>
                    <a:pt x="311" y="356"/>
                  </a:lnTo>
                  <a:lnTo>
                    <a:pt x="342" y="337"/>
                  </a:lnTo>
                  <a:lnTo>
                    <a:pt x="316" y="299"/>
                  </a:lnTo>
                  <a:lnTo>
                    <a:pt x="315" y="128"/>
                  </a:lnTo>
                  <a:lnTo>
                    <a:pt x="353" y="74"/>
                  </a:lnTo>
                  <a:lnTo>
                    <a:pt x="353" y="74"/>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4" name="Liberia">
              <a:extLst>
                <a:ext uri="{FF2B5EF4-FFF2-40B4-BE49-F238E27FC236}">
                  <a16:creationId xmlns:a16="http://schemas.microsoft.com/office/drawing/2014/main" id="{FFD3F307-B2C5-AE18-8DB1-CAFF47A7EDAA}"/>
                </a:ext>
              </a:extLst>
            </p:cNvPr>
            <p:cNvSpPr>
              <a:spLocks/>
            </p:cNvSpPr>
            <p:nvPr/>
          </p:nvSpPr>
          <p:spPr bwMode="auto">
            <a:xfrm>
              <a:off x="5282504" y="2926687"/>
              <a:ext cx="274638" cy="312738"/>
            </a:xfrm>
            <a:custGeom>
              <a:avLst/>
              <a:gdLst>
                <a:gd name="T0" fmla="*/ 133 w 173"/>
                <a:gd name="T1" fmla="*/ 41 h 197"/>
                <a:gd name="T2" fmla="*/ 122 w 173"/>
                <a:gd name="T3" fmla="*/ 39 h 197"/>
                <a:gd name="T4" fmla="*/ 112 w 173"/>
                <a:gd name="T5" fmla="*/ 58 h 197"/>
                <a:gd name="T6" fmla="*/ 100 w 173"/>
                <a:gd name="T7" fmla="*/ 58 h 197"/>
                <a:gd name="T8" fmla="*/ 91 w 173"/>
                <a:gd name="T9" fmla="*/ 48 h 197"/>
                <a:gd name="T10" fmla="*/ 94 w 173"/>
                <a:gd name="T11" fmla="*/ 29 h 197"/>
                <a:gd name="T12" fmla="*/ 75 w 173"/>
                <a:gd name="T13" fmla="*/ 0 h 197"/>
                <a:gd name="T14" fmla="*/ 63 w 173"/>
                <a:gd name="T15" fmla="*/ 6 h 197"/>
                <a:gd name="T16" fmla="*/ 54 w 173"/>
                <a:gd name="T17" fmla="*/ 7 h 197"/>
                <a:gd name="T18" fmla="*/ 33 w 173"/>
                <a:gd name="T19" fmla="*/ 29 h 197"/>
                <a:gd name="T20" fmla="*/ 13 w 173"/>
                <a:gd name="T21" fmla="*/ 54 h 197"/>
                <a:gd name="T22" fmla="*/ 10 w 173"/>
                <a:gd name="T23" fmla="*/ 68 h 197"/>
                <a:gd name="T24" fmla="*/ 0 w 173"/>
                <a:gd name="T25" fmla="*/ 83 h 197"/>
                <a:gd name="T26" fmla="*/ 29 w 173"/>
                <a:gd name="T27" fmla="*/ 113 h 197"/>
                <a:gd name="T28" fmla="*/ 68 w 173"/>
                <a:gd name="T29" fmla="*/ 139 h 197"/>
                <a:gd name="T30" fmla="*/ 108 w 173"/>
                <a:gd name="T31" fmla="*/ 175 h 197"/>
                <a:gd name="T32" fmla="*/ 154 w 173"/>
                <a:gd name="T33" fmla="*/ 197 h 197"/>
                <a:gd name="T34" fmla="*/ 165 w 173"/>
                <a:gd name="T35" fmla="*/ 197 h 197"/>
                <a:gd name="T36" fmla="*/ 169 w 173"/>
                <a:gd name="T37" fmla="*/ 158 h 197"/>
                <a:gd name="T38" fmla="*/ 173 w 173"/>
                <a:gd name="T39" fmla="*/ 152 h 197"/>
                <a:gd name="T40" fmla="*/ 172 w 173"/>
                <a:gd name="T41" fmla="*/ 133 h 197"/>
                <a:gd name="T42" fmla="*/ 153 w 173"/>
                <a:gd name="T43" fmla="*/ 114 h 197"/>
                <a:gd name="T44" fmla="*/ 139 w 173"/>
                <a:gd name="T45" fmla="*/ 110 h 197"/>
                <a:gd name="T46" fmla="*/ 126 w 173"/>
                <a:gd name="T47" fmla="*/ 98 h 197"/>
                <a:gd name="T48" fmla="*/ 136 w 173"/>
                <a:gd name="T49" fmla="*/ 77 h 197"/>
                <a:gd name="T50" fmla="*/ 132 w 173"/>
                <a:gd name="T51" fmla="*/ 54 h 197"/>
                <a:gd name="T52" fmla="*/ 133 w 173"/>
                <a:gd name="T53" fmla="*/ 41 h 197"/>
                <a:gd name="T54" fmla="*/ 133 w 173"/>
                <a:gd name="T55" fmla="*/ 4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97">
                  <a:moveTo>
                    <a:pt x="133" y="41"/>
                  </a:moveTo>
                  <a:lnTo>
                    <a:pt x="122" y="39"/>
                  </a:lnTo>
                  <a:lnTo>
                    <a:pt x="112" y="58"/>
                  </a:lnTo>
                  <a:lnTo>
                    <a:pt x="100" y="58"/>
                  </a:lnTo>
                  <a:lnTo>
                    <a:pt x="91" y="48"/>
                  </a:lnTo>
                  <a:lnTo>
                    <a:pt x="94" y="29"/>
                  </a:lnTo>
                  <a:lnTo>
                    <a:pt x="75" y="0"/>
                  </a:lnTo>
                  <a:lnTo>
                    <a:pt x="63" y="6"/>
                  </a:lnTo>
                  <a:lnTo>
                    <a:pt x="54" y="7"/>
                  </a:lnTo>
                  <a:lnTo>
                    <a:pt x="33" y="29"/>
                  </a:lnTo>
                  <a:lnTo>
                    <a:pt x="13" y="54"/>
                  </a:lnTo>
                  <a:lnTo>
                    <a:pt x="10" y="68"/>
                  </a:lnTo>
                  <a:lnTo>
                    <a:pt x="0" y="83"/>
                  </a:lnTo>
                  <a:lnTo>
                    <a:pt x="29" y="113"/>
                  </a:lnTo>
                  <a:lnTo>
                    <a:pt x="68" y="139"/>
                  </a:lnTo>
                  <a:lnTo>
                    <a:pt x="108" y="175"/>
                  </a:lnTo>
                  <a:lnTo>
                    <a:pt x="154" y="197"/>
                  </a:lnTo>
                  <a:lnTo>
                    <a:pt x="165" y="197"/>
                  </a:lnTo>
                  <a:lnTo>
                    <a:pt x="169" y="158"/>
                  </a:lnTo>
                  <a:lnTo>
                    <a:pt x="173" y="152"/>
                  </a:lnTo>
                  <a:lnTo>
                    <a:pt x="172" y="133"/>
                  </a:lnTo>
                  <a:lnTo>
                    <a:pt x="153" y="114"/>
                  </a:lnTo>
                  <a:lnTo>
                    <a:pt x="139" y="110"/>
                  </a:lnTo>
                  <a:lnTo>
                    <a:pt x="126" y="98"/>
                  </a:lnTo>
                  <a:lnTo>
                    <a:pt x="136" y="77"/>
                  </a:lnTo>
                  <a:lnTo>
                    <a:pt x="132" y="54"/>
                  </a:lnTo>
                  <a:lnTo>
                    <a:pt x="133" y="41"/>
                  </a:lnTo>
                  <a:lnTo>
                    <a:pt x="133" y="4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5" name="Libya">
              <a:extLst>
                <a:ext uri="{FF2B5EF4-FFF2-40B4-BE49-F238E27FC236}">
                  <a16:creationId xmlns:a16="http://schemas.microsoft.com/office/drawing/2014/main" id="{1BA59976-4BC5-34D7-E148-A981E8DA8505}"/>
                </a:ext>
              </a:extLst>
            </p:cNvPr>
            <p:cNvSpPr>
              <a:spLocks/>
            </p:cNvSpPr>
            <p:nvPr/>
          </p:nvSpPr>
          <p:spPr bwMode="auto">
            <a:xfrm>
              <a:off x="6731891" y="1093125"/>
              <a:ext cx="1100138" cy="1011238"/>
            </a:xfrm>
            <a:custGeom>
              <a:avLst/>
              <a:gdLst>
                <a:gd name="T0" fmla="*/ 669 w 693"/>
                <a:gd name="T1" fmla="*/ 73 h 637"/>
                <a:gd name="T2" fmla="*/ 658 w 693"/>
                <a:gd name="T3" fmla="*/ 58 h 637"/>
                <a:gd name="T4" fmla="*/ 615 w 693"/>
                <a:gd name="T5" fmla="*/ 53 h 637"/>
                <a:gd name="T6" fmla="*/ 600 w 693"/>
                <a:gd name="T7" fmla="*/ 44 h 637"/>
                <a:gd name="T8" fmla="*/ 585 w 693"/>
                <a:gd name="T9" fmla="*/ 44 h 637"/>
                <a:gd name="T10" fmla="*/ 568 w 693"/>
                <a:gd name="T11" fmla="*/ 24 h 637"/>
                <a:gd name="T12" fmla="*/ 511 w 693"/>
                <a:gd name="T13" fmla="*/ 14 h 637"/>
                <a:gd name="T14" fmla="*/ 482 w 693"/>
                <a:gd name="T15" fmla="*/ 21 h 637"/>
                <a:gd name="T16" fmla="*/ 452 w 693"/>
                <a:gd name="T17" fmla="*/ 43 h 637"/>
                <a:gd name="T18" fmla="*/ 441 w 693"/>
                <a:gd name="T19" fmla="*/ 65 h 637"/>
                <a:gd name="T20" fmla="*/ 453 w 693"/>
                <a:gd name="T21" fmla="*/ 101 h 637"/>
                <a:gd name="T22" fmla="*/ 434 w 693"/>
                <a:gd name="T23" fmla="*/ 123 h 637"/>
                <a:gd name="T24" fmla="*/ 414 w 693"/>
                <a:gd name="T25" fmla="*/ 134 h 637"/>
                <a:gd name="T26" fmla="*/ 367 w 693"/>
                <a:gd name="T27" fmla="*/ 111 h 637"/>
                <a:gd name="T28" fmla="*/ 305 w 693"/>
                <a:gd name="T29" fmla="*/ 92 h 637"/>
                <a:gd name="T30" fmla="*/ 267 w 693"/>
                <a:gd name="T31" fmla="*/ 83 h 637"/>
                <a:gd name="T32" fmla="*/ 244 w 693"/>
                <a:gd name="T33" fmla="*/ 41 h 637"/>
                <a:gd name="T34" fmla="*/ 188 w 693"/>
                <a:gd name="T35" fmla="*/ 21 h 637"/>
                <a:gd name="T36" fmla="*/ 151 w 693"/>
                <a:gd name="T37" fmla="*/ 12 h 637"/>
                <a:gd name="T38" fmla="*/ 134 w 693"/>
                <a:gd name="T39" fmla="*/ 16 h 637"/>
                <a:gd name="T40" fmla="*/ 84 w 693"/>
                <a:gd name="T41" fmla="*/ 0 h 637"/>
                <a:gd name="T42" fmla="*/ 83 w 693"/>
                <a:gd name="T43" fmla="*/ 36 h 637"/>
                <a:gd name="T44" fmla="*/ 62 w 693"/>
                <a:gd name="T45" fmla="*/ 50 h 637"/>
                <a:gd name="T46" fmla="*/ 50 w 693"/>
                <a:gd name="T47" fmla="*/ 65 h 637"/>
                <a:gd name="T48" fmla="*/ 20 w 693"/>
                <a:gd name="T49" fmla="*/ 83 h 637"/>
                <a:gd name="T50" fmla="*/ 26 w 693"/>
                <a:gd name="T51" fmla="*/ 102 h 637"/>
                <a:gd name="T52" fmla="*/ 23 w 693"/>
                <a:gd name="T53" fmla="*/ 122 h 637"/>
                <a:gd name="T54" fmla="*/ 2 w 693"/>
                <a:gd name="T55" fmla="*/ 133 h 637"/>
                <a:gd name="T56" fmla="*/ 18 w 693"/>
                <a:gd name="T57" fmla="*/ 174 h 637"/>
                <a:gd name="T58" fmla="*/ 20 w 693"/>
                <a:gd name="T59" fmla="*/ 196 h 637"/>
                <a:gd name="T60" fmla="*/ 14 w 693"/>
                <a:gd name="T61" fmla="*/ 235 h 637"/>
                <a:gd name="T62" fmla="*/ 18 w 693"/>
                <a:gd name="T63" fmla="*/ 256 h 637"/>
                <a:gd name="T64" fmla="*/ 12 w 693"/>
                <a:gd name="T65" fmla="*/ 281 h 637"/>
                <a:gd name="T66" fmla="*/ 17 w 693"/>
                <a:gd name="T67" fmla="*/ 311 h 637"/>
                <a:gd name="T68" fmla="*/ 0 w 693"/>
                <a:gd name="T69" fmla="*/ 331 h 637"/>
                <a:gd name="T70" fmla="*/ 27 w 693"/>
                <a:gd name="T71" fmla="*/ 365 h 637"/>
                <a:gd name="T72" fmla="*/ 29 w 693"/>
                <a:gd name="T73" fmla="*/ 385 h 637"/>
                <a:gd name="T74" fmla="*/ 44 w 693"/>
                <a:gd name="T75" fmla="*/ 411 h 637"/>
                <a:gd name="T76" fmla="*/ 64 w 693"/>
                <a:gd name="T77" fmla="*/ 403 h 637"/>
                <a:gd name="T78" fmla="*/ 100 w 693"/>
                <a:gd name="T79" fmla="*/ 425 h 637"/>
                <a:gd name="T80" fmla="*/ 119 w 693"/>
                <a:gd name="T81" fmla="*/ 454 h 637"/>
                <a:gd name="T82" fmla="*/ 189 w 693"/>
                <a:gd name="T83" fmla="*/ 474 h 637"/>
                <a:gd name="T84" fmla="*/ 214 w 693"/>
                <a:gd name="T85" fmla="*/ 499 h 637"/>
                <a:gd name="T86" fmla="*/ 244 w 693"/>
                <a:gd name="T87" fmla="*/ 482 h 637"/>
                <a:gd name="T88" fmla="*/ 288 w 693"/>
                <a:gd name="T89" fmla="*/ 457 h 637"/>
                <a:gd name="T90" fmla="*/ 464 w 693"/>
                <a:gd name="T91" fmla="*/ 547 h 637"/>
                <a:gd name="T92" fmla="*/ 642 w 693"/>
                <a:gd name="T93" fmla="*/ 637 h 637"/>
                <a:gd name="T94" fmla="*/ 642 w 693"/>
                <a:gd name="T95" fmla="*/ 617 h 637"/>
                <a:gd name="T96" fmla="*/ 693 w 693"/>
                <a:gd name="T97" fmla="*/ 617 h 637"/>
                <a:gd name="T98" fmla="*/ 689 w 693"/>
                <a:gd name="T99" fmla="*/ 523 h 637"/>
                <a:gd name="T100" fmla="*/ 681 w 693"/>
                <a:gd name="T101" fmla="*/ 350 h 637"/>
                <a:gd name="T102" fmla="*/ 670 w 693"/>
                <a:gd name="T103" fmla="*/ 183 h 637"/>
                <a:gd name="T104" fmla="*/ 655 w 693"/>
                <a:gd name="T105" fmla="*/ 145 h 637"/>
                <a:gd name="T106" fmla="*/ 663 w 693"/>
                <a:gd name="T107" fmla="*/ 116 h 637"/>
                <a:gd name="T108" fmla="*/ 655 w 693"/>
                <a:gd name="T109" fmla="*/ 96 h 637"/>
                <a:gd name="T110" fmla="*/ 669 w 693"/>
                <a:gd name="T111" fmla="*/ 73 h 637"/>
                <a:gd name="T112" fmla="*/ 669 w 693"/>
                <a:gd name="T113" fmla="*/ 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 h="637">
                  <a:moveTo>
                    <a:pt x="669" y="73"/>
                  </a:moveTo>
                  <a:lnTo>
                    <a:pt x="658" y="58"/>
                  </a:lnTo>
                  <a:lnTo>
                    <a:pt x="615" y="53"/>
                  </a:lnTo>
                  <a:lnTo>
                    <a:pt x="600" y="44"/>
                  </a:lnTo>
                  <a:lnTo>
                    <a:pt x="585" y="44"/>
                  </a:lnTo>
                  <a:lnTo>
                    <a:pt x="568" y="24"/>
                  </a:lnTo>
                  <a:lnTo>
                    <a:pt x="511" y="14"/>
                  </a:lnTo>
                  <a:lnTo>
                    <a:pt x="482" y="21"/>
                  </a:lnTo>
                  <a:lnTo>
                    <a:pt x="452" y="43"/>
                  </a:lnTo>
                  <a:lnTo>
                    <a:pt x="441" y="65"/>
                  </a:lnTo>
                  <a:lnTo>
                    <a:pt x="453" y="101"/>
                  </a:lnTo>
                  <a:lnTo>
                    <a:pt x="434" y="123"/>
                  </a:lnTo>
                  <a:lnTo>
                    <a:pt x="414" y="134"/>
                  </a:lnTo>
                  <a:lnTo>
                    <a:pt x="367" y="111"/>
                  </a:lnTo>
                  <a:lnTo>
                    <a:pt x="305" y="92"/>
                  </a:lnTo>
                  <a:lnTo>
                    <a:pt x="267" y="83"/>
                  </a:lnTo>
                  <a:lnTo>
                    <a:pt x="244" y="41"/>
                  </a:lnTo>
                  <a:lnTo>
                    <a:pt x="188" y="21"/>
                  </a:lnTo>
                  <a:lnTo>
                    <a:pt x="151" y="12"/>
                  </a:lnTo>
                  <a:lnTo>
                    <a:pt x="134" y="16"/>
                  </a:lnTo>
                  <a:lnTo>
                    <a:pt x="84" y="0"/>
                  </a:lnTo>
                  <a:lnTo>
                    <a:pt x="83" y="36"/>
                  </a:lnTo>
                  <a:lnTo>
                    <a:pt x="62" y="50"/>
                  </a:lnTo>
                  <a:lnTo>
                    <a:pt x="50" y="65"/>
                  </a:lnTo>
                  <a:lnTo>
                    <a:pt x="20" y="83"/>
                  </a:lnTo>
                  <a:lnTo>
                    <a:pt x="26" y="102"/>
                  </a:lnTo>
                  <a:lnTo>
                    <a:pt x="23" y="122"/>
                  </a:lnTo>
                  <a:lnTo>
                    <a:pt x="2" y="133"/>
                  </a:lnTo>
                  <a:lnTo>
                    <a:pt x="18" y="174"/>
                  </a:lnTo>
                  <a:lnTo>
                    <a:pt x="20" y="196"/>
                  </a:lnTo>
                  <a:lnTo>
                    <a:pt x="14" y="235"/>
                  </a:lnTo>
                  <a:lnTo>
                    <a:pt x="18" y="256"/>
                  </a:lnTo>
                  <a:lnTo>
                    <a:pt x="12" y="281"/>
                  </a:lnTo>
                  <a:lnTo>
                    <a:pt x="17" y="311"/>
                  </a:lnTo>
                  <a:lnTo>
                    <a:pt x="0" y="331"/>
                  </a:lnTo>
                  <a:lnTo>
                    <a:pt x="27" y="365"/>
                  </a:lnTo>
                  <a:lnTo>
                    <a:pt x="29" y="385"/>
                  </a:lnTo>
                  <a:lnTo>
                    <a:pt x="44" y="411"/>
                  </a:lnTo>
                  <a:lnTo>
                    <a:pt x="64" y="403"/>
                  </a:lnTo>
                  <a:lnTo>
                    <a:pt x="100" y="425"/>
                  </a:lnTo>
                  <a:lnTo>
                    <a:pt x="119" y="454"/>
                  </a:lnTo>
                  <a:lnTo>
                    <a:pt x="189" y="474"/>
                  </a:lnTo>
                  <a:lnTo>
                    <a:pt x="214" y="499"/>
                  </a:lnTo>
                  <a:lnTo>
                    <a:pt x="244" y="482"/>
                  </a:lnTo>
                  <a:lnTo>
                    <a:pt x="288" y="457"/>
                  </a:lnTo>
                  <a:lnTo>
                    <a:pt x="464" y="547"/>
                  </a:lnTo>
                  <a:lnTo>
                    <a:pt x="642" y="637"/>
                  </a:lnTo>
                  <a:lnTo>
                    <a:pt x="642" y="617"/>
                  </a:lnTo>
                  <a:lnTo>
                    <a:pt x="693" y="617"/>
                  </a:lnTo>
                  <a:lnTo>
                    <a:pt x="689" y="523"/>
                  </a:lnTo>
                  <a:lnTo>
                    <a:pt x="681" y="350"/>
                  </a:lnTo>
                  <a:lnTo>
                    <a:pt x="670" y="183"/>
                  </a:lnTo>
                  <a:lnTo>
                    <a:pt x="655" y="145"/>
                  </a:lnTo>
                  <a:lnTo>
                    <a:pt x="663" y="116"/>
                  </a:lnTo>
                  <a:lnTo>
                    <a:pt x="655" y="96"/>
                  </a:lnTo>
                  <a:lnTo>
                    <a:pt x="669" y="73"/>
                  </a:lnTo>
                  <a:lnTo>
                    <a:pt x="669" y="7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6" name="Lesotho">
              <a:extLst>
                <a:ext uri="{FF2B5EF4-FFF2-40B4-BE49-F238E27FC236}">
                  <a16:creationId xmlns:a16="http://schemas.microsoft.com/office/drawing/2014/main" id="{1084DC30-A739-BE02-3E19-A583DACA1509}"/>
                </a:ext>
              </a:extLst>
            </p:cNvPr>
            <p:cNvSpPr>
              <a:spLocks/>
            </p:cNvSpPr>
            <p:nvPr/>
          </p:nvSpPr>
          <p:spPr bwMode="auto">
            <a:xfrm>
              <a:off x="7928866" y="5701637"/>
              <a:ext cx="161925" cy="147638"/>
            </a:xfrm>
            <a:custGeom>
              <a:avLst/>
              <a:gdLst>
                <a:gd name="T0" fmla="*/ 45 w 102"/>
                <a:gd name="T1" fmla="*/ 89 h 93"/>
                <a:gd name="T2" fmla="*/ 54 w 102"/>
                <a:gd name="T3" fmla="*/ 74 h 93"/>
                <a:gd name="T4" fmla="*/ 78 w 102"/>
                <a:gd name="T5" fmla="*/ 66 h 93"/>
                <a:gd name="T6" fmla="*/ 87 w 102"/>
                <a:gd name="T7" fmla="*/ 51 h 93"/>
                <a:gd name="T8" fmla="*/ 102 w 102"/>
                <a:gd name="T9" fmla="*/ 28 h 93"/>
                <a:gd name="T10" fmla="*/ 88 w 102"/>
                <a:gd name="T11" fmla="*/ 14 h 93"/>
                <a:gd name="T12" fmla="*/ 71 w 102"/>
                <a:gd name="T13" fmla="*/ 0 h 93"/>
                <a:gd name="T14" fmla="*/ 50 w 102"/>
                <a:gd name="T15" fmla="*/ 9 h 93"/>
                <a:gd name="T16" fmla="*/ 25 w 102"/>
                <a:gd name="T17" fmla="*/ 28 h 93"/>
                <a:gd name="T18" fmla="*/ 0 w 102"/>
                <a:gd name="T19" fmla="*/ 57 h 93"/>
                <a:gd name="T20" fmla="*/ 29 w 102"/>
                <a:gd name="T21" fmla="*/ 93 h 93"/>
                <a:gd name="T22" fmla="*/ 45 w 102"/>
                <a:gd name="T23" fmla="*/ 89 h 93"/>
                <a:gd name="T24" fmla="*/ 45 w 102"/>
                <a:gd name="T25"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93">
                  <a:moveTo>
                    <a:pt x="45" y="89"/>
                  </a:moveTo>
                  <a:lnTo>
                    <a:pt x="54" y="74"/>
                  </a:lnTo>
                  <a:lnTo>
                    <a:pt x="78" y="66"/>
                  </a:lnTo>
                  <a:lnTo>
                    <a:pt x="87" y="51"/>
                  </a:lnTo>
                  <a:lnTo>
                    <a:pt x="102" y="28"/>
                  </a:lnTo>
                  <a:lnTo>
                    <a:pt x="88" y="14"/>
                  </a:lnTo>
                  <a:lnTo>
                    <a:pt x="71" y="0"/>
                  </a:lnTo>
                  <a:lnTo>
                    <a:pt x="50" y="9"/>
                  </a:lnTo>
                  <a:lnTo>
                    <a:pt x="25" y="28"/>
                  </a:lnTo>
                  <a:lnTo>
                    <a:pt x="0" y="57"/>
                  </a:lnTo>
                  <a:lnTo>
                    <a:pt x="29" y="93"/>
                  </a:lnTo>
                  <a:lnTo>
                    <a:pt x="45" y="89"/>
                  </a:lnTo>
                  <a:lnTo>
                    <a:pt x="45" y="8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7" name="Morocco">
              <a:extLst>
                <a:ext uri="{FF2B5EF4-FFF2-40B4-BE49-F238E27FC236}">
                  <a16:creationId xmlns:a16="http://schemas.microsoft.com/office/drawing/2014/main" id="{1242ADC4-B515-5F90-29DC-353CB615C367}"/>
                </a:ext>
              </a:extLst>
            </p:cNvPr>
            <p:cNvSpPr>
              <a:spLocks/>
            </p:cNvSpPr>
            <p:nvPr/>
          </p:nvSpPr>
          <p:spPr bwMode="auto">
            <a:xfrm>
              <a:off x="4909441" y="896275"/>
              <a:ext cx="1104900" cy="1069975"/>
            </a:xfrm>
            <a:custGeom>
              <a:avLst/>
              <a:gdLst>
                <a:gd name="T0" fmla="*/ 635 w 696"/>
                <a:gd name="T1" fmla="*/ 27 h 674"/>
                <a:gd name="T2" fmla="*/ 551 w 696"/>
                <a:gd name="T3" fmla="*/ 21 h 674"/>
                <a:gd name="T4" fmla="*/ 495 w 696"/>
                <a:gd name="T5" fmla="*/ 0 h 674"/>
                <a:gd name="T6" fmla="*/ 453 w 696"/>
                <a:gd name="T7" fmla="*/ 78 h 674"/>
                <a:gd name="T8" fmla="*/ 378 w 696"/>
                <a:gd name="T9" fmla="*/ 119 h 674"/>
                <a:gd name="T10" fmla="*/ 343 w 696"/>
                <a:gd name="T11" fmla="*/ 176 h 674"/>
                <a:gd name="T12" fmla="*/ 335 w 696"/>
                <a:gd name="T13" fmla="*/ 275 h 674"/>
                <a:gd name="T14" fmla="*/ 275 w 696"/>
                <a:gd name="T15" fmla="*/ 326 h 674"/>
                <a:gd name="T16" fmla="*/ 200 w 696"/>
                <a:gd name="T17" fmla="*/ 364 h 674"/>
                <a:gd name="T18" fmla="*/ 178 w 696"/>
                <a:gd name="T19" fmla="*/ 382 h 674"/>
                <a:gd name="T20" fmla="*/ 119 w 696"/>
                <a:gd name="T21" fmla="*/ 447 h 674"/>
                <a:gd name="T22" fmla="*/ 101 w 696"/>
                <a:gd name="T23" fmla="*/ 501 h 674"/>
                <a:gd name="T24" fmla="*/ 74 w 696"/>
                <a:gd name="T25" fmla="*/ 536 h 674"/>
                <a:gd name="T26" fmla="*/ 32 w 696"/>
                <a:gd name="T27" fmla="*/ 600 h 674"/>
                <a:gd name="T28" fmla="*/ 20 w 696"/>
                <a:gd name="T29" fmla="*/ 640 h 674"/>
                <a:gd name="T30" fmla="*/ 0 w 696"/>
                <a:gd name="T31" fmla="*/ 674 h 674"/>
                <a:gd name="T32" fmla="*/ 99 w 696"/>
                <a:gd name="T33" fmla="*/ 671 h 674"/>
                <a:gd name="T34" fmla="*/ 123 w 696"/>
                <a:gd name="T35" fmla="*/ 633 h 674"/>
                <a:gd name="T36" fmla="*/ 201 w 696"/>
                <a:gd name="T37" fmla="*/ 517 h 674"/>
                <a:gd name="T38" fmla="*/ 236 w 696"/>
                <a:gd name="T39" fmla="*/ 454 h 674"/>
                <a:gd name="T40" fmla="*/ 288 w 696"/>
                <a:gd name="T41" fmla="*/ 413 h 674"/>
                <a:gd name="T42" fmla="*/ 324 w 696"/>
                <a:gd name="T43" fmla="*/ 419 h 674"/>
                <a:gd name="T44" fmla="*/ 364 w 696"/>
                <a:gd name="T45" fmla="*/ 406 h 674"/>
                <a:gd name="T46" fmla="*/ 364 w 696"/>
                <a:gd name="T47" fmla="*/ 381 h 674"/>
                <a:gd name="T48" fmla="*/ 371 w 696"/>
                <a:gd name="T49" fmla="*/ 325 h 674"/>
                <a:gd name="T50" fmla="*/ 484 w 696"/>
                <a:gd name="T51" fmla="*/ 284 h 674"/>
                <a:gd name="T52" fmla="*/ 537 w 696"/>
                <a:gd name="T53" fmla="*/ 247 h 674"/>
                <a:gd name="T54" fmla="*/ 589 w 696"/>
                <a:gd name="T55" fmla="*/ 195 h 674"/>
                <a:gd name="T56" fmla="*/ 633 w 696"/>
                <a:gd name="T57" fmla="*/ 174 h 674"/>
                <a:gd name="T58" fmla="*/ 696 w 696"/>
                <a:gd name="T59" fmla="*/ 147 h 674"/>
                <a:gd name="T60" fmla="*/ 671 w 696"/>
                <a:gd name="T61" fmla="*/ 87 h 674"/>
                <a:gd name="T62" fmla="*/ 653 w 696"/>
                <a:gd name="T63" fmla="*/ 2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6" h="674">
                  <a:moveTo>
                    <a:pt x="653" y="28"/>
                  </a:moveTo>
                  <a:lnTo>
                    <a:pt x="635" y="27"/>
                  </a:lnTo>
                  <a:lnTo>
                    <a:pt x="591" y="17"/>
                  </a:lnTo>
                  <a:lnTo>
                    <a:pt x="551" y="21"/>
                  </a:lnTo>
                  <a:lnTo>
                    <a:pt x="526" y="0"/>
                  </a:lnTo>
                  <a:lnTo>
                    <a:pt x="495" y="0"/>
                  </a:lnTo>
                  <a:lnTo>
                    <a:pt x="482" y="29"/>
                  </a:lnTo>
                  <a:lnTo>
                    <a:pt x="453" y="78"/>
                  </a:lnTo>
                  <a:lnTo>
                    <a:pt x="421" y="98"/>
                  </a:lnTo>
                  <a:lnTo>
                    <a:pt x="378" y="119"/>
                  </a:lnTo>
                  <a:lnTo>
                    <a:pt x="349" y="151"/>
                  </a:lnTo>
                  <a:lnTo>
                    <a:pt x="343" y="176"/>
                  </a:lnTo>
                  <a:lnTo>
                    <a:pt x="326" y="216"/>
                  </a:lnTo>
                  <a:lnTo>
                    <a:pt x="335" y="275"/>
                  </a:lnTo>
                  <a:lnTo>
                    <a:pt x="297" y="314"/>
                  </a:lnTo>
                  <a:lnTo>
                    <a:pt x="275" y="326"/>
                  </a:lnTo>
                  <a:lnTo>
                    <a:pt x="241" y="358"/>
                  </a:lnTo>
                  <a:lnTo>
                    <a:pt x="200" y="364"/>
                  </a:lnTo>
                  <a:lnTo>
                    <a:pt x="178" y="382"/>
                  </a:lnTo>
                  <a:lnTo>
                    <a:pt x="178" y="382"/>
                  </a:lnTo>
                  <a:lnTo>
                    <a:pt x="148" y="430"/>
                  </a:lnTo>
                  <a:lnTo>
                    <a:pt x="119" y="447"/>
                  </a:lnTo>
                  <a:lnTo>
                    <a:pt x="103" y="476"/>
                  </a:lnTo>
                  <a:lnTo>
                    <a:pt x="101" y="501"/>
                  </a:lnTo>
                  <a:lnTo>
                    <a:pt x="88" y="528"/>
                  </a:lnTo>
                  <a:lnTo>
                    <a:pt x="74" y="536"/>
                  </a:lnTo>
                  <a:lnTo>
                    <a:pt x="48" y="566"/>
                  </a:lnTo>
                  <a:lnTo>
                    <a:pt x="32" y="600"/>
                  </a:lnTo>
                  <a:lnTo>
                    <a:pt x="35" y="615"/>
                  </a:lnTo>
                  <a:lnTo>
                    <a:pt x="20" y="640"/>
                  </a:lnTo>
                  <a:lnTo>
                    <a:pt x="2" y="652"/>
                  </a:lnTo>
                  <a:lnTo>
                    <a:pt x="0" y="674"/>
                  </a:lnTo>
                  <a:lnTo>
                    <a:pt x="0" y="674"/>
                  </a:lnTo>
                  <a:lnTo>
                    <a:pt x="99" y="671"/>
                  </a:lnTo>
                  <a:lnTo>
                    <a:pt x="105" y="654"/>
                  </a:lnTo>
                  <a:lnTo>
                    <a:pt x="123" y="633"/>
                  </a:lnTo>
                  <a:lnTo>
                    <a:pt x="139" y="567"/>
                  </a:lnTo>
                  <a:lnTo>
                    <a:pt x="201" y="517"/>
                  </a:lnTo>
                  <a:lnTo>
                    <a:pt x="223" y="458"/>
                  </a:lnTo>
                  <a:lnTo>
                    <a:pt x="236" y="454"/>
                  </a:lnTo>
                  <a:lnTo>
                    <a:pt x="252" y="417"/>
                  </a:lnTo>
                  <a:lnTo>
                    <a:pt x="288" y="413"/>
                  </a:lnTo>
                  <a:lnTo>
                    <a:pt x="304" y="419"/>
                  </a:lnTo>
                  <a:lnTo>
                    <a:pt x="324" y="419"/>
                  </a:lnTo>
                  <a:lnTo>
                    <a:pt x="337" y="408"/>
                  </a:lnTo>
                  <a:lnTo>
                    <a:pt x="364" y="406"/>
                  </a:lnTo>
                  <a:lnTo>
                    <a:pt x="364" y="381"/>
                  </a:lnTo>
                  <a:lnTo>
                    <a:pt x="364" y="381"/>
                  </a:lnTo>
                  <a:lnTo>
                    <a:pt x="370" y="381"/>
                  </a:lnTo>
                  <a:lnTo>
                    <a:pt x="371" y="325"/>
                  </a:lnTo>
                  <a:lnTo>
                    <a:pt x="442" y="291"/>
                  </a:lnTo>
                  <a:lnTo>
                    <a:pt x="484" y="284"/>
                  </a:lnTo>
                  <a:lnTo>
                    <a:pt x="519" y="271"/>
                  </a:lnTo>
                  <a:lnTo>
                    <a:pt x="537" y="247"/>
                  </a:lnTo>
                  <a:lnTo>
                    <a:pt x="587" y="230"/>
                  </a:lnTo>
                  <a:lnTo>
                    <a:pt x="589" y="195"/>
                  </a:lnTo>
                  <a:lnTo>
                    <a:pt x="613" y="190"/>
                  </a:lnTo>
                  <a:lnTo>
                    <a:pt x="633" y="174"/>
                  </a:lnTo>
                  <a:lnTo>
                    <a:pt x="689" y="165"/>
                  </a:lnTo>
                  <a:lnTo>
                    <a:pt x="696" y="147"/>
                  </a:lnTo>
                  <a:lnTo>
                    <a:pt x="685" y="137"/>
                  </a:lnTo>
                  <a:lnTo>
                    <a:pt x="671" y="87"/>
                  </a:lnTo>
                  <a:lnTo>
                    <a:pt x="669" y="59"/>
                  </a:lnTo>
                  <a:lnTo>
                    <a:pt x="653" y="28"/>
                  </a:lnTo>
                  <a:lnTo>
                    <a:pt x="653" y="2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8" name="Madagascar">
              <a:extLst>
                <a:ext uri="{FF2B5EF4-FFF2-40B4-BE49-F238E27FC236}">
                  <a16:creationId xmlns:a16="http://schemas.microsoft.com/office/drawing/2014/main" id="{DB59B6B1-A71A-64C3-FAE9-F35BF1E2E1F1}"/>
                </a:ext>
              </a:extLst>
            </p:cNvPr>
            <p:cNvSpPr>
              <a:spLocks/>
            </p:cNvSpPr>
            <p:nvPr/>
          </p:nvSpPr>
          <p:spPr bwMode="auto">
            <a:xfrm>
              <a:off x="9090916" y="4463387"/>
              <a:ext cx="541338" cy="1009650"/>
            </a:xfrm>
            <a:custGeom>
              <a:avLst/>
              <a:gdLst>
                <a:gd name="T0" fmla="*/ 327 w 341"/>
                <a:gd name="T1" fmla="*/ 70 h 636"/>
                <a:gd name="T2" fmla="*/ 318 w 341"/>
                <a:gd name="T3" fmla="*/ 40 h 636"/>
                <a:gd name="T4" fmla="*/ 307 w 341"/>
                <a:gd name="T5" fmla="*/ 19 h 636"/>
                <a:gd name="T6" fmla="*/ 292 w 341"/>
                <a:gd name="T7" fmla="*/ 0 h 636"/>
                <a:gd name="T8" fmla="*/ 277 w 341"/>
                <a:gd name="T9" fmla="*/ 20 h 636"/>
                <a:gd name="T10" fmla="*/ 274 w 341"/>
                <a:gd name="T11" fmla="*/ 49 h 636"/>
                <a:gd name="T12" fmla="*/ 249 w 341"/>
                <a:gd name="T13" fmla="*/ 81 h 636"/>
                <a:gd name="T14" fmla="*/ 229 w 341"/>
                <a:gd name="T15" fmla="*/ 75 h 636"/>
                <a:gd name="T16" fmla="*/ 234 w 341"/>
                <a:gd name="T17" fmla="*/ 96 h 636"/>
                <a:gd name="T18" fmla="*/ 219 w 341"/>
                <a:gd name="T19" fmla="*/ 119 h 636"/>
                <a:gd name="T20" fmla="*/ 182 w 341"/>
                <a:gd name="T21" fmla="*/ 148 h 636"/>
                <a:gd name="T22" fmla="*/ 155 w 341"/>
                <a:gd name="T23" fmla="*/ 175 h 636"/>
                <a:gd name="T24" fmla="*/ 135 w 341"/>
                <a:gd name="T25" fmla="*/ 175 h 636"/>
                <a:gd name="T26" fmla="*/ 119 w 341"/>
                <a:gd name="T27" fmla="*/ 184 h 636"/>
                <a:gd name="T28" fmla="*/ 93 w 341"/>
                <a:gd name="T29" fmla="*/ 193 h 636"/>
                <a:gd name="T30" fmla="*/ 71 w 341"/>
                <a:gd name="T31" fmla="*/ 196 h 636"/>
                <a:gd name="T32" fmla="*/ 63 w 341"/>
                <a:gd name="T33" fmla="*/ 226 h 636"/>
                <a:gd name="T34" fmla="*/ 46 w 341"/>
                <a:gd name="T35" fmla="*/ 252 h 636"/>
                <a:gd name="T36" fmla="*/ 47 w 341"/>
                <a:gd name="T37" fmla="*/ 295 h 636"/>
                <a:gd name="T38" fmla="*/ 53 w 341"/>
                <a:gd name="T39" fmla="*/ 324 h 636"/>
                <a:gd name="T40" fmla="*/ 62 w 341"/>
                <a:gd name="T41" fmla="*/ 347 h 636"/>
                <a:gd name="T42" fmla="*/ 56 w 341"/>
                <a:gd name="T43" fmla="*/ 377 h 636"/>
                <a:gd name="T44" fmla="*/ 32 w 341"/>
                <a:gd name="T45" fmla="*/ 412 h 636"/>
                <a:gd name="T46" fmla="*/ 31 w 341"/>
                <a:gd name="T47" fmla="*/ 428 h 636"/>
                <a:gd name="T48" fmla="*/ 10 w 341"/>
                <a:gd name="T49" fmla="*/ 436 h 636"/>
                <a:gd name="T50" fmla="*/ 0 w 341"/>
                <a:gd name="T51" fmla="*/ 470 h 636"/>
                <a:gd name="T52" fmla="*/ 2 w 341"/>
                <a:gd name="T53" fmla="*/ 504 h 636"/>
                <a:gd name="T54" fmla="*/ 14 w 341"/>
                <a:gd name="T55" fmla="*/ 541 h 636"/>
                <a:gd name="T56" fmla="*/ 14 w 341"/>
                <a:gd name="T57" fmla="*/ 583 h 636"/>
                <a:gd name="T58" fmla="*/ 23 w 341"/>
                <a:gd name="T59" fmla="*/ 608 h 636"/>
                <a:gd name="T60" fmla="*/ 57 w 341"/>
                <a:gd name="T61" fmla="*/ 625 h 636"/>
                <a:gd name="T62" fmla="*/ 81 w 341"/>
                <a:gd name="T63" fmla="*/ 636 h 636"/>
                <a:gd name="T64" fmla="*/ 120 w 341"/>
                <a:gd name="T65" fmla="*/ 617 h 636"/>
                <a:gd name="T66" fmla="*/ 156 w 341"/>
                <a:gd name="T67" fmla="*/ 606 h 636"/>
                <a:gd name="T68" fmla="*/ 181 w 341"/>
                <a:gd name="T69" fmla="*/ 551 h 636"/>
                <a:gd name="T70" fmla="*/ 203 w 341"/>
                <a:gd name="T71" fmla="*/ 485 h 636"/>
                <a:gd name="T72" fmla="*/ 238 w 341"/>
                <a:gd name="T73" fmla="*/ 397 h 636"/>
                <a:gd name="T74" fmla="*/ 264 w 341"/>
                <a:gd name="T75" fmla="*/ 332 h 636"/>
                <a:gd name="T76" fmla="*/ 285 w 341"/>
                <a:gd name="T77" fmla="*/ 277 h 636"/>
                <a:gd name="T78" fmla="*/ 292 w 341"/>
                <a:gd name="T79" fmla="*/ 237 h 636"/>
                <a:gd name="T80" fmla="*/ 304 w 341"/>
                <a:gd name="T81" fmla="*/ 226 h 636"/>
                <a:gd name="T82" fmla="*/ 310 w 341"/>
                <a:gd name="T83" fmla="*/ 207 h 636"/>
                <a:gd name="T84" fmla="*/ 303 w 341"/>
                <a:gd name="T85" fmla="*/ 172 h 636"/>
                <a:gd name="T86" fmla="*/ 313 w 341"/>
                <a:gd name="T87" fmla="*/ 158 h 636"/>
                <a:gd name="T88" fmla="*/ 325 w 341"/>
                <a:gd name="T89" fmla="*/ 186 h 636"/>
                <a:gd name="T90" fmla="*/ 334 w 341"/>
                <a:gd name="T91" fmla="*/ 171 h 636"/>
                <a:gd name="T92" fmla="*/ 341 w 341"/>
                <a:gd name="T93" fmla="*/ 149 h 636"/>
                <a:gd name="T94" fmla="*/ 331 w 341"/>
                <a:gd name="T95" fmla="*/ 127 h 636"/>
                <a:gd name="T96" fmla="*/ 327 w 341"/>
                <a:gd name="T97" fmla="*/ 7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636">
                  <a:moveTo>
                    <a:pt x="327" y="70"/>
                  </a:moveTo>
                  <a:lnTo>
                    <a:pt x="318" y="40"/>
                  </a:lnTo>
                  <a:lnTo>
                    <a:pt x="307" y="19"/>
                  </a:lnTo>
                  <a:lnTo>
                    <a:pt x="292" y="0"/>
                  </a:lnTo>
                  <a:lnTo>
                    <a:pt x="277" y="20"/>
                  </a:lnTo>
                  <a:lnTo>
                    <a:pt x="274" y="49"/>
                  </a:lnTo>
                  <a:lnTo>
                    <a:pt x="249" y="81"/>
                  </a:lnTo>
                  <a:lnTo>
                    <a:pt x="229" y="75"/>
                  </a:lnTo>
                  <a:lnTo>
                    <a:pt x="234" y="96"/>
                  </a:lnTo>
                  <a:lnTo>
                    <a:pt x="219" y="119"/>
                  </a:lnTo>
                  <a:lnTo>
                    <a:pt x="182" y="148"/>
                  </a:lnTo>
                  <a:lnTo>
                    <a:pt x="155" y="175"/>
                  </a:lnTo>
                  <a:lnTo>
                    <a:pt x="135" y="175"/>
                  </a:lnTo>
                  <a:lnTo>
                    <a:pt x="119" y="184"/>
                  </a:lnTo>
                  <a:lnTo>
                    <a:pt x="93" y="193"/>
                  </a:lnTo>
                  <a:lnTo>
                    <a:pt x="71" y="196"/>
                  </a:lnTo>
                  <a:lnTo>
                    <a:pt x="63" y="226"/>
                  </a:lnTo>
                  <a:lnTo>
                    <a:pt x="46" y="252"/>
                  </a:lnTo>
                  <a:lnTo>
                    <a:pt x="47" y="295"/>
                  </a:lnTo>
                  <a:lnTo>
                    <a:pt x="53" y="324"/>
                  </a:lnTo>
                  <a:lnTo>
                    <a:pt x="62" y="347"/>
                  </a:lnTo>
                  <a:lnTo>
                    <a:pt x="56" y="377"/>
                  </a:lnTo>
                  <a:lnTo>
                    <a:pt x="32" y="412"/>
                  </a:lnTo>
                  <a:lnTo>
                    <a:pt x="31" y="428"/>
                  </a:lnTo>
                  <a:lnTo>
                    <a:pt x="10" y="436"/>
                  </a:lnTo>
                  <a:lnTo>
                    <a:pt x="0" y="470"/>
                  </a:lnTo>
                  <a:lnTo>
                    <a:pt x="2" y="504"/>
                  </a:lnTo>
                  <a:lnTo>
                    <a:pt x="14" y="541"/>
                  </a:lnTo>
                  <a:lnTo>
                    <a:pt x="14" y="583"/>
                  </a:lnTo>
                  <a:lnTo>
                    <a:pt x="23" y="608"/>
                  </a:lnTo>
                  <a:lnTo>
                    <a:pt x="57" y="625"/>
                  </a:lnTo>
                  <a:lnTo>
                    <a:pt x="81" y="636"/>
                  </a:lnTo>
                  <a:lnTo>
                    <a:pt x="120" y="617"/>
                  </a:lnTo>
                  <a:lnTo>
                    <a:pt x="156" y="606"/>
                  </a:lnTo>
                  <a:lnTo>
                    <a:pt x="181" y="551"/>
                  </a:lnTo>
                  <a:lnTo>
                    <a:pt x="203" y="485"/>
                  </a:lnTo>
                  <a:lnTo>
                    <a:pt x="238" y="397"/>
                  </a:lnTo>
                  <a:lnTo>
                    <a:pt x="264" y="332"/>
                  </a:lnTo>
                  <a:lnTo>
                    <a:pt x="285" y="277"/>
                  </a:lnTo>
                  <a:lnTo>
                    <a:pt x="292" y="237"/>
                  </a:lnTo>
                  <a:lnTo>
                    <a:pt x="304" y="226"/>
                  </a:lnTo>
                  <a:lnTo>
                    <a:pt x="310" y="207"/>
                  </a:lnTo>
                  <a:lnTo>
                    <a:pt x="303" y="172"/>
                  </a:lnTo>
                  <a:lnTo>
                    <a:pt x="313" y="158"/>
                  </a:lnTo>
                  <a:lnTo>
                    <a:pt x="325" y="186"/>
                  </a:lnTo>
                  <a:lnTo>
                    <a:pt x="334" y="171"/>
                  </a:lnTo>
                  <a:lnTo>
                    <a:pt x="341" y="149"/>
                  </a:lnTo>
                  <a:lnTo>
                    <a:pt x="331" y="127"/>
                  </a:lnTo>
                  <a:lnTo>
                    <a:pt x="327" y="7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9" name="Mali">
              <a:extLst>
                <a:ext uri="{FF2B5EF4-FFF2-40B4-BE49-F238E27FC236}">
                  <a16:creationId xmlns:a16="http://schemas.microsoft.com/office/drawing/2014/main" id="{FCEB9ECD-B510-3C26-C9FC-22E20BFA11F4}"/>
                </a:ext>
              </a:extLst>
            </p:cNvPr>
            <p:cNvSpPr>
              <a:spLocks/>
            </p:cNvSpPr>
            <p:nvPr/>
          </p:nvSpPr>
          <p:spPr bwMode="auto">
            <a:xfrm>
              <a:off x="5236466" y="1701137"/>
              <a:ext cx="1154113" cy="1109663"/>
            </a:xfrm>
            <a:custGeom>
              <a:avLst/>
              <a:gdLst>
                <a:gd name="T0" fmla="*/ 677 w 727"/>
                <a:gd name="T1" fmla="*/ 278 h 699"/>
                <a:gd name="T2" fmla="*/ 657 w 727"/>
                <a:gd name="T3" fmla="*/ 240 h 699"/>
                <a:gd name="T4" fmla="*/ 618 w 727"/>
                <a:gd name="T5" fmla="*/ 206 h 699"/>
                <a:gd name="T6" fmla="*/ 324 w 727"/>
                <a:gd name="T7" fmla="*/ 0 h 699"/>
                <a:gd name="T8" fmla="*/ 277 w 727"/>
                <a:gd name="T9" fmla="*/ 204 h 699"/>
                <a:gd name="T10" fmla="*/ 304 w 727"/>
                <a:gd name="T11" fmla="*/ 413 h 699"/>
                <a:gd name="T12" fmla="*/ 117 w 727"/>
                <a:gd name="T13" fmla="*/ 446 h 699"/>
                <a:gd name="T14" fmla="*/ 93 w 727"/>
                <a:gd name="T15" fmla="*/ 454 h 699"/>
                <a:gd name="T16" fmla="*/ 37 w 727"/>
                <a:gd name="T17" fmla="*/ 449 h 699"/>
                <a:gd name="T18" fmla="*/ 15 w 727"/>
                <a:gd name="T19" fmla="*/ 478 h 699"/>
                <a:gd name="T20" fmla="*/ 2 w 727"/>
                <a:gd name="T21" fmla="*/ 516 h 699"/>
                <a:gd name="T22" fmla="*/ 26 w 727"/>
                <a:gd name="T23" fmla="*/ 556 h 699"/>
                <a:gd name="T24" fmla="*/ 28 w 727"/>
                <a:gd name="T25" fmla="*/ 589 h 699"/>
                <a:gd name="T26" fmla="*/ 37 w 727"/>
                <a:gd name="T27" fmla="*/ 606 h 699"/>
                <a:gd name="T28" fmla="*/ 57 w 727"/>
                <a:gd name="T29" fmla="*/ 601 h 699"/>
                <a:gd name="T30" fmla="*/ 88 w 727"/>
                <a:gd name="T31" fmla="*/ 617 h 699"/>
                <a:gd name="T32" fmla="*/ 114 w 727"/>
                <a:gd name="T33" fmla="*/ 600 h 699"/>
                <a:gd name="T34" fmla="*/ 133 w 727"/>
                <a:gd name="T35" fmla="*/ 595 h 699"/>
                <a:gd name="T36" fmla="*/ 149 w 727"/>
                <a:gd name="T37" fmla="*/ 619 h 699"/>
                <a:gd name="T38" fmla="*/ 158 w 727"/>
                <a:gd name="T39" fmla="*/ 650 h 699"/>
                <a:gd name="T40" fmla="*/ 165 w 727"/>
                <a:gd name="T41" fmla="*/ 662 h 699"/>
                <a:gd name="T42" fmla="*/ 168 w 727"/>
                <a:gd name="T43" fmla="*/ 680 h 699"/>
                <a:gd name="T44" fmla="*/ 187 w 727"/>
                <a:gd name="T45" fmla="*/ 690 h 699"/>
                <a:gd name="T46" fmla="*/ 234 w 727"/>
                <a:gd name="T47" fmla="*/ 697 h 699"/>
                <a:gd name="T48" fmla="*/ 250 w 727"/>
                <a:gd name="T49" fmla="*/ 684 h 699"/>
                <a:gd name="T50" fmla="*/ 269 w 727"/>
                <a:gd name="T51" fmla="*/ 699 h 699"/>
                <a:gd name="T52" fmla="*/ 299 w 727"/>
                <a:gd name="T53" fmla="*/ 686 h 699"/>
                <a:gd name="T54" fmla="*/ 308 w 727"/>
                <a:gd name="T55" fmla="*/ 639 h 699"/>
                <a:gd name="T56" fmla="*/ 342 w 727"/>
                <a:gd name="T57" fmla="*/ 584 h 699"/>
                <a:gd name="T58" fmla="*/ 361 w 727"/>
                <a:gd name="T59" fmla="*/ 541 h 699"/>
                <a:gd name="T60" fmla="*/ 401 w 727"/>
                <a:gd name="T61" fmla="*/ 538 h 699"/>
                <a:gd name="T62" fmla="*/ 441 w 727"/>
                <a:gd name="T63" fmla="*/ 504 h 699"/>
                <a:gd name="T64" fmla="*/ 491 w 727"/>
                <a:gd name="T65" fmla="*/ 470 h 699"/>
                <a:gd name="T66" fmla="*/ 527 w 727"/>
                <a:gd name="T67" fmla="*/ 472 h 699"/>
                <a:gd name="T68" fmla="*/ 583 w 727"/>
                <a:gd name="T69" fmla="*/ 470 h 699"/>
                <a:gd name="T70" fmla="*/ 660 w 727"/>
                <a:gd name="T71" fmla="*/ 449 h 699"/>
                <a:gd name="T72" fmla="*/ 702 w 727"/>
                <a:gd name="T73" fmla="*/ 414 h 699"/>
                <a:gd name="T74" fmla="*/ 726 w 727"/>
                <a:gd name="T75" fmla="*/ 274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7" h="699">
                  <a:moveTo>
                    <a:pt x="726" y="274"/>
                  </a:moveTo>
                  <a:lnTo>
                    <a:pt x="677" y="278"/>
                  </a:lnTo>
                  <a:lnTo>
                    <a:pt x="677" y="248"/>
                  </a:lnTo>
                  <a:lnTo>
                    <a:pt x="657" y="240"/>
                  </a:lnTo>
                  <a:lnTo>
                    <a:pt x="629" y="227"/>
                  </a:lnTo>
                  <a:lnTo>
                    <a:pt x="618" y="206"/>
                  </a:lnTo>
                  <a:lnTo>
                    <a:pt x="470" y="103"/>
                  </a:lnTo>
                  <a:lnTo>
                    <a:pt x="324" y="0"/>
                  </a:lnTo>
                  <a:lnTo>
                    <a:pt x="258" y="1"/>
                  </a:lnTo>
                  <a:lnTo>
                    <a:pt x="277" y="204"/>
                  </a:lnTo>
                  <a:lnTo>
                    <a:pt x="297" y="407"/>
                  </a:lnTo>
                  <a:lnTo>
                    <a:pt x="304" y="413"/>
                  </a:lnTo>
                  <a:lnTo>
                    <a:pt x="294" y="445"/>
                  </a:lnTo>
                  <a:lnTo>
                    <a:pt x="117" y="446"/>
                  </a:lnTo>
                  <a:lnTo>
                    <a:pt x="110" y="456"/>
                  </a:lnTo>
                  <a:lnTo>
                    <a:pt x="93" y="454"/>
                  </a:lnTo>
                  <a:lnTo>
                    <a:pt x="68" y="463"/>
                  </a:lnTo>
                  <a:lnTo>
                    <a:pt x="37" y="449"/>
                  </a:lnTo>
                  <a:lnTo>
                    <a:pt x="23" y="451"/>
                  </a:lnTo>
                  <a:lnTo>
                    <a:pt x="15" y="478"/>
                  </a:lnTo>
                  <a:lnTo>
                    <a:pt x="0" y="487"/>
                  </a:lnTo>
                  <a:lnTo>
                    <a:pt x="2" y="516"/>
                  </a:lnTo>
                  <a:lnTo>
                    <a:pt x="10" y="543"/>
                  </a:lnTo>
                  <a:lnTo>
                    <a:pt x="26" y="556"/>
                  </a:lnTo>
                  <a:lnTo>
                    <a:pt x="30" y="574"/>
                  </a:lnTo>
                  <a:lnTo>
                    <a:pt x="28" y="589"/>
                  </a:lnTo>
                  <a:lnTo>
                    <a:pt x="30" y="606"/>
                  </a:lnTo>
                  <a:lnTo>
                    <a:pt x="37" y="606"/>
                  </a:lnTo>
                  <a:lnTo>
                    <a:pt x="49" y="600"/>
                  </a:lnTo>
                  <a:lnTo>
                    <a:pt x="57" y="601"/>
                  </a:lnTo>
                  <a:lnTo>
                    <a:pt x="68" y="613"/>
                  </a:lnTo>
                  <a:lnTo>
                    <a:pt x="88" y="617"/>
                  </a:lnTo>
                  <a:lnTo>
                    <a:pt x="99" y="607"/>
                  </a:lnTo>
                  <a:lnTo>
                    <a:pt x="114" y="600"/>
                  </a:lnTo>
                  <a:lnTo>
                    <a:pt x="125" y="594"/>
                  </a:lnTo>
                  <a:lnTo>
                    <a:pt x="133" y="595"/>
                  </a:lnTo>
                  <a:lnTo>
                    <a:pt x="143" y="605"/>
                  </a:lnTo>
                  <a:lnTo>
                    <a:pt x="149" y="619"/>
                  </a:lnTo>
                  <a:lnTo>
                    <a:pt x="167" y="639"/>
                  </a:lnTo>
                  <a:lnTo>
                    <a:pt x="158" y="650"/>
                  </a:lnTo>
                  <a:lnTo>
                    <a:pt x="155" y="666"/>
                  </a:lnTo>
                  <a:lnTo>
                    <a:pt x="165" y="662"/>
                  </a:lnTo>
                  <a:lnTo>
                    <a:pt x="171" y="667"/>
                  </a:lnTo>
                  <a:lnTo>
                    <a:pt x="168" y="680"/>
                  </a:lnTo>
                  <a:lnTo>
                    <a:pt x="182" y="694"/>
                  </a:lnTo>
                  <a:lnTo>
                    <a:pt x="187" y="690"/>
                  </a:lnTo>
                  <a:lnTo>
                    <a:pt x="200" y="697"/>
                  </a:lnTo>
                  <a:lnTo>
                    <a:pt x="234" y="697"/>
                  </a:lnTo>
                  <a:lnTo>
                    <a:pt x="242" y="684"/>
                  </a:lnTo>
                  <a:lnTo>
                    <a:pt x="250" y="684"/>
                  </a:lnTo>
                  <a:lnTo>
                    <a:pt x="263" y="679"/>
                  </a:lnTo>
                  <a:lnTo>
                    <a:pt x="269" y="699"/>
                  </a:lnTo>
                  <a:lnTo>
                    <a:pt x="280" y="694"/>
                  </a:lnTo>
                  <a:lnTo>
                    <a:pt x="299" y="686"/>
                  </a:lnTo>
                  <a:lnTo>
                    <a:pt x="295" y="659"/>
                  </a:lnTo>
                  <a:lnTo>
                    <a:pt x="308" y="639"/>
                  </a:lnTo>
                  <a:lnTo>
                    <a:pt x="307" y="623"/>
                  </a:lnTo>
                  <a:lnTo>
                    <a:pt x="342" y="584"/>
                  </a:lnTo>
                  <a:lnTo>
                    <a:pt x="349" y="552"/>
                  </a:lnTo>
                  <a:lnTo>
                    <a:pt x="361" y="541"/>
                  </a:lnTo>
                  <a:lnTo>
                    <a:pt x="383" y="547"/>
                  </a:lnTo>
                  <a:lnTo>
                    <a:pt x="401" y="538"/>
                  </a:lnTo>
                  <a:lnTo>
                    <a:pt x="407" y="526"/>
                  </a:lnTo>
                  <a:lnTo>
                    <a:pt x="441" y="504"/>
                  </a:lnTo>
                  <a:lnTo>
                    <a:pt x="450" y="490"/>
                  </a:lnTo>
                  <a:lnTo>
                    <a:pt x="491" y="470"/>
                  </a:lnTo>
                  <a:lnTo>
                    <a:pt x="516" y="464"/>
                  </a:lnTo>
                  <a:lnTo>
                    <a:pt x="527" y="472"/>
                  </a:lnTo>
                  <a:lnTo>
                    <a:pt x="555" y="472"/>
                  </a:lnTo>
                  <a:lnTo>
                    <a:pt x="583" y="470"/>
                  </a:lnTo>
                  <a:lnTo>
                    <a:pt x="600" y="454"/>
                  </a:lnTo>
                  <a:lnTo>
                    <a:pt x="660" y="449"/>
                  </a:lnTo>
                  <a:lnTo>
                    <a:pt x="699" y="442"/>
                  </a:lnTo>
                  <a:lnTo>
                    <a:pt x="702" y="414"/>
                  </a:lnTo>
                  <a:lnTo>
                    <a:pt x="727" y="382"/>
                  </a:lnTo>
                  <a:lnTo>
                    <a:pt x="726" y="274"/>
                  </a:lnTo>
                  <a:lnTo>
                    <a:pt x="726" y="2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0" name="Mozambique">
              <a:extLst>
                <a:ext uri="{FF2B5EF4-FFF2-40B4-BE49-F238E27FC236}">
                  <a16:creationId xmlns:a16="http://schemas.microsoft.com/office/drawing/2014/main" id="{032CAF15-8A73-1A78-0FEC-569F4FB52D26}"/>
                </a:ext>
              </a:extLst>
            </p:cNvPr>
            <p:cNvSpPr>
              <a:spLocks/>
            </p:cNvSpPr>
            <p:nvPr/>
          </p:nvSpPr>
          <p:spPr bwMode="auto">
            <a:xfrm>
              <a:off x="8209854" y="4333212"/>
              <a:ext cx="742950" cy="1225550"/>
            </a:xfrm>
            <a:custGeom>
              <a:avLst/>
              <a:gdLst>
                <a:gd name="T0" fmla="*/ 457 w 468"/>
                <a:gd name="T1" fmla="*/ 0 h 772"/>
                <a:gd name="T2" fmla="*/ 457 w 468"/>
                <a:gd name="T3" fmla="*/ 0 h 772"/>
                <a:gd name="T4" fmla="*/ 371 w 468"/>
                <a:gd name="T5" fmla="*/ 46 h 772"/>
                <a:gd name="T6" fmla="*/ 328 w 468"/>
                <a:gd name="T7" fmla="*/ 60 h 772"/>
                <a:gd name="T8" fmla="*/ 285 w 468"/>
                <a:gd name="T9" fmla="*/ 66 h 772"/>
                <a:gd name="T10" fmla="*/ 216 w 468"/>
                <a:gd name="T11" fmla="*/ 55 h 772"/>
                <a:gd name="T12" fmla="*/ 208 w 468"/>
                <a:gd name="T13" fmla="*/ 153 h 772"/>
                <a:gd name="T14" fmla="*/ 226 w 468"/>
                <a:gd name="T15" fmla="*/ 168 h 772"/>
                <a:gd name="T16" fmla="*/ 245 w 468"/>
                <a:gd name="T17" fmla="*/ 263 h 772"/>
                <a:gd name="T18" fmla="*/ 210 w 468"/>
                <a:gd name="T19" fmla="*/ 305 h 772"/>
                <a:gd name="T20" fmla="*/ 181 w 468"/>
                <a:gd name="T21" fmla="*/ 243 h 772"/>
                <a:gd name="T22" fmla="*/ 189 w 468"/>
                <a:gd name="T23" fmla="*/ 202 h 772"/>
                <a:gd name="T24" fmla="*/ 160 w 468"/>
                <a:gd name="T25" fmla="*/ 195 h 772"/>
                <a:gd name="T26" fmla="*/ 0 w 468"/>
                <a:gd name="T27" fmla="*/ 211 h 772"/>
                <a:gd name="T28" fmla="*/ 5 w 468"/>
                <a:gd name="T29" fmla="*/ 262 h 772"/>
                <a:gd name="T30" fmla="*/ 61 w 468"/>
                <a:gd name="T31" fmla="*/ 271 h 772"/>
                <a:gd name="T32" fmla="*/ 91 w 468"/>
                <a:gd name="T33" fmla="*/ 285 h 772"/>
                <a:gd name="T34" fmla="*/ 110 w 468"/>
                <a:gd name="T35" fmla="*/ 360 h 772"/>
                <a:gd name="T36" fmla="*/ 97 w 468"/>
                <a:gd name="T37" fmla="*/ 428 h 772"/>
                <a:gd name="T38" fmla="*/ 97 w 468"/>
                <a:gd name="T39" fmla="*/ 470 h 772"/>
                <a:gd name="T40" fmla="*/ 77 w 468"/>
                <a:gd name="T41" fmla="*/ 508 h 772"/>
                <a:gd name="T42" fmla="*/ 45 w 468"/>
                <a:gd name="T43" fmla="*/ 627 h 772"/>
                <a:gd name="T44" fmla="*/ 43 w 468"/>
                <a:gd name="T45" fmla="*/ 713 h 772"/>
                <a:gd name="T46" fmla="*/ 50 w 468"/>
                <a:gd name="T47" fmla="*/ 751 h 772"/>
                <a:gd name="T48" fmla="*/ 86 w 468"/>
                <a:gd name="T49" fmla="*/ 772 h 772"/>
                <a:gd name="T50" fmla="*/ 80 w 468"/>
                <a:gd name="T51" fmla="*/ 744 h 772"/>
                <a:gd name="T52" fmla="*/ 99 w 468"/>
                <a:gd name="T53" fmla="*/ 707 h 772"/>
                <a:gd name="T54" fmla="*/ 189 w 468"/>
                <a:gd name="T55" fmla="*/ 666 h 772"/>
                <a:gd name="T56" fmla="*/ 216 w 468"/>
                <a:gd name="T57" fmla="*/ 629 h 772"/>
                <a:gd name="T58" fmla="*/ 216 w 468"/>
                <a:gd name="T59" fmla="*/ 600 h 772"/>
                <a:gd name="T60" fmla="*/ 211 w 468"/>
                <a:gd name="T61" fmla="*/ 555 h 772"/>
                <a:gd name="T62" fmla="*/ 205 w 468"/>
                <a:gd name="T63" fmla="*/ 515 h 772"/>
                <a:gd name="T64" fmla="*/ 192 w 468"/>
                <a:gd name="T65" fmla="*/ 445 h 772"/>
                <a:gd name="T66" fmla="*/ 243 w 468"/>
                <a:gd name="T67" fmla="*/ 401 h 772"/>
                <a:gd name="T68" fmla="*/ 312 w 468"/>
                <a:gd name="T69" fmla="*/ 341 h 772"/>
                <a:gd name="T70" fmla="*/ 405 w 468"/>
                <a:gd name="T71" fmla="*/ 301 h 772"/>
                <a:gd name="T72" fmla="*/ 453 w 468"/>
                <a:gd name="T73" fmla="*/ 240 h 772"/>
                <a:gd name="T74" fmla="*/ 462 w 468"/>
                <a:gd name="T75" fmla="*/ 183 h 772"/>
                <a:gd name="T76" fmla="*/ 459 w 468"/>
                <a:gd name="T77" fmla="*/ 68 h 772"/>
                <a:gd name="T78" fmla="*/ 463 w 468"/>
                <a:gd name="T79" fmla="*/ 2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8" h="772">
                  <a:moveTo>
                    <a:pt x="463" y="21"/>
                  </a:moveTo>
                  <a:lnTo>
                    <a:pt x="457" y="0"/>
                  </a:lnTo>
                  <a:lnTo>
                    <a:pt x="457" y="0"/>
                  </a:lnTo>
                  <a:lnTo>
                    <a:pt x="457" y="0"/>
                  </a:lnTo>
                  <a:lnTo>
                    <a:pt x="420" y="27"/>
                  </a:lnTo>
                  <a:lnTo>
                    <a:pt x="371" y="46"/>
                  </a:lnTo>
                  <a:lnTo>
                    <a:pt x="344" y="45"/>
                  </a:lnTo>
                  <a:lnTo>
                    <a:pt x="328" y="60"/>
                  </a:lnTo>
                  <a:lnTo>
                    <a:pt x="298" y="60"/>
                  </a:lnTo>
                  <a:lnTo>
                    <a:pt x="285" y="66"/>
                  </a:lnTo>
                  <a:lnTo>
                    <a:pt x="233" y="53"/>
                  </a:lnTo>
                  <a:lnTo>
                    <a:pt x="216" y="55"/>
                  </a:lnTo>
                  <a:lnTo>
                    <a:pt x="204" y="100"/>
                  </a:lnTo>
                  <a:lnTo>
                    <a:pt x="208" y="153"/>
                  </a:lnTo>
                  <a:lnTo>
                    <a:pt x="211" y="153"/>
                  </a:lnTo>
                  <a:lnTo>
                    <a:pt x="226" y="168"/>
                  </a:lnTo>
                  <a:lnTo>
                    <a:pt x="243" y="202"/>
                  </a:lnTo>
                  <a:lnTo>
                    <a:pt x="245" y="263"/>
                  </a:lnTo>
                  <a:lnTo>
                    <a:pt x="225" y="273"/>
                  </a:lnTo>
                  <a:lnTo>
                    <a:pt x="210" y="305"/>
                  </a:lnTo>
                  <a:lnTo>
                    <a:pt x="183" y="276"/>
                  </a:lnTo>
                  <a:lnTo>
                    <a:pt x="181" y="243"/>
                  </a:lnTo>
                  <a:lnTo>
                    <a:pt x="191" y="221"/>
                  </a:lnTo>
                  <a:lnTo>
                    <a:pt x="189" y="202"/>
                  </a:lnTo>
                  <a:lnTo>
                    <a:pt x="172" y="190"/>
                  </a:lnTo>
                  <a:lnTo>
                    <a:pt x="160" y="195"/>
                  </a:lnTo>
                  <a:lnTo>
                    <a:pt x="135" y="172"/>
                  </a:lnTo>
                  <a:lnTo>
                    <a:pt x="0" y="211"/>
                  </a:lnTo>
                  <a:lnTo>
                    <a:pt x="3" y="245"/>
                  </a:lnTo>
                  <a:lnTo>
                    <a:pt x="5" y="262"/>
                  </a:lnTo>
                  <a:lnTo>
                    <a:pt x="41" y="261"/>
                  </a:lnTo>
                  <a:lnTo>
                    <a:pt x="61" y="271"/>
                  </a:lnTo>
                  <a:lnTo>
                    <a:pt x="70" y="282"/>
                  </a:lnTo>
                  <a:lnTo>
                    <a:pt x="91" y="285"/>
                  </a:lnTo>
                  <a:lnTo>
                    <a:pt x="113" y="301"/>
                  </a:lnTo>
                  <a:lnTo>
                    <a:pt x="110" y="360"/>
                  </a:lnTo>
                  <a:lnTo>
                    <a:pt x="100" y="392"/>
                  </a:lnTo>
                  <a:lnTo>
                    <a:pt x="97" y="428"/>
                  </a:lnTo>
                  <a:lnTo>
                    <a:pt x="103" y="442"/>
                  </a:lnTo>
                  <a:lnTo>
                    <a:pt x="97" y="470"/>
                  </a:lnTo>
                  <a:lnTo>
                    <a:pt x="89" y="474"/>
                  </a:lnTo>
                  <a:lnTo>
                    <a:pt x="77" y="508"/>
                  </a:lnTo>
                  <a:lnTo>
                    <a:pt x="27" y="561"/>
                  </a:lnTo>
                  <a:lnTo>
                    <a:pt x="45" y="627"/>
                  </a:lnTo>
                  <a:lnTo>
                    <a:pt x="54" y="661"/>
                  </a:lnTo>
                  <a:lnTo>
                    <a:pt x="43" y="713"/>
                  </a:lnTo>
                  <a:lnTo>
                    <a:pt x="46" y="730"/>
                  </a:lnTo>
                  <a:lnTo>
                    <a:pt x="50" y="751"/>
                  </a:lnTo>
                  <a:lnTo>
                    <a:pt x="53" y="772"/>
                  </a:lnTo>
                  <a:lnTo>
                    <a:pt x="86" y="772"/>
                  </a:lnTo>
                  <a:lnTo>
                    <a:pt x="91" y="747"/>
                  </a:lnTo>
                  <a:lnTo>
                    <a:pt x="80" y="744"/>
                  </a:lnTo>
                  <a:lnTo>
                    <a:pt x="79" y="724"/>
                  </a:lnTo>
                  <a:lnTo>
                    <a:pt x="99" y="707"/>
                  </a:lnTo>
                  <a:lnTo>
                    <a:pt x="153" y="681"/>
                  </a:lnTo>
                  <a:lnTo>
                    <a:pt x="189" y="666"/>
                  </a:lnTo>
                  <a:lnTo>
                    <a:pt x="208" y="649"/>
                  </a:lnTo>
                  <a:lnTo>
                    <a:pt x="216" y="629"/>
                  </a:lnTo>
                  <a:lnTo>
                    <a:pt x="206" y="622"/>
                  </a:lnTo>
                  <a:lnTo>
                    <a:pt x="216" y="600"/>
                  </a:lnTo>
                  <a:lnTo>
                    <a:pt x="219" y="554"/>
                  </a:lnTo>
                  <a:lnTo>
                    <a:pt x="211" y="555"/>
                  </a:lnTo>
                  <a:lnTo>
                    <a:pt x="212" y="542"/>
                  </a:lnTo>
                  <a:lnTo>
                    <a:pt x="205" y="515"/>
                  </a:lnTo>
                  <a:lnTo>
                    <a:pt x="185" y="479"/>
                  </a:lnTo>
                  <a:lnTo>
                    <a:pt x="192" y="445"/>
                  </a:lnTo>
                  <a:lnTo>
                    <a:pt x="210" y="434"/>
                  </a:lnTo>
                  <a:lnTo>
                    <a:pt x="243" y="401"/>
                  </a:lnTo>
                  <a:lnTo>
                    <a:pt x="259" y="392"/>
                  </a:lnTo>
                  <a:lnTo>
                    <a:pt x="312" y="341"/>
                  </a:lnTo>
                  <a:lnTo>
                    <a:pt x="363" y="319"/>
                  </a:lnTo>
                  <a:lnTo>
                    <a:pt x="405" y="301"/>
                  </a:lnTo>
                  <a:lnTo>
                    <a:pt x="435" y="272"/>
                  </a:lnTo>
                  <a:lnTo>
                    <a:pt x="453" y="240"/>
                  </a:lnTo>
                  <a:lnTo>
                    <a:pt x="468" y="206"/>
                  </a:lnTo>
                  <a:lnTo>
                    <a:pt x="462" y="183"/>
                  </a:lnTo>
                  <a:lnTo>
                    <a:pt x="463" y="110"/>
                  </a:lnTo>
                  <a:lnTo>
                    <a:pt x="459" y="68"/>
                  </a:lnTo>
                  <a:lnTo>
                    <a:pt x="463" y="21"/>
                  </a:lnTo>
                  <a:lnTo>
                    <a:pt x="463" y="2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1" name="Mauritania">
              <a:extLst>
                <a:ext uri="{FF2B5EF4-FFF2-40B4-BE49-F238E27FC236}">
                  <a16:creationId xmlns:a16="http://schemas.microsoft.com/office/drawing/2014/main" id="{F5738FE6-7ED3-D977-A20E-A264A2454DDB}"/>
                </a:ext>
              </a:extLst>
            </p:cNvPr>
            <p:cNvSpPr>
              <a:spLocks/>
            </p:cNvSpPr>
            <p:nvPr/>
          </p:nvSpPr>
          <p:spPr bwMode="auto">
            <a:xfrm>
              <a:off x="4906266" y="1520162"/>
              <a:ext cx="844550" cy="954088"/>
            </a:xfrm>
            <a:custGeom>
              <a:avLst/>
              <a:gdLst>
                <a:gd name="T0" fmla="*/ 532 w 532"/>
                <a:gd name="T1" fmla="*/ 114 h 601"/>
                <a:gd name="T2" fmla="*/ 371 w 532"/>
                <a:gd name="T3" fmla="*/ 0 h 601"/>
                <a:gd name="T4" fmla="*/ 370 w 532"/>
                <a:gd name="T5" fmla="*/ 72 h 601"/>
                <a:gd name="T6" fmla="*/ 227 w 532"/>
                <a:gd name="T7" fmla="*/ 69 h 601"/>
                <a:gd name="T8" fmla="*/ 226 w 532"/>
                <a:gd name="T9" fmla="*/ 190 h 601"/>
                <a:gd name="T10" fmla="*/ 185 w 532"/>
                <a:gd name="T11" fmla="*/ 194 h 601"/>
                <a:gd name="T12" fmla="*/ 174 w 532"/>
                <a:gd name="T13" fmla="*/ 218 h 601"/>
                <a:gd name="T14" fmla="*/ 181 w 532"/>
                <a:gd name="T15" fmla="*/ 286 h 601"/>
                <a:gd name="T16" fmla="*/ 10 w 532"/>
                <a:gd name="T17" fmla="*/ 286 h 601"/>
                <a:gd name="T18" fmla="*/ 0 w 532"/>
                <a:gd name="T19" fmla="*/ 301 h 601"/>
                <a:gd name="T20" fmla="*/ 22 w 532"/>
                <a:gd name="T21" fmla="*/ 321 h 601"/>
                <a:gd name="T22" fmla="*/ 33 w 532"/>
                <a:gd name="T23" fmla="*/ 343 h 601"/>
                <a:gd name="T24" fmla="*/ 28 w 532"/>
                <a:gd name="T25" fmla="*/ 367 h 601"/>
                <a:gd name="T26" fmla="*/ 33 w 532"/>
                <a:gd name="T27" fmla="*/ 390 h 601"/>
                <a:gd name="T28" fmla="*/ 36 w 532"/>
                <a:gd name="T29" fmla="*/ 437 h 601"/>
                <a:gd name="T30" fmla="*/ 30 w 532"/>
                <a:gd name="T31" fmla="*/ 481 h 601"/>
                <a:gd name="T32" fmla="*/ 17 w 532"/>
                <a:gd name="T33" fmla="*/ 504 h 601"/>
                <a:gd name="T34" fmla="*/ 20 w 532"/>
                <a:gd name="T35" fmla="*/ 529 h 601"/>
                <a:gd name="T36" fmla="*/ 35 w 532"/>
                <a:gd name="T37" fmla="*/ 514 h 601"/>
                <a:gd name="T38" fmla="*/ 57 w 532"/>
                <a:gd name="T39" fmla="*/ 518 h 601"/>
                <a:gd name="T40" fmla="*/ 79 w 532"/>
                <a:gd name="T41" fmla="*/ 508 h 601"/>
                <a:gd name="T42" fmla="*/ 104 w 532"/>
                <a:gd name="T43" fmla="*/ 508 h 601"/>
                <a:gd name="T44" fmla="*/ 125 w 532"/>
                <a:gd name="T45" fmla="*/ 522 h 601"/>
                <a:gd name="T46" fmla="*/ 153 w 532"/>
                <a:gd name="T47" fmla="*/ 534 h 601"/>
                <a:gd name="T48" fmla="*/ 180 w 532"/>
                <a:gd name="T49" fmla="*/ 568 h 601"/>
                <a:gd name="T50" fmla="*/ 208 w 532"/>
                <a:gd name="T51" fmla="*/ 601 h 601"/>
                <a:gd name="T52" fmla="*/ 223 w 532"/>
                <a:gd name="T53" fmla="*/ 592 h 601"/>
                <a:gd name="T54" fmla="*/ 231 w 532"/>
                <a:gd name="T55" fmla="*/ 565 h 601"/>
                <a:gd name="T56" fmla="*/ 245 w 532"/>
                <a:gd name="T57" fmla="*/ 563 h 601"/>
                <a:gd name="T58" fmla="*/ 276 w 532"/>
                <a:gd name="T59" fmla="*/ 577 h 601"/>
                <a:gd name="T60" fmla="*/ 301 w 532"/>
                <a:gd name="T61" fmla="*/ 568 h 601"/>
                <a:gd name="T62" fmla="*/ 318 w 532"/>
                <a:gd name="T63" fmla="*/ 570 h 601"/>
                <a:gd name="T64" fmla="*/ 325 w 532"/>
                <a:gd name="T65" fmla="*/ 560 h 601"/>
                <a:gd name="T66" fmla="*/ 502 w 532"/>
                <a:gd name="T67" fmla="*/ 559 h 601"/>
                <a:gd name="T68" fmla="*/ 512 w 532"/>
                <a:gd name="T69" fmla="*/ 527 h 601"/>
                <a:gd name="T70" fmla="*/ 505 w 532"/>
                <a:gd name="T71" fmla="*/ 521 h 601"/>
                <a:gd name="T72" fmla="*/ 485 w 532"/>
                <a:gd name="T73" fmla="*/ 318 h 601"/>
                <a:gd name="T74" fmla="*/ 466 w 532"/>
                <a:gd name="T75" fmla="*/ 115 h 601"/>
                <a:gd name="T76" fmla="*/ 532 w 532"/>
                <a:gd name="T77" fmla="*/ 114 h 601"/>
                <a:gd name="T78" fmla="*/ 532 w 532"/>
                <a:gd name="T79" fmla="*/ 11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2" h="601">
                  <a:moveTo>
                    <a:pt x="532" y="114"/>
                  </a:moveTo>
                  <a:lnTo>
                    <a:pt x="371" y="0"/>
                  </a:lnTo>
                  <a:lnTo>
                    <a:pt x="370" y="72"/>
                  </a:lnTo>
                  <a:lnTo>
                    <a:pt x="227" y="69"/>
                  </a:lnTo>
                  <a:lnTo>
                    <a:pt x="226" y="190"/>
                  </a:lnTo>
                  <a:lnTo>
                    <a:pt x="185" y="194"/>
                  </a:lnTo>
                  <a:lnTo>
                    <a:pt x="174" y="218"/>
                  </a:lnTo>
                  <a:lnTo>
                    <a:pt x="181" y="286"/>
                  </a:lnTo>
                  <a:lnTo>
                    <a:pt x="10" y="286"/>
                  </a:lnTo>
                  <a:lnTo>
                    <a:pt x="0" y="301"/>
                  </a:lnTo>
                  <a:lnTo>
                    <a:pt x="22" y="321"/>
                  </a:lnTo>
                  <a:lnTo>
                    <a:pt x="33" y="343"/>
                  </a:lnTo>
                  <a:lnTo>
                    <a:pt x="28" y="367"/>
                  </a:lnTo>
                  <a:lnTo>
                    <a:pt x="33" y="390"/>
                  </a:lnTo>
                  <a:lnTo>
                    <a:pt x="36" y="437"/>
                  </a:lnTo>
                  <a:lnTo>
                    <a:pt x="30" y="481"/>
                  </a:lnTo>
                  <a:lnTo>
                    <a:pt x="17" y="504"/>
                  </a:lnTo>
                  <a:lnTo>
                    <a:pt x="20" y="529"/>
                  </a:lnTo>
                  <a:lnTo>
                    <a:pt x="35" y="514"/>
                  </a:lnTo>
                  <a:lnTo>
                    <a:pt x="57" y="518"/>
                  </a:lnTo>
                  <a:lnTo>
                    <a:pt x="79" y="508"/>
                  </a:lnTo>
                  <a:lnTo>
                    <a:pt x="104" y="508"/>
                  </a:lnTo>
                  <a:lnTo>
                    <a:pt x="125" y="522"/>
                  </a:lnTo>
                  <a:lnTo>
                    <a:pt x="153" y="534"/>
                  </a:lnTo>
                  <a:lnTo>
                    <a:pt x="180" y="568"/>
                  </a:lnTo>
                  <a:lnTo>
                    <a:pt x="208" y="601"/>
                  </a:lnTo>
                  <a:lnTo>
                    <a:pt x="223" y="592"/>
                  </a:lnTo>
                  <a:lnTo>
                    <a:pt x="231" y="565"/>
                  </a:lnTo>
                  <a:lnTo>
                    <a:pt x="245" y="563"/>
                  </a:lnTo>
                  <a:lnTo>
                    <a:pt x="276" y="577"/>
                  </a:lnTo>
                  <a:lnTo>
                    <a:pt x="301" y="568"/>
                  </a:lnTo>
                  <a:lnTo>
                    <a:pt x="318" y="570"/>
                  </a:lnTo>
                  <a:lnTo>
                    <a:pt x="325" y="560"/>
                  </a:lnTo>
                  <a:lnTo>
                    <a:pt x="502" y="559"/>
                  </a:lnTo>
                  <a:lnTo>
                    <a:pt x="512" y="527"/>
                  </a:lnTo>
                  <a:lnTo>
                    <a:pt x="505" y="521"/>
                  </a:lnTo>
                  <a:lnTo>
                    <a:pt x="485" y="318"/>
                  </a:lnTo>
                  <a:lnTo>
                    <a:pt x="466" y="115"/>
                  </a:lnTo>
                  <a:lnTo>
                    <a:pt x="532" y="114"/>
                  </a:lnTo>
                  <a:lnTo>
                    <a:pt x="532" y="11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2" name="Malawi">
              <a:extLst>
                <a:ext uri="{FF2B5EF4-FFF2-40B4-BE49-F238E27FC236}">
                  <a16:creationId xmlns:a16="http://schemas.microsoft.com/office/drawing/2014/main" id="{D5940468-0740-622F-ED05-29F100842149}"/>
                </a:ext>
              </a:extLst>
            </p:cNvPr>
            <p:cNvSpPr>
              <a:spLocks/>
            </p:cNvSpPr>
            <p:nvPr/>
          </p:nvSpPr>
          <p:spPr bwMode="auto">
            <a:xfrm>
              <a:off x="8387654" y="4252250"/>
              <a:ext cx="211138" cy="565150"/>
            </a:xfrm>
            <a:custGeom>
              <a:avLst/>
              <a:gdLst>
                <a:gd name="T0" fmla="*/ 82 w 133"/>
                <a:gd name="T1" fmla="*/ 227 h 356"/>
                <a:gd name="T2" fmla="*/ 83 w 133"/>
                <a:gd name="T3" fmla="*/ 209 h 356"/>
                <a:gd name="T4" fmla="*/ 73 w 133"/>
                <a:gd name="T5" fmla="*/ 196 h 356"/>
                <a:gd name="T6" fmla="*/ 74 w 133"/>
                <a:gd name="T7" fmla="*/ 175 h 356"/>
                <a:gd name="T8" fmla="*/ 62 w 133"/>
                <a:gd name="T9" fmla="*/ 140 h 356"/>
                <a:gd name="T10" fmla="*/ 76 w 133"/>
                <a:gd name="T11" fmla="*/ 114 h 356"/>
                <a:gd name="T12" fmla="*/ 75 w 133"/>
                <a:gd name="T13" fmla="*/ 57 h 356"/>
                <a:gd name="T14" fmla="*/ 61 w 133"/>
                <a:gd name="T15" fmla="*/ 27 h 356"/>
                <a:gd name="T16" fmla="*/ 62 w 133"/>
                <a:gd name="T17" fmla="*/ 22 h 356"/>
                <a:gd name="T18" fmla="*/ 62 w 133"/>
                <a:gd name="T19" fmla="*/ 22 h 356"/>
                <a:gd name="T20" fmla="*/ 53 w 133"/>
                <a:gd name="T21" fmla="*/ 9 h 356"/>
                <a:gd name="T22" fmla="*/ 10 w 133"/>
                <a:gd name="T23" fmla="*/ 0 h 356"/>
                <a:gd name="T24" fmla="*/ 30 w 133"/>
                <a:gd name="T25" fmla="*/ 21 h 356"/>
                <a:gd name="T26" fmla="*/ 41 w 133"/>
                <a:gd name="T27" fmla="*/ 61 h 356"/>
                <a:gd name="T28" fmla="*/ 32 w 133"/>
                <a:gd name="T29" fmla="*/ 74 h 356"/>
                <a:gd name="T30" fmla="*/ 23 w 133"/>
                <a:gd name="T31" fmla="*/ 112 h 356"/>
                <a:gd name="T32" fmla="*/ 30 w 133"/>
                <a:gd name="T33" fmla="*/ 151 h 356"/>
                <a:gd name="T34" fmla="*/ 16 w 133"/>
                <a:gd name="T35" fmla="*/ 168 h 356"/>
                <a:gd name="T36" fmla="*/ 0 w 133"/>
                <a:gd name="T37" fmla="*/ 211 h 356"/>
                <a:gd name="T38" fmla="*/ 23 w 133"/>
                <a:gd name="T39" fmla="*/ 223 h 356"/>
                <a:gd name="T40" fmla="*/ 48 w 133"/>
                <a:gd name="T41" fmla="*/ 246 h 356"/>
                <a:gd name="T42" fmla="*/ 60 w 133"/>
                <a:gd name="T43" fmla="*/ 241 h 356"/>
                <a:gd name="T44" fmla="*/ 77 w 133"/>
                <a:gd name="T45" fmla="*/ 253 h 356"/>
                <a:gd name="T46" fmla="*/ 79 w 133"/>
                <a:gd name="T47" fmla="*/ 272 h 356"/>
                <a:gd name="T48" fmla="*/ 69 w 133"/>
                <a:gd name="T49" fmla="*/ 294 h 356"/>
                <a:gd name="T50" fmla="*/ 71 w 133"/>
                <a:gd name="T51" fmla="*/ 327 h 356"/>
                <a:gd name="T52" fmla="*/ 98 w 133"/>
                <a:gd name="T53" fmla="*/ 356 h 356"/>
                <a:gd name="T54" fmla="*/ 113 w 133"/>
                <a:gd name="T55" fmla="*/ 324 h 356"/>
                <a:gd name="T56" fmla="*/ 133 w 133"/>
                <a:gd name="T57" fmla="*/ 314 h 356"/>
                <a:gd name="T58" fmla="*/ 131 w 133"/>
                <a:gd name="T59" fmla="*/ 253 h 356"/>
                <a:gd name="T60" fmla="*/ 114 w 133"/>
                <a:gd name="T61" fmla="*/ 219 h 356"/>
                <a:gd name="T62" fmla="*/ 99 w 133"/>
                <a:gd name="T63" fmla="*/ 204 h 356"/>
                <a:gd name="T64" fmla="*/ 96 w 133"/>
                <a:gd name="T65" fmla="*/ 204 h 356"/>
                <a:gd name="T66" fmla="*/ 97 w 133"/>
                <a:gd name="T67" fmla="*/ 211 h 356"/>
                <a:gd name="T68" fmla="*/ 105 w 133"/>
                <a:gd name="T69" fmla="*/ 212 h 356"/>
                <a:gd name="T70" fmla="*/ 114 w 133"/>
                <a:gd name="T71" fmla="*/ 237 h 356"/>
                <a:gd name="T72" fmla="*/ 112 w 133"/>
                <a:gd name="T73" fmla="*/ 243 h 356"/>
                <a:gd name="T74" fmla="*/ 97 w 133"/>
                <a:gd name="T75" fmla="*/ 225 h 356"/>
                <a:gd name="T76" fmla="*/ 89 w 133"/>
                <a:gd name="T77" fmla="*/ 236 h 356"/>
                <a:gd name="T78" fmla="*/ 82 w 133"/>
                <a:gd name="T79" fmla="*/ 227 h 356"/>
                <a:gd name="T80" fmla="*/ 82 w 133"/>
                <a:gd name="T81" fmla="*/ 22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356">
                  <a:moveTo>
                    <a:pt x="82" y="227"/>
                  </a:moveTo>
                  <a:lnTo>
                    <a:pt x="83" y="209"/>
                  </a:lnTo>
                  <a:lnTo>
                    <a:pt x="73" y="196"/>
                  </a:lnTo>
                  <a:lnTo>
                    <a:pt x="74" y="175"/>
                  </a:lnTo>
                  <a:lnTo>
                    <a:pt x="62" y="140"/>
                  </a:lnTo>
                  <a:lnTo>
                    <a:pt x="76" y="114"/>
                  </a:lnTo>
                  <a:lnTo>
                    <a:pt x="75" y="57"/>
                  </a:lnTo>
                  <a:lnTo>
                    <a:pt x="61" y="27"/>
                  </a:lnTo>
                  <a:lnTo>
                    <a:pt x="62" y="22"/>
                  </a:lnTo>
                  <a:lnTo>
                    <a:pt x="62" y="22"/>
                  </a:lnTo>
                  <a:lnTo>
                    <a:pt x="53" y="9"/>
                  </a:lnTo>
                  <a:lnTo>
                    <a:pt x="10" y="0"/>
                  </a:lnTo>
                  <a:lnTo>
                    <a:pt x="30" y="21"/>
                  </a:lnTo>
                  <a:lnTo>
                    <a:pt x="41" y="61"/>
                  </a:lnTo>
                  <a:lnTo>
                    <a:pt x="32" y="74"/>
                  </a:lnTo>
                  <a:lnTo>
                    <a:pt x="23" y="112"/>
                  </a:lnTo>
                  <a:lnTo>
                    <a:pt x="30" y="151"/>
                  </a:lnTo>
                  <a:lnTo>
                    <a:pt x="16" y="168"/>
                  </a:lnTo>
                  <a:lnTo>
                    <a:pt x="0" y="211"/>
                  </a:lnTo>
                  <a:lnTo>
                    <a:pt x="23" y="223"/>
                  </a:lnTo>
                  <a:lnTo>
                    <a:pt x="48" y="246"/>
                  </a:lnTo>
                  <a:lnTo>
                    <a:pt x="60" y="241"/>
                  </a:lnTo>
                  <a:lnTo>
                    <a:pt x="77" y="253"/>
                  </a:lnTo>
                  <a:lnTo>
                    <a:pt x="79" y="272"/>
                  </a:lnTo>
                  <a:lnTo>
                    <a:pt x="69" y="294"/>
                  </a:lnTo>
                  <a:lnTo>
                    <a:pt x="71" y="327"/>
                  </a:lnTo>
                  <a:lnTo>
                    <a:pt x="98" y="356"/>
                  </a:lnTo>
                  <a:lnTo>
                    <a:pt x="113" y="324"/>
                  </a:lnTo>
                  <a:lnTo>
                    <a:pt x="133" y="314"/>
                  </a:lnTo>
                  <a:lnTo>
                    <a:pt x="131" y="253"/>
                  </a:lnTo>
                  <a:lnTo>
                    <a:pt x="114" y="219"/>
                  </a:lnTo>
                  <a:lnTo>
                    <a:pt x="99" y="204"/>
                  </a:lnTo>
                  <a:lnTo>
                    <a:pt x="96" y="204"/>
                  </a:lnTo>
                  <a:lnTo>
                    <a:pt x="97" y="211"/>
                  </a:lnTo>
                  <a:lnTo>
                    <a:pt x="105" y="212"/>
                  </a:lnTo>
                  <a:lnTo>
                    <a:pt x="114" y="237"/>
                  </a:lnTo>
                  <a:lnTo>
                    <a:pt x="112" y="243"/>
                  </a:lnTo>
                  <a:lnTo>
                    <a:pt x="97" y="225"/>
                  </a:lnTo>
                  <a:lnTo>
                    <a:pt x="89" y="236"/>
                  </a:lnTo>
                  <a:lnTo>
                    <a:pt x="82" y="227"/>
                  </a:lnTo>
                  <a:lnTo>
                    <a:pt x="82" y="2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3" name="Namibia">
              <a:extLst>
                <a:ext uri="{FF2B5EF4-FFF2-40B4-BE49-F238E27FC236}">
                  <a16:creationId xmlns:a16="http://schemas.microsoft.com/office/drawing/2014/main" id="{1A995781-8FF1-316A-751B-1567F2486D6A}"/>
                </a:ext>
              </a:extLst>
            </p:cNvPr>
            <p:cNvSpPr>
              <a:spLocks/>
            </p:cNvSpPr>
            <p:nvPr/>
          </p:nvSpPr>
          <p:spPr bwMode="auto">
            <a:xfrm>
              <a:off x="6911279" y="4828512"/>
              <a:ext cx="933450" cy="903288"/>
            </a:xfrm>
            <a:custGeom>
              <a:avLst/>
              <a:gdLst>
                <a:gd name="T0" fmla="*/ 506 w 588"/>
                <a:gd name="T1" fmla="*/ 27 h 569"/>
                <a:gd name="T2" fmla="*/ 423 w 588"/>
                <a:gd name="T3" fmla="*/ 46 h 569"/>
                <a:gd name="T4" fmla="*/ 318 w 588"/>
                <a:gd name="T5" fmla="*/ 40 h 569"/>
                <a:gd name="T6" fmla="*/ 287 w 588"/>
                <a:gd name="T7" fmla="*/ 17 h 569"/>
                <a:gd name="T8" fmla="*/ 109 w 588"/>
                <a:gd name="T9" fmla="*/ 19 h 569"/>
                <a:gd name="T10" fmla="*/ 102 w 588"/>
                <a:gd name="T11" fmla="*/ 23 h 569"/>
                <a:gd name="T12" fmla="*/ 76 w 588"/>
                <a:gd name="T13" fmla="*/ 1 h 569"/>
                <a:gd name="T14" fmla="*/ 48 w 588"/>
                <a:gd name="T15" fmla="*/ 0 h 569"/>
                <a:gd name="T16" fmla="*/ 22 w 588"/>
                <a:gd name="T17" fmla="*/ 7 h 569"/>
                <a:gd name="T18" fmla="*/ 0 w 588"/>
                <a:gd name="T19" fmla="*/ 17 h 569"/>
                <a:gd name="T20" fmla="*/ 2 w 588"/>
                <a:gd name="T21" fmla="*/ 52 h 569"/>
                <a:gd name="T22" fmla="*/ 37 w 588"/>
                <a:gd name="T23" fmla="*/ 98 h 569"/>
                <a:gd name="T24" fmla="*/ 46 w 588"/>
                <a:gd name="T25" fmla="*/ 128 h 569"/>
                <a:gd name="T26" fmla="*/ 68 w 588"/>
                <a:gd name="T27" fmla="*/ 184 h 569"/>
                <a:gd name="T28" fmla="*/ 89 w 588"/>
                <a:gd name="T29" fmla="*/ 223 h 569"/>
                <a:gd name="T30" fmla="*/ 107 w 588"/>
                <a:gd name="T31" fmla="*/ 243 h 569"/>
                <a:gd name="T32" fmla="*/ 111 w 588"/>
                <a:gd name="T33" fmla="*/ 268 h 569"/>
                <a:gd name="T34" fmla="*/ 111 w 588"/>
                <a:gd name="T35" fmla="*/ 324 h 569"/>
                <a:gd name="T36" fmla="*/ 123 w 588"/>
                <a:gd name="T37" fmla="*/ 396 h 569"/>
                <a:gd name="T38" fmla="*/ 133 w 588"/>
                <a:gd name="T39" fmla="*/ 431 h 569"/>
                <a:gd name="T40" fmla="*/ 140 w 588"/>
                <a:gd name="T41" fmla="*/ 476 h 569"/>
                <a:gd name="T42" fmla="*/ 157 w 588"/>
                <a:gd name="T43" fmla="*/ 511 h 569"/>
                <a:gd name="T44" fmla="*/ 187 w 588"/>
                <a:gd name="T45" fmla="*/ 547 h 569"/>
                <a:gd name="T46" fmla="*/ 209 w 588"/>
                <a:gd name="T47" fmla="*/ 524 h 569"/>
                <a:gd name="T48" fmla="*/ 225 w 588"/>
                <a:gd name="T49" fmla="*/ 535 h 569"/>
                <a:gd name="T50" fmla="*/ 232 w 588"/>
                <a:gd name="T51" fmla="*/ 556 h 569"/>
                <a:gd name="T52" fmla="*/ 250 w 588"/>
                <a:gd name="T53" fmla="*/ 559 h 569"/>
                <a:gd name="T54" fmla="*/ 277 w 588"/>
                <a:gd name="T55" fmla="*/ 569 h 569"/>
                <a:gd name="T56" fmla="*/ 300 w 588"/>
                <a:gd name="T57" fmla="*/ 565 h 569"/>
                <a:gd name="T58" fmla="*/ 339 w 588"/>
                <a:gd name="T59" fmla="*/ 541 h 569"/>
                <a:gd name="T60" fmla="*/ 348 w 588"/>
                <a:gd name="T61" fmla="*/ 367 h 569"/>
                <a:gd name="T62" fmla="*/ 353 w 588"/>
                <a:gd name="T63" fmla="*/ 230 h 569"/>
                <a:gd name="T64" fmla="*/ 396 w 588"/>
                <a:gd name="T65" fmla="*/ 228 h 569"/>
                <a:gd name="T66" fmla="*/ 403 w 588"/>
                <a:gd name="T67" fmla="*/ 61 h 569"/>
                <a:gd name="T68" fmla="*/ 436 w 588"/>
                <a:gd name="T69" fmla="*/ 60 h 569"/>
                <a:gd name="T70" fmla="*/ 504 w 588"/>
                <a:gd name="T71" fmla="*/ 43 h 569"/>
                <a:gd name="T72" fmla="*/ 520 w 588"/>
                <a:gd name="T73" fmla="*/ 63 h 569"/>
                <a:gd name="T74" fmla="*/ 550 w 588"/>
                <a:gd name="T75" fmla="*/ 44 h 569"/>
                <a:gd name="T76" fmla="*/ 562 w 588"/>
                <a:gd name="T77" fmla="*/ 44 h 569"/>
                <a:gd name="T78" fmla="*/ 588 w 588"/>
                <a:gd name="T79" fmla="*/ 34 h 569"/>
                <a:gd name="T80" fmla="*/ 588 w 588"/>
                <a:gd name="T81" fmla="*/ 29 h 569"/>
                <a:gd name="T82" fmla="*/ 571 w 588"/>
                <a:gd name="T83" fmla="*/ 19 h 569"/>
                <a:gd name="T84" fmla="*/ 542 w 588"/>
                <a:gd name="T85" fmla="*/ 16 h 569"/>
                <a:gd name="T86" fmla="*/ 506 w 588"/>
                <a:gd name="T87" fmla="*/ 27 h 569"/>
                <a:gd name="T88" fmla="*/ 506 w 588"/>
                <a:gd name="T89" fmla="*/ 2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8" h="569">
                  <a:moveTo>
                    <a:pt x="506" y="27"/>
                  </a:moveTo>
                  <a:lnTo>
                    <a:pt x="423" y="46"/>
                  </a:lnTo>
                  <a:lnTo>
                    <a:pt x="318" y="40"/>
                  </a:lnTo>
                  <a:lnTo>
                    <a:pt x="287" y="17"/>
                  </a:lnTo>
                  <a:lnTo>
                    <a:pt x="109" y="19"/>
                  </a:lnTo>
                  <a:lnTo>
                    <a:pt x="102" y="23"/>
                  </a:lnTo>
                  <a:lnTo>
                    <a:pt x="76" y="1"/>
                  </a:lnTo>
                  <a:lnTo>
                    <a:pt x="48" y="0"/>
                  </a:lnTo>
                  <a:lnTo>
                    <a:pt x="22" y="7"/>
                  </a:lnTo>
                  <a:lnTo>
                    <a:pt x="0" y="17"/>
                  </a:lnTo>
                  <a:lnTo>
                    <a:pt x="2" y="52"/>
                  </a:lnTo>
                  <a:lnTo>
                    <a:pt x="37" y="98"/>
                  </a:lnTo>
                  <a:lnTo>
                    <a:pt x="46" y="128"/>
                  </a:lnTo>
                  <a:lnTo>
                    <a:pt x="68" y="184"/>
                  </a:lnTo>
                  <a:lnTo>
                    <a:pt x="89" y="223"/>
                  </a:lnTo>
                  <a:lnTo>
                    <a:pt x="107" y="243"/>
                  </a:lnTo>
                  <a:lnTo>
                    <a:pt x="111" y="268"/>
                  </a:lnTo>
                  <a:lnTo>
                    <a:pt x="111" y="324"/>
                  </a:lnTo>
                  <a:lnTo>
                    <a:pt x="123" y="396"/>
                  </a:lnTo>
                  <a:lnTo>
                    <a:pt x="133" y="431"/>
                  </a:lnTo>
                  <a:lnTo>
                    <a:pt x="140" y="476"/>
                  </a:lnTo>
                  <a:lnTo>
                    <a:pt x="157" y="511"/>
                  </a:lnTo>
                  <a:lnTo>
                    <a:pt x="187" y="547"/>
                  </a:lnTo>
                  <a:lnTo>
                    <a:pt x="209" y="524"/>
                  </a:lnTo>
                  <a:lnTo>
                    <a:pt x="225" y="535"/>
                  </a:lnTo>
                  <a:lnTo>
                    <a:pt x="232" y="556"/>
                  </a:lnTo>
                  <a:lnTo>
                    <a:pt x="250" y="559"/>
                  </a:lnTo>
                  <a:lnTo>
                    <a:pt x="277" y="569"/>
                  </a:lnTo>
                  <a:lnTo>
                    <a:pt x="300" y="565"/>
                  </a:lnTo>
                  <a:lnTo>
                    <a:pt x="339" y="541"/>
                  </a:lnTo>
                  <a:lnTo>
                    <a:pt x="348" y="367"/>
                  </a:lnTo>
                  <a:lnTo>
                    <a:pt x="353" y="230"/>
                  </a:lnTo>
                  <a:lnTo>
                    <a:pt x="396" y="228"/>
                  </a:lnTo>
                  <a:lnTo>
                    <a:pt x="403" y="61"/>
                  </a:lnTo>
                  <a:lnTo>
                    <a:pt x="436" y="60"/>
                  </a:lnTo>
                  <a:lnTo>
                    <a:pt x="504" y="43"/>
                  </a:lnTo>
                  <a:lnTo>
                    <a:pt x="520" y="63"/>
                  </a:lnTo>
                  <a:lnTo>
                    <a:pt x="550" y="44"/>
                  </a:lnTo>
                  <a:lnTo>
                    <a:pt x="562" y="44"/>
                  </a:lnTo>
                  <a:lnTo>
                    <a:pt x="588" y="34"/>
                  </a:lnTo>
                  <a:lnTo>
                    <a:pt x="588" y="29"/>
                  </a:lnTo>
                  <a:lnTo>
                    <a:pt x="571" y="19"/>
                  </a:lnTo>
                  <a:lnTo>
                    <a:pt x="542" y="16"/>
                  </a:lnTo>
                  <a:lnTo>
                    <a:pt x="506" y="27"/>
                  </a:lnTo>
                  <a:lnTo>
                    <a:pt x="50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4" name="Niger">
              <a:extLst>
                <a:ext uri="{FF2B5EF4-FFF2-40B4-BE49-F238E27FC236}">
                  <a16:creationId xmlns:a16="http://schemas.microsoft.com/office/drawing/2014/main" id="{27F2AE5A-7005-420E-A3DE-CC4CDBEBE4B7}"/>
                </a:ext>
              </a:extLst>
            </p:cNvPr>
            <p:cNvSpPr>
              <a:spLocks/>
            </p:cNvSpPr>
            <p:nvPr/>
          </p:nvSpPr>
          <p:spPr bwMode="auto">
            <a:xfrm>
              <a:off x="6112766" y="1813850"/>
              <a:ext cx="1085850" cy="881063"/>
            </a:xfrm>
            <a:custGeom>
              <a:avLst/>
              <a:gdLst>
                <a:gd name="T0" fmla="*/ 579 w 684"/>
                <a:gd name="T1" fmla="*/ 20 h 555"/>
                <a:gd name="T2" fmla="*/ 509 w 684"/>
                <a:gd name="T3" fmla="*/ 0 h 555"/>
                <a:gd name="T4" fmla="*/ 361 w 684"/>
                <a:gd name="T5" fmla="*/ 90 h 555"/>
                <a:gd name="T6" fmla="*/ 235 w 684"/>
                <a:gd name="T7" fmla="*/ 181 h 555"/>
                <a:gd name="T8" fmla="*/ 174 w 684"/>
                <a:gd name="T9" fmla="*/ 203 h 555"/>
                <a:gd name="T10" fmla="*/ 175 w 684"/>
                <a:gd name="T11" fmla="*/ 311 h 555"/>
                <a:gd name="T12" fmla="*/ 150 w 684"/>
                <a:gd name="T13" fmla="*/ 343 h 555"/>
                <a:gd name="T14" fmla="*/ 147 w 684"/>
                <a:gd name="T15" fmla="*/ 371 h 555"/>
                <a:gd name="T16" fmla="*/ 108 w 684"/>
                <a:gd name="T17" fmla="*/ 378 h 555"/>
                <a:gd name="T18" fmla="*/ 48 w 684"/>
                <a:gd name="T19" fmla="*/ 383 h 555"/>
                <a:gd name="T20" fmla="*/ 31 w 684"/>
                <a:gd name="T21" fmla="*/ 399 h 555"/>
                <a:gd name="T22" fmla="*/ 3 w 684"/>
                <a:gd name="T23" fmla="*/ 401 h 555"/>
                <a:gd name="T24" fmla="*/ 0 w 684"/>
                <a:gd name="T25" fmla="*/ 424 h 555"/>
                <a:gd name="T26" fmla="*/ 5 w 684"/>
                <a:gd name="T27" fmla="*/ 445 h 555"/>
                <a:gd name="T28" fmla="*/ 31 w 684"/>
                <a:gd name="T29" fmla="*/ 476 h 555"/>
                <a:gd name="T30" fmla="*/ 31 w 684"/>
                <a:gd name="T31" fmla="*/ 499 h 555"/>
                <a:gd name="T32" fmla="*/ 83 w 684"/>
                <a:gd name="T33" fmla="*/ 509 h 555"/>
                <a:gd name="T34" fmla="*/ 82 w 684"/>
                <a:gd name="T35" fmla="*/ 541 h 555"/>
                <a:gd name="T36" fmla="*/ 97 w 684"/>
                <a:gd name="T37" fmla="*/ 528 h 555"/>
                <a:gd name="T38" fmla="*/ 113 w 684"/>
                <a:gd name="T39" fmla="*/ 528 h 555"/>
                <a:gd name="T40" fmla="*/ 147 w 684"/>
                <a:gd name="T41" fmla="*/ 555 h 555"/>
                <a:gd name="T42" fmla="*/ 149 w 684"/>
                <a:gd name="T43" fmla="*/ 512 h 555"/>
                <a:gd name="T44" fmla="*/ 162 w 684"/>
                <a:gd name="T45" fmla="*/ 494 h 555"/>
                <a:gd name="T46" fmla="*/ 168 w 684"/>
                <a:gd name="T47" fmla="*/ 467 h 555"/>
                <a:gd name="T48" fmla="*/ 179 w 684"/>
                <a:gd name="T49" fmla="*/ 456 h 555"/>
                <a:gd name="T50" fmla="*/ 227 w 684"/>
                <a:gd name="T51" fmla="*/ 451 h 555"/>
                <a:gd name="T52" fmla="*/ 272 w 684"/>
                <a:gd name="T53" fmla="*/ 468 h 555"/>
                <a:gd name="T54" fmla="*/ 289 w 684"/>
                <a:gd name="T55" fmla="*/ 487 h 555"/>
                <a:gd name="T56" fmla="*/ 311 w 684"/>
                <a:gd name="T57" fmla="*/ 487 h 555"/>
                <a:gd name="T58" fmla="*/ 332 w 684"/>
                <a:gd name="T59" fmla="*/ 476 h 555"/>
                <a:gd name="T60" fmla="*/ 386 w 684"/>
                <a:gd name="T61" fmla="*/ 500 h 555"/>
                <a:gd name="T62" fmla="*/ 409 w 684"/>
                <a:gd name="T63" fmla="*/ 499 h 555"/>
                <a:gd name="T64" fmla="*/ 434 w 684"/>
                <a:gd name="T65" fmla="*/ 478 h 555"/>
                <a:gd name="T66" fmla="*/ 461 w 684"/>
                <a:gd name="T67" fmla="*/ 480 h 555"/>
                <a:gd name="T68" fmla="*/ 474 w 684"/>
                <a:gd name="T69" fmla="*/ 473 h 555"/>
                <a:gd name="T70" fmla="*/ 497 w 684"/>
                <a:gd name="T71" fmla="*/ 477 h 555"/>
                <a:gd name="T72" fmla="*/ 531 w 684"/>
                <a:gd name="T73" fmla="*/ 490 h 555"/>
                <a:gd name="T74" fmla="*/ 566 w 684"/>
                <a:gd name="T75" fmla="*/ 464 h 555"/>
                <a:gd name="T76" fmla="*/ 576 w 684"/>
                <a:gd name="T77" fmla="*/ 466 h 555"/>
                <a:gd name="T78" fmla="*/ 607 w 684"/>
                <a:gd name="T79" fmla="*/ 517 h 555"/>
                <a:gd name="T80" fmla="*/ 615 w 684"/>
                <a:gd name="T81" fmla="*/ 516 h 555"/>
                <a:gd name="T82" fmla="*/ 616 w 684"/>
                <a:gd name="T83" fmla="*/ 501 h 555"/>
                <a:gd name="T84" fmla="*/ 629 w 684"/>
                <a:gd name="T85" fmla="*/ 499 h 555"/>
                <a:gd name="T86" fmla="*/ 632 w 684"/>
                <a:gd name="T87" fmla="*/ 477 h 555"/>
                <a:gd name="T88" fmla="*/ 604 w 684"/>
                <a:gd name="T89" fmla="*/ 475 h 555"/>
                <a:gd name="T90" fmla="*/ 604 w 684"/>
                <a:gd name="T91" fmla="*/ 445 h 555"/>
                <a:gd name="T92" fmla="*/ 585 w 684"/>
                <a:gd name="T93" fmla="*/ 428 h 555"/>
                <a:gd name="T94" fmla="*/ 603 w 684"/>
                <a:gd name="T95" fmla="*/ 366 h 555"/>
                <a:gd name="T96" fmla="*/ 659 w 684"/>
                <a:gd name="T97" fmla="*/ 321 h 555"/>
                <a:gd name="T98" fmla="*/ 660 w 684"/>
                <a:gd name="T99" fmla="*/ 260 h 555"/>
                <a:gd name="T100" fmla="*/ 674 w 684"/>
                <a:gd name="T101" fmla="*/ 165 h 555"/>
                <a:gd name="T102" fmla="*/ 684 w 684"/>
                <a:gd name="T103" fmla="*/ 145 h 555"/>
                <a:gd name="T104" fmla="*/ 664 w 684"/>
                <a:gd name="T105" fmla="*/ 129 h 555"/>
                <a:gd name="T106" fmla="*/ 663 w 684"/>
                <a:gd name="T107" fmla="*/ 113 h 555"/>
                <a:gd name="T108" fmla="*/ 647 w 684"/>
                <a:gd name="T109" fmla="*/ 102 h 555"/>
                <a:gd name="T110" fmla="*/ 634 w 684"/>
                <a:gd name="T111" fmla="*/ 28 h 555"/>
                <a:gd name="T112" fmla="*/ 604 w 684"/>
                <a:gd name="T113" fmla="*/ 45 h 555"/>
                <a:gd name="T114" fmla="*/ 579 w 684"/>
                <a:gd name="T115" fmla="*/ 20 h 555"/>
                <a:gd name="T116" fmla="*/ 579 w 684"/>
                <a:gd name="T117" fmla="*/ 2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555">
                  <a:moveTo>
                    <a:pt x="579" y="20"/>
                  </a:moveTo>
                  <a:lnTo>
                    <a:pt x="509" y="0"/>
                  </a:lnTo>
                  <a:lnTo>
                    <a:pt x="361" y="90"/>
                  </a:lnTo>
                  <a:lnTo>
                    <a:pt x="235" y="181"/>
                  </a:lnTo>
                  <a:lnTo>
                    <a:pt x="174" y="203"/>
                  </a:lnTo>
                  <a:lnTo>
                    <a:pt x="175" y="311"/>
                  </a:lnTo>
                  <a:lnTo>
                    <a:pt x="150" y="343"/>
                  </a:lnTo>
                  <a:lnTo>
                    <a:pt x="147" y="371"/>
                  </a:lnTo>
                  <a:lnTo>
                    <a:pt x="108" y="378"/>
                  </a:lnTo>
                  <a:lnTo>
                    <a:pt x="48" y="383"/>
                  </a:lnTo>
                  <a:lnTo>
                    <a:pt x="31" y="399"/>
                  </a:lnTo>
                  <a:lnTo>
                    <a:pt x="3" y="401"/>
                  </a:lnTo>
                  <a:lnTo>
                    <a:pt x="0" y="424"/>
                  </a:lnTo>
                  <a:lnTo>
                    <a:pt x="5" y="445"/>
                  </a:lnTo>
                  <a:lnTo>
                    <a:pt x="31" y="476"/>
                  </a:lnTo>
                  <a:lnTo>
                    <a:pt x="31" y="499"/>
                  </a:lnTo>
                  <a:lnTo>
                    <a:pt x="83" y="509"/>
                  </a:lnTo>
                  <a:lnTo>
                    <a:pt x="82" y="541"/>
                  </a:lnTo>
                  <a:lnTo>
                    <a:pt x="97" y="528"/>
                  </a:lnTo>
                  <a:lnTo>
                    <a:pt x="113" y="528"/>
                  </a:lnTo>
                  <a:lnTo>
                    <a:pt x="147" y="555"/>
                  </a:lnTo>
                  <a:lnTo>
                    <a:pt x="149" y="512"/>
                  </a:lnTo>
                  <a:lnTo>
                    <a:pt x="162" y="494"/>
                  </a:lnTo>
                  <a:lnTo>
                    <a:pt x="168" y="467"/>
                  </a:lnTo>
                  <a:lnTo>
                    <a:pt x="179" y="456"/>
                  </a:lnTo>
                  <a:lnTo>
                    <a:pt x="227" y="451"/>
                  </a:lnTo>
                  <a:lnTo>
                    <a:pt x="272" y="468"/>
                  </a:lnTo>
                  <a:lnTo>
                    <a:pt x="289" y="487"/>
                  </a:lnTo>
                  <a:lnTo>
                    <a:pt x="311" y="487"/>
                  </a:lnTo>
                  <a:lnTo>
                    <a:pt x="332" y="476"/>
                  </a:lnTo>
                  <a:lnTo>
                    <a:pt x="386" y="500"/>
                  </a:lnTo>
                  <a:lnTo>
                    <a:pt x="409" y="499"/>
                  </a:lnTo>
                  <a:lnTo>
                    <a:pt x="434" y="478"/>
                  </a:lnTo>
                  <a:lnTo>
                    <a:pt x="461" y="480"/>
                  </a:lnTo>
                  <a:lnTo>
                    <a:pt x="474" y="473"/>
                  </a:lnTo>
                  <a:lnTo>
                    <a:pt x="497" y="477"/>
                  </a:lnTo>
                  <a:lnTo>
                    <a:pt x="531" y="490"/>
                  </a:lnTo>
                  <a:lnTo>
                    <a:pt x="566" y="464"/>
                  </a:lnTo>
                  <a:lnTo>
                    <a:pt x="576" y="466"/>
                  </a:lnTo>
                  <a:lnTo>
                    <a:pt x="607" y="517"/>
                  </a:lnTo>
                  <a:lnTo>
                    <a:pt x="615" y="516"/>
                  </a:lnTo>
                  <a:lnTo>
                    <a:pt x="616" y="501"/>
                  </a:lnTo>
                  <a:lnTo>
                    <a:pt x="629" y="499"/>
                  </a:lnTo>
                  <a:lnTo>
                    <a:pt x="632" y="477"/>
                  </a:lnTo>
                  <a:lnTo>
                    <a:pt x="604" y="475"/>
                  </a:lnTo>
                  <a:lnTo>
                    <a:pt x="604" y="445"/>
                  </a:lnTo>
                  <a:lnTo>
                    <a:pt x="585" y="428"/>
                  </a:lnTo>
                  <a:lnTo>
                    <a:pt x="603" y="366"/>
                  </a:lnTo>
                  <a:lnTo>
                    <a:pt x="659" y="321"/>
                  </a:lnTo>
                  <a:lnTo>
                    <a:pt x="660" y="260"/>
                  </a:lnTo>
                  <a:lnTo>
                    <a:pt x="674" y="165"/>
                  </a:lnTo>
                  <a:lnTo>
                    <a:pt x="684" y="145"/>
                  </a:lnTo>
                  <a:lnTo>
                    <a:pt x="664" y="129"/>
                  </a:lnTo>
                  <a:lnTo>
                    <a:pt x="663" y="113"/>
                  </a:lnTo>
                  <a:lnTo>
                    <a:pt x="647" y="102"/>
                  </a:lnTo>
                  <a:lnTo>
                    <a:pt x="634" y="28"/>
                  </a:lnTo>
                  <a:lnTo>
                    <a:pt x="604" y="45"/>
                  </a:lnTo>
                  <a:lnTo>
                    <a:pt x="579" y="20"/>
                  </a:lnTo>
                  <a:lnTo>
                    <a:pt x="579" y="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7" name="Nigeria">
              <a:extLst>
                <a:ext uri="{FF2B5EF4-FFF2-40B4-BE49-F238E27FC236}">
                  <a16:creationId xmlns:a16="http://schemas.microsoft.com/office/drawing/2014/main" id="{9BD5A5EE-F1EB-4CB1-967A-42BC1EDD8255}"/>
                </a:ext>
              </a:extLst>
            </p:cNvPr>
            <p:cNvSpPr>
              <a:spLocks/>
            </p:cNvSpPr>
            <p:nvPr/>
          </p:nvSpPr>
          <p:spPr bwMode="auto">
            <a:xfrm>
              <a:off x="6281041" y="2529812"/>
              <a:ext cx="835025" cy="717550"/>
            </a:xfrm>
            <a:custGeom>
              <a:avLst/>
              <a:gdLst>
                <a:gd name="T0" fmla="*/ 509 w 526"/>
                <a:gd name="T1" fmla="*/ 65 h 452"/>
                <a:gd name="T2" fmla="*/ 501 w 526"/>
                <a:gd name="T3" fmla="*/ 66 h 452"/>
                <a:gd name="T4" fmla="*/ 470 w 526"/>
                <a:gd name="T5" fmla="*/ 15 h 452"/>
                <a:gd name="T6" fmla="*/ 460 w 526"/>
                <a:gd name="T7" fmla="*/ 13 h 452"/>
                <a:gd name="T8" fmla="*/ 425 w 526"/>
                <a:gd name="T9" fmla="*/ 39 h 452"/>
                <a:gd name="T10" fmla="*/ 391 w 526"/>
                <a:gd name="T11" fmla="*/ 26 h 452"/>
                <a:gd name="T12" fmla="*/ 368 w 526"/>
                <a:gd name="T13" fmla="*/ 22 h 452"/>
                <a:gd name="T14" fmla="*/ 355 w 526"/>
                <a:gd name="T15" fmla="*/ 29 h 452"/>
                <a:gd name="T16" fmla="*/ 328 w 526"/>
                <a:gd name="T17" fmla="*/ 27 h 452"/>
                <a:gd name="T18" fmla="*/ 303 w 526"/>
                <a:gd name="T19" fmla="*/ 48 h 452"/>
                <a:gd name="T20" fmla="*/ 280 w 526"/>
                <a:gd name="T21" fmla="*/ 49 h 452"/>
                <a:gd name="T22" fmla="*/ 226 w 526"/>
                <a:gd name="T23" fmla="*/ 25 h 452"/>
                <a:gd name="T24" fmla="*/ 205 w 526"/>
                <a:gd name="T25" fmla="*/ 36 h 452"/>
                <a:gd name="T26" fmla="*/ 183 w 526"/>
                <a:gd name="T27" fmla="*/ 36 h 452"/>
                <a:gd name="T28" fmla="*/ 166 w 526"/>
                <a:gd name="T29" fmla="*/ 17 h 452"/>
                <a:gd name="T30" fmla="*/ 121 w 526"/>
                <a:gd name="T31" fmla="*/ 0 h 452"/>
                <a:gd name="T32" fmla="*/ 73 w 526"/>
                <a:gd name="T33" fmla="*/ 5 h 452"/>
                <a:gd name="T34" fmla="*/ 62 w 526"/>
                <a:gd name="T35" fmla="*/ 16 h 452"/>
                <a:gd name="T36" fmla="*/ 56 w 526"/>
                <a:gd name="T37" fmla="*/ 43 h 452"/>
                <a:gd name="T38" fmla="*/ 43 w 526"/>
                <a:gd name="T39" fmla="*/ 61 h 452"/>
                <a:gd name="T40" fmla="*/ 41 w 526"/>
                <a:gd name="T41" fmla="*/ 104 h 452"/>
                <a:gd name="T42" fmla="*/ 39 w 526"/>
                <a:gd name="T43" fmla="*/ 119 h 452"/>
                <a:gd name="T44" fmla="*/ 49 w 526"/>
                <a:gd name="T45" fmla="*/ 147 h 452"/>
                <a:gd name="T46" fmla="*/ 41 w 526"/>
                <a:gd name="T47" fmla="*/ 167 h 452"/>
                <a:gd name="T48" fmla="*/ 45 w 526"/>
                <a:gd name="T49" fmla="*/ 179 h 452"/>
                <a:gd name="T50" fmla="*/ 23 w 526"/>
                <a:gd name="T51" fmla="*/ 207 h 452"/>
                <a:gd name="T52" fmla="*/ 10 w 526"/>
                <a:gd name="T53" fmla="*/ 223 h 452"/>
                <a:gd name="T54" fmla="*/ 1 w 526"/>
                <a:gd name="T55" fmla="*/ 252 h 452"/>
                <a:gd name="T56" fmla="*/ 2 w 526"/>
                <a:gd name="T57" fmla="*/ 282 h 452"/>
                <a:gd name="T58" fmla="*/ 0 w 526"/>
                <a:gd name="T59" fmla="*/ 358 h 452"/>
                <a:gd name="T60" fmla="*/ 40 w 526"/>
                <a:gd name="T61" fmla="*/ 358 h 452"/>
                <a:gd name="T62" fmla="*/ 73 w 526"/>
                <a:gd name="T63" fmla="*/ 357 h 452"/>
                <a:gd name="T64" fmla="*/ 104 w 526"/>
                <a:gd name="T65" fmla="*/ 388 h 452"/>
                <a:gd name="T66" fmla="*/ 119 w 526"/>
                <a:gd name="T67" fmla="*/ 422 h 452"/>
                <a:gd name="T68" fmla="*/ 143 w 526"/>
                <a:gd name="T69" fmla="*/ 451 h 452"/>
                <a:gd name="T70" fmla="*/ 179 w 526"/>
                <a:gd name="T71" fmla="*/ 452 h 452"/>
                <a:gd name="T72" fmla="*/ 196 w 526"/>
                <a:gd name="T73" fmla="*/ 442 h 452"/>
                <a:gd name="T74" fmla="*/ 213 w 526"/>
                <a:gd name="T75" fmla="*/ 444 h 452"/>
                <a:gd name="T76" fmla="*/ 260 w 526"/>
                <a:gd name="T77" fmla="*/ 427 h 452"/>
                <a:gd name="T78" fmla="*/ 271 w 526"/>
                <a:gd name="T79" fmla="*/ 394 h 452"/>
                <a:gd name="T80" fmla="*/ 292 w 526"/>
                <a:gd name="T81" fmla="*/ 348 h 452"/>
                <a:gd name="T82" fmla="*/ 304 w 526"/>
                <a:gd name="T83" fmla="*/ 348 h 452"/>
                <a:gd name="T84" fmla="*/ 331 w 526"/>
                <a:gd name="T85" fmla="*/ 321 h 452"/>
                <a:gd name="T86" fmla="*/ 347 w 526"/>
                <a:gd name="T87" fmla="*/ 320 h 452"/>
                <a:gd name="T88" fmla="*/ 373 w 526"/>
                <a:gd name="T89" fmla="*/ 340 h 452"/>
                <a:gd name="T90" fmla="*/ 403 w 526"/>
                <a:gd name="T91" fmla="*/ 324 h 452"/>
                <a:gd name="T92" fmla="*/ 408 w 526"/>
                <a:gd name="T93" fmla="*/ 304 h 452"/>
                <a:gd name="T94" fmla="*/ 417 w 526"/>
                <a:gd name="T95" fmla="*/ 286 h 452"/>
                <a:gd name="T96" fmla="*/ 424 w 526"/>
                <a:gd name="T97" fmla="*/ 262 h 452"/>
                <a:gd name="T98" fmla="*/ 448 w 526"/>
                <a:gd name="T99" fmla="*/ 242 h 452"/>
                <a:gd name="T100" fmla="*/ 456 w 526"/>
                <a:gd name="T101" fmla="*/ 209 h 452"/>
                <a:gd name="T102" fmla="*/ 466 w 526"/>
                <a:gd name="T103" fmla="*/ 199 h 452"/>
                <a:gd name="T104" fmla="*/ 472 w 526"/>
                <a:gd name="T105" fmla="*/ 174 h 452"/>
                <a:gd name="T106" fmla="*/ 483 w 526"/>
                <a:gd name="T107" fmla="*/ 145 h 452"/>
                <a:gd name="T108" fmla="*/ 520 w 526"/>
                <a:gd name="T109" fmla="*/ 108 h 452"/>
                <a:gd name="T110" fmla="*/ 522 w 526"/>
                <a:gd name="T111" fmla="*/ 92 h 452"/>
                <a:gd name="T112" fmla="*/ 526 w 526"/>
                <a:gd name="T113" fmla="*/ 83 h 452"/>
                <a:gd name="T114" fmla="*/ 509 w 526"/>
                <a:gd name="T115" fmla="*/ 65 h 452"/>
                <a:gd name="T116" fmla="*/ 509 w 526"/>
                <a:gd name="T117" fmla="*/ 6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452">
                  <a:moveTo>
                    <a:pt x="509" y="65"/>
                  </a:moveTo>
                  <a:lnTo>
                    <a:pt x="501" y="66"/>
                  </a:lnTo>
                  <a:lnTo>
                    <a:pt x="470" y="15"/>
                  </a:lnTo>
                  <a:lnTo>
                    <a:pt x="460" y="13"/>
                  </a:lnTo>
                  <a:lnTo>
                    <a:pt x="425" y="39"/>
                  </a:lnTo>
                  <a:lnTo>
                    <a:pt x="391" y="26"/>
                  </a:lnTo>
                  <a:lnTo>
                    <a:pt x="368" y="22"/>
                  </a:lnTo>
                  <a:lnTo>
                    <a:pt x="355" y="29"/>
                  </a:lnTo>
                  <a:lnTo>
                    <a:pt x="328" y="27"/>
                  </a:lnTo>
                  <a:lnTo>
                    <a:pt x="303" y="48"/>
                  </a:lnTo>
                  <a:lnTo>
                    <a:pt x="280" y="49"/>
                  </a:lnTo>
                  <a:lnTo>
                    <a:pt x="226" y="25"/>
                  </a:lnTo>
                  <a:lnTo>
                    <a:pt x="205" y="36"/>
                  </a:lnTo>
                  <a:lnTo>
                    <a:pt x="183" y="36"/>
                  </a:lnTo>
                  <a:lnTo>
                    <a:pt x="166" y="17"/>
                  </a:lnTo>
                  <a:lnTo>
                    <a:pt x="121" y="0"/>
                  </a:lnTo>
                  <a:lnTo>
                    <a:pt x="73" y="5"/>
                  </a:lnTo>
                  <a:lnTo>
                    <a:pt x="62" y="16"/>
                  </a:lnTo>
                  <a:lnTo>
                    <a:pt x="56" y="43"/>
                  </a:lnTo>
                  <a:lnTo>
                    <a:pt x="43" y="61"/>
                  </a:lnTo>
                  <a:lnTo>
                    <a:pt x="41" y="104"/>
                  </a:lnTo>
                  <a:lnTo>
                    <a:pt x="39" y="119"/>
                  </a:lnTo>
                  <a:lnTo>
                    <a:pt x="49" y="147"/>
                  </a:lnTo>
                  <a:lnTo>
                    <a:pt x="41" y="167"/>
                  </a:lnTo>
                  <a:lnTo>
                    <a:pt x="45" y="179"/>
                  </a:lnTo>
                  <a:lnTo>
                    <a:pt x="23" y="207"/>
                  </a:lnTo>
                  <a:lnTo>
                    <a:pt x="10" y="223"/>
                  </a:lnTo>
                  <a:lnTo>
                    <a:pt x="1" y="252"/>
                  </a:lnTo>
                  <a:lnTo>
                    <a:pt x="2" y="282"/>
                  </a:lnTo>
                  <a:lnTo>
                    <a:pt x="0" y="358"/>
                  </a:lnTo>
                  <a:lnTo>
                    <a:pt x="40" y="358"/>
                  </a:lnTo>
                  <a:lnTo>
                    <a:pt x="73" y="357"/>
                  </a:lnTo>
                  <a:lnTo>
                    <a:pt x="104" y="388"/>
                  </a:lnTo>
                  <a:lnTo>
                    <a:pt x="119" y="422"/>
                  </a:lnTo>
                  <a:lnTo>
                    <a:pt x="143" y="451"/>
                  </a:lnTo>
                  <a:lnTo>
                    <a:pt x="179" y="452"/>
                  </a:lnTo>
                  <a:lnTo>
                    <a:pt x="196" y="442"/>
                  </a:lnTo>
                  <a:lnTo>
                    <a:pt x="213" y="444"/>
                  </a:lnTo>
                  <a:lnTo>
                    <a:pt x="260" y="427"/>
                  </a:lnTo>
                  <a:lnTo>
                    <a:pt x="271" y="394"/>
                  </a:lnTo>
                  <a:lnTo>
                    <a:pt x="292" y="348"/>
                  </a:lnTo>
                  <a:lnTo>
                    <a:pt x="304" y="348"/>
                  </a:lnTo>
                  <a:lnTo>
                    <a:pt x="331" y="321"/>
                  </a:lnTo>
                  <a:lnTo>
                    <a:pt x="347" y="320"/>
                  </a:lnTo>
                  <a:lnTo>
                    <a:pt x="373" y="340"/>
                  </a:lnTo>
                  <a:lnTo>
                    <a:pt x="403" y="324"/>
                  </a:lnTo>
                  <a:lnTo>
                    <a:pt x="408" y="304"/>
                  </a:lnTo>
                  <a:lnTo>
                    <a:pt x="417" y="286"/>
                  </a:lnTo>
                  <a:lnTo>
                    <a:pt x="424" y="262"/>
                  </a:lnTo>
                  <a:lnTo>
                    <a:pt x="448" y="242"/>
                  </a:lnTo>
                  <a:lnTo>
                    <a:pt x="456" y="209"/>
                  </a:lnTo>
                  <a:lnTo>
                    <a:pt x="466" y="199"/>
                  </a:lnTo>
                  <a:lnTo>
                    <a:pt x="472" y="174"/>
                  </a:lnTo>
                  <a:lnTo>
                    <a:pt x="483" y="145"/>
                  </a:lnTo>
                  <a:lnTo>
                    <a:pt x="520" y="108"/>
                  </a:lnTo>
                  <a:lnTo>
                    <a:pt x="522" y="92"/>
                  </a:lnTo>
                  <a:lnTo>
                    <a:pt x="526" y="83"/>
                  </a:lnTo>
                  <a:lnTo>
                    <a:pt x="509" y="65"/>
                  </a:lnTo>
                  <a:lnTo>
                    <a:pt x="509" y="6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8" name="Rwanda">
              <a:extLst>
                <a:ext uri="{FF2B5EF4-FFF2-40B4-BE49-F238E27FC236}">
                  <a16:creationId xmlns:a16="http://schemas.microsoft.com/office/drawing/2014/main" id="{BAC210EC-EE86-DD37-EA45-A6BA7EA4E1F1}"/>
                </a:ext>
              </a:extLst>
            </p:cNvPr>
            <p:cNvSpPr>
              <a:spLocks/>
            </p:cNvSpPr>
            <p:nvPr/>
          </p:nvSpPr>
          <p:spPr bwMode="auto">
            <a:xfrm>
              <a:off x="8147941" y="3649000"/>
              <a:ext cx="127000" cy="133350"/>
            </a:xfrm>
            <a:custGeom>
              <a:avLst/>
              <a:gdLst>
                <a:gd name="T0" fmla="*/ 63 w 80"/>
                <a:gd name="T1" fmla="*/ 0 h 84"/>
                <a:gd name="T2" fmla="*/ 35 w 80"/>
                <a:gd name="T3" fmla="*/ 14 h 84"/>
                <a:gd name="T4" fmla="*/ 24 w 80"/>
                <a:gd name="T5" fmla="*/ 10 h 84"/>
                <a:gd name="T6" fmla="*/ 12 w 80"/>
                <a:gd name="T7" fmla="*/ 23 h 84"/>
                <a:gd name="T8" fmla="*/ 10 w 80"/>
                <a:gd name="T9" fmla="*/ 51 h 84"/>
                <a:gd name="T10" fmla="*/ 4 w 80"/>
                <a:gd name="T11" fmla="*/ 54 h 84"/>
                <a:gd name="T12" fmla="*/ 0 w 80"/>
                <a:gd name="T13" fmla="*/ 80 h 84"/>
                <a:gd name="T14" fmla="*/ 26 w 80"/>
                <a:gd name="T15" fmla="*/ 84 h 84"/>
                <a:gd name="T16" fmla="*/ 41 w 80"/>
                <a:gd name="T17" fmla="*/ 57 h 84"/>
                <a:gd name="T18" fmla="*/ 65 w 80"/>
                <a:gd name="T19" fmla="*/ 60 h 84"/>
                <a:gd name="T20" fmla="*/ 65 w 80"/>
                <a:gd name="T21" fmla="*/ 60 h 84"/>
                <a:gd name="T22" fmla="*/ 77 w 80"/>
                <a:gd name="T23" fmla="*/ 54 h 84"/>
                <a:gd name="T24" fmla="*/ 80 w 80"/>
                <a:gd name="T25" fmla="*/ 26 h 84"/>
                <a:gd name="T26" fmla="*/ 63 w 80"/>
                <a:gd name="T27" fmla="*/ 0 h 84"/>
                <a:gd name="T28" fmla="*/ 63 w 80"/>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4">
                  <a:moveTo>
                    <a:pt x="63" y="0"/>
                  </a:moveTo>
                  <a:lnTo>
                    <a:pt x="35" y="14"/>
                  </a:lnTo>
                  <a:lnTo>
                    <a:pt x="24" y="10"/>
                  </a:lnTo>
                  <a:lnTo>
                    <a:pt x="12" y="23"/>
                  </a:lnTo>
                  <a:lnTo>
                    <a:pt x="10" y="51"/>
                  </a:lnTo>
                  <a:lnTo>
                    <a:pt x="4" y="54"/>
                  </a:lnTo>
                  <a:lnTo>
                    <a:pt x="0" y="80"/>
                  </a:lnTo>
                  <a:lnTo>
                    <a:pt x="26" y="84"/>
                  </a:lnTo>
                  <a:lnTo>
                    <a:pt x="41" y="57"/>
                  </a:lnTo>
                  <a:lnTo>
                    <a:pt x="65" y="60"/>
                  </a:lnTo>
                  <a:lnTo>
                    <a:pt x="65" y="60"/>
                  </a:lnTo>
                  <a:lnTo>
                    <a:pt x="77" y="54"/>
                  </a:lnTo>
                  <a:lnTo>
                    <a:pt x="80" y="26"/>
                  </a:lnTo>
                  <a:lnTo>
                    <a:pt x="63" y="0"/>
                  </a:lnTo>
                  <a:lnTo>
                    <a:pt x="63"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9" name="Western Sahara">
              <a:extLst>
                <a:ext uri="{FF2B5EF4-FFF2-40B4-BE49-F238E27FC236}">
                  <a16:creationId xmlns:a16="http://schemas.microsoft.com/office/drawing/2014/main" id="{E97DD66C-B82D-1D1A-DF08-6F9F5F84EC60}"/>
                </a:ext>
              </a:extLst>
            </p:cNvPr>
            <p:cNvSpPr>
              <a:spLocks/>
            </p:cNvSpPr>
            <p:nvPr/>
          </p:nvSpPr>
          <p:spPr bwMode="auto">
            <a:xfrm>
              <a:off x="4906266" y="1501111"/>
              <a:ext cx="590550" cy="496888"/>
            </a:xfrm>
            <a:custGeom>
              <a:avLst/>
              <a:gdLst>
                <a:gd name="T0" fmla="*/ 372 w 372"/>
                <a:gd name="T1" fmla="*/ 0 h 313"/>
                <a:gd name="T2" fmla="*/ 366 w 372"/>
                <a:gd name="T3" fmla="*/ 0 h 313"/>
                <a:gd name="T4" fmla="*/ 366 w 372"/>
                <a:gd name="T5" fmla="*/ 0 h 313"/>
                <a:gd name="T6" fmla="*/ 366 w 372"/>
                <a:gd name="T7" fmla="*/ 25 h 313"/>
                <a:gd name="T8" fmla="*/ 339 w 372"/>
                <a:gd name="T9" fmla="*/ 27 h 313"/>
                <a:gd name="T10" fmla="*/ 326 w 372"/>
                <a:gd name="T11" fmla="*/ 38 h 313"/>
                <a:gd name="T12" fmla="*/ 306 w 372"/>
                <a:gd name="T13" fmla="*/ 38 h 313"/>
                <a:gd name="T14" fmla="*/ 290 w 372"/>
                <a:gd name="T15" fmla="*/ 32 h 313"/>
                <a:gd name="T16" fmla="*/ 254 w 372"/>
                <a:gd name="T17" fmla="*/ 36 h 313"/>
                <a:gd name="T18" fmla="*/ 238 w 372"/>
                <a:gd name="T19" fmla="*/ 73 h 313"/>
                <a:gd name="T20" fmla="*/ 225 w 372"/>
                <a:gd name="T21" fmla="*/ 77 h 313"/>
                <a:gd name="T22" fmla="*/ 203 w 372"/>
                <a:gd name="T23" fmla="*/ 136 h 313"/>
                <a:gd name="T24" fmla="*/ 141 w 372"/>
                <a:gd name="T25" fmla="*/ 186 h 313"/>
                <a:gd name="T26" fmla="*/ 125 w 372"/>
                <a:gd name="T27" fmla="*/ 252 h 313"/>
                <a:gd name="T28" fmla="*/ 107 w 372"/>
                <a:gd name="T29" fmla="*/ 273 h 313"/>
                <a:gd name="T30" fmla="*/ 101 w 372"/>
                <a:gd name="T31" fmla="*/ 290 h 313"/>
                <a:gd name="T32" fmla="*/ 2 w 372"/>
                <a:gd name="T33" fmla="*/ 293 h 313"/>
                <a:gd name="T34" fmla="*/ 2 w 372"/>
                <a:gd name="T35" fmla="*/ 293 h 313"/>
                <a:gd name="T36" fmla="*/ 0 w 372"/>
                <a:gd name="T37" fmla="*/ 313 h 313"/>
                <a:gd name="T38" fmla="*/ 10 w 372"/>
                <a:gd name="T39" fmla="*/ 298 h 313"/>
                <a:gd name="T40" fmla="*/ 181 w 372"/>
                <a:gd name="T41" fmla="*/ 298 h 313"/>
                <a:gd name="T42" fmla="*/ 174 w 372"/>
                <a:gd name="T43" fmla="*/ 230 h 313"/>
                <a:gd name="T44" fmla="*/ 185 w 372"/>
                <a:gd name="T45" fmla="*/ 206 h 313"/>
                <a:gd name="T46" fmla="*/ 226 w 372"/>
                <a:gd name="T47" fmla="*/ 202 h 313"/>
                <a:gd name="T48" fmla="*/ 227 w 372"/>
                <a:gd name="T49" fmla="*/ 81 h 313"/>
                <a:gd name="T50" fmla="*/ 370 w 372"/>
                <a:gd name="T51" fmla="*/ 84 h 313"/>
                <a:gd name="T52" fmla="*/ 371 w 372"/>
                <a:gd name="T53" fmla="*/ 12 h 313"/>
                <a:gd name="T54" fmla="*/ 372 w 372"/>
                <a:gd name="T55" fmla="*/ 3 h 313"/>
                <a:gd name="T56" fmla="*/ 372 w 372"/>
                <a:gd name="T57" fmla="*/ 0 h 313"/>
                <a:gd name="T58" fmla="*/ 372 w 372"/>
                <a:gd name="T5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313">
                  <a:moveTo>
                    <a:pt x="372" y="0"/>
                  </a:moveTo>
                  <a:lnTo>
                    <a:pt x="366" y="0"/>
                  </a:lnTo>
                  <a:lnTo>
                    <a:pt x="366" y="0"/>
                  </a:lnTo>
                  <a:lnTo>
                    <a:pt x="366" y="25"/>
                  </a:lnTo>
                  <a:lnTo>
                    <a:pt x="339" y="27"/>
                  </a:lnTo>
                  <a:lnTo>
                    <a:pt x="326" y="38"/>
                  </a:lnTo>
                  <a:lnTo>
                    <a:pt x="306" y="38"/>
                  </a:lnTo>
                  <a:lnTo>
                    <a:pt x="290" y="32"/>
                  </a:lnTo>
                  <a:lnTo>
                    <a:pt x="254" y="36"/>
                  </a:lnTo>
                  <a:lnTo>
                    <a:pt x="238" y="73"/>
                  </a:lnTo>
                  <a:lnTo>
                    <a:pt x="225" y="77"/>
                  </a:lnTo>
                  <a:lnTo>
                    <a:pt x="203" y="136"/>
                  </a:lnTo>
                  <a:lnTo>
                    <a:pt x="141" y="186"/>
                  </a:lnTo>
                  <a:lnTo>
                    <a:pt x="125" y="252"/>
                  </a:lnTo>
                  <a:lnTo>
                    <a:pt x="107" y="273"/>
                  </a:lnTo>
                  <a:lnTo>
                    <a:pt x="101" y="290"/>
                  </a:lnTo>
                  <a:lnTo>
                    <a:pt x="2" y="293"/>
                  </a:lnTo>
                  <a:lnTo>
                    <a:pt x="2" y="293"/>
                  </a:lnTo>
                  <a:lnTo>
                    <a:pt x="0" y="313"/>
                  </a:lnTo>
                  <a:lnTo>
                    <a:pt x="10" y="298"/>
                  </a:lnTo>
                  <a:lnTo>
                    <a:pt x="181" y="298"/>
                  </a:lnTo>
                  <a:lnTo>
                    <a:pt x="174" y="230"/>
                  </a:lnTo>
                  <a:lnTo>
                    <a:pt x="185" y="206"/>
                  </a:lnTo>
                  <a:lnTo>
                    <a:pt x="226" y="202"/>
                  </a:lnTo>
                  <a:lnTo>
                    <a:pt x="227" y="81"/>
                  </a:lnTo>
                  <a:lnTo>
                    <a:pt x="370" y="84"/>
                  </a:lnTo>
                  <a:lnTo>
                    <a:pt x="371" y="12"/>
                  </a:lnTo>
                  <a:lnTo>
                    <a:pt x="372" y="3"/>
                  </a:lnTo>
                  <a:lnTo>
                    <a:pt x="372" y="0"/>
                  </a:lnTo>
                  <a:lnTo>
                    <a:pt x="372"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0" name="Sudan">
              <a:extLst>
                <a:ext uri="{FF2B5EF4-FFF2-40B4-BE49-F238E27FC236}">
                  <a16:creationId xmlns:a16="http://schemas.microsoft.com/office/drawing/2014/main" id="{9CB3EB4B-53E2-59D9-6AAB-C6D6DA2F9E0A}"/>
                </a:ext>
              </a:extLst>
            </p:cNvPr>
            <p:cNvSpPr>
              <a:spLocks/>
            </p:cNvSpPr>
            <p:nvPr/>
          </p:nvSpPr>
          <p:spPr bwMode="auto">
            <a:xfrm>
              <a:off x="7633591" y="1923387"/>
              <a:ext cx="1139825" cy="996950"/>
            </a:xfrm>
            <a:custGeom>
              <a:avLst/>
              <a:gdLst>
                <a:gd name="T0" fmla="*/ 652 w 718"/>
                <a:gd name="T1" fmla="*/ 237 h 628"/>
                <a:gd name="T2" fmla="*/ 697 w 718"/>
                <a:gd name="T3" fmla="*/ 215 h 628"/>
                <a:gd name="T4" fmla="*/ 694 w 718"/>
                <a:gd name="T5" fmla="*/ 171 h 628"/>
                <a:gd name="T6" fmla="*/ 656 w 718"/>
                <a:gd name="T7" fmla="*/ 103 h 628"/>
                <a:gd name="T8" fmla="*/ 656 w 718"/>
                <a:gd name="T9" fmla="*/ 46 h 628"/>
                <a:gd name="T10" fmla="*/ 466 w 718"/>
                <a:gd name="T11" fmla="*/ 0 h 628"/>
                <a:gd name="T12" fmla="*/ 121 w 718"/>
                <a:gd name="T13" fmla="*/ 0 h 628"/>
                <a:gd name="T14" fmla="*/ 74 w 718"/>
                <a:gd name="T15" fmla="*/ 94 h 628"/>
                <a:gd name="T16" fmla="*/ 84 w 718"/>
                <a:gd name="T17" fmla="*/ 300 h 628"/>
                <a:gd name="T18" fmla="*/ 26 w 718"/>
                <a:gd name="T19" fmla="*/ 331 h 628"/>
                <a:gd name="T20" fmla="*/ 24 w 718"/>
                <a:gd name="T21" fmla="*/ 371 h 628"/>
                <a:gd name="T22" fmla="*/ 16 w 718"/>
                <a:gd name="T23" fmla="*/ 405 h 628"/>
                <a:gd name="T24" fmla="*/ 0 w 718"/>
                <a:gd name="T25" fmla="*/ 442 h 628"/>
                <a:gd name="T26" fmla="*/ 26 w 718"/>
                <a:gd name="T27" fmla="*/ 458 h 628"/>
                <a:gd name="T28" fmla="*/ 43 w 718"/>
                <a:gd name="T29" fmla="*/ 499 h 628"/>
                <a:gd name="T30" fmla="*/ 49 w 718"/>
                <a:gd name="T31" fmla="*/ 530 h 628"/>
                <a:gd name="T32" fmla="*/ 75 w 718"/>
                <a:gd name="T33" fmla="*/ 579 h 628"/>
                <a:gd name="T34" fmla="*/ 72 w 718"/>
                <a:gd name="T35" fmla="*/ 613 h 628"/>
                <a:gd name="T36" fmla="*/ 91 w 718"/>
                <a:gd name="T37" fmla="*/ 628 h 628"/>
                <a:gd name="T38" fmla="*/ 120 w 718"/>
                <a:gd name="T39" fmla="*/ 615 h 628"/>
                <a:gd name="T40" fmla="*/ 142 w 718"/>
                <a:gd name="T41" fmla="*/ 551 h 628"/>
                <a:gd name="T42" fmla="*/ 182 w 718"/>
                <a:gd name="T43" fmla="*/ 557 h 628"/>
                <a:gd name="T44" fmla="*/ 218 w 718"/>
                <a:gd name="T45" fmla="*/ 589 h 628"/>
                <a:gd name="T46" fmla="*/ 265 w 718"/>
                <a:gd name="T47" fmla="*/ 583 h 628"/>
                <a:gd name="T48" fmla="*/ 316 w 718"/>
                <a:gd name="T49" fmla="*/ 592 h 628"/>
                <a:gd name="T50" fmla="*/ 340 w 718"/>
                <a:gd name="T51" fmla="*/ 573 h 628"/>
                <a:gd name="T52" fmla="*/ 361 w 718"/>
                <a:gd name="T53" fmla="*/ 550 h 628"/>
                <a:gd name="T54" fmla="*/ 421 w 718"/>
                <a:gd name="T55" fmla="*/ 572 h 628"/>
                <a:gd name="T56" fmla="*/ 467 w 718"/>
                <a:gd name="T57" fmla="*/ 513 h 628"/>
                <a:gd name="T58" fmla="*/ 451 w 718"/>
                <a:gd name="T59" fmla="*/ 471 h 628"/>
                <a:gd name="T60" fmla="*/ 480 w 718"/>
                <a:gd name="T61" fmla="*/ 459 h 628"/>
                <a:gd name="T62" fmla="*/ 496 w 718"/>
                <a:gd name="T63" fmla="*/ 496 h 628"/>
                <a:gd name="T64" fmla="*/ 526 w 718"/>
                <a:gd name="T65" fmla="*/ 549 h 628"/>
                <a:gd name="T66" fmla="*/ 532 w 718"/>
                <a:gd name="T67" fmla="*/ 588 h 628"/>
                <a:gd name="T68" fmla="*/ 538 w 718"/>
                <a:gd name="T69" fmla="*/ 583 h 628"/>
                <a:gd name="T70" fmla="*/ 570 w 718"/>
                <a:gd name="T71" fmla="*/ 522 h 628"/>
                <a:gd name="T72" fmla="*/ 592 w 718"/>
                <a:gd name="T73" fmla="*/ 465 h 628"/>
                <a:gd name="T74" fmla="*/ 634 w 718"/>
                <a:gd name="T75" fmla="*/ 397 h 628"/>
                <a:gd name="T76" fmla="*/ 634 w 718"/>
                <a:gd name="T77" fmla="*/ 337 h 628"/>
                <a:gd name="T78" fmla="*/ 650 w 718"/>
                <a:gd name="T79" fmla="*/ 2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8" h="628">
                  <a:moveTo>
                    <a:pt x="650" y="269"/>
                  </a:moveTo>
                  <a:lnTo>
                    <a:pt x="652" y="237"/>
                  </a:lnTo>
                  <a:lnTo>
                    <a:pt x="665" y="223"/>
                  </a:lnTo>
                  <a:lnTo>
                    <a:pt x="697" y="215"/>
                  </a:lnTo>
                  <a:lnTo>
                    <a:pt x="718" y="188"/>
                  </a:lnTo>
                  <a:lnTo>
                    <a:pt x="694" y="171"/>
                  </a:lnTo>
                  <a:lnTo>
                    <a:pt x="675" y="159"/>
                  </a:lnTo>
                  <a:lnTo>
                    <a:pt x="656" y="103"/>
                  </a:lnTo>
                  <a:lnTo>
                    <a:pt x="647" y="55"/>
                  </a:lnTo>
                  <a:lnTo>
                    <a:pt x="656" y="46"/>
                  </a:lnTo>
                  <a:lnTo>
                    <a:pt x="639" y="0"/>
                  </a:lnTo>
                  <a:lnTo>
                    <a:pt x="466" y="0"/>
                  </a:lnTo>
                  <a:lnTo>
                    <a:pt x="296" y="0"/>
                  </a:lnTo>
                  <a:lnTo>
                    <a:pt x="121" y="0"/>
                  </a:lnTo>
                  <a:lnTo>
                    <a:pt x="125" y="94"/>
                  </a:lnTo>
                  <a:lnTo>
                    <a:pt x="74" y="94"/>
                  </a:lnTo>
                  <a:lnTo>
                    <a:pt x="74" y="114"/>
                  </a:lnTo>
                  <a:lnTo>
                    <a:pt x="84" y="300"/>
                  </a:lnTo>
                  <a:lnTo>
                    <a:pt x="45" y="297"/>
                  </a:lnTo>
                  <a:lnTo>
                    <a:pt x="26" y="331"/>
                  </a:lnTo>
                  <a:lnTo>
                    <a:pt x="15" y="360"/>
                  </a:lnTo>
                  <a:lnTo>
                    <a:pt x="24" y="371"/>
                  </a:lnTo>
                  <a:lnTo>
                    <a:pt x="10" y="386"/>
                  </a:lnTo>
                  <a:lnTo>
                    <a:pt x="16" y="405"/>
                  </a:lnTo>
                  <a:lnTo>
                    <a:pt x="5" y="425"/>
                  </a:lnTo>
                  <a:lnTo>
                    <a:pt x="0" y="442"/>
                  </a:lnTo>
                  <a:lnTo>
                    <a:pt x="16" y="439"/>
                  </a:lnTo>
                  <a:lnTo>
                    <a:pt x="26" y="458"/>
                  </a:lnTo>
                  <a:lnTo>
                    <a:pt x="27" y="485"/>
                  </a:lnTo>
                  <a:lnTo>
                    <a:pt x="43" y="499"/>
                  </a:lnTo>
                  <a:lnTo>
                    <a:pt x="43" y="510"/>
                  </a:lnTo>
                  <a:lnTo>
                    <a:pt x="49" y="530"/>
                  </a:lnTo>
                  <a:lnTo>
                    <a:pt x="75" y="560"/>
                  </a:lnTo>
                  <a:lnTo>
                    <a:pt x="75" y="579"/>
                  </a:lnTo>
                  <a:lnTo>
                    <a:pt x="69" y="598"/>
                  </a:lnTo>
                  <a:lnTo>
                    <a:pt x="72" y="613"/>
                  </a:lnTo>
                  <a:lnTo>
                    <a:pt x="87" y="627"/>
                  </a:lnTo>
                  <a:lnTo>
                    <a:pt x="91" y="628"/>
                  </a:lnTo>
                  <a:lnTo>
                    <a:pt x="105" y="623"/>
                  </a:lnTo>
                  <a:lnTo>
                    <a:pt x="120" y="615"/>
                  </a:lnTo>
                  <a:lnTo>
                    <a:pt x="130" y="572"/>
                  </a:lnTo>
                  <a:lnTo>
                    <a:pt x="142" y="551"/>
                  </a:lnTo>
                  <a:lnTo>
                    <a:pt x="174" y="544"/>
                  </a:lnTo>
                  <a:lnTo>
                    <a:pt x="182" y="557"/>
                  </a:lnTo>
                  <a:lnTo>
                    <a:pt x="206" y="584"/>
                  </a:lnTo>
                  <a:lnTo>
                    <a:pt x="218" y="589"/>
                  </a:lnTo>
                  <a:lnTo>
                    <a:pt x="233" y="581"/>
                  </a:lnTo>
                  <a:lnTo>
                    <a:pt x="265" y="583"/>
                  </a:lnTo>
                  <a:lnTo>
                    <a:pt x="272" y="592"/>
                  </a:lnTo>
                  <a:lnTo>
                    <a:pt x="316" y="592"/>
                  </a:lnTo>
                  <a:lnTo>
                    <a:pt x="317" y="583"/>
                  </a:lnTo>
                  <a:lnTo>
                    <a:pt x="340" y="573"/>
                  </a:lnTo>
                  <a:lnTo>
                    <a:pt x="345" y="560"/>
                  </a:lnTo>
                  <a:lnTo>
                    <a:pt x="361" y="550"/>
                  </a:lnTo>
                  <a:lnTo>
                    <a:pt x="400" y="578"/>
                  </a:lnTo>
                  <a:lnTo>
                    <a:pt x="421" y="572"/>
                  </a:lnTo>
                  <a:lnTo>
                    <a:pt x="443" y="538"/>
                  </a:lnTo>
                  <a:lnTo>
                    <a:pt x="467" y="513"/>
                  </a:lnTo>
                  <a:lnTo>
                    <a:pt x="462" y="485"/>
                  </a:lnTo>
                  <a:lnTo>
                    <a:pt x="451" y="471"/>
                  </a:lnTo>
                  <a:lnTo>
                    <a:pt x="478" y="469"/>
                  </a:lnTo>
                  <a:lnTo>
                    <a:pt x="480" y="459"/>
                  </a:lnTo>
                  <a:lnTo>
                    <a:pt x="501" y="461"/>
                  </a:lnTo>
                  <a:lnTo>
                    <a:pt x="496" y="496"/>
                  </a:lnTo>
                  <a:lnTo>
                    <a:pt x="503" y="530"/>
                  </a:lnTo>
                  <a:lnTo>
                    <a:pt x="526" y="549"/>
                  </a:lnTo>
                  <a:lnTo>
                    <a:pt x="532" y="565"/>
                  </a:lnTo>
                  <a:lnTo>
                    <a:pt x="532" y="588"/>
                  </a:lnTo>
                  <a:lnTo>
                    <a:pt x="538" y="589"/>
                  </a:lnTo>
                  <a:lnTo>
                    <a:pt x="538" y="583"/>
                  </a:lnTo>
                  <a:lnTo>
                    <a:pt x="550" y="534"/>
                  </a:lnTo>
                  <a:lnTo>
                    <a:pt x="570" y="522"/>
                  </a:lnTo>
                  <a:lnTo>
                    <a:pt x="575" y="502"/>
                  </a:lnTo>
                  <a:lnTo>
                    <a:pt x="592" y="465"/>
                  </a:lnTo>
                  <a:lnTo>
                    <a:pt x="618" y="443"/>
                  </a:lnTo>
                  <a:lnTo>
                    <a:pt x="634" y="397"/>
                  </a:lnTo>
                  <a:lnTo>
                    <a:pt x="640" y="356"/>
                  </a:lnTo>
                  <a:lnTo>
                    <a:pt x="634" y="337"/>
                  </a:lnTo>
                  <a:lnTo>
                    <a:pt x="650" y="269"/>
                  </a:lnTo>
                  <a:lnTo>
                    <a:pt x="650" y="269"/>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1" name="South Sudan">
              <a:extLst>
                <a:ext uri="{FF2B5EF4-FFF2-40B4-BE49-F238E27FC236}">
                  <a16:creationId xmlns:a16="http://schemas.microsoft.com/office/drawing/2014/main" id="{AF4C09BC-278F-6895-BB90-3BDA5587F150}"/>
                </a:ext>
              </a:extLst>
            </p:cNvPr>
            <p:cNvSpPr>
              <a:spLocks/>
            </p:cNvSpPr>
            <p:nvPr/>
          </p:nvSpPr>
          <p:spPr bwMode="auto">
            <a:xfrm>
              <a:off x="7778054" y="2652050"/>
              <a:ext cx="809625" cy="650875"/>
            </a:xfrm>
            <a:custGeom>
              <a:avLst/>
              <a:gdLst>
                <a:gd name="T0" fmla="*/ 435 w 510"/>
                <a:gd name="T1" fmla="*/ 90 h 410"/>
                <a:gd name="T2" fmla="*/ 405 w 510"/>
                <a:gd name="T3" fmla="*/ 37 h 410"/>
                <a:gd name="T4" fmla="*/ 389 w 510"/>
                <a:gd name="T5" fmla="*/ 0 h 410"/>
                <a:gd name="T6" fmla="*/ 360 w 510"/>
                <a:gd name="T7" fmla="*/ 12 h 410"/>
                <a:gd name="T8" fmla="*/ 376 w 510"/>
                <a:gd name="T9" fmla="*/ 54 h 410"/>
                <a:gd name="T10" fmla="*/ 330 w 510"/>
                <a:gd name="T11" fmla="*/ 113 h 410"/>
                <a:gd name="T12" fmla="*/ 270 w 510"/>
                <a:gd name="T13" fmla="*/ 91 h 410"/>
                <a:gd name="T14" fmla="*/ 249 w 510"/>
                <a:gd name="T15" fmla="*/ 114 h 410"/>
                <a:gd name="T16" fmla="*/ 225 w 510"/>
                <a:gd name="T17" fmla="*/ 133 h 410"/>
                <a:gd name="T18" fmla="*/ 174 w 510"/>
                <a:gd name="T19" fmla="*/ 124 h 410"/>
                <a:gd name="T20" fmla="*/ 127 w 510"/>
                <a:gd name="T21" fmla="*/ 130 h 410"/>
                <a:gd name="T22" fmla="*/ 91 w 510"/>
                <a:gd name="T23" fmla="*/ 98 h 410"/>
                <a:gd name="T24" fmla="*/ 51 w 510"/>
                <a:gd name="T25" fmla="*/ 92 h 410"/>
                <a:gd name="T26" fmla="*/ 29 w 510"/>
                <a:gd name="T27" fmla="*/ 156 h 410"/>
                <a:gd name="T28" fmla="*/ 0 w 510"/>
                <a:gd name="T29" fmla="*/ 169 h 410"/>
                <a:gd name="T30" fmla="*/ 56 w 510"/>
                <a:gd name="T31" fmla="*/ 207 h 410"/>
                <a:gd name="T32" fmla="*/ 86 w 510"/>
                <a:gd name="T33" fmla="*/ 247 h 410"/>
                <a:gd name="T34" fmla="*/ 117 w 510"/>
                <a:gd name="T35" fmla="*/ 295 h 410"/>
                <a:gd name="T36" fmla="*/ 158 w 510"/>
                <a:gd name="T37" fmla="*/ 329 h 410"/>
                <a:gd name="T38" fmla="*/ 205 w 510"/>
                <a:gd name="T39" fmla="*/ 373 h 410"/>
                <a:gd name="T40" fmla="*/ 237 w 510"/>
                <a:gd name="T41" fmla="*/ 368 h 410"/>
                <a:gd name="T42" fmla="*/ 273 w 510"/>
                <a:gd name="T43" fmla="*/ 378 h 410"/>
                <a:gd name="T44" fmla="*/ 313 w 510"/>
                <a:gd name="T45" fmla="*/ 410 h 410"/>
                <a:gd name="T46" fmla="*/ 360 w 510"/>
                <a:gd name="T47" fmla="*/ 407 h 410"/>
                <a:gd name="T48" fmla="*/ 427 w 510"/>
                <a:gd name="T49" fmla="*/ 397 h 410"/>
                <a:gd name="T50" fmla="*/ 481 w 510"/>
                <a:gd name="T51" fmla="*/ 347 h 410"/>
                <a:gd name="T52" fmla="*/ 484 w 510"/>
                <a:gd name="T53" fmla="*/ 265 h 410"/>
                <a:gd name="T54" fmla="*/ 455 w 510"/>
                <a:gd name="T55" fmla="*/ 235 h 410"/>
                <a:gd name="T56" fmla="*/ 404 w 510"/>
                <a:gd name="T57" fmla="*/ 209 h 410"/>
                <a:gd name="T58" fmla="*/ 442 w 510"/>
                <a:gd name="T59" fmla="*/ 181 h 410"/>
                <a:gd name="T60" fmla="*/ 447 w 510"/>
                <a:gd name="T61" fmla="*/ 130 h 410"/>
                <a:gd name="T62" fmla="*/ 441 w 510"/>
                <a:gd name="T63" fmla="*/ 1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410">
                  <a:moveTo>
                    <a:pt x="441" y="106"/>
                  </a:moveTo>
                  <a:lnTo>
                    <a:pt x="435" y="90"/>
                  </a:lnTo>
                  <a:lnTo>
                    <a:pt x="412" y="71"/>
                  </a:lnTo>
                  <a:lnTo>
                    <a:pt x="405" y="37"/>
                  </a:lnTo>
                  <a:lnTo>
                    <a:pt x="410" y="2"/>
                  </a:lnTo>
                  <a:lnTo>
                    <a:pt x="389" y="0"/>
                  </a:lnTo>
                  <a:lnTo>
                    <a:pt x="387" y="10"/>
                  </a:lnTo>
                  <a:lnTo>
                    <a:pt x="360" y="12"/>
                  </a:lnTo>
                  <a:lnTo>
                    <a:pt x="371" y="26"/>
                  </a:lnTo>
                  <a:lnTo>
                    <a:pt x="376" y="54"/>
                  </a:lnTo>
                  <a:lnTo>
                    <a:pt x="352" y="79"/>
                  </a:lnTo>
                  <a:lnTo>
                    <a:pt x="330" y="113"/>
                  </a:lnTo>
                  <a:lnTo>
                    <a:pt x="309" y="119"/>
                  </a:lnTo>
                  <a:lnTo>
                    <a:pt x="270" y="91"/>
                  </a:lnTo>
                  <a:lnTo>
                    <a:pt x="254" y="101"/>
                  </a:lnTo>
                  <a:lnTo>
                    <a:pt x="249" y="114"/>
                  </a:lnTo>
                  <a:lnTo>
                    <a:pt x="226" y="124"/>
                  </a:lnTo>
                  <a:lnTo>
                    <a:pt x="225" y="133"/>
                  </a:lnTo>
                  <a:lnTo>
                    <a:pt x="181" y="133"/>
                  </a:lnTo>
                  <a:lnTo>
                    <a:pt x="174" y="124"/>
                  </a:lnTo>
                  <a:lnTo>
                    <a:pt x="142" y="122"/>
                  </a:lnTo>
                  <a:lnTo>
                    <a:pt x="127" y="130"/>
                  </a:lnTo>
                  <a:lnTo>
                    <a:pt x="115" y="125"/>
                  </a:lnTo>
                  <a:lnTo>
                    <a:pt x="91" y="98"/>
                  </a:lnTo>
                  <a:lnTo>
                    <a:pt x="83" y="85"/>
                  </a:lnTo>
                  <a:lnTo>
                    <a:pt x="51" y="92"/>
                  </a:lnTo>
                  <a:lnTo>
                    <a:pt x="39" y="113"/>
                  </a:lnTo>
                  <a:lnTo>
                    <a:pt x="29" y="156"/>
                  </a:lnTo>
                  <a:lnTo>
                    <a:pt x="14" y="164"/>
                  </a:lnTo>
                  <a:lnTo>
                    <a:pt x="0" y="169"/>
                  </a:lnTo>
                  <a:lnTo>
                    <a:pt x="31" y="188"/>
                  </a:lnTo>
                  <a:lnTo>
                    <a:pt x="56" y="207"/>
                  </a:lnTo>
                  <a:lnTo>
                    <a:pt x="56" y="222"/>
                  </a:lnTo>
                  <a:lnTo>
                    <a:pt x="86" y="247"/>
                  </a:lnTo>
                  <a:lnTo>
                    <a:pt x="105" y="267"/>
                  </a:lnTo>
                  <a:lnTo>
                    <a:pt x="117" y="295"/>
                  </a:lnTo>
                  <a:lnTo>
                    <a:pt x="151" y="314"/>
                  </a:lnTo>
                  <a:lnTo>
                    <a:pt x="158" y="329"/>
                  </a:lnTo>
                  <a:lnTo>
                    <a:pt x="185" y="367"/>
                  </a:lnTo>
                  <a:lnTo>
                    <a:pt x="205" y="373"/>
                  </a:lnTo>
                  <a:lnTo>
                    <a:pt x="217" y="366"/>
                  </a:lnTo>
                  <a:lnTo>
                    <a:pt x="237" y="368"/>
                  </a:lnTo>
                  <a:lnTo>
                    <a:pt x="263" y="359"/>
                  </a:lnTo>
                  <a:lnTo>
                    <a:pt x="273" y="378"/>
                  </a:lnTo>
                  <a:lnTo>
                    <a:pt x="313" y="410"/>
                  </a:lnTo>
                  <a:lnTo>
                    <a:pt x="313" y="410"/>
                  </a:lnTo>
                  <a:lnTo>
                    <a:pt x="331" y="397"/>
                  </a:lnTo>
                  <a:lnTo>
                    <a:pt x="360" y="407"/>
                  </a:lnTo>
                  <a:lnTo>
                    <a:pt x="395" y="396"/>
                  </a:lnTo>
                  <a:lnTo>
                    <a:pt x="427" y="397"/>
                  </a:lnTo>
                  <a:lnTo>
                    <a:pt x="454" y="375"/>
                  </a:lnTo>
                  <a:lnTo>
                    <a:pt x="481" y="347"/>
                  </a:lnTo>
                  <a:lnTo>
                    <a:pt x="510" y="316"/>
                  </a:lnTo>
                  <a:lnTo>
                    <a:pt x="484" y="265"/>
                  </a:lnTo>
                  <a:lnTo>
                    <a:pt x="463" y="254"/>
                  </a:lnTo>
                  <a:lnTo>
                    <a:pt x="455" y="235"/>
                  </a:lnTo>
                  <a:lnTo>
                    <a:pt x="432" y="212"/>
                  </a:lnTo>
                  <a:lnTo>
                    <a:pt x="404" y="209"/>
                  </a:lnTo>
                  <a:lnTo>
                    <a:pt x="419" y="182"/>
                  </a:lnTo>
                  <a:lnTo>
                    <a:pt x="442" y="181"/>
                  </a:lnTo>
                  <a:lnTo>
                    <a:pt x="449" y="167"/>
                  </a:lnTo>
                  <a:lnTo>
                    <a:pt x="447" y="130"/>
                  </a:lnTo>
                  <a:lnTo>
                    <a:pt x="441" y="129"/>
                  </a:lnTo>
                  <a:lnTo>
                    <a:pt x="441" y="106"/>
                  </a:lnTo>
                  <a:lnTo>
                    <a:pt x="441" y="106"/>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2" name="Senegal">
              <a:extLst>
                <a:ext uri="{FF2B5EF4-FFF2-40B4-BE49-F238E27FC236}">
                  <a16:creationId xmlns:a16="http://schemas.microsoft.com/office/drawing/2014/main" id="{234E9F15-BCEB-5A8C-3103-A951BC41A2DA}"/>
                </a:ext>
              </a:extLst>
            </p:cNvPr>
            <p:cNvSpPr>
              <a:spLocks/>
            </p:cNvSpPr>
            <p:nvPr/>
          </p:nvSpPr>
          <p:spPr bwMode="auto">
            <a:xfrm>
              <a:off x="4858807" y="2321525"/>
              <a:ext cx="430213" cy="317500"/>
            </a:xfrm>
            <a:custGeom>
              <a:avLst/>
              <a:gdLst>
                <a:gd name="T0" fmla="*/ 241 w 271"/>
                <a:gd name="T1" fmla="*/ 93 h 200"/>
                <a:gd name="T2" fmla="*/ 213 w 271"/>
                <a:gd name="T3" fmla="*/ 60 h 200"/>
                <a:gd name="T4" fmla="*/ 186 w 271"/>
                <a:gd name="T5" fmla="*/ 26 h 200"/>
                <a:gd name="T6" fmla="*/ 158 w 271"/>
                <a:gd name="T7" fmla="*/ 14 h 200"/>
                <a:gd name="T8" fmla="*/ 137 w 271"/>
                <a:gd name="T9" fmla="*/ 0 h 200"/>
                <a:gd name="T10" fmla="*/ 112 w 271"/>
                <a:gd name="T11" fmla="*/ 0 h 200"/>
                <a:gd name="T12" fmla="*/ 90 w 271"/>
                <a:gd name="T13" fmla="*/ 10 h 200"/>
                <a:gd name="T14" fmla="*/ 68 w 271"/>
                <a:gd name="T15" fmla="*/ 6 h 200"/>
                <a:gd name="T16" fmla="*/ 53 w 271"/>
                <a:gd name="T17" fmla="*/ 21 h 200"/>
                <a:gd name="T18" fmla="*/ 42 w 271"/>
                <a:gd name="T19" fmla="*/ 46 h 200"/>
                <a:gd name="T20" fmla="*/ 20 w 271"/>
                <a:gd name="T21" fmla="*/ 79 h 200"/>
                <a:gd name="T22" fmla="*/ 0 w 271"/>
                <a:gd name="T23" fmla="*/ 88 h 200"/>
                <a:gd name="T24" fmla="*/ 22 w 271"/>
                <a:gd name="T25" fmla="*/ 105 h 200"/>
                <a:gd name="T26" fmla="*/ 39 w 271"/>
                <a:gd name="T27" fmla="*/ 141 h 200"/>
                <a:gd name="T28" fmla="*/ 88 w 271"/>
                <a:gd name="T29" fmla="*/ 139 h 200"/>
                <a:gd name="T30" fmla="*/ 98 w 271"/>
                <a:gd name="T31" fmla="*/ 128 h 200"/>
                <a:gd name="T32" fmla="*/ 112 w 271"/>
                <a:gd name="T33" fmla="*/ 127 h 200"/>
                <a:gd name="T34" fmla="*/ 129 w 271"/>
                <a:gd name="T35" fmla="*/ 139 h 200"/>
                <a:gd name="T36" fmla="*/ 143 w 271"/>
                <a:gd name="T37" fmla="*/ 139 h 200"/>
                <a:gd name="T38" fmla="*/ 158 w 271"/>
                <a:gd name="T39" fmla="*/ 132 h 200"/>
                <a:gd name="T40" fmla="*/ 166 w 271"/>
                <a:gd name="T41" fmla="*/ 145 h 200"/>
                <a:gd name="T42" fmla="*/ 147 w 271"/>
                <a:gd name="T43" fmla="*/ 155 h 200"/>
                <a:gd name="T44" fmla="*/ 128 w 271"/>
                <a:gd name="T45" fmla="*/ 155 h 200"/>
                <a:gd name="T46" fmla="*/ 109 w 271"/>
                <a:gd name="T47" fmla="*/ 145 h 200"/>
                <a:gd name="T48" fmla="*/ 92 w 271"/>
                <a:gd name="T49" fmla="*/ 155 h 200"/>
                <a:gd name="T50" fmla="*/ 85 w 271"/>
                <a:gd name="T51" fmla="*/ 156 h 200"/>
                <a:gd name="T52" fmla="*/ 74 w 271"/>
                <a:gd name="T53" fmla="*/ 162 h 200"/>
                <a:gd name="T54" fmla="*/ 34 w 271"/>
                <a:gd name="T55" fmla="*/ 162 h 200"/>
                <a:gd name="T56" fmla="*/ 40 w 271"/>
                <a:gd name="T57" fmla="*/ 198 h 200"/>
                <a:gd name="T58" fmla="*/ 64 w 271"/>
                <a:gd name="T59" fmla="*/ 190 h 200"/>
                <a:gd name="T60" fmla="*/ 78 w 271"/>
                <a:gd name="T61" fmla="*/ 192 h 200"/>
                <a:gd name="T62" fmla="*/ 90 w 271"/>
                <a:gd name="T63" fmla="*/ 186 h 200"/>
                <a:gd name="T64" fmla="*/ 172 w 271"/>
                <a:gd name="T65" fmla="*/ 189 h 200"/>
                <a:gd name="T66" fmla="*/ 193 w 271"/>
                <a:gd name="T67" fmla="*/ 189 h 200"/>
                <a:gd name="T68" fmla="*/ 225 w 271"/>
                <a:gd name="T69" fmla="*/ 200 h 200"/>
                <a:gd name="T70" fmla="*/ 235 w 271"/>
                <a:gd name="T71" fmla="*/ 200 h 200"/>
                <a:gd name="T72" fmla="*/ 238 w 271"/>
                <a:gd name="T73" fmla="*/ 194 h 200"/>
                <a:gd name="T74" fmla="*/ 262 w 271"/>
                <a:gd name="T75" fmla="*/ 198 h 200"/>
                <a:gd name="T76" fmla="*/ 269 w 271"/>
                <a:gd name="T77" fmla="*/ 195 h 200"/>
                <a:gd name="T78" fmla="*/ 271 w 271"/>
                <a:gd name="T79" fmla="*/ 180 h 200"/>
                <a:gd name="T80" fmla="*/ 267 w 271"/>
                <a:gd name="T81" fmla="*/ 162 h 200"/>
                <a:gd name="T82" fmla="*/ 251 w 271"/>
                <a:gd name="T83" fmla="*/ 149 h 200"/>
                <a:gd name="T84" fmla="*/ 243 w 271"/>
                <a:gd name="T85" fmla="*/ 122 h 200"/>
                <a:gd name="T86" fmla="*/ 241 w 271"/>
                <a:gd name="T87" fmla="*/ 93 h 200"/>
                <a:gd name="T88" fmla="*/ 241 w 271"/>
                <a:gd name="T89"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200">
                  <a:moveTo>
                    <a:pt x="241" y="93"/>
                  </a:moveTo>
                  <a:lnTo>
                    <a:pt x="213" y="60"/>
                  </a:lnTo>
                  <a:lnTo>
                    <a:pt x="186" y="26"/>
                  </a:lnTo>
                  <a:lnTo>
                    <a:pt x="158" y="14"/>
                  </a:lnTo>
                  <a:lnTo>
                    <a:pt x="137" y="0"/>
                  </a:lnTo>
                  <a:lnTo>
                    <a:pt x="112" y="0"/>
                  </a:lnTo>
                  <a:lnTo>
                    <a:pt x="90" y="10"/>
                  </a:lnTo>
                  <a:lnTo>
                    <a:pt x="68" y="6"/>
                  </a:lnTo>
                  <a:lnTo>
                    <a:pt x="53" y="21"/>
                  </a:lnTo>
                  <a:lnTo>
                    <a:pt x="42" y="46"/>
                  </a:lnTo>
                  <a:lnTo>
                    <a:pt x="20" y="79"/>
                  </a:lnTo>
                  <a:lnTo>
                    <a:pt x="0" y="88"/>
                  </a:lnTo>
                  <a:lnTo>
                    <a:pt x="22" y="105"/>
                  </a:lnTo>
                  <a:lnTo>
                    <a:pt x="39" y="141"/>
                  </a:lnTo>
                  <a:lnTo>
                    <a:pt x="88" y="139"/>
                  </a:lnTo>
                  <a:lnTo>
                    <a:pt x="98" y="128"/>
                  </a:lnTo>
                  <a:lnTo>
                    <a:pt x="112" y="127"/>
                  </a:lnTo>
                  <a:lnTo>
                    <a:pt x="129" y="139"/>
                  </a:lnTo>
                  <a:lnTo>
                    <a:pt x="143" y="139"/>
                  </a:lnTo>
                  <a:lnTo>
                    <a:pt x="158" y="132"/>
                  </a:lnTo>
                  <a:lnTo>
                    <a:pt x="166" y="145"/>
                  </a:lnTo>
                  <a:lnTo>
                    <a:pt x="147" y="155"/>
                  </a:lnTo>
                  <a:lnTo>
                    <a:pt x="128" y="155"/>
                  </a:lnTo>
                  <a:lnTo>
                    <a:pt x="109" y="145"/>
                  </a:lnTo>
                  <a:lnTo>
                    <a:pt x="92" y="155"/>
                  </a:lnTo>
                  <a:lnTo>
                    <a:pt x="85" y="156"/>
                  </a:lnTo>
                  <a:lnTo>
                    <a:pt x="74" y="162"/>
                  </a:lnTo>
                  <a:lnTo>
                    <a:pt x="34" y="162"/>
                  </a:lnTo>
                  <a:lnTo>
                    <a:pt x="40" y="198"/>
                  </a:lnTo>
                  <a:lnTo>
                    <a:pt x="64" y="190"/>
                  </a:lnTo>
                  <a:lnTo>
                    <a:pt x="78" y="192"/>
                  </a:lnTo>
                  <a:lnTo>
                    <a:pt x="90" y="186"/>
                  </a:lnTo>
                  <a:lnTo>
                    <a:pt x="172" y="189"/>
                  </a:lnTo>
                  <a:lnTo>
                    <a:pt x="193" y="189"/>
                  </a:lnTo>
                  <a:lnTo>
                    <a:pt x="225" y="200"/>
                  </a:lnTo>
                  <a:lnTo>
                    <a:pt x="235" y="200"/>
                  </a:lnTo>
                  <a:lnTo>
                    <a:pt x="238" y="194"/>
                  </a:lnTo>
                  <a:lnTo>
                    <a:pt x="262" y="198"/>
                  </a:lnTo>
                  <a:lnTo>
                    <a:pt x="269" y="195"/>
                  </a:lnTo>
                  <a:lnTo>
                    <a:pt x="271" y="180"/>
                  </a:lnTo>
                  <a:lnTo>
                    <a:pt x="267" y="162"/>
                  </a:lnTo>
                  <a:lnTo>
                    <a:pt x="251" y="149"/>
                  </a:lnTo>
                  <a:lnTo>
                    <a:pt x="243" y="122"/>
                  </a:lnTo>
                  <a:lnTo>
                    <a:pt x="241" y="93"/>
                  </a:lnTo>
                  <a:lnTo>
                    <a:pt x="241" y="9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3" name="Sierra Leone">
              <a:extLst>
                <a:ext uri="{FF2B5EF4-FFF2-40B4-BE49-F238E27FC236}">
                  <a16:creationId xmlns:a16="http://schemas.microsoft.com/office/drawing/2014/main" id="{8BE7EF0F-CC91-A041-AC00-94BC89BA6D10}"/>
                </a:ext>
              </a:extLst>
            </p:cNvPr>
            <p:cNvSpPr>
              <a:spLocks/>
            </p:cNvSpPr>
            <p:nvPr/>
          </p:nvSpPr>
          <p:spPr bwMode="auto">
            <a:xfrm>
              <a:off x="5157091" y="2813975"/>
              <a:ext cx="211138" cy="244475"/>
            </a:xfrm>
            <a:custGeom>
              <a:avLst/>
              <a:gdLst>
                <a:gd name="T0" fmla="*/ 133 w 133"/>
                <a:gd name="T1" fmla="*/ 78 h 154"/>
                <a:gd name="T2" fmla="*/ 121 w 133"/>
                <a:gd name="T3" fmla="*/ 80 h 154"/>
                <a:gd name="T4" fmla="*/ 121 w 133"/>
                <a:gd name="T5" fmla="*/ 63 h 154"/>
                <a:gd name="T6" fmla="*/ 115 w 133"/>
                <a:gd name="T7" fmla="*/ 50 h 154"/>
                <a:gd name="T8" fmla="*/ 116 w 133"/>
                <a:gd name="T9" fmla="*/ 37 h 154"/>
                <a:gd name="T10" fmla="*/ 107 w 133"/>
                <a:gd name="T11" fmla="*/ 17 h 154"/>
                <a:gd name="T12" fmla="*/ 95 w 133"/>
                <a:gd name="T13" fmla="*/ 0 h 154"/>
                <a:gd name="T14" fmla="*/ 59 w 133"/>
                <a:gd name="T15" fmla="*/ 0 h 154"/>
                <a:gd name="T16" fmla="*/ 48 w 133"/>
                <a:gd name="T17" fmla="*/ 10 h 154"/>
                <a:gd name="T18" fmla="*/ 36 w 133"/>
                <a:gd name="T19" fmla="*/ 11 h 154"/>
                <a:gd name="T20" fmla="*/ 29 w 133"/>
                <a:gd name="T21" fmla="*/ 21 h 154"/>
                <a:gd name="T22" fmla="*/ 23 w 133"/>
                <a:gd name="T23" fmla="*/ 34 h 154"/>
                <a:gd name="T24" fmla="*/ 0 w 133"/>
                <a:gd name="T25" fmla="*/ 54 h 154"/>
                <a:gd name="T26" fmla="*/ 4 w 133"/>
                <a:gd name="T27" fmla="*/ 90 h 154"/>
                <a:gd name="T28" fmla="*/ 12 w 133"/>
                <a:gd name="T29" fmla="*/ 107 h 154"/>
                <a:gd name="T30" fmla="*/ 35 w 133"/>
                <a:gd name="T31" fmla="*/ 131 h 154"/>
                <a:gd name="T32" fmla="*/ 67 w 133"/>
                <a:gd name="T33" fmla="*/ 151 h 154"/>
                <a:gd name="T34" fmla="*/ 79 w 133"/>
                <a:gd name="T35" fmla="*/ 154 h 154"/>
                <a:gd name="T36" fmla="*/ 89 w 133"/>
                <a:gd name="T37" fmla="*/ 139 h 154"/>
                <a:gd name="T38" fmla="*/ 92 w 133"/>
                <a:gd name="T39" fmla="*/ 125 h 154"/>
                <a:gd name="T40" fmla="*/ 112 w 133"/>
                <a:gd name="T41" fmla="*/ 100 h 154"/>
                <a:gd name="T42" fmla="*/ 133 w 133"/>
                <a:gd name="T43" fmla="*/ 78 h 154"/>
                <a:gd name="T44" fmla="*/ 133 w 133"/>
                <a:gd name="T4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54">
                  <a:moveTo>
                    <a:pt x="133" y="78"/>
                  </a:moveTo>
                  <a:lnTo>
                    <a:pt x="121" y="80"/>
                  </a:lnTo>
                  <a:lnTo>
                    <a:pt x="121" y="63"/>
                  </a:lnTo>
                  <a:lnTo>
                    <a:pt x="115" y="50"/>
                  </a:lnTo>
                  <a:lnTo>
                    <a:pt x="116" y="37"/>
                  </a:lnTo>
                  <a:lnTo>
                    <a:pt x="107" y="17"/>
                  </a:lnTo>
                  <a:lnTo>
                    <a:pt x="95" y="0"/>
                  </a:lnTo>
                  <a:lnTo>
                    <a:pt x="59" y="0"/>
                  </a:lnTo>
                  <a:lnTo>
                    <a:pt x="48" y="10"/>
                  </a:lnTo>
                  <a:lnTo>
                    <a:pt x="36" y="11"/>
                  </a:lnTo>
                  <a:lnTo>
                    <a:pt x="29" y="21"/>
                  </a:lnTo>
                  <a:lnTo>
                    <a:pt x="23" y="34"/>
                  </a:lnTo>
                  <a:lnTo>
                    <a:pt x="0" y="54"/>
                  </a:lnTo>
                  <a:lnTo>
                    <a:pt x="4" y="90"/>
                  </a:lnTo>
                  <a:lnTo>
                    <a:pt x="12" y="107"/>
                  </a:lnTo>
                  <a:lnTo>
                    <a:pt x="35" y="131"/>
                  </a:lnTo>
                  <a:lnTo>
                    <a:pt x="67" y="151"/>
                  </a:lnTo>
                  <a:lnTo>
                    <a:pt x="79" y="154"/>
                  </a:lnTo>
                  <a:lnTo>
                    <a:pt x="89" y="139"/>
                  </a:lnTo>
                  <a:lnTo>
                    <a:pt x="92" y="125"/>
                  </a:lnTo>
                  <a:lnTo>
                    <a:pt x="112" y="100"/>
                  </a:lnTo>
                  <a:lnTo>
                    <a:pt x="133" y="78"/>
                  </a:lnTo>
                  <a:lnTo>
                    <a:pt x="133" y="7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4" name="Swaziland">
              <a:extLst>
                <a:ext uri="{FF2B5EF4-FFF2-40B4-BE49-F238E27FC236}">
                  <a16:creationId xmlns:a16="http://schemas.microsoft.com/office/drawing/2014/main" id="{BB405303-862D-6E71-8166-10357DE6751A}"/>
                </a:ext>
              </a:extLst>
            </p:cNvPr>
            <p:cNvSpPr>
              <a:spLocks/>
            </p:cNvSpPr>
            <p:nvPr/>
          </p:nvSpPr>
          <p:spPr bwMode="auto">
            <a:xfrm>
              <a:off x="8198741" y="5480079"/>
              <a:ext cx="95250" cy="120650"/>
            </a:xfrm>
            <a:custGeom>
              <a:avLst/>
              <a:gdLst>
                <a:gd name="T0" fmla="*/ 53 w 60"/>
                <a:gd name="T1" fmla="*/ 9 h 76"/>
                <a:gd name="T2" fmla="*/ 32 w 60"/>
                <a:gd name="T3" fmla="*/ 0 h 76"/>
                <a:gd name="T4" fmla="*/ 19 w 60"/>
                <a:gd name="T5" fmla="*/ 3 h 76"/>
                <a:gd name="T6" fmla="*/ 13 w 60"/>
                <a:gd name="T7" fmla="*/ 17 h 76"/>
                <a:gd name="T8" fmla="*/ 1 w 60"/>
                <a:gd name="T9" fmla="*/ 35 h 76"/>
                <a:gd name="T10" fmla="*/ 0 w 60"/>
                <a:gd name="T11" fmla="*/ 51 h 76"/>
                <a:gd name="T12" fmla="*/ 23 w 60"/>
                <a:gd name="T13" fmla="*/ 76 h 76"/>
                <a:gd name="T14" fmla="*/ 49 w 60"/>
                <a:gd name="T15" fmla="*/ 71 h 76"/>
                <a:gd name="T16" fmla="*/ 60 w 60"/>
                <a:gd name="T17" fmla="*/ 51 h 76"/>
                <a:gd name="T18" fmla="*/ 57 w 60"/>
                <a:gd name="T19" fmla="*/ 30 h 76"/>
                <a:gd name="T20" fmla="*/ 53 w 60"/>
                <a:gd name="T21" fmla="*/ 9 h 76"/>
                <a:gd name="T22" fmla="*/ 53 w 60"/>
                <a:gd name="T2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76">
                  <a:moveTo>
                    <a:pt x="53" y="9"/>
                  </a:moveTo>
                  <a:lnTo>
                    <a:pt x="32" y="0"/>
                  </a:lnTo>
                  <a:lnTo>
                    <a:pt x="19" y="3"/>
                  </a:lnTo>
                  <a:lnTo>
                    <a:pt x="13" y="17"/>
                  </a:lnTo>
                  <a:lnTo>
                    <a:pt x="1" y="35"/>
                  </a:lnTo>
                  <a:lnTo>
                    <a:pt x="0" y="51"/>
                  </a:lnTo>
                  <a:lnTo>
                    <a:pt x="23" y="76"/>
                  </a:lnTo>
                  <a:lnTo>
                    <a:pt x="49" y="71"/>
                  </a:lnTo>
                  <a:lnTo>
                    <a:pt x="60" y="51"/>
                  </a:lnTo>
                  <a:lnTo>
                    <a:pt x="57" y="30"/>
                  </a:lnTo>
                  <a:lnTo>
                    <a:pt x="53" y="9"/>
                  </a:lnTo>
                  <a:lnTo>
                    <a:pt x="53" y="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5" name="Chad">
              <a:extLst>
                <a:ext uri="{FF2B5EF4-FFF2-40B4-BE49-F238E27FC236}">
                  <a16:creationId xmlns:a16="http://schemas.microsoft.com/office/drawing/2014/main" id="{ABDB51C9-01B2-3C24-5059-33C908BEE895}"/>
                </a:ext>
              </a:extLst>
            </p:cNvPr>
            <p:cNvSpPr>
              <a:spLocks/>
            </p:cNvSpPr>
            <p:nvPr/>
          </p:nvSpPr>
          <p:spPr bwMode="auto">
            <a:xfrm>
              <a:off x="7041454" y="1818612"/>
              <a:ext cx="725488" cy="1192213"/>
            </a:xfrm>
            <a:custGeom>
              <a:avLst/>
              <a:gdLst>
                <a:gd name="T0" fmla="*/ 447 w 457"/>
                <a:gd name="T1" fmla="*/ 180 h 751"/>
                <a:gd name="T2" fmla="*/ 269 w 457"/>
                <a:gd name="T3" fmla="*/ 90 h 751"/>
                <a:gd name="T4" fmla="*/ 93 w 457"/>
                <a:gd name="T5" fmla="*/ 0 h 751"/>
                <a:gd name="T6" fmla="*/ 49 w 457"/>
                <a:gd name="T7" fmla="*/ 25 h 751"/>
                <a:gd name="T8" fmla="*/ 62 w 457"/>
                <a:gd name="T9" fmla="*/ 99 h 751"/>
                <a:gd name="T10" fmla="*/ 78 w 457"/>
                <a:gd name="T11" fmla="*/ 110 h 751"/>
                <a:gd name="T12" fmla="*/ 79 w 457"/>
                <a:gd name="T13" fmla="*/ 126 h 751"/>
                <a:gd name="T14" fmla="*/ 99 w 457"/>
                <a:gd name="T15" fmla="*/ 142 h 751"/>
                <a:gd name="T16" fmla="*/ 89 w 457"/>
                <a:gd name="T17" fmla="*/ 162 h 751"/>
                <a:gd name="T18" fmla="*/ 75 w 457"/>
                <a:gd name="T19" fmla="*/ 257 h 751"/>
                <a:gd name="T20" fmla="*/ 74 w 457"/>
                <a:gd name="T21" fmla="*/ 318 h 751"/>
                <a:gd name="T22" fmla="*/ 18 w 457"/>
                <a:gd name="T23" fmla="*/ 363 h 751"/>
                <a:gd name="T24" fmla="*/ 0 w 457"/>
                <a:gd name="T25" fmla="*/ 425 h 751"/>
                <a:gd name="T26" fmla="*/ 19 w 457"/>
                <a:gd name="T27" fmla="*/ 442 h 751"/>
                <a:gd name="T28" fmla="*/ 19 w 457"/>
                <a:gd name="T29" fmla="*/ 472 h 751"/>
                <a:gd name="T30" fmla="*/ 47 w 457"/>
                <a:gd name="T31" fmla="*/ 474 h 751"/>
                <a:gd name="T32" fmla="*/ 44 w 457"/>
                <a:gd name="T33" fmla="*/ 496 h 751"/>
                <a:gd name="T34" fmla="*/ 62 w 457"/>
                <a:gd name="T35" fmla="*/ 526 h 751"/>
                <a:gd name="T36" fmla="*/ 66 w 457"/>
                <a:gd name="T37" fmla="*/ 557 h 751"/>
                <a:gd name="T38" fmla="*/ 64 w 457"/>
                <a:gd name="T39" fmla="*/ 588 h 751"/>
                <a:gd name="T40" fmla="*/ 89 w 457"/>
                <a:gd name="T41" fmla="*/ 631 h 751"/>
                <a:gd name="T42" fmla="*/ 64 w 457"/>
                <a:gd name="T43" fmla="*/ 630 h 751"/>
                <a:gd name="T44" fmla="*/ 51 w 457"/>
                <a:gd name="T45" fmla="*/ 633 h 751"/>
                <a:gd name="T46" fmla="*/ 31 w 457"/>
                <a:gd name="T47" fmla="*/ 629 h 751"/>
                <a:gd name="T48" fmla="*/ 22 w 457"/>
                <a:gd name="T49" fmla="*/ 651 h 751"/>
                <a:gd name="T50" fmla="*/ 48 w 457"/>
                <a:gd name="T51" fmla="*/ 678 h 751"/>
                <a:gd name="T52" fmla="*/ 68 w 457"/>
                <a:gd name="T53" fmla="*/ 686 h 751"/>
                <a:gd name="T54" fmla="*/ 74 w 457"/>
                <a:gd name="T55" fmla="*/ 706 h 751"/>
                <a:gd name="T56" fmla="*/ 89 w 457"/>
                <a:gd name="T57" fmla="*/ 739 h 751"/>
                <a:gd name="T58" fmla="*/ 82 w 457"/>
                <a:gd name="T59" fmla="*/ 751 h 751"/>
                <a:gd name="T60" fmla="*/ 119 w 457"/>
                <a:gd name="T61" fmla="*/ 747 h 751"/>
                <a:gd name="T62" fmla="*/ 126 w 457"/>
                <a:gd name="T63" fmla="*/ 735 h 751"/>
                <a:gd name="T64" fmla="*/ 134 w 457"/>
                <a:gd name="T65" fmla="*/ 736 h 751"/>
                <a:gd name="T66" fmla="*/ 145 w 457"/>
                <a:gd name="T67" fmla="*/ 747 h 751"/>
                <a:gd name="T68" fmla="*/ 201 w 457"/>
                <a:gd name="T69" fmla="*/ 728 h 751"/>
                <a:gd name="T70" fmla="*/ 219 w 457"/>
                <a:gd name="T71" fmla="*/ 711 h 751"/>
                <a:gd name="T72" fmla="*/ 243 w 457"/>
                <a:gd name="T73" fmla="*/ 694 h 751"/>
                <a:gd name="T74" fmla="*/ 238 w 457"/>
                <a:gd name="T75" fmla="*/ 677 h 751"/>
                <a:gd name="T76" fmla="*/ 250 w 457"/>
                <a:gd name="T77" fmla="*/ 673 h 751"/>
                <a:gd name="T78" fmla="*/ 294 w 457"/>
                <a:gd name="T79" fmla="*/ 676 h 751"/>
                <a:gd name="T80" fmla="*/ 335 w 457"/>
                <a:gd name="T81" fmla="*/ 655 h 751"/>
                <a:gd name="T82" fmla="*/ 366 w 457"/>
                <a:gd name="T83" fmla="*/ 603 h 751"/>
                <a:gd name="T84" fmla="*/ 388 w 457"/>
                <a:gd name="T85" fmla="*/ 584 h 751"/>
                <a:gd name="T86" fmla="*/ 416 w 457"/>
                <a:gd name="T87" fmla="*/ 576 h 751"/>
                <a:gd name="T88" fmla="*/ 416 w 457"/>
                <a:gd name="T89" fmla="*/ 565 h 751"/>
                <a:gd name="T90" fmla="*/ 400 w 457"/>
                <a:gd name="T91" fmla="*/ 551 h 751"/>
                <a:gd name="T92" fmla="*/ 399 w 457"/>
                <a:gd name="T93" fmla="*/ 524 h 751"/>
                <a:gd name="T94" fmla="*/ 389 w 457"/>
                <a:gd name="T95" fmla="*/ 505 h 751"/>
                <a:gd name="T96" fmla="*/ 373 w 457"/>
                <a:gd name="T97" fmla="*/ 508 h 751"/>
                <a:gd name="T98" fmla="*/ 378 w 457"/>
                <a:gd name="T99" fmla="*/ 491 h 751"/>
                <a:gd name="T100" fmla="*/ 389 w 457"/>
                <a:gd name="T101" fmla="*/ 471 h 751"/>
                <a:gd name="T102" fmla="*/ 383 w 457"/>
                <a:gd name="T103" fmla="*/ 452 h 751"/>
                <a:gd name="T104" fmla="*/ 397 w 457"/>
                <a:gd name="T105" fmla="*/ 437 h 751"/>
                <a:gd name="T106" fmla="*/ 388 w 457"/>
                <a:gd name="T107" fmla="*/ 426 h 751"/>
                <a:gd name="T108" fmla="*/ 399 w 457"/>
                <a:gd name="T109" fmla="*/ 397 h 751"/>
                <a:gd name="T110" fmla="*/ 418 w 457"/>
                <a:gd name="T111" fmla="*/ 363 h 751"/>
                <a:gd name="T112" fmla="*/ 457 w 457"/>
                <a:gd name="T113" fmla="*/ 366 h 751"/>
                <a:gd name="T114" fmla="*/ 447 w 457"/>
                <a:gd name="T115" fmla="*/ 180 h 751"/>
                <a:gd name="T116" fmla="*/ 447 w 457"/>
                <a:gd name="T117" fmla="*/ 18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751">
                  <a:moveTo>
                    <a:pt x="447" y="180"/>
                  </a:moveTo>
                  <a:lnTo>
                    <a:pt x="269" y="90"/>
                  </a:lnTo>
                  <a:lnTo>
                    <a:pt x="93" y="0"/>
                  </a:lnTo>
                  <a:lnTo>
                    <a:pt x="49" y="25"/>
                  </a:lnTo>
                  <a:lnTo>
                    <a:pt x="62" y="99"/>
                  </a:lnTo>
                  <a:lnTo>
                    <a:pt x="78" y="110"/>
                  </a:lnTo>
                  <a:lnTo>
                    <a:pt x="79" y="126"/>
                  </a:lnTo>
                  <a:lnTo>
                    <a:pt x="99" y="142"/>
                  </a:lnTo>
                  <a:lnTo>
                    <a:pt x="89" y="162"/>
                  </a:lnTo>
                  <a:lnTo>
                    <a:pt x="75" y="257"/>
                  </a:lnTo>
                  <a:lnTo>
                    <a:pt x="74" y="318"/>
                  </a:lnTo>
                  <a:lnTo>
                    <a:pt x="18" y="363"/>
                  </a:lnTo>
                  <a:lnTo>
                    <a:pt x="0" y="425"/>
                  </a:lnTo>
                  <a:lnTo>
                    <a:pt x="19" y="442"/>
                  </a:lnTo>
                  <a:lnTo>
                    <a:pt x="19" y="472"/>
                  </a:lnTo>
                  <a:lnTo>
                    <a:pt x="47" y="474"/>
                  </a:lnTo>
                  <a:lnTo>
                    <a:pt x="44" y="496"/>
                  </a:lnTo>
                  <a:lnTo>
                    <a:pt x="62" y="526"/>
                  </a:lnTo>
                  <a:lnTo>
                    <a:pt x="66" y="557"/>
                  </a:lnTo>
                  <a:lnTo>
                    <a:pt x="64" y="588"/>
                  </a:lnTo>
                  <a:lnTo>
                    <a:pt x="89" y="631"/>
                  </a:lnTo>
                  <a:lnTo>
                    <a:pt x="64" y="630"/>
                  </a:lnTo>
                  <a:lnTo>
                    <a:pt x="51" y="633"/>
                  </a:lnTo>
                  <a:lnTo>
                    <a:pt x="31" y="629"/>
                  </a:lnTo>
                  <a:lnTo>
                    <a:pt x="22" y="651"/>
                  </a:lnTo>
                  <a:lnTo>
                    <a:pt x="48" y="678"/>
                  </a:lnTo>
                  <a:lnTo>
                    <a:pt x="68" y="686"/>
                  </a:lnTo>
                  <a:lnTo>
                    <a:pt x="74" y="706"/>
                  </a:lnTo>
                  <a:lnTo>
                    <a:pt x="89" y="739"/>
                  </a:lnTo>
                  <a:lnTo>
                    <a:pt x="82" y="751"/>
                  </a:lnTo>
                  <a:lnTo>
                    <a:pt x="119" y="747"/>
                  </a:lnTo>
                  <a:lnTo>
                    <a:pt x="126" y="735"/>
                  </a:lnTo>
                  <a:lnTo>
                    <a:pt x="134" y="736"/>
                  </a:lnTo>
                  <a:lnTo>
                    <a:pt x="145" y="747"/>
                  </a:lnTo>
                  <a:lnTo>
                    <a:pt x="201" y="728"/>
                  </a:lnTo>
                  <a:lnTo>
                    <a:pt x="219" y="711"/>
                  </a:lnTo>
                  <a:lnTo>
                    <a:pt x="243" y="694"/>
                  </a:lnTo>
                  <a:lnTo>
                    <a:pt x="238" y="677"/>
                  </a:lnTo>
                  <a:lnTo>
                    <a:pt x="250" y="673"/>
                  </a:lnTo>
                  <a:lnTo>
                    <a:pt x="294" y="676"/>
                  </a:lnTo>
                  <a:lnTo>
                    <a:pt x="335" y="655"/>
                  </a:lnTo>
                  <a:lnTo>
                    <a:pt x="366" y="603"/>
                  </a:lnTo>
                  <a:lnTo>
                    <a:pt x="388" y="584"/>
                  </a:lnTo>
                  <a:lnTo>
                    <a:pt x="416" y="576"/>
                  </a:lnTo>
                  <a:lnTo>
                    <a:pt x="416" y="565"/>
                  </a:lnTo>
                  <a:lnTo>
                    <a:pt x="400" y="551"/>
                  </a:lnTo>
                  <a:lnTo>
                    <a:pt x="399" y="524"/>
                  </a:lnTo>
                  <a:lnTo>
                    <a:pt x="389" y="505"/>
                  </a:lnTo>
                  <a:lnTo>
                    <a:pt x="373" y="508"/>
                  </a:lnTo>
                  <a:lnTo>
                    <a:pt x="378" y="491"/>
                  </a:lnTo>
                  <a:lnTo>
                    <a:pt x="389" y="471"/>
                  </a:lnTo>
                  <a:lnTo>
                    <a:pt x="383" y="452"/>
                  </a:lnTo>
                  <a:lnTo>
                    <a:pt x="397" y="437"/>
                  </a:lnTo>
                  <a:lnTo>
                    <a:pt x="388" y="426"/>
                  </a:lnTo>
                  <a:lnTo>
                    <a:pt x="399" y="397"/>
                  </a:lnTo>
                  <a:lnTo>
                    <a:pt x="418" y="363"/>
                  </a:lnTo>
                  <a:lnTo>
                    <a:pt x="457" y="366"/>
                  </a:lnTo>
                  <a:lnTo>
                    <a:pt x="447" y="180"/>
                  </a:lnTo>
                  <a:lnTo>
                    <a:pt x="447" y="18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6" name="Togo">
              <a:extLst>
                <a:ext uri="{FF2B5EF4-FFF2-40B4-BE49-F238E27FC236}">
                  <a16:creationId xmlns:a16="http://schemas.microsoft.com/office/drawing/2014/main" id="{5F3D1709-6887-C64D-F32A-D48C860D1C24}"/>
                </a:ext>
              </a:extLst>
            </p:cNvPr>
            <p:cNvSpPr>
              <a:spLocks/>
            </p:cNvSpPr>
            <p:nvPr/>
          </p:nvSpPr>
          <p:spPr bwMode="auto">
            <a:xfrm>
              <a:off x="6087366" y="2742537"/>
              <a:ext cx="136525" cy="379413"/>
            </a:xfrm>
            <a:custGeom>
              <a:avLst/>
              <a:gdLst>
                <a:gd name="T0" fmla="*/ 42 w 86"/>
                <a:gd name="T1" fmla="*/ 1 h 239"/>
                <a:gd name="T2" fmla="*/ 4 w 86"/>
                <a:gd name="T3" fmla="*/ 0 h 239"/>
                <a:gd name="T4" fmla="*/ 0 w 86"/>
                <a:gd name="T5" fmla="*/ 15 h 239"/>
                <a:gd name="T6" fmla="*/ 18 w 86"/>
                <a:gd name="T7" fmla="*/ 39 h 239"/>
                <a:gd name="T8" fmla="*/ 18 w 86"/>
                <a:gd name="T9" fmla="*/ 73 h 239"/>
                <a:gd name="T10" fmla="*/ 23 w 86"/>
                <a:gd name="T11" fmla="*/ 110 h 239"/>
                <a:gd name="T12" fmla="*/ 34 w 86"/>
                <a:gd name="T13" fmla="*/ 127 h 239"/>
                <a:gd name="T14" fmla="*/ 24 w 86"/>
                <a:gd name="T15" fmla="*/ 169 h 239"/>
                <a:gd name="T16" fmla="*/ 27 w 86"/>
                <a:gd name="T17" fmla="*/ 192 h 239"/>
                <a:gd name="T18" fmla="*/ 39 w 86"/>
                <a:gd name="T19" fmla="*/ 223 h 239"/>
                <a:gd name="T20" fmla="*/ 49 w 86"/>
                <a:gd name="T21" fmla="*/ 239 h 239"/>
                <a:gd name="T22" fmla="*/ 86 w 86"/>
                <a:gd name="T23" fmla="*/ 229 h 239"/>
                <a:gd name="T24" fmla="*/ 75 w 86"/>
                <a:gd name="T25" fmla="*/ 197 h 239"/>
                <a:gd name="T26" fmla="*/ 77 w 86"/>
                <a:gd name="T27" fmla="*/ 89 h 239"/>
                <a:gd name="T28" fmla="*/ 68 w 86"/>
                <a:gd name="T29" fmla="*/ 79 h 239"/>
                <a:gd name="T30" fmla="*/ 66 w 86"/>
                <a:gd name="T31" fmla="*/ 56 h 239"/>
                <a:gd name="T32" fmla="*/ 50 w 86"/>
                <a:gd name="T33" fmla="*/ 39 h 239"/>
                <a:gd name="T34" fmla="*/ 37 w 86"/>
                <a:gd name="T35" fmla="*/ 26 h 239"/>
                <a:gd name="T36" fmla="*/ 42 w 86"/>
                <a:gd name="T37"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239">
                  <a:moveTo>
                    <a:pt x="42" y="1"/>
                  </a:moveTo>
                  <a:lnTo>
                    <a:pt x="4" y="0"/>
                  </a:lnTo>
                  <a:lnTo>
                    <a:pt x="0" y="15"/>
                  </a:lnTo>
                  <a:lnTo>
                    <a:pt x="18" y="39"/>
                  </a:lnTo>
                  <a:lnTo>
                    <a:pt x="18" y="73"/>
                  </a:lnTo>
                  <a:lnTo>
                    <a:pt x="23" y="110"/>
                  </a:lnTo>
                  <a:lnTo>
                    <a:pt x="34" y="127"/>
                  </a:lnTo>
                  <a:lnTo>
                    <a:pt x="24" y="169"/>
                  </a:lnTo>
                  <a:lnTo>
                    <a:pt x="27" y="192"/>
                  </a:lnTo>
                  <a:lnTo>
                    <a:pt x="39" y="223"/>
                  </a:lnTo>
                  <a:lnTo>
                    <a:pt x="49" y="239"/>
                  </a:lnTo>
                  <a:lnTo>
                    <a:pt x="86" y="229"/>
                  </a:lnTo>
                  <a:lnTo>
                    <a:pt x="75" y="197"/>
                  </a:lnTo>
                  <a:lnTo>
                    <a:pt x="77" y="89"/>
                  </a:lnTo>
                  <a:lnTo>
                    <a:pt x="68" y="79"/>
                  </a:lnTo>
                  <a:lnTo>
                    <a:pt x="66" y="56"/>
                  </a:lnTo>
                  <a:lnTo>
                    <a:pt x="50" y="39"/>
                  </a:lnTo>
                  <a:lnTo>
                    <a:pt x="37" y="26"/>
                  </a:lnTo>
                  <a:lnTo>
                    <a:pt x="42"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7" name="Tunisia">
              <a:extLst>
                <a:ext uri="{FF2B5EF4-FFF2-40B4-BE49-F238E27FC236}">
                  <a16:creationId xmlns:a16="http://schemas.microsoft.com/office/drawing/2014/main" id="{FF619E26-60C6-8933-1323-64E563BE4A4C}"/>
                </a:ext>
              </a:extLst>
            </p:cNvPr>
            <p:cNvSpPr>
              <a:spLocks/>
            </p:cNvSpPr>
            <p:nvPr/>
          </p:nvSpPr>
          <p:spPr bwMode="auto">
            <a:xfrm>
              <a:off x="6595366" y="775624"/>
              <a:ext cx="269875" cy="528638"/>
            </a:xfrm>
            <a:custGeom>
              <a:avLst/>
              <a:gdLst>
                <a:gd name="T0" fmla="*/ 170 w 170"/>
                <a:gd name="T1" fmla="*/ 200 h 333"/>
                <a:gd name="T2" fmla="*/ 153 w 170"/>
                <a:gd name="T3" fmla="*/ 193 h 333"/>
                <a:gd name="T4" fmla="*/ 141 w 170"/>
                <a:gd name="T5" fmla="*/ 171 h 333"/>
                <a:gd name="T6" fmla="*/ 119 w 170"/>
                <a:gd name="T7" fmla="*/ 170 h 333"/>
                <a:gd name="T8" fmla="*/ 111 w 170"/>
                <a:gd name="T9" fmla="*/ 144 h 333"/>
                <a:gd name="T10" fmla="*/ 138 w 170"/>
                <a:gd name="T11" fmla="*/ 120 h 333"/>
                <a:gd name="T12" fmla="*/ 141 w 170"/>
                <a:gd name="T13" fmla="*/ 79 h 333"/>
                <a:gd name="T14" fmla="*/ 127 w 170"/>
                <a:gd name="T15" fmla="*/ 67 h 333"/>
                <a:gd name="T16" fmla="*/ 126 w 170"/>
                <a:gd name="T17" fmla="*/ 45 h 333"/>
                <a:gd name="T18" fmla="*/ 146 w 170"/>
                <a:gd name="T19" fmla="*/ 21 h 333"/>
                <a:gd name="T20" fmla="*/ 142 w 170"/>
                <a:gd name="T21" fmla="*/ 12 h 333"/>
                <a:gd name="T22" fmla="*/ 107 w 170"/>
                <a:gd name="T23" fmla="*/ 30 h 333"/>
                <a:gd name="T24" fmla="*/ 108 w 170"/>
                <a:gd name="T25" fmla="*/ 6 h 333"/>
                <a:gd name="T26" fmla="*/ 78 w 170"/>
                <a:gd name="T27" fmla="*/ 0 h 333"/>
                <a:gd name="T28" fmla="*/ 34 w 170"/>
                <a:gd name="T29" fmla="*/ 19 h 333"/>
                <a:gd name="T30" fmla="*/ 26 w 170"/>
                <a:gd name="T31" fmla="*/ 44 h 333"/>
                <a:gd name="T32" fmla="*/ 34 w 170"/>
                <a:gd name="T33" fmla="*/ 89 h 333"/>
                <a:gd name="T34" fmla="*/ 25 w 170"/>
                <a:gd name="T35" fmla="*/ 129 h 333"/>
                <a:gd name="T36" fmla="*/ 0 w 170"/>
                <a:gd name="T37" fmla="*/ 155 h 333"/>
                <a:gd name="T38" fmla="*/ 5 w 170"/>
                <a:gd name="T39" fmla="*/ 190 h 333"/>
                <a:gd name="T40" fmla="*/ 40 w 170"/>
                <a:gd name="T41" fmla="*/ 219 h 333"/>
                <a:gd name="T42" fmla="*/ 41 w 170"/>
                <a:gd name="T43" fmla="*/ 230 h 333"/>
                <a:gd name="T44" fmla="*/ 67 w 170"/>
                <a:gd name="T45" fmla="*/ 249 h 333"/>
                <a:gd name="T46" fmla="*/ 88 w 170"/>
                <a:gd name="T47" fmla="*/ 333 h 333"/>
                <a:gd name="T48" fmla="*/ 109 w 170"/>
                <a:gd name="T49" fmla="*/ 322 h 333"/>
                <a:gd name="T50" fmla="*/ 112 w 170"/>
                <a:gd name="T51" fmla="*/ 302 h 333"/>
                <a:gd name="T52" fmla="*/ 106 w 170"/>
                <a:gd name="T53" fmla="*/ 283 h 333"/>
                <a:gd name="T54" fmla="*/ 136 w 170"/>
                <a:gd name="T55" fmla="*/ 265 h 333"/>
                <a:gd name="T56" fmla="*/ 148 w 170"/>
                <a:gd name="T57" fmla="*/ 250 h 333"/>
                <a:gd name="T58" fmla="*/ 169 w 170"/>
                <a:gd name="T59" fmla="*/ 236 h 333"/>
                <a:gd name="T60" fmla="*/ 170 w 170"/>
                <a:gd name="T61" fmla="*/ 200 h 333"/>
                <a:gd name="T62" fmla="*/ 170 w 170"/>
                <a:gd name="T63" fmla="*/ 20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333">
                  <a:moveTo>
                    <a:pt x="170" y="200"/>
                  </a:moveTo>
                  <a:lnTo>
                    <a:pt x="153" y="193"/>
                  </a:lnTo>
                  <a:lnTo>
                    <a:pt x="141" y="171"/>
                  </a:lnTo>
                  <a:lnTo>
                    <a:pt x="119" y="170"/>
                  </a:lnTo>
                  <a:lnTo>
                    <a:pt x="111" y="144"/>
                  </a:lnTo>
                  <a:lnTo>
                    <a:pt x="138" y="120"/>
                  </a:lnTo>
                  <a:lnTo>
                    <a:pt x="141" y="79"/>
                  </a:lnTo>
                  <a:lnTo>
                    <a:pt x="127" y="67"/>
                  </a:lnTo>
                  <a:lnTo>
                    <a:pt x="126" y="45"/>
                  </a:lnTo>
                  <a:lnTo>
                    <a:pt x="146" y="21"/>
                  </a:lnTo>
                  <a:lnTo>
                    <a:pt x="142" y="12"/>
                  </a:lnTo>
                  <a:lnTo>
                    <a:pt x="107" y="30"/>
                  </a:lnTo>
                  <a:lnTo>
                    <a:pt x="108" y="6"/>
                  </a:lnTo>
                  <a:lnTo>
                    <a:pt x="78" y="0"/>
                  </a:lnTo>
                  <a:lnTo>
                    <a:pt x="34" y="19"/>
                  </a:lnTo>
                  <a:lnTo>
                    <a:pt x="26" y="44"/>
                  </a:lnTo>
                  <a:lnTo>
                    <a:pt x="34" y="89"/>
                  </a:lnTo>
                  <a:lnTo>
                    <a:pt x="25" y="129"/>
                  </a:lnTo>
                  <a:lnTo>
                    <a:pt x="0" y="155"/>
                  </a:lnTo>
                  <a:lnTo>
                    <a:pt x="5" y="190"/>
                  </a:lnTo>
                  <a:lnTo>
                    <a:pt x="40" y="219"/>
                  </a:lnTo>
                  <a:lnTo>
                    <a:pt x="41" y="230"/>
                  </a:lnTo>
                  <a:lnTo>
                    <a:pt x="67" y="249"/>
                  </a:lnTo>
                  <a:lnTo>
                    <a:pt x="88" y="333"/>
                  </a:lnTo>
                  <a:lnTo>
                    <a:pt x="109" y="322"/>
                  </a:lnTo>
                  <a:lnTo>
                    <a:pt x="112" y="302"/>
                  </a:lnTo>
                  <a:lnTo>
                    <a:pt x="106" y="283"/>
                  </a:lnTo>
                  <a:lnTo>
                    <a:pt x="136" y="265"/>
                  </a:lnTo>
                  <a:lnTo>
                    <a:pt x="148" y="250"/>
                  </a:lnTo>
                  <a:lnTo>
                    <a:pt x="169" y="236"/>
                  </a:lnTo>
                  <a:lnTo>
                    <a:pt x="170" y="200"/>
                  </a:lnTo>
                  <a:lnTo>
                    <a:pt x="170" y="20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8" name="United Republic of Tanzania">
              <a:extLst>
                <a:ext uri="{FF2B5EF4-FFF2-40B4-BE49-F238E27FC236}">
                  <a16:creationId xmlns:a16="http://schemas.microsoft.com/office/drawing/2014/main" id="{B30FE247-BE9B-ED0E-7B89-015ECFE42CC0}"/>
                </a:ext>
              </a:extLst>
            </p:cNvPr>
            <p:cNvSpPr>
              <a:spLocks/>
            </p:cNvSpPr>
            <p:nvPr/>
          </p:nvSpPr>
          <p:spPr bwMode="auto">
            <a:xfrm>
              <a:off x="8186041" y="3639475"/>
              <a:ext cx="749300" cy="798513"/>
            </a:xfrm>
            <a:custGeom>
              <a:avLst/>
              <a:gdLst>
                <a:gd name="T0" fmla="*/ 39 w 472"/>
                <a:gd name="T1" fmla="*/ 6 h 503"/>
                <a:gd name="T2" fmla="*/ 53 w 472"/>
                <a:gd name="T3" fmla="*/ 60 h 503"/>
                <a:gd name="T4" fmla="*/ 41 w 472"/>
                <a:gd name="T5" fmla="*/ 66 h 503"/>
                <a:gd name="T6" fmla="*/ 52 w 472"/>
                <a:gd name="T7" fmla="*/ 95 h 503"/>
                <a:gd name="T8" fmla="*/ 41 w 472"/>
                <a:gd name="T9" fmla="*/ 121 h 503"/>
                <a:gd name="T10" fmla="*/ 7 w 472"/>
                <a:gd name="T11" fmla="*/ 162 h 503"/>
                <a:gd name="T12" fmla="*/ 0 w 472"/>
                <a:gd name="T13" fmla="*/ 183 h 503"/>
                <a:gd name="T14" fmla="*/ 7 w 472"/>
                <a:gd name="T15" fmla="*/ 210 h 503"/>
                <a:gd name="T16" fmla="*/ 4 w 472"/>
                <a:gd name="T17" fmla="*/ 246 h 503"/>
                <a:gd name="T18" fmla="*/ 42 w 472"/>
                <a:gd name="T19" fmla="*/ 306 h 503"/>
                <a:gd name="T20" fmla="*/ 64 w 472"/>
                <a:gd name="T21" fmla="*/ 355 h 503"/>
                <a:gd name="T22" fmla="*/ 84 w 472"/>
                <a:gd name="T23" fmla="*/ 364 h 503"/>
                <a:gd name="T24" fmla="*/ 137 w 472"/>
                <a:gd name="T25" fmla="*/ 386 h 503"/>
                <a:gd name="T26" fmla="*/ 189 w 472"/>
                <a:gd name="T27" fmla="*/ 408 h 503"/>
                <a:gd name="T28" fmla="*/ 192 w 472"/>
                <a:gd name="T29" fmla="*/ 399 h 503"/>
                <a:gd name="T30" fmla="*/ 217 w 472"/>
                <a:gd name="T31" fmla="*/ 473 h 503"/>
                <a:gd name="T32" fmla="*/ 231 w 472"/>
                <a:gd name="T33" fmla="*/ 492 h 503"/>
                <a:gd name="T34" fmla="*/ 300 w 472"/>
                <a:gd name="T35" fmla="*/ 503 h 503"/>
                <a:gd name="T36" fmla="*/ 343 w 472"/>
                <a:gd name="T37" fmla="*/ 497 h 503"/>
                <a:gd name="T38" fmla="*/ 386 w 472"/>
                <a:gd name="T39" fmla="*/ 483 h 503"/>
                <a:gd name="T40" fmla="*/ 472 w 472"/>
                <a:gd name="T41" fmla="*/ 437 h 503"/>
                <a:gd name="T42" fmla="*/ 455 w 472"/>
                <a:gd name="T43" fmla="*/ 427 h 503"/>
                <a:gd name="T44" fmla="*/ 424 w 472"/>
                <a:gd name="T45" fmla="*/ 351 h 503"/>
                <a:gd name="T46" fmla="*/ 425 w 472"/>
                <a:gd name="T47" fmla="*/ 315 h 503"/>
                <a:gd name="T48" fmla="*/ 437 w 472"/>
                <a:gd name="T49" fmla="*/ 274 h 503"/>
                <a:gd name="T50" fmla="*/ 407 w 472"/>
                <a:gd name="T51" fmla="*/ 230 h 503"/>
                <a:gd name="T52" fmla="*/ 365 w 472"/>
                <a:gd name="T53" fmla="*/ 126 h 503"/>
                <a:gd name="T54" fmla="*/ 201 w 472"/>
                <a:gd name="T55" fmla="*/ 3 h 503"/>
                <a:gd name="T56" fmla="*/ 179 w 472"/>
                <a:gd name="T57" fmla="*/ 23 h 503"/>
                <a:gd name="T58" fmla="*/ 182 w 472"/>
                <a:gd name="T59" fmla="*/ 60 h 503"/>
                <a:gd name="T60" fmla="*/ 151 w 472"/>
                <a:gd name="T61" fmla="*/ 67 h 503"/>
                <a:gd name="T62" fmla="*/ 104 w 472"/>
                <a:gd name="T63" fmla="*/ 81 h 503"/>
                <a:gd name="T64" fmla="*/ 101 w 472"/>
                <a:gd name="T65" fmla="*/ 29 h 503"/>
                <a:gd name="T66" fmla="*/ 103 w 472"/>
                <a:gd name="T67" fmla="*/ 1 h 503"/>
                <a:gd name="T68" fmla="*/ 54 w 472"/>
                <a:gd name="T69"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2" h="503">
                  <a:moveTo>
                    <a:pt x="54" y="0"/>
                  </a:moveTo>
                  <a:lnTo>
                    <a:pt x="39" y="6"/>
                  </a:lnTo>
                  <a:lnTo>
                    <a:pt x="56" y="32"/>
                  </a:lnTo>
                  <a:lnTo>
                    <a:pt x="53" y="60"/>
                  </a:lnTo>
                  <a:lnTo>
                    <a:pt x="41" y="66"/>
                  </a:lnTo>
                  <a:lnTo>
                    <a:pt x="41" y="66"/>
                  </a:lnTo>
                  <a:lnTo>
                    <a:pt x="42" y="84"/>
                  </a:lnTo>
                  <a:lnTo>
                    <a:pt x="52" y="95"/>
                  </a:lnTo>
                  <a:lnTo>
                    <a:pt x="52" y="110"/>
                  </a:lnTo>
                  <a:lnTo>
                    <a:pt x="41" y="121"/>
                  </a:lnTo>
                  <a:lnTo>
                    <a:pt x="23" y="145"/>
                  </a:lnTo>
                  <a:lnTo>
                    <a:pt x="7" y="162"/>
                  </a:lnTo>
                  <a:lnTo>
                    <a:pt x="2" y="162"/>
                  </a:lnTo>
                  <a:lnTo>
                    <a:pt x="0" y="183"/>
                  </a:lnTo>
                  <a:lnTo>
                    <a:pt x="9" y="189"/>
                  </a:lnTo>
                  <a:lnTo>
                    <a:pt x="7" y="210"/>
                  </a:lnTo>
                  <a:lnTo>
                    <a:pt x="15" y="228"/>
                  </a:lnTo>
                  <a:lnTo>
                    <a:pt x="4" y="246"/>
                  </a:lnTo>
                  <a:lnTo>
                    <a:pt x="40" y="278"/>
                  </a:lnTo>
                  <a:lnTo>
                    <a:pt x="42" y="306"/>
                  </a:lnTo>
                  <a:lnTo>
                    <a:pt x="64" y="355"/>
                  </a:lnTo>
                  <a:lnTo>
                    <a:pt x="64" y="355"/>
                  </a:lnTo>
                  <a:lnTo>
                    <a:pt x="66" y="357"/>
                  </a:lnTo>
                  <a:lnTo>
                    <a:pt x="84" y="364"/>
                  </a:lnTo>
                  <a:lnTo>
                    <a:pt x="112" y="373"/>
                  </a:lnTo>
                  <a:lnTo>
                    <a:pt x="137" y="386"/>
                  </a:lnTo>
                  <a:lnTo>
                    <a:pt x="180" y="395"/>
                  </a:lnTo>
                  <a:lnTo>
                    <a:pt x="189" y="408"/>
                  </a:lnTo>
                  <a:lnTo>
                    <a:pt x="189" y="408"/>
                  </a:lnTo>
                  <a:lnTo>
                    <a:pt x="192" y="399"/>
                  </a:lnTo>
                  <a:lnTo>
                    <a:pt x="214" y="424"/>
                  </a:lnTo>
                  <a:lnTo>
                    <a:pt x="217" y="473"/>
                  </a:lnTo>
                  <a:lnTo>
                    <a:pt x="231" y="492"/>
                  </a:lnTo>
                  <a:lnTo>
                    <a:pt x="231" y="492"/>
                  </a:lnTo>
                  <a:lnTo>
                    <a:pt x="248" y="490"/>
                  </a:lnTo>
                  <a:lnTo>
                    <a:pt x="300" y="503"/>
                  </a:lnTo>
                  <a:lnTo>
                    <a:pt x="313" y="497"/>
                  </a:lnTo>
                  <a:lnTo>
                    <a:pt x="343" y="497"/>
                  </a:lnTo>
                  <a:lnTo>
                    <a:pt x="359" y="482"/>
                  </a:lnTo>
                  <a:lnTo>
                    <a:pt x="386" y="483"/>
                  </a:lnTo>
                  <a:lnTo>
                    <a:pt x="435" y="464"/>
                  </a:lnTo>
                  <a:lnTo>
                    <a:pt x="472" y="437"/>
                  </a:lnTo>
                  <a:lnTo>
                    <a:pt x="472" y="437"/>
                  </a:lnTo>
                  <a:lnTo>
                    <a:pt x="455" y="427"/>
                  </a:lnTo>
                  <a:lnTo>
                    <a:pt x="439" y="381"/>
                  </a:lnTo>
                  <a:lnTo>
                    <a:pt x="424" y="351"/>
                  </a:lnTo>
                  <a:lnTo>
                    <a:pt x="428" y="329"/>
                  </a:lnTo>
                  <a:lnTo>
                    <a:pt x="425" y="315"/>
                  </a:lnTo>
                  <a:lnTo>
                    <a:pt x="438" y="286"/>
                  </a:lnTo>
                  <a:lnTo>
                    <a:pt x="437" y="274"/>
                  </a:lnTo>
                  <a:lnTo>
                    <a:pt x="409" y="257"/>
                  </a:lnTo>
                  <a:lnTo>
                    <a:pt x="407" y="230"/>
                  </a:lnTo>
                  <a:lnTo>
                    <a:pt x="428" y="172"/>
                  </a:lnTo>
                  <a:lnTo>
                    <a:pt x="365" y="126"/>
                  </a:lnTo>
                  <a:lnTo>
                    <a:pt x="362" y="98"/>
                  </a:lnTo>
                  <a:lnTo>
                    <a:pt x="201" y="3"/>
                  </a:lnTo>
                  <a:lnTo>
                    <a:pt x="201" y="3"/>
                  </a:lnTo>
                  <a:lnTo>
                    <a:pt x="179" y="23"/>
                  </a:lnTo>
                  <a:lnTo>
                    <a:pt x="165" y="45"/>
                  </a:lnTo>
                  <a:lnTo>
                    <a:pt x="182" y="60"/>
                  </a:lnTo>
                  <a:lnTo>
                    <a:pt x="157" y="72"/>
                  </a:lnTo>
                  <a:lnTo>
                    <a:pt x="151" y="67"/>
                  </a:lnTo>
                  <a:lnTo>
                    <a:pt x="125" y="70"/>
                  </a:lnTo>
                  <a:lnTo>
                    <a:pt x="104" y="81"/>
                  </a:lnTo>
                  <a:lnTo>
                    <a:pt x="93" y="62"/>
                  </a:lnTo>
                  <a:lnTo>
                    <a:pt x="101" y="29"/>
                  </a:lnTo>
                  <a:lnTo>
                    <a:pt x="103" y="1"/>
                  </a:lnTo>
                  <a:lnTo>
                    <a:pt x="103" y="1"/>
                  </a:lnTo>
                  <a:lnTo>
                    <a:pt x="103" y="1"/>
                  </a:lnTo>
                  <a:lnTo>
                    <a:pt x="54" y="0"/>
                  </a:lnTo>
                  <a:lnTo>
                    <a:pt x="54"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9" name="Uganda">
              <a:extLst>
                <a:ext uri="{FF2B5EF4-FFF2-40B4-BE49-F238E27FC236}">
                  <a16:creationId xmlns:a16="http://schemas.microsoft.com/office/drawing/2014/main" id="{1930665E-1AC6-1383-6997-3BD5A1DC3C8C}"/>
                </a:ext>
              </a:extLst>
            </p:cNvPr>
            <p:cNvSpPr>
              <a:spLocks/>
            </p:cNvSpPr>
            <p:nvPr/>
          </p:nvSpPr>
          <p:spPr bwMode="auto">
            <a:xfrm>
              <a:off x="8186041" y="3247362"/>
              <a:ext cx="387350" cy="423863"/>
            </a:xfrm>
            <a:custGeom>
              <a:avLst/>
              <a:gdLst>
                <a:gd name="T0" fmla="*/ 197 w 244"/>
                <a:gd name="T1" fmla="*/ 0 h 267"/>
                <a:gd name="T2" fmla="*/ 170 w 244"/>
                <a:gd name="T3" fmla="*/ 22 h 267"/>
                <a:gd name="T4" fmla="*/ 138 w 244"/>
                <a:gd name="T5" fmla="*/ 21 h 267"/>
                <a:gd name="T6" fmla="*/ 103 w 244"/>
                <a:gd name="T7" fmla="*/ 32 h 267"/>
                <a:gd name="T8" fmla="*/ 74 w 244"/>
                <a:gd name="T9" fmla="*/ 22 h 267"/>
                <a:gd name="T10" fmla="*/ 56 w 244"/>
                <a:gd name="T11" fmla="*/ 35 h 267"/>
                <a:gd name="T12" fmla="*/ 56 w 244"/>
                <a:gd name="T13" fmla="*/ 35 h 267"/>
                <a:gd name="T14" fmla="*/ 53 w 244"/>
                <a:gd name="T15" fmla="*/ 90 h 267"/>
                <a:gd name="T16" fmla="*/ 72 w 244"/>
                <a:gd name="T17" fmla="*/ 96 h 267"/>
                <a:gd name="T18" fmla="*/ 57 w 244"/>
                <a:gd name="T19" fmla="*/ 113 h 267"/>
                <a:gd name="T20" fmla="*/ 41 w 244"/>
                <a:gd name="T21" fmla="*/ 126 h 267"/>
                <a:gd name="T22" fmla="*/ 23 w 244"/>
                <a:gd name="T23" fmla="*/ 149 h 267"/>
                <a:gd name="T24" fmla="*/ 14 w 244"/>
                <a:gd name="T25" fmla="*/ 171 h 267"/>
                <a:gd name="T26" fmla="*/ 11 w 244"/>
                <a:gd name="T27" fmla="*/ 209 h 267"/>
                <a:gd name="T28" fmla="*/ 1 w 244"/>
                <a:gd name="T29" fmla="*/ 227 h 267"/>
                <a:gd name="T30" fmla="*/ 0 w 244"/>
                <a:gd name="T31" fmla="*/ 263 h 267"/>
                <a:gd name="T32" fmla="*/ 11 w 244"/>
                <a:gd name="T33" fmla="*/ 267 h 267"/>
                <a:gd name="T34" fmla="*/ 39 w 244"/>
                <a:gd name="T35" fmla="*/ 253 h 267"/>
                <a:gd name="T36" fmla="*/ 54 w 244"/>
                <a:gd name="T37" fmla="*/ 247 h 267"/>
                <a:gd name="T38" fmla="*/ 103 w 244"/>
                <a:gd name="T39" fmla="*/ 248 h 267"/>
                <a:gd name="T40" fmla="*/ 103 w 244"/>
                <a:gd name="T41" fmla="*/ 248 h 267"/>
                <a:gd name="T42" fmla="*/ 101 w 244"/>
                <a:gd name="T43" fmla="*/ 230 h 267"/>
                <a:gd name="T44" fmla="*/ 121 w 244"/>
                <a:gd name="T45" fmla="*/ 202 h 267"/>
                <a:gd name="T46" fmla="*/ 149 w 244"/>
                <a:gd name="T47" fmla="*/ 195 h 267"/>
                <a:gd name="T48" fmla="*/ 168 w 244"/>
                <a:gd name="T49" fmla="*/ 184 h 267"/>
                <a:gd name="T50" fmla="*/ 191 w 244"/>
                <a:gd name="T51" fmla="*/ 193 h 267"/>
                <a:gd name="T52" fmla="*/ 194 w 244"/>
                <a:gd name="T53" fmla="*/ 197 h 267"/>
                <a:gd name="T54" fmla="*/ 194 w 244"/>
                <a:gd name="T55" fmla="*/ 194 h 267"/>
                <a:gd name="T56" fmla="*/ 207 w 244"/>
                <a:gd name="T57" fmla="*/ 176 h 267"/>
                <a:gd name="T58" fmla="*/ 228 w 244"/>
                <a:gd name="T59" fmla="*/ 144 h 267"/>
                <a:gd name="T60" fmla="*/ 244 w 244"/>
                <a:gd name="T61" fmla="*/ 110 h 267"/>
                <a:gd name="T62" fmla="*/ 224 w 244"/>
                <a:gd name="T63" fmla="*/ 56 h 267"/>
                <a:gd name="T64" fmla="*/ 219 w 244"/>
                <a:gd name="T65" fmla="*/ 32 h 267"/>
                <a:gd name="T66" fmla="*/ 197 w 244"/>
                <a:gd name="T67" fmla="*/ 0 h 267"/>
                <a:gd name="T68" fmla="*/ 197 w 244"/>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67">
                  <a:moveTo>
                    <a:pt x="197" y="0"/>
                  </a:moveTo>
                  <a:lnTo>
                    <a:pt x="170" y="22"/>
                  </a:lnTo>
                  <a:lnTo>
                    <a:pt x="138" y="21"/>
                  </a:lnTo>
                  <a:lnTo>
                    <a:pt x="103" y="32"/>
                  </a:lnTo>
                  <a:lnTo>
                    <a:pt x="74" y="22"/>
                  </a:lnTo>
                  <a:lnTo>
                    <a:pt x="56" y="35"/>
                  </a:lnTo>
                  <a:lnTo>
                    <a:pt x="56" y="35"/>
                  </a:lnTo>
                  <a:lnTo>
                    <a:pt x="53" y="90"/>
                  </a:lnTo>
                  <a:lnTo>
                    <a:pt x="72" y="96"/>
                  </a:lnTo>
                  <a:lnTo>
                    <a:pt x="57" y="113"/>
                  </a:lnTo>
                  <a:lnTo>
                    <a:pt x="41" y="126"/>
                  </a:lnTo>
                  <a:lnTo>
                    <a:pt x="23" y="149"/>
                  </a:lnTo>
                  <a:lnTo>
                    <a:pt x="14" y="171"/>
                  </a:lnTo>
                  <a:lnTo>
                    <a:pt x="11" y="209"/>
                  </a:lnTo>
                  <a:lnTo>
                    <a:pt x="1" y="227"/>
                  </a:lnTo>
                  <a:lnTo>
                    <a:pt x="0" y="263"/>
                  </a:lnTo>
                  <a:lnTo>
                    <a:pt x="11" y="267"/>
                  </a:lnTo>
                  <a:lnTo>
                    <a:pt x="39" y="253"/>
                  </a:lnTo>
                  <a:lnTo>
                    <a:pt x="54" y="247"/>
                  </a:lnTo>
                  <a:lnTo>
                    <a:pt x="103" y="248"/>
                  </a:lnTo>
                  <a:lnTo>
                    <a:pt x="103" y="248"/>
                  </a:lnTo>
                  <a:lnTo>
                    <a:pt x="101" y="230"/>
                  </a:lnTo>
                  <a:lnTo>
                    <a:pt x="121" y="202"/>
                  </a:lnTo>
                  <a:lnTo>
                    <a:pt x="149" y="195"/>
                  </a:lnTo>
                  <a:lnTo>
                    <a:pt x="168" y="184"/>
                  </a:lnTo>
                  <a:lnTo>
                    <a:pt x="191" y="193"/>
                  </a:lnTo>
                  <a:lnTo>
                    <a:pt x="194" y="197"/>
                  </a:lnTo>
                  <a:lnTo>
                    <a:pt x="194" y="194"/>
                  </a:lnTo>
                  <a:lnTo>
                    <a:pt x="207" y="176"/>
                  </a:lnTo>
                  <a:lnTo>
                    <a:pt x="228" y="144"/>
                  </a:lnTo>
                  <a:lnTo>
                    <a:pt x="244" y="110"/>
                  </a:lnTo>
                  <a:lnTo>
                    <a:pt x="224" y="56"/>
                  </a:lnTo>
                  <a:lnTo>
                    <a:pt x="219" y="32"/>
                  </a:lnTo>
                  <a:lnTo>
                    <a:pt x="197" y="0"/>
                  </a:lnTo>
                  <a:lnTo>
                    <a:pt x="197"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0" name="South Africa">
              <a:extLst>
                <a:ext uri="{FF2B5EF4-FFF2-40B4-BE49-F238E27FC236}">
                  <a16:creationId xmlns:a16="http://schemas.microsoft.com/office/drawing/2014/main" id="{9214E565-A2CB-7D9F-4339-460944C65507}"/>
                </a:ext>
              </a:extLst>
            </p:cNvPr>
            <p:cNvSpPr>
              <a:spLocks noEditPoints="1"/>
            </p:cNvSpPr>
            <p:nvPr/>
          </p:nvSpPr>
          <p:spPr bwMode="auto">
            <a:xfrm>
              <a:off x="7208141" y="5212687"/>
              <a:ext cx="1138238" cy="947738"/>
            </a:xfrm>
            <a:custGeom>
              <a:avLst/>
              <a:gdLst>
                <a:gd name="T0" fmla="*/ 141 w 717"/>
                <a:gd name="T1" fmla="*/ 597 h 597"/>
                <a:gd name="T2" fmla="*/ 205 w 717"/>
                <a:gd name="T3" fmla="*/ 571 h 597"/>
                <a:gd name="T4" fmla="*/ 268 w 717"/>
                <a:gd name="T5" fmla="*/ 555 h 597"/>
                <a:gd name="T6" fmla="*/ 339 w 717"/>
                <a:gd name="T7" fmla="*/ 558 h 597"/>
                <a:gd name="T8" fmla="*/ 386 w 717"/>
                <a:gd name="T9" fmla="*/ 556 h 597"/>
                <a:gd name="T10" fmla="*/ 415 w 717"/>
                <a:gd name="T11" fmla="*/ 541 h 597"/>
                <a:gd name="T12" fmla="*/ 494 w 717"/>
                <a:gd name="T13" fmla="*/ 501 h 597"/>
                <a:gd name="T14" fmla="*/ 580 w 717"/>
                <a:gd name="T15" fmla="*/ 424 h 597"/>
                <a:gd name="T16" fmla="*/ 621 w 717"/>
                <a:gd name="T17" fmla="*/ 366 h 597"/>
                <a:gd name="T18" fmla="*/ 650 w 717"/>
                <a:gd name="T19" fmla="*/ 336 h 597"/>
                <a:gd name="T20" fmla="*/ 695 w 717"/>
                <a:gd name="T21" fmla="*/ 292 h 597"/>
                <a:gd name="T22" fmla="*/ 717 w 717"/>
                <a:gd name="T23" fmla="*/ 218 h 597"/>
                <a:gd name="T24" fmla="*/ 673 w 717"/>
                <a:gd name="T25" fmla="*/ 238 h 597"/>
                <a:gd name="T26" fmla="*/ 624 w 717"/>
                <a:gd name="T27" fmla="*/ 218 h 597"/>
                <a:gd name="T28" fmla="*/ 637 w 717"/>
                <a:gd name="T29" fmla="*/ 184 h 597"/>
                <a:gd name="T30" fmla="*/ 656 w 717"/>
                <a:gd name="T31" fmla="*/ 167 h 597"/>
                <a:gd name="T32" fmla="*/ 674 w 717"/>
                <a:gd name="T33" fmla="*/ 159 h 597"/>
                <a:gd name="T34" fmla="*/ 676 w 717"/>
                <a:gd name="T35" fmla="*/ 73 h 597"/>
                <a:gd name="T36" fmla="*/ 636 w 717"/>
                <a:gd name="T37" fmla="*/ 2 h 597"/>
                <a:gd name="T38" fmla="*/ 600 w 717"/>
                <a:gd name="T39" fmla="*/ 0 h 597"/>
                <a:gd name="T40" fmla="*/ 519 w 717"/>
                <a:gd name="T41" fmla="*/ 34 h 597"/>
                <a:gd name="T42" fmla="*/ 462 w 717"/>
                <a:gd name="T43" fmla="*/ 101 h 597"/>
                <a:gd name="T44" fmla="*/ 424 w 717"/>
                <a:gd name="T45" fmla="*/ 122 h 597"/>
                <a:gd name="T46" fmla="*/ 410 w 717"/>
                <a:gd name="T47" fmla="*/ 159 h 597"/>
                <a:gd name="T48" fmla="*/ 346 w 717"/>
                <a:gd name="T49" fmla="*/ 168 h 597"/>
                <a:gd name="T50" fmla="*/ 309 w 717"/>
                <a:gd name="T51" fmla="*/ 149 h 597"/>
                <a:gd name="T52" fmla="*/ 275 w 717"/>
                <a:gd name="T53" fmla="*/ 182 h 597"/>
                <a:gd name="T54" fmla="*/ 231 w 717"/>
                <a:gd name="T55" fmla="*/ 217 h 597"/>
                <a:gd name="T56" fmla="*/ 191 w 717"/>
                <a:gd name="T57" fmla="*/ 205 h 597"/>
                <a:gd name="T58" fmla="*/ 173 w 717"/>
                <a:gd name="T59" fmla="*/ 132 h 597"/>
                <a:gd name="T60" fmla="*/ 152 w 717"/>
                <a:gd name="T61" fmla="*/ 299 h 597"/>
                <a:gd name="T62" fmla="*/ 90 w 717"/>
                <a:gd name="T63" fmla="*/ 327 h 597"/>
                <a:gd name="T64" fmla="*/ 45 w 717"/>
                <a:gd name="T65" fmla="*/ 314 h 597"/>
                <a:gd name="T66" fmla="*/ 22 w 717"/>
                <a:gd name="T67" fmla="*/ 282 h 597"/>
                <a:gd name="T68" fmla="*/ 28 w 717"/>
                <a:gd name="T69" fmla="*/ 365 h 597"/>
                <a:gd name="T70" fmla="*/ 47 w 717"/>
                <a:gd name="T71" fmla="*/ 406 h 597"/>
                <a:gd name="T72" fmla="*/ 72 w 717"/>
                <a:gd name="T73" fmla="*/ 484 h 597"/>
                <a:gd name="T74" fmla="*/ 69 w 717"/>
                <a:gd name="T75" fmla="*/ 524 h 597"/>
                <a:gd name="T76" fmla="*/ 72 w 717"/>
                <a:gd name="T77" fmla="*/ 565 h 597"/>
                <a:gd name="T78" fmla="*/ 92 w 717"/>
                <a:gd name="T79" fmla="*/ 580 h 597"/>
                <a:gd name="T80" fmla="*/ 122 w 717"/>
                <a:gd name="T81" fmla="*/ 597 h 597"/>
                <a:gd name="T82" fmla="*/ 499 w 717"/>
                <a:gd name="T83" fmla="*/ 397 h 597"/>
                <a:gd name="T84" fmla="*/ 454 w 717"/>
                <a:gd name="T85" fmla="*/ 365 h 597"/>
                <a:gd name="T86" fmla="*/ 504 w 717"/>
                <a:gd name="T87" fmla="*/ 317 h 597"/>
                <a:gd name="T88" fmla="*/ 542 w 717"/>
                <a:gd name="T89" fmla="*/ 322 h 597"/>
                <a:gd name="T90" fmla="*/ 541 w 717"/>
                <a:gd name="T91" fmla="*/ 359 h 597"/>
                <a:gd name="T92" fmla="*/ 508 w 717"/>
                <a:gd name="T93" fmla="*/ 382 h 597"/>
                <a:gd name="T94" fmla="*/ 499 w 717"/>
                <a:gd name="T95" fmla="*/ 3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7" h="597">
                  <a:moveTo>
                    <a:pt x="122" y="597"/>
                  </a:moveTo>
                  <a:lnTo>
                    <a:pt x="141" y="597"/>
                  </a:lnTo>
                  <a:lnTo>
                    <a:pt x="169" y="579"/>
                  </a:lnTo>
                  <a:lnTo>
                    <a:pt x="205" y="571"/>
                  </a:lnTo>
                  <a:lnTo>
                    <a:pt x="251" y="552"/>
                  </a:lnTo>
                  <a:lnTo>
                    <a:pt x="268" y="555"/>
                  </a:lnTo>
                  <a:lnTo>
                    <a:pt x="294" y="549"/>
                  </a:lnTo>
                  <a:lnTo>
                    <a:pt x="339" y="558"/>
                  </a:lnTo>
                  <a:lnTo>
                    <a:pt x="361" y="549"/>
                  </a:lnTo>
                  <a:lnTo>
                    <a:pt x="386" y="556"/>
                  </a:lnTo>
                  <a:lnTo>
                    <a:pt x="393" y="543"/>
                  </a:lnTo>
                  <a:lnTo>
                    <a:pt x="415" y="541"/>
                  </a:lnTo>
                  <a:lnTo>
                    <a:pt x="460" y="523"/>
                  </a:lnTo>
                  <a:lnTo>
                    <a:pt x="494" y="501"/>
                  </a:lnTo>
                  <a:lnTo>
                    <a:pt x="527" y="473"/>
                  </a:lnTo>
                  <a:lnTo>
                    <a:pt x="580" y="424"/>
                  </a:lnTo>
                  <a:lnTo>
                    <a:pt x="607" y="391"/>
                  </a:lnTo>
                  <a:lnTo>
                    <a:pt x="621" y="366"/>
                  </a:lnTo>
                  <a:lnTo>
                    <a:pt x="641" y="343"/>
                  </a:lnTo>
                  <a:lnTo>
                    <a:pt x="650" y="336"/>
                  </a:lnTo>
                  <a:lnTo>
                    <a:pt x="682" y="312"/>
                  </a:lnTo>
                  <a:lnTo>
                    <a:pt x="695" y="292"/>
                  </a:lnTo>
                  <a:lnTo>
                    <a:pt x="703" y="253"/>
                  </a:lnTo>
                  <a:lnTo>
                    <a:pt x="717" y="218"/>
                  </a:lnTo>
                  <a:lnTo>
                    <a:pt x="684" y="218"/>
                  </a:lnTo>
                  <a:lnTo>
                    <a:pt x="673" y="238"/>
                  </a:lnTo>
                  <a:lnTo>
                    <a:pt x="647" y="243"/>
                  </a:lnTo>
                  <a:lnTo>
                    <a:pt x="624" y="218"/>
                  </a:lnTo>
                  <a:lnTo>
                    <a:pt x="625" y="202"/>
                  </a:lnTo>
                  <a:lnTo>
                    <a:pt x="637" y="184"/>
                  </a:lnTo>
                  <a:lnTo>
                    <a:pt x="643" y="170"/>
                  </a:lnTo>
                  <a:lnTo>
                    <a:pt x="656" y="167"/>
                  </a:lnTo>
                  <a:lnTo>
                    <a:pt x="677" y="176"/>
                  </a:lnTo>
                  <a:lnTo>
                    <a:pt x="674" y="159"/>
                  </a:lnTo>
                  <a:lnTo>
                    <a:pt x="685" y="107"/>
                  </a:lnTo>
                  <a:lnTo>
                    <a:pt x="676" y="73"/>
                  </a:lnTo>
                  <a:lnTo>
                    <a:pt x="658" y="7"/>
                  </a:lnTo>
                  <a:lnTo>
                    <a:pt x="636" y="2"/>
                  </a:lnTo>
                  <a:lnTo>
                    <a:pt x="621" y="8"/>
                  </a:lnTo>
                  <a:lnTo>
                    <a:pt x="600" y="0"/>
                  </a:lnTo>
                  <a:lnTo>
                    <a:pt x="582" y="0"/>
                  </a:lnTo>
                  <a:lnTo>
                    <a:pt x="519" y="34"/>
                  </a:lnTo>
                  <a:lnTo>
                    <a:pt x="478" y="69"/>
                  </a:lnTo>
                  <a:lnTo>
                    <a:pt x="462" y="101"/>
                  </a:lnTo>
                  <a:lnTo>
                    <a:pt x="447" y="119"/>
                  </a:lnTo>
                  <a:lnTo>
                    <a:pt x="424" y="122"/>
                  </a:lnTo>
                  <a:lnTo>
                    <a:pt x="415" y="144"/>
                  </a:lnTo>
                  <a:lnTo>
                    <a:pt x="410" y="159"/>
                  </a:lnTo>
                  <a:lnTo>
                    <a:pt x="382" y="170"/>
                  </a:lnTo>
                  <a:lnTo>
                    <a:pt x="346" y="168"/>
                  </a:lnTo>
                  <a:lnTo>
                    <a:pt x="326" y="154"/>
                  </a:lnTo>
                  <a:lnTo>
                    <a:pt x="309" y="149"/>
                  </a:lnTo>
                  <a:lnTo>
                    <a:pt x="287" y="159"/>
                  </a:lnTo>
                  <a:lnTo>
                    <a:pt x="275" y="182"/>
                  </a:lnTo>
                  <a:lnTo>
                    <a:pt x="254" y="197"/>
                  </a:lnTo>
                  <a:lnTo>
                    <a:pt x="231" y="217"/>
                  </a:lnTo>
                  <a:lnTo>
                    <a:pt x="200" y="222"/>
                  </a:lnTo>
                  <a:lnTo>
                    <a:pt x="191" y="205"/>
                  </a:lnTo>
                  <a:lnTo>
                    <a:pt x="196" y="177"/>
                  </a:lnTo>
                  <a:lnTo>
                    <a:pt x="173" y="132"/>
                  </a:lnTo>
                  <a:lnTo>
                    <a:pt x="161" y="125"/>
                  </a:lnTo>
                  <a:lnTo>
                    <a:pt x="152" y="299"/>
                  </a:lnTo>
                  <a:lnTo>
                    <a:pt x="113" y="323"/>
                  </a:lnTo>
                  <a:lnTo>
                    <a:pt x="90" y="327"/>
                  </a:lnTo>
                  <a:lnTo>
                    <a:pt x="63" y="317"/>
                  </a:lnTo>
                  <a:lnTo>
                    <a:pt x="45" y="314"/>
                  </a:lnTo>
                  <a:lnTo>
                    <a:pt x="38" y="293"/>
                  </a:lnTo>
                  <a:lnTo>
                    <a:pt x="22" y="282"/>
                  </a:lnTo>
                  <a:lnTo>
                    <a:pt x="0" y="305"/>
                  </a:lnTo>
                  <a:lnTo>
                    <a:pt x="28" y="365"/>
                  </a:lnTo>
                  <a:lnTo>
                    <a:pt x="28" y="366"/>
                  </a:lnTo>
                  <a:lnTo>
                    <a:pt x="47" y="406"/>
                  </a:lnTo>
                  <a:lnTo>
                    <a:pt x="73" y="449"/>
                  </a:lnTo>
                  <a:lnTo>
                    <a:pt x="72" y="484"/>
                  </a:lnTo>
                  <a:lnTo>
                    <a:pt x="57" y="493"/>
                  </a:lnTo>
                  <a:lnTo>
                    <a:pt x="69" y="524"/>
                  </a:lnTo>
                  <a:lnTo>
                    <a:pt x="68" y="552"/>
                  </a:lnTo>
                  <a:lnTo>
                    <a:pt x="72" y="565"/>
                  </a:lnTo>
                  <a:lnTo>
                    <a:pt x="75" y="558"/>
                  </a:lnTo>
                  <a:lnTo>
                    <a:pt x="92" y="580"/>
                  </a:lnTo>
                  <a:lnTo>
                    <a:pt x="106" y="580"/>
                  </a:lnTo>
                  <a:lnTo>
                    <a:pt x="122" y="597"/>
                  </a:lnTo>
                  <a:lnTo>
                    <a:pt x="122" y="597"/>
                  </a:lnTo>
                  <a:close/>
                  <a:moveTo>
                    <a:pt x="499" y="397"/>
                  </a:moveTo>
                  <a:lnTo>
                    <a:pt x="483" y="401"/>
                  </a:lnTo>
                  <a:lnTo>
                    <a:pt x="454" y="365"/>
                  </a:lnTo>
                  <a:lnTo>
                    <a:pt x="479" y="336"/>
                  </a:lnTo>
                  <a:lnTo>
                    <a:pt x="504" y="317"/>
                  </a:lnTo>
                  <a:lnTo>
                    <a:pt x="525" y="308"/>
                  </a:lnTo>
                  <a:lnTo>
                    <a:pt x="542" y="322"/>
                  </a:lnTo>
                  <a:lnTo>
                    <a:pt x="556" y="336"/>
                  </a:lnTo>
                  <a:lnTo>
                    <a:pt x="541" y="359"/>
                  </a:lnTo>
                  <a:lnTo>
                    <a:pt x="532" y="374"/>
                  </a:lnTo>
                  <a:lnTo>
                    <a:pt x="508" y="382"/>
                  </a:lnTo>
                  <a:lnTo>
                    <a:pt x="499" y="397"/>
                  </a:lnTo>
                  <a:lnTo>
                    <a:pt x="499" y="39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1" name="Zambia">
              <a:extLst>
                <a:ext uri="{FF2B5EF4-FFF2-40B4-BE49-F238E27FC236}">
                  <a16:creationId xmlns:a16="http://schemas.microsoft.com/office/drawing/2014/main" id="{A60B21D0-E0B9-827C-9EFD-9051B2354DE2}"/>
                </a:ext>
              </a:extLst>
            </p:cNvPr>
            <p:cNvSpPr>
              <a:spLocks/>
            </p:cNvSpPr>
            <p:nvPr/>
          </p:nvSpPr>
          <p:spPr bwMode="auto">
            <a:xfrm>
              <a:off x="7624066" y="4179225"/>
              <a:ext cx="828675" cy="723900"/>
            </a:xfrm>
            <a:custGeom>
              <a:avLst/>
              <a:gdLst>
                <a:gd name="T0" fmla="*/ 390 w 522"/>
                <a:gd name="T1" fmla="*/ 12 h 456"/>
                <a:gd name="T2" fmla="*/ 385 w 522"/>
                <a:gd name="T3" fmla="*/ 0 h 456"/>
                <a:gd name="T4" fmla="*/ 312 w 522"/>
                <a:gd name="T5" fmla="*/ 13 h 456"/>
                <a:gd name="T6" fmla="*/ 309 w 522"/>
                <a:gd name="T7" fmla="*/ 64 h 456"/>
                <a:gd name="T8" fmla="*/ 293 w 522"/>
                <a:gd name="T9" fmla="*/ 167 h 456"/>
                <a:gd name="T10" fmla="*/ 335 w 522"/>
                <a:gd name="T11" fmla="*/ 193 h 456"/>
                <a:gd name="T12" fmla="*/ 350 w 522"/>
                <a:gd name="T13" fmla="*/ 236 h 456"/>
                <a:gd name="T14" fmla="*/ 299 w 522"/>
                <a:gd name="T15" fmla="*/ 209 h 456"/>
                <a:gd name="T16" fmla="*/ 249 w 522"/>
                <a:gd name="T17" fmla="*/ 183 h 456"/>
                <a:gd name="T18" fmla="*/ 212 w 522"/>
                <a:gd name="T19" fmla="*/ 173 h 456"/>
                <a:gd name="T20" fmla="*/ 163 w 522"/>
                <a:gd name="T21" fmla="*/ 145 h 456"/>
                <a:gd name="T22" fmla="*/ 113 w 522"/>
                <a:gd name="T23" fmla="*/ 141 h 456"/>
                <a:gd name="T24" fmla="*/ 96 w 522"/>
                <a:gd name="T25" fmla="*/ 126 h 456"/>
                <a:gd name="T26" fmla="*/ 95 w 522"/>
                <a:gd name="T27" fmla="*/ 163 h 456"/>
                <a:gd name="T28" fmla="*/ 95 w 522"/>
                <a:gd name="T29" fmla="*/ 203 h 456"/>
                <a:gd name="T30" fmla="*/ 6 w 522"/>
                <a:gd name="T31" fmla="*/ 219 h 456"/>
                <a:gd name="T32" fmla="*/ 29 w 522"/>
                <a:gd name="T33" fmla="*/ 406 h 456"/>
                <a:gd name="T34" fmla="*/ 93 w 522"/>
                <a:gd name="T35" fmla="*/ 425 h 456"/>
                <a:gd name="T36" fmla="*/ 139 w 522"/>
                <a:gd name="T37" fmla="*/ 438 h 456"/>
                <a:gd name="T38" fmla="*/ 146 w 522"/>
                <a:gd name="T39" fmla="*/ 446 h 456"/>
                <a:gd name="T40" fmla="*/ 209 w 522"/>
                <a:gd name="T41" fmla="*/ 456 h 456"/>
                <a:gd name="T42" fmla="*/ 250 w 522"/>
                <a:gd name="T43" fmla="*/ 425 h 456"/>
                <a:gd name="T44" fmla="*/ 306 w 522"/>
                <a:gd name="T45" fmla="*/ 382 h 456"/>
                <a:gd name="T46" fmla="*/ 338 w 522"/>
                <a:gd name="T47" fmla="*/ 348 h 456"/>
                <a:gd name="T48" fmla="*/ 369 w 522"/>
                <a:gd name="T49" fmla="*/ 308 h 456"/>
                <a:gd name="T50" fmla="*/ 481 w 522"/>
                <a:gd name="T51" fmla="*/ 257 h 456"/>
                <a:gd name="T52" fmla="*/ 511 w 522"/>
                <a:gd name="T53" fmla="*/ 197 h 456"/>
                <a:gd name="T54" fmla="*/ 513 w 522"/>
                <a:gd name="T55" fmla="*/ 120 h 456"/>
                <a:gd name="T56" fmla="*/ 511 w 522"/>
                <a:gd name="T57" fmla="*/ 67 h 456"/>
                <a:gd name="T58" fmla="*/ 466 w 522"/>
                <a:gd name="T59" fmla="*/ 33 h 456"/>
                <a:gd name="T60" fmla="*/ 420 w 522"/>
                <a:gd name="T61" fmla="*/ 17 h 456"/>
                <a:gd name="T62" fmla="*/ 418 w 522"/>
                <a:gd name="T63" fmla="*/ 15 h 456"/>
                <a:gd name="T64" fmla="*/ 415 w 522"/>
                <a:gd name="T65" fmla="*/ 26 h 456"/>
                <a:gd name="T66" fmla="*/ 405 w 522"/>
                <a:gd name="T67" fmla="*/ 1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56">
                  <a:moveTo>
                    <a:pt x="405" y="16"/>
                  </a:moveTo>
                  <a:lnTo>
                    <a:pt x="390" y="12"/>
                  </a:lnTo>
                  <a:lnTo>
                    <a:pt x="393" y="2"/>
                  </a:lnTo>
                  <a:lnTo>
                    <a:pt x="385" y="0"/>
                  </a:lnTo>
                  <a:lnTo>
                    <a:pt x="325" y="7"/>
                  </a:lnTo>
                  <a:lnTo>
                    <a:pt x="312" y="13"/>
                  </a:lnTo>
                  <a:lnTo>
                    <a:pt x="300" y="43"/>
                  </a:lnTo>
                  <a:lnTo>
                    <a:pt x="309" y="64"/>
                  </a:lnTo>
                  <a:lnTo>
                    <a:pt x="300" y="119"/>
                  </a:lnTo>
                  <a:lnTo>
                    <a:pt x="293" y="167"/>
                  </a:lnTo>
                  <a:lnTo>
                    <a:pt x="305" y="175"/>
                  </a:lnTo>
                  <a:lnTo>
                    <a:pt x="335" y="193"/>
                  </a:lnTo>
                  <a:lnTo>
                    <a:pt x="348" y="185"/>
                  </a:lnTo>
                  <a:lnTo>
                    <a:pt x="350" y="236"/>
                  </a:lnTo>
                  <a:lnTo>
                    <a:pt x="316" y="235"/>
                  </a:lnTo>
                  <a:lnTo>
                    <a:pt x="299" y="209"/>
                  </a:lnTo>
                  <a:lnTo>
                    <a:pt x="283" y="189"/>
                  </a:lnTo>
                  <a:lnTo>
                    <a:pt x="249" y="183"/>
                  </a:lnTo>
                  <a:lnTo>
                    <a:pt x="239" y="158"/>
                  </a:lnTo>
                  <a:lnTo>
                    <a:pt x="212" y="173"/>
                  </a:lnTo>
                  <a:lnTo>
                    <a:pt x="177" y="166"/>
                  </a:lnTo>
                  <a:lnTo>
                    <a:pt x="163" y="145"/>
                  </a:lnTo>
                  <a:lnTo>
                    <a:pt x="134" y="140"/>
                  </a:lnTo>
                  <a:lnTo>
                    <a:pt x="113" y="141"/>
                  </a:lnTo>
                  <a:lnTo>
                    <a:pt x="111" y="127"/>
                  </a:lnTo>
                  <a:lnTo>
                    <a:pt x="96" y="126"/>
                  </a:lnTo>
                  <a:lnTo>
                    <a:pt x="101" y="140"/>
                  </a:lnTo>
                  <a:lnTo>
                    <a:pt x="95" y="163"/>
                  </a:lnTo>
                  <a:lnTo>
                    <a:pt x="102" y="185"/>
                  </a:lnTo>
                  <a:lnTo>
                    <a:pt x="95" y="203"/>
                  </a:lnTo>
                  <a:lnTo>
                    <a:pt x="99" y="219"/>
                  </a:lnTo>
                  <a:lnTo>
                    <a:pt x="6" y="219"/>
                  </a:lnTo>
                  <a:lnTo>
                    <a:pt x="0" y="368"/>
                  </a:lnTo>
                  <a:lnTo>
                    <a:pt x="29" y="406"/>
                  </a:lnTo>
                  <a:lnTo>
                    <a:pt x="57" y="436"/>
                  </a:lnTo>
                  <a:lnTo>
                    <a:pt x="93" y="425"/>
                  </a:lnTo>
                  <a:lnTo>
                    <a:pt x="122" y="428"/>
                  </a:lnTo>
                  <a:lnTo>
                    <a:pt x="139" y="438"/>
                  </a:lnTo>
                  <a:lnTo>
                    <a:pt x="139" y="443"/>
                  </a:lnTo>
                  <a:lnTo>
                    <a:pt x="146" y="446"/>
                  </a:lnTo>
                  <a:lnTo>
                    <a:pt x="195" y="451"/>
                  </a:lnTo>
                  <a:lnTo>
                    <a:pt x="209" y="456"/>
                  </a:lnTo>
                  <a:lnTo>
                    <a:pt x="225" y="455"/>
                  </a:lnTo>
                  <a:lnTo>
                    <a:pt x="250" y="425"/>
                  </a:lnTo>
                  <a:lnTo>
                    <a:pt x="290" y="386"/>
                  </a:lnTo>
                  <a:lnTo>
                    <a:pt x="306" y="382"/>
                  </a:lnTo>
                  <a:lnTo>
                    <a:pt x="312" y="366"/>
                  </a:lnTo>
                  <a:lnTo>
                    <a:pt x="338" y="348"/>
                  </a:lnTo>
                  <a:lnTo>
                    <a:pt x="372" y="342"/>
                  </a:lnTo>
                  <a:lnTo>
                    <a:pt x="369" y="308"/>
                  </a:lnTo>
                  <a:lnTo>
                    <a:pt x="504" y="269"/>
                  </a:lnTo>
                  <a:lnTo>
                    <a:pt x="481" y="257"/>
                  </a:lnTo>
                  <a:lnTo>
                    <a:pt x="497" y="214"/>
                  </a:lnTo>
                  <a:lnTo>
                    <a:pt x="511" y="197"/>
                  </a:lnTo>
                  <a:lnTo>
                    <a:pt x="504" y="158"/>
                  </a:lnTo>
                  <a:lnTo>
                    <a:pt x="513" y="120"/>
                  </a:lnTo>
                  <a:lnTo>
                    <a:pt x="522" y="107"/>
                  </a:lnTo>
                  <a:lnTo>
                    <a:pt x="511" y="67"/>
                  </a:lnTo>
                  <a:lnTo>
                    <a:pt x="491" y="46"/>
                  </a:lnTo>
                  <a:lnTo>
                    <a:pt x="466" y="33"/>
                  </a:lnTo>
                  <a:lnTo>
                    <a:pt x="438" y="24"/>
                  </a:lnTo>
                  <a:lnTo>
                    <a:pt x="420" y="17"/>
                  </a:lnTo>
                  <a:lnTo>
                    <a:pt x="418" y="15"/>
                  </a:lnTo>
                  <a:lnTo>
                    <a:pt x="418" y="15"/>
                  </a:lnTo>
                  <a:lnTo>
                    <a:pt x="422" y="22"/>
                  </a:lnTo>
                  <a:lnTo>
                    <a:pt x="415" y="26"/>
                  </a:lnTo>
                  <a:lnTo>
                    <a:pt x="405" y="16"/>
                  </a:lnTo>
                  <a:lnTo>
                    <a:pt x="405" y="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2" name="Zimbabwe">
              <a:extLst>
                <a:ext uri="{FF2B5EF4-FFF2-40B4-BE49-F238E27FC236}">
                  <a16:creationId xmlns:a16="http://schemas.microsoft.com/office/drawing/2014/main" id="{E4BB101F-F84D-602D-AE3F-AA150AA040E2}"/>
                </a:ext>
              </a:extLst>
            </p:cNvPr>
            <p:cNvSpPr>
              <a:spLocks/>
            </p:cNvSpPr>
            <p:nvPr/>
          </p:nvSpPr>
          <p:spPr bwMode="auto">
            <a:xfrm>
              <a:off x="7855841" y="4722150"/>
              <a:ext cx="533400" cy="503238"/>
            </a:xfrm>
            <a:custGeom>
              <a:avLst/>
              <a:gdLst>
                <a:gd name="T0" fmla="*/ 250 w 336"/>
                <a:gd name="T1" fmla="*/ 316 h 317"/>
                <a:gd name="T2" fmla="*/ 300 w 336"/>
                <a:gd name="T3" fmla="*/ 263 h 317"/>
                <a:gd name="T4" fmla="*/ 312 w 336"/>
                <a:gd name="T5" fmla="*/ 229 h 317"/>
                <a:gd name="T6" fmla="*/ 320 w 336"/>
                <a:gd name="T7" fmla="*/ 225 h 317"/>
                <a:gd name="T8" fmla="*/ 326 w 336"/>
                <a:gd name="T9" fmla="*/ 197 h 317"/>
                <a:gd name="T10" fmla="*/ 320 w 336"/>
                <a:gd name="T11" fmla="*/ 183 h 317"/>
                <a:gd name="T12" fmla="*/ 323 w 336"/>
                <a:gd name="T13" fmla="*/ 147 h 317"/>
                <a:gd name="T14" fmla="*/ 333 w 336"/>
                <a:gd name="T15" fmla="*/ 115 h 317"/>
                <a:gd name="T16" fmla="*/ 336 w 336"/>
                <a:gd name="T17" fmla="*/ 56 h 317"/>
                <a:gd name="T18" fmla="*/ 314 w 336"/>
                <a:gd name="T19" fmla="*/ 40 h 317"/>
                <a:gd name="T20" fmla="*/ 293 w 336"/>
                <a:gd name="T21" fmla="*/ 37 h 317"/>
                <a:gd name="T22" fmla="*/ 284 w 336"/>
                <a:gd name="T23" fmla="*/ 26 h 317"/>
                <a:gd name="T24" fmla="*/ 264 w 336"/>
                <a:gd name="T25" fmla="*/ 16 h 317"/>
                <a:gd name="T26" fmla="*/ 228 w 336"/>
                <a:gd name="T27" fmla="*/ 17 h 317"/>
                <a:gd name="T28" fmla="*/ 226 w 336"/>
                <a:gd name="T29" fmla="*/ 0 h 317"/>
                <a:gd name="T30" fmla="*/ 192 w 336"/>
                <a:gd name="T31" fmla="*/ 6 h 317"/>
                <a:gd name="T32" fmla="*/ 166 w 336"/>
                <a:gd name="T33" fmla="*/ 24 h 317"/>
                <a:gd name="T34" fmla="*/ 160 w 336"/>
                <a:gd name="T35" fmla="*/ 40 h 317"/>
                <a:gd name="T36" fmla="*/ 144 w 336"/>
                <a:gd name="T37" fmla="*/ 44 h 317"/>
                <a:gd name="T38" fmla="*/ 104 w 336"/>
                <a:gd name="T39" fmla="*/ 83 h 317"/>
                <a:gd name="T40" fmla="*/ 79 w 336"/>
                <a:gd name="T41" fmla="*/ 113 h 317"/>
                <a:gd name="T42" fmla="*/ 63 w 336"/>
                <a:gd name="T43" fmla="*/ 114 h 317"/>
                <a:gd name="T44" fmla="*/ 49 w 336"/>
                <a:gd name="T45" fmla="*/ 109 h 317"/>
                <a:gd name="T46" fmla="*/ 0 w 336"/>
                <a:gd name="T47" fmla="*/ 104 h 317"/>
                <a:gd name="T48" fmla="*/ 16 w 336"/>
                <a:gd name="T49" fmla="*/ 141 h 317"/>
                <a:gd name="T50" fmla="*/ 24 w 336"/>
                <a:gd name="T51" fmla="*/ 150 h 317"/>
                <a:gd name="T52" fmla="*/ 37 w 336"/>
                <a:gd name="T53" fmla="*/ 177 h 317"/>
                <a:gd name="T54" fmla="*/ 84 w 336"/>
                <a:gd name="T55" fmla="*/ 229 h 317"/>
                <a:gd name="T56" fmla="*/ 103 w 336"/>
                <a:gd name="T57" fmla="*/ 234 h 317"/>
                <a:gd name="T58" fmla="*/ 102 w 336"/>
                <a:gd name="T59" fmla="*/ 250 h 317"/>
                <a:gd name="T60" fmla="*/ 113 w 336"/>
                <a:gd name="T61" fmla="*/ 280 h 317"/>
                <a:gd name="T62" fmla="*/ 147 w 336"/>
                <a:gd name="T63" fmla="*/ 287 h 317"/>
                <a:gd name="T64" fmla="*/ 174 w 336"/>
                <a:gd name="T65" fmla="*/ 309 h 317"/>
                <a:gd name="T66" fmla="*/ 192 w 336"/>
                <a:gd name="T67" fmla="*/ 309 h 317"/>
                <a:gd name="T68" fmla="*/ 213 w 336"/>
                <a:gd name="T69" fmla="*/ 317 h 317"/>
                <a:gd name="T70" fmla="*/ 228 w 336"/>
                <a:gd name="T71" fmla="*/ 311 h 317"/>
                <a:gd name="T72" fmla="*/ 250 w 336"/>
                <a:gd name="T73" fmla="*/ 316 h 317"/>
                <a:gd name="T74" fmla="*/ 250 w 336"/>
                <a:gd name="T75"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7">
                  <a:moveTo>
                    <a:pt x="250" y="316"/>
                  </a:moveTo>
                  <a:lnTo>
                    <a:pt x="300" y="263"/>
                  </a:lnTo>
                  <a:lnTo>
                    <a:pt x="312" y="229"/>
                  </a:lnTo>
                  <a:lnTo>
                    <a:pt x="320" y="225"/>
                  </a:lnTo>
                  <a:lnTo>
                    <a:pt x="326" y="197"/>
                  </a:lnTo>
                  <a:lnTo>
                    <a:pt x="320" y="183"/>
                  </a:lnTo>
                  <a:lnTo>
                    <a:pt x="323" y="147"/>
                  </a:lnTo>
                  <a:lnTo>
                    <a:pt x="333" y="115"/>
                  </a:lnTo>
                  <a:lnTo>
                    <a:pt x="336" y="56"/>
                  </a:lnTo>
                  <a:lnTo>
                    <a:pt x="314" y="40"/>
                  </a:lnTo>
                  <a:lnTo>
                    <a:pt x="293" y="37"/>
                  </a:lnTo>
                  <a:lnTo>
                    <a:pt x="284" y="26"/>
                  </a:lnTo>
                  <a:lnTo>
                    <a:pt x="264" y="16"/>
                  </a:lnTo>
                  <a:lnTo>
                    <a:pt x="228" y="17"/>
                  </a:lnTo>
                  <a:lnTo>
                    <a:pt x="226" y="0"/>
                  </a:lnTo>
                  <a:lnTo>
                    <a:pt x="192" y="6"/>
                  </a:lnTo>
                  <a:lnTo>
                    <a:pt x="166" y="24"/>
                  </a:lnTo>
                  <a:lnTo>
                    <a:pt x="160" y="40"/>
                  </a:lnTo>
                  <a:lnTo>
                    <a:pt x="144" y="44"/>
                  </a:lnTo>
                  <a:lnTo>
                    <a:pt x="104" y="83"/>
                  </a:lnTo>
                  <a:lnTo>
                    <a:pt x="79" y="113"/>
                  </a:lnTo>
                  <a:lnTo>
                    <a:pt x="63" y="114"/>
                  </a:lnTo>
                  <a:lnTo>
                    <a:pt x="49" y="109"/>
                  </a:lnTo>
                  <a:lnTo>
                    <a:pt x="0" y="104"/>
                  </a:lnTo>
                  <a:lnTo>
                    <a:pt x="16" y="141"/>
                  </a:lnTo>
                  <a:lnTo>
                    <a:pt x="24" y="150"/>
                  </a:lnTo>
                  <a:lnTo>
                    <a:pt x="37" y="177"/>
                  </a:lnTo>
                  <a:lnTo>
                    <a:pt x="84" y="229"/>
                  </a:lnTo>
                  <a:lnTo>
                    <a:pt x="103" y="234"/>
                  </a:lnTo>
                  <a:lnTo>
                    <a:pt x="102" y="250"/>
                  </a:lnTo>
                  <a:lnTo>
                    <a:pt x="113" y="280"/>
                  </a:lnTo>
                  <a:lnTo>
                    <a:pt x="147" y="287"/>
                  </a:lnTo>
                  <a:lnTo>
                    <a:pt x="174" y="309"/>
                  </a:lnTo>
                  <a:lnTo>
                    <a:pt x="192" y="309"/>
                  </a:lnTo>
                  <a:lnTo>
                    <a:pt x="213" y="317"/>
                  </a:lnTo>
                  <a:lnTo>
                    <a:pt x="228" y="311"/>
                  </a:lnTo>
                  <a:lnTo>
                    <a:pt x="250" y="316"/>
                  </a:lnTo>
                  <a:lnTo>
                    <a:pt x="250" y="3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3" name="Somalia">
              <a:extLst>
                <a:ext uri="{FF2B5EF4-FFF2-40B4-BE49-F238E27FC236}">
                  <a16:creationId xmlns:a16="http://schemas.microsoft.com/office/drawing/2014/main" id="{5098A9A4-43A2-9131-7124-745945563236}"/>
                </a:ext>
              </a:extLst>
            </p:cNvPr>
            <p:cNvSpPr>
              <a:spLocks/>
            </p:cNvSpPr>
            <p:nvPr/>
          </p:nvSpPr>
          <p:spPr bwMode="auto">
            <a:xfrm>
              <a:off x="8994079" y="2667925"/>
              <a:ext cx="698500" cy="1020763"/>
            </a:xfrm>
            <a:custGeom>
              <a:avLst/>
              <a:gdLst>
                <a:gd name="T0" fmla="*/ 131 w 440"/>
                <a:gd name="T1" fmla="*/ 74 h 643"/>
                <a:gd name="T2" fmla="*/ 111 w 440"/>
                <a:gd name="T3" fmla="*/ 54 h 643"/>
                <a:gd name="T4" fmla="*/ 101 w 440"/>
                <a:gd name="T5" fmla="*/ 35 h 643"/>
                <a:gd name="T6" fmla="*/ 86 w 440"/>
                <a:gd name="T7" fmla="*/ 26 h 643"/>
                <a:gd name="T8" fmla="*/ 70 w 440"/>
                <a:gd name="T9" fmla="*/ 51 h 643"/>
                <a:gd name="T10" fmla="*/ 61 w 440"/>
                <a:gd name="T11" fmla="*/ 68 h 643"/>
                <a:gd name="T12" fmla="*/ 80 w 440"/>
                <a:gd name="T13" fmla="*/ 94 h 643"/>
                <a:gd name="T14" fmla="*/ 96 w 440"/>
                <a:gd name="T15" fmla="*/ 116 h 643"/>
                <a:gd name="T16" fmla="*/ 113 w 440"/>
                <a:gd name="T17" fmla="*/ 133 h 643"/>
                <a:gd name="T18" fmla="*/ 260 w 440"/>
                <a:gd name="T19" fmla="*/ 189 h 643"/>
                <a:gd name="T20" fmla="*/ 299 w 440"/>
                <a:gd name="T21" fmla="*/ 188 h 643"/>
                <a:gd name="T22" fmla="*/ 176 w 440"/>
                <a:gd name="T23" fmla="*/ 329 h 643"/>
                <a:gd name="T24" fmla="*/ 118 w 440"/>
                <a:gd name="T25" fmla="*/ 332 h 643"/>
                <a:gd name="T26" fmla="*/ 79 w 440"/>
                <a:gd name="T27" fmla="*/ 365 h 643"/>
                <a:gd name="T28" fmla="*/ 50 w 440"/>
                <a:gd name="T29" fmla="*/ 366 h 643"/>
                <a:gd name="T30" fmla="*/ 38 w 440"/>
                <a:gd name="T31" fmla="*/ 380 h 643"/>
                <a:gd name="T32" fmla="*/ 0 w 440"/>
                <a:gd name="T33" fmla="*/ 434 h 643"/>
                <a:gd name="T34" fmla="*/ 1 w 440"/>
                <a:gd name="T35" fmla="*/ 605 h 643"/>
                <a:gd name="T36" fmla="*/ 27 w 440"/>
                <a:gd name="T37" fmla="*/ 643 h 643"/>
                <a:gd name="T38" fmla="*/ 37 w 440"/>
                <a:gd name="T39" fmla="*/ 632 h 643"/>
                <a:gd name="T40" fmla="*/ 48 w 440"/>
                <a:gd name="T41" fmla="*/ 608 h 643"/>
                <a:gd name="T42" fmla="*/ 97 w 440"/>
                <a:gd name="T43" fmla="*/ 551 h 643"/>
                <a:gd name="T44" fmla="*/ 139 w 440"/>
                <a:gd name="T45" fmla="*/ 515 h 643"/>
                <a:gd name="T46" fmla="*/ 205 w 440"/>
                <a:gd name="T47" fmla="*/ 469 h 643"/>
                <a:gd name="T48" fmla="*/ 249 w 440"/>
                <a:gd name="T49" fmla="*/ 430 h 643"/>
                <a:gd name="T50" fmla="*/ 301 w 440"/>
                <a:gd name="T51" fmla="*/ 367 h 643"/>
                <a:gd name="T52" fmla="*/ 337 w 440"/>
                <a:gd name="T53" fmla="*/ 314 h 643"/>
                <a:gd name="T54" fmla="*/ 374 w 440"/>
                <a:gd name="T55" fmla="*/ 245 h 643"/>
                <a:gd name="T56" fmla="*/ 399 w 440"/>
                <a:gd name="T57" fmla="*/ 185 h 643"/>
                <a:gd name="T58" fmla="*/ 419 w 440"/>
                <a:gd name="T59" fmla="*/ 132 h 643"/>
                <a:gd name="T60" fmla="*/ 430 w 440"/>
                <a:gd name="T61" fmla="*/ 81 h 643"/>
                <a:gd name="T62" fmla="*/ 438 w 440"/>
                <a:gd name="T63" fmla="*/ 64 h 643"/>
                <a:gd name="T64" fmla="*/ 437 w 440"/>
                <a:gd name="T65" fmla="*/ 40 h 643"/>
                <a:gd name="T66" fmla="*/ 440 w 440"/>
                <a:gd name="T67" fmla="*/ 13 h 643"/>
                <a:gd name="T68" fmla="*/ 438 w 440"/>
                <a:gd name="T69" fmla="*/ 0 h 643"/>
                <a:gd name="T70" fmla="*/ 421 w 440"/>
                <a:gd name="T71" fmla="*/ 0 h 643"/>
                <a:gd name="T72" fmla="*/ 401 w 440"/>
                <a:gd name="T73" fmla="*/ 16 h 643"/>
                <a:gd name="T74" fmla="*/ 378 w 440"/>
                <a:gd name="T75" fmla="*/ 20 h 643"/>
                <a:gd name="T76" fmla="*/ 358 w 440"/>
                <a:gd name="T77" fmla="*/ 28 h 643"/>
                <a:gd name="T78" fmla="*/ 343 w 440"/>
                <a:gd name="T79" fmla="*/ 29 h 643"/>
                <a:gd name="T80" fmla="*/ 343 w 440"/>
                <a:gd name="T81" fmla="*/ 29 h 643"/>
                <a:gd name="T82" fmla="*/ 319 w 440"/>
                <a:gd name="T83" fmla="*/ 30 h 643"/>
                <a:gd name="T84" fmla="*/ 303 w 440"/>
                <a:gd name="T85" fmla="*/ 39 h 643"/>
                <a:gd name="T86" fmla="*/ 281 w 440"/>
                <a:gd name="T87" fmla="*/ 42 h 643"/>
                <a:gd name="T88" fmla="*/ 243 w 440"/>
                <a:gd name="T89" fmla="*/ 57 h 643"/>
                <a:gd name="T90" fmla="*/ 195 w 440"/>
                <a:gd name="T91" fmla="*/ 62 h 643"/>
                <a:gd name="T92" fmla="*/ 153 w 440"/>
                <a:gd name="T93" fmla="*/ 74 h 643"/>
                <a:gd name="T94" fmla="*/ 131 w 440"/>
                <a:gd name="T95" fmla="*/ 74 h 643"/>
                <a:gd name="T96" fmla="*/ 131 w 440"/>
                <a:gd name="T97" fmla="*/ 7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0" h="643">
                  <a:moveTo>
                    <a:pt x="131" y="74"/>
                  </a:moveTo>
                  <a:lnTo>
                    <a:pt x="111" y="54"/>
                  </a:lnTo>
                  <a:lnTo>
                    <a:pt x="101" y="35"/>
                  </a:lnTo>
                  <a:lnTo>
                    <a:pt x="86" y="26"/>
                  </a:lnTo>
                  <a:lnTo>
                    <a:pt x="70" y="51"/>
                  </a:lnTo>
                  <a:lnTo>
                    <a:pt x="61" y="68"/>
                  </a:lnTo>
                  <a:lnTo>
                    <a:pt x="80" y="94"/>
                  </a:lnTo>
                  <a:lnTo>
                    <a:pt x="96" y="116"/>
                  </a:lnTo>
                  <a:lnTo>
                    <a:pt x="113" y="133"/>
                  </a:lnTo>
                  <a:lnTo>
                    <a:pt x="260" y="189"/>
                  </a:lnTo>
                  <a:lnTo>
                    <a:pt x="299" y="188"/>
                  </a:lnTo>
                  <a:lnTo>
                    <a:pt x="176" y="329"/>
                  </a:lnTo>
                  <a:lnTo>
                    <a:pt x="118" y="332"/>
                  </a:lnTo>
                  <a:lnTo>
                    <a:pt x="79" y="365"/>
                  </a:lnTo>
                  <a:lnTo>
                    <a:pt x="50" y="366"/>
                  </a:lnTo>
                  <a:lnTo>
                    <a:pt x="38" y="380"/>
                  </a:lnTo>
                  <a:lnTo>
                    <a:pt x="0" y="434"/>
                  </a:lnTo>
                  <a:lnTo>
                    <a:pt x="1" y="605"/>
                  </a:lnTo>
                  <a:lnTo>
                    <a:pt x="27" y="643"/>
                  </a:lnTo>
                  <a:lnTo>
                    <a:pt x="37" y="632"/>
                  </a:lnTo>
                  <a:lnTo>
                    <a:pt x="48" y="608"/>
                  </a:lnTo>
                  <a:lnTo>
                    <a:pt x="97" y="551"/>
                  </a:lnTo>
                  <a:lnTo>
                    <a:pt x="139" y="515"/>
                  </a:lnTo>
                  <a:lnTo>
                    <a:pt x="205" y="469"/>
                  </a:lnTo>
                  <a:lnTo>
                    <a:pt x="249" y="430"/>
                  </a:lnTo>
                  <a:lnTo>
                    <a:pt x="301" y="367"/>
                  </a:lnTo>
                  <a:lnTo>
                    <a:pt x="337" y="314"/>
                  </a:lnTo>
                  <a:lnTo>
                    <a:pt x="374" y="245"/>
                  </a:lnTo>
                  <a:lnTo>
                    <a:pt x="399" y="185"/>
                  </a:lnTo>
                  <a:lnTo>
                    <a:pt x="419" y="132"/>
                  </a:lnTo>
                  <a:lnTo>
                    <a:pt x="430" y="81"/>
                  </a:lnTo>
                  <a:lnTo>
                    <a:pt x="438" y="64"/>
                  </a:lnTo>
                  <a:lnTo>
                    <a:pt x="437" y="40"/>
                  </a:lnTo>
                  <a:lnTo>
                    <a:pt x="440" y="13"/>
                  </a:lnTo>
                  <a:lnTo>
                    <a:pt x="438" y="0"/>
                  </a:lnTo>
                  <a:lnTo>
                    <a:pt x="421" y="0"/>
                  </a:lnTo>
                  <a:lnTo>
                    <a:pt x="401" y="16"/>
                  </a:lnTo>
                  <a:lnTo>
                    <a:pt x="378" y="20"/>
                  </a:lnTo>
                  <a:lnTo>
                    <a:pt x="358" y="28"/>
                  </a:lnTo>
                  <a:lnTo>
                    <a:pt x="343" y="29"/>
                  </a:lnTo>
                  <a:lnTo>
                    <a:pt x="343" y="29"/>
                  </a:lnTo>
                  <a:lnTo>
                    <a:pt x="319" y="30"/>
                  </a:lnTo>
                  <a:lnTo>
                    <a:pt x="303" y="39"/>
                  </a:lnTo>
                  <a:lnTo>
                    <a:pt x="281" y="42"/>
                  </a:lnTo>
                  <a:lnTo>
                    <a:pt x="243" y="57"/>
                  </a:lnTo>
                  <a:lnTo>
                    <a:pt x="195" y="62"/>
                  </a:lnTo>
                  <a:lnTo>
                    <a:pt x="153" y="74"/>
                  </a:lnTo>
                  <a:lnTo>
                    <a:pt x="131" y="74"/>
                  </a:lnTo>
                  <a:lnTo>
                    <a:pt x="131" y="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grpSp>
        <p:nvGrpSpPr>
          <p:cNvPr id="94" name="Grupo 93">
            <a:extLst>
              <a:ext uri="{FF2B5EF4-FFF2-40B4-BE49-F238E27FC236}">
                <a16:creationId xmlns:a16="http://schemas.microsoft.com/office/drawing/2014/main" id="{12EF0145-02C1-D272-C9B5-ECE19D509545}"/>
              </a:ext>
            </a:extLst>
          </p:cNvPr>
          <p:cNvGrpSpPr/>
          <p:nvPr/>
        </p:nvGrpSpPr>
        <p:grpSpPr>
          <a:xfrm>
            <a:off x="3664759" y="9241289"/>
            <a:ext cx="3403474" cy="1901556"/>
            <a:chOff x="7291812" y="2223515"/>
            <a:chExt cx="3403474" cy="1901556"/>
          </a:xfrm>
        </p:grpSpPr>
        <p:sp>
          <p:nvSpPr>
            <p:cNvPr id="95" name="Etiquette - Rwanda">
              <a:extLst>
                <a:ext uri="{FF2B5EF4-FFF2-40B4-BE49-F238E27FC236}">
                  <a16:creationId xmlns:a16="http://schemas.microsoft.com/office/drawing/2014/main" id="{282E2E5F-9BE3-A8FD-D4C3-E39071D7F940}"/>
                </a:ext>
              </a:extLst>
            </p:cNvPr>
            <p:cNvSpPr>
              <a:spLocks noChangeAspect="1" noChangeArrowheads="1"/>
            </p:cNvSpPr>
            <p:nvPr>
              <p:custDataLst>
                <p:tags r:id="rId1"/>
              </p:custDataLst>
            </p:nvPr>
          </p:nvSpPr>
          <p:spPr bwMode="auto">
            <a:xfrm>
              <a:off x="9847426" y="3615157"/>
              <a:ext cx="71284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Rwanda</a:t>
              </a:r>
              <a:endParaRPr kumimoji="0" lang="en-US" altLang="fr-FR" sz="14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6" name="Etiquette - Burundi">
              <a:extLst>
                <a:ext uri="{FF2B5EF4-FFF2-40B4-BE49-F238E27FC236}">
                  <a16:creationId xmlns:a16="http://schemas.microsoft.com/office/drawing/2014/main" id="{87B5186B-F67A-6EAA-9DF5-1DBA17F6D1DB}"/>
                </a:ext>
              </a:extLst>
            </p:cNvPr>
            <p:cNvSpPr>
              <a:spLocks noChangeAspect="1" noChangeArrowheads="1"/>
            </p:cNvSpPr>
            <p:nvPr>
              <p:custDataLst>
                <p:tags r:id="rId2"/>
              </p:custDataLst>
            </p:nvPr>
          </p:nvSpPr>
          <p:spPr bwMode="auto">
            <a:xfrm>
              <a:off x="9461089" y="3762003"/>
              <a:ext cx="73972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Burundi</a:t>
              </a:r>
              <a:endParaRPr kumimoji="0" lang="en-US" altLang="fr-FR" sz="14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7" name="Etiquette - United Republic of Tanzania">
              <a:extLst>
                <a:ext uri="{FF2B5EF4-FFF2-40B4-BE49-F238E27FC236}">
                  <a16:creationId xmlns:a16="http://schemas.microsoft.com/office/drawing/2014/main" id="{C6BFB333-BCC3-FED3-B50F-329479A07234}"/>
                </a:ext>
              </a:extLst>
            </p:cNvPr>
            <p:cNvSpPr>
              <a:spLocks noChangeAspect="1" noChangeArrowheads="1"/>
            </p:cNvSpPr>
            <p:nvPr>
              <p:custDataLst>
                <p:tags r:id="rId3"/>
              </p:custDataLst>
            </p:nvPr>
          </p:nvSpPr>
          <p:spPr bwMode="auto">
            <a:xfrm>
              <a:off x="8195781" y="3940404"/>
              <a:ext cx="103605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Tanzani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98" name="Etiquette - Sudan">
              <a:extLst>
                <a:ext uri="{FF2B5EF4-FFF2-40B4-BE49-F238E27FC236}">
                  <a16:creationId xmlns:a16="http://schemas.microsoft.com/office/drawing/2014/main" id="{D6017DDC-C18D-63A1-5B09-86B24D88CDA3}"/>
                </a:ext>
              </a:extLst>
            </p:cNvPr>
            <p:cNvSpPr>
              <a:spLocks noChangeAspect="1" noChangeArrowheads="1"/>
            </p:cNvSpPr>
            <p:nvPr>
              <p:custDataLst>
                <p:tags r:id="rId4"/>
              </p:custDataLst>
            </p:nvPr>
          </p:nvSpPr>
          <p:spPr bwMode="auto">
            <a:xfrm>
              <a:off x="7763418" y="2223515"/>
              <a:ext cx="9433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20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Sudan</a:t>
              </a:r>
            </a:p>
          </p:txBody>
        </p:sp>
        <p:sp>
          <p:nvSpPr>
            <p:cNvPr id="99" name="Etiquette - The Democratic Republic of the Congo">
              <a:extLst>
                <a:ext uri="{FF2B5EF4-FFF2-40B4-BE49-F238E27FC236}">
                  <a16:creationId xmlns:a16="http://schemas.microsoft.com/office/drawing/2014/main" id="{7C16D134-9E90-E485-0E4D-430548EC88D2}"/>
                </a:ext>
              </a:extLst>
            </p:cNvPr>
            <p:cNvSpPr>
              <a:spLocks noChangeArrowheads="1"/>
            </p:cNvSpPr>
            <p:nvPr>
              <p:custDataLst>
                <p:tags r:id="rId5"/>
              </p:custDataLst>
            </p:nvPr>
          </p:nvSpPr>
          <p:spPr bwMode="auto">
            <a:xfrm>
              <a:off x="7291812" y="3561929"/>
              <a:ext cx="10424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6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Congo</a:t>
              </a:r>
              <a:endParaRPr kumimoji="0" lang="en-US" altLang="fr-FR" sz="3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1" name="Etiquette - Kenya">
              <a:extLst>
                <a:ext uri="{FF2B5EF4-FFF2-40B4-BE49-F238E27FC236}">
                  <a16:creationId xmlns:a16="http://schemas.microsoft.com/office/drawing/2014/main" id="{DB1E76EA-1B3C-66D5-DBAA-7645DAC2B9D7}"/>
                </a:ext>
              </a:extLst>
            </p:cNvPr>
            <p:cNvSpPr>
              <a:spLocks noChangeAspect="1" noChangeArrowheads="1"/>
            </p:cNvSpPr>
            <p:nvPr>
              <p:custDataLst>
                <p:tags r:id="rId6"/>
              </p:custDataLst>
            </p:nvPr>
          </p:nvSpPr>
          <p:spPr bwMode="auto">
            <a:xfrm>
              <a:off x="8699399" y="3451747"/>
              <a:ext cx="61035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Keny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2" name="Etiquette - ">
              <a:extLst>
                <a:ext uri="{FF2B5EF4-FFF2-40B4-BE49-F238E27FC236}">
                  <a16:creationId xmlns:a16="http://schemas.microsoft.com/office/drawing/2014/main" id="{13AAEEF4-AF75-2F52-46AA-0E4C6E504545}"/>
                </a:ext>
              </a:extLst>
            </p:cNvPr>
            <p:cNvSpPr>
              <a:spLocks noChangeShapeType="1"/>
            </p:cNvSpPr>
            <p:nvPr>
              <p:custDataLst>
                <p:tags r:id="rId7"/>
              </p:custDataLst>
            </p:nvPr>
          </p:nvSpPr>
          <p:spPr bwMode="auto">
            <a:xfrm>
              <a:off x="8340357" y="3693265"/>
              <a:ext cx="1454602" cy="0"/>
            </a:xfrm>
            <a:prstGeom prst="line">
              <a:avLst/>
            </a:prstGeom>
            <a:noFill/>
            <a:ln w="6350" cap="rnd">
              <a:solidFill>
                <a:schemeClr val="tx1">
                  <a:lumMod val="65000"/>
                  <a:lumOff val="35000"/>
                </a:schemeClr>
              </a:solidFill>
              <a:prstDash val="sysDot"/>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03" name="Etiquette - ">
              <a:extLst>
                <a:ext uri="{FF2B5EF4-FFF2-40B4-BE49-F238E27FC236}">
                  <a16:creationId xmlns:a16="http://schemas.microsoft.com/office/drawing/2014/main" id="{7FD20B6C-3608-A1E1-85DC-E20ADFEFE74B}"/>
                </a:ext>
              </a:extLst>
            </p:cNvPr>
            <p:cNvSpPr>
              <a:spLocks noChangeShapeType="1"/>
            </p:cNvSpPr>
            <p:nvPr>
              <p:custDataLst>
                <p:tags r:id="rId8"/>
              </p:custDataLst>
            </p:nvPr>
          </p:nvSpPr>
          <p:spPr bwMode="auto">
            <a:xfrm>
              <a:off x="8317182" y="3832202"/>
              <a:ext cx="1115195" cy="0"/>
            </a:xfrm>
            <a:prstGeom prst="line">
              <a:avLst/>
            </a:prstGeom>
            <a:noFill/>
            <a:ln w="6350" cap="rnd">
              <a:solidFill>
                <a:schemeClr val="tx1">
                  <a:lumMod val="65000"/>
                  <a:lumOff val="35000"/>
                </a:schemeClr>
              </a:solidFill>
              <a:prstDash val="sysDot"/>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04" name="Etiquette - South Sudan">
              <a:extLst>
                <a:ext uri="{FF2B5EF4-FFF2-40B4-BE49-F238E27FC236}">
                  <a16:creationId xmlns:a16="http://schemas.microsoft.com/office/drawing/2014/main" id="{B7847740-0472-B9D3-243F-95BFE8EFEAE7}"/>
                </a:ext>
              </a:extLst>
            </p:cNvPr>
            <p:cNvSpPr>
              <a:spLocks noChangeArrowheads="1"/>
            </p:cNvSpPr>
            <p:nvPr>
              <p:custDataLst>
                <p:tags r:id="rId9"/>
              </p:custDataLst>
            </p:nvPr>
          </p:nvSpPr>
          <p:spPr bwMode="auto">
            <a:xfrm>
              <a:off x="8047962" y="2874601"/>
              <a:ext cx="607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prstClr val="white"/>
                  </a:solidFill>
                  <a:effectLst/>
                  <a:uLnTx/>
                  <a:uFillTx/>
                  <a:latin typeface="Poppins Light" panose="00000400000000000000" pitchFamily="2" charset="0"/>
                  <a:ea typeface="+mn-ea"/>
                  <a:cs typeface="Poppins Light" panose="00000400000000000000" pitchFamily="2" charset="0"/>
                </a:rPr>
                <a:t>South Sudan</a:t>
              </a:r>
              <a:endParaRPr kumimoji="0" lang="en-US" altLang="fr-FR" sz="1400" b="0" i="0" u="none" strike="noStrike" kern="0" cap="none" spc="0" normalizeH="0" baseline="0" noProof="0" dirty="0">
                <a:ln>
                  <a:noFill/>
                </a:ln>
                <a:solidFill>
                  <a:prstClr val="white"/>
                </a:solidFill>
                <a:effectLst/>
                <a:uLnTx/>
                <a:uFillTx/>
                <a:latin typeface="Poppins Light" panose="00000400000000000000" pitchFamily="2" charset="0"/>
                <a:ea typeface="+mn-ea"/>
                <a:cs typeface="Poppins Light" panose="00000400000000000000" pitchFamily="2" charset="0"/>
              </a:endParaRPr>
            </a:p>
          </p:txBody>
        </p:sp>
        <p:sp>
          <p:nvSpPr>
            <p:cNvPr id="105" name="Etiquette - Rwanda">
              <a:extLst>
                <a:ext uri="{FF2B5EF4-FFF2-40B4-BE49-F238E27FC236}">
                  <a16:creationId xmlns:a16="http://schemas.microsoft.com/office/drawing/2014/main" id="{300EE7B1-8652-ED5F-C766-AFF5C65D9C67}"/>
                </a:ext>
              </a:extLst>
            </p:cNvPr>
            <p:cNvSpPr>
              <a:spLocks noChangeAspect="1" noChangeArrowheads="1"/>
            </p:cNvSpPr>
            <p:nvPr>
              <p:custDataLst>
                <p:tags r:id="rId10"/>
              </p:custDataLst>
            </p:nvPr>
          </p:nvSpPr>
          <p:spPr bwMode="auto">
            <a:xfrm>
              <a:off x="9982442" y="3319810"/>
              <a:ext cx="71284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Uganda</a:t>
              </a:r>
              <a:endParaRPr kumimoji="0" lang="en-US" altLang="fr-FR" sz="14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106" name="Etiquette - ">
              <a:extLst>
                <a:ext uri="{FF2B5EF4-FFF2-40B4-BE49-F238E27FC236}">
                  <a16:creationId xmlns:a16="http://schemas.microsoft.com/office/drawing/2014/main" id="{8069C42F-1325-D80F-D541-14895A94DDF1}"/>
                </a:ext>
              </a:extLst>
            </p:cNvPr>
            <p:cNvSpPr>
              <a:spLocks noChangeShapeType="1"/>
            </p:cNvSpPr>
            <p:nvPr>
              <p:custDataLst>
                <p:tags r:id="rId11"/>
              </p:custDataLst>
            </p:nvPr>
          </p:nvSpPr>
          <p:spPr bwMode="auto">
            <a:xfrm>
              <a:off x="8615629" y="3397918"/>
              <a:ext cx="1314345" cy="0"/>
            </a:xfrm>
            <a:prstGeom prst="line">
              <a:avLst/>
            </a:prstGeom>
            <a:noFill/>
            <a:ln w="6350" cap="rnd">
              <a:solidFill>
                <a:schemeClr val="tx1">
                  <a:lumMod val="65000"/>
                  <a:lumOff val="35000"/>
                </a:schemeClr>
              </a:solidFill>
              <a:prstDash val="sysDot"/>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pic>
        <p:nvPicPr>
          <p:cNvPr id="107" name="Imagen 106" descr="Un dibujo animado con letras&#10;&#10;Descripción generada automáticamente con confianza baja">
            <a:extLst>
              <a:ext uri="{FF2B5EF4-FFF2-40B4-BE49-F238E27FC236}">
                <a16:creationId xmlns:a16="http://schemas.microsoft.com/office/drawing/2014/main" id="{27BC342F-14A0-9B98-28BA-760B4CC02200}"/>
              </a:ext>
            </a:extLst>
          </p:cNvPr>
          <p:cNvPicPr>
            <a:picLocks noChangeAspect="1"/>
          </p:cNvPicPr>
          <p:nvPr/>
        </p:nvPicPr>
        <p:blipFill>
          <a:blip r:embed="rId13">
            <a:grayscl/>
            <a:alphaModFix amt="5000"/>
            <a:extLst>
              <a:ext uri="{28A0092B-C50C-407E-A947-70E740481C1C}">
                <a14:useLocalDpi xmlns:a14="http://schemas.microsoft.com/office/drawing/2010/main" val="0"/>
              </a:ext>
            </a:extLst>
          </a:blip>
          <a:stretch>
            <a:fillRect/>
          </a:stretch>
        </p:blipFill>
        <p:spPr>
          <a:xfrm>
            <a:off x="8797434" y="9834423"/>
            <a:ext cx="3278067" cy="2780503"/>
          </a:xfrm>
          <a:prstGeom prst="rect">
            <a:avLst/>
          </a:prstGeom>
        </p:spPr>
      </p:pic>
      <p:sp>
        <p:nvSpPr>
          <p:cNvPr id="108" name="CuadroTexto 107">
            <a:extLst>
              <a:ext uri="{FF2B5EF4-FFF2-40B4-BE49-F238E27FC236}">
                <a16:creationId xmlns:a16="http://schemas.microsoft.com/office/drawing/2014/main" id="{3CA36075-990C-2D77-8EDD-A2161D527B5C}"/>
              </a:ext>
            </a:extLst>
          </p:cNvPr>
          <p:cNvSpPr txBox="1"/>
          <p:nvPr/>
        </p:nvSpPr>
        <p:spPr>
          <a:xfrm>
            <a:off x="9359901" y="9371435"/>
            <a:ext cx="2553144"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Totals</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Sales Projections</a:t>
            </a:r>
            <a:endParaRPr kumimoji="0" lang="en-US" sz="3200" b="0" i="0" u="none" strike="noStrike" kern="1200" cap="none" spc="300" normalizeH="0" baseline="0" noProof="0" dirty="0">
              <a:ln>
                <a:noFill/>
              </a:ln>
              <a:solidFill>
                <a:srgbClr val="02AEF1"/>
              </a:solidFill>
              <a:effectLst/>
              <a:uLnTx/>
              <a:uFillTx/>
              <a:latin typeface="Oswald Light" pitchFamily="2" charset="0"/>
              <a:ea typeface="+mn-ea"/>
              <a:cs typeface="Poppins Light" panose="00000400000000000000" pitchFamily="2" charset="0"/>
            </a:endParaRPr>
          </a:p>
        </p:txBody>
      </p:sp>
      <p:grpSp>
        <p:nvGrpSpPr>
          <p:cNvPr id="109" name="Grupo 108">
            <a:extLst>
              <a:ext uri="{FF2B5EF4-FFF2-40B4-BE49-F238E27FC236}">
                <a16:creationId xmlns:a16="http://schemas.microsoft.com/office/drawing/2014/main" id="{4882AA8B-E1D7-3D88-5EF6-4D748E741C94}"/>
              </a:ext>
            </a:extLst>
          </p:cNvPr>
          <p:cNvGrpSpPr/>
          <p:nvPr/>
        </p:nvGrpSpPr>
        <p:grpSpPr>
          <a:xfrm>
            <a:off x="7310215" y="11331668"/>
            <a:ext cx="1724268" cy="1242388"/>
            <a:chOff x="8461813" y="1714612"/>
            <a:chExt cx="1724268" cy="1242388"/>
          </a:xfrm>
        </p:grpSpPr>
        <p:sp>
          <p:nvSpPr>
            <p:cNvPr id="110" name="Elipse 109">
              <a:extLst>
                <a:ext uri="{FF2B5EF4-FFF2-40B4-BE49-F238E27FC236}">
                  <a16:creationId xmlns:a16="http://schemas.microsoft.com/office/drawing/2014/main" id="{384A537C-1891-A773-9CC9-9AB169747E95}"/>
                </a:ext>
              </a:extLst>
            </p:cNvPr>
            <p:cNvSpPr/>
            <p:nvPr/>
          </p:nvSpPr>
          <p:spPr>
            <a:xfrm>
              <a:off x="8700897" y="1714612"/>
              <a:ext cx="1246100" cy="1242388"/>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CuadroTexto 110">
              <a:extLst>
                <a:ext uri="{FF2B5EF4-FFF2-40B4-BE49-F238E27FC236}">
                  <a16:creationId xmlns:a16="http://schemas.microsoft.com/office/drawing/2014/main" id="{39CBBBC2-7565-5086-3A2B-231982E8FFDB}"/>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a:t>
              </a:r>
            </a:p>
          </p:txBody>
        </p:sp>
        <p:sp>
          <p:nvSpPr>
            <p:cNvPr id="112" name="CuadroTexto 111">
              <a:extLst>
                <a:ext uri="{FF2B5EF4-FFF2-40B4-BE49-F238E27FC236}">
                  <a16:creationId xmlns:a16="http://schemas.microsoft.com/office/drawing/2014/main" id="{07E04D0B-1121-4066-58A4-DFEF1562F92B}"/>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8,312,72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3" name="Grupo 112">
            <a:extLst>
              <a:ext uri="{FF2B5EF4-FFF2-40B4-BE49-F238E27FC236}">
                <a16:creationId xmlns:a16="http://schemas.microsoft.com/office/drawing/2014/main" id="{E9D9C6BF-7B11-6377-6C5D-A7DBC6182F11}"/>
              </a:ext>
            </a:extLst>
          </p:cNvPr>
          <p:cNvGrpSpPr/>
          <p:nvPr/>
        </p:nvGrpSpPr>
        <p:grpSpPr>
          <a:xfrm>
            <a:off x="7310215" y="9729724"/>
            <a:ext cx="1724268" cy="1463580"/>
            <a:chOff x="8461813" y="1604016"/>
            <a:chExt cx="1724268" cy="1463580"/>
          </a:xfrm>
        </p:grpSpPr>
        <p:sp>
          <p:nvSpPr>
            <p:cNvPr id="114" name="Elipse 113">
              <a:extLst>
                <a:ext uri="{FF2B5EF4-FFF2-40B4-BE49-F238E27FC236}">
                  <a16:creationId xmlns:a16="http://schemas.microsoft.com/office/drawing/2014/main" id="{0C275537-37AE-1095-BE29-9962D5388A2F}"/>
                </a:ext>
              </a:extLst>
            </p:cNvPr>
            <p:cNvSpPr/>
            <p:nvPr/>
          </p:nvSpPr>
          <p:spPr>
            <a:xfrm>
              <a:off x="8589970" y="1604016"/>
              <a:ext cx="1467954" cy="1463580"/>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CuadroTexto 114">
              <a:extLst>
                <a:ext uri="{FF2B5EF4-FFF2-40B4-BE49-F238E27FC236}">
                  <a16:creationId xmlns:a16="http://schemas.microsoft.com/office/drawing/2014/main" id="{26421E34-8A8E-2BC2-C78C-89A2C2E9EF5E}"/>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a:t>
              </a:r>
            </a:p>
          </p:txBody>
        </p:sp>
        <p:sp>
          <p:nvSpPr>
            <p:cNvPr id="116" name="CuadroTexto 115">
              <a:extLst>
                <a:ext uri="{FF2B5EF4-FFF2-40B4-BE49-F238E27FC236}">
                  <a16:creationId xmlns:a16="http://schemas.microsoft.com/office/drawing/2014/main" id="{E4079471-E76C-E429-D3C2-D60F52229DF9}"/>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11,599,76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7" name="Grupo 116">
            <a:extLst>
              <a:ext uri="{FF2B5EF4-FFF2-40B4-BE49-F238E27FC236}">
                <a16:creationId xmlns:a16="http://schemas.microsoft.com/office/drawing/2014/main" id="{D2B79833-CAEB-0B18-DE83-FD75E5EEDD8A}"/>
              </a:ext>
            </a:extLst>
          </p:cNvPr>
          <p:cNvGrpSpPr/>
          <p:nvPr/>
        </p:nvGrpSpPr>
        <p:grpSpPr>
          <a:xfrm>
            <a:off x="7309286" y="7870376"/>
            <a:ext cx="1726126" cy="1720984"/>
            <a:chOff x="8460884" y="1475314"/>
            <a:chExt cx="1726126" cy="1720984"/>
          </a:xfrm>
        </p:grpSpPr>
        <p:sp>
          <p:nvSpPr>
            <p:cNvPr id="118" name="Elipse 117">
              <a:extLst>
                <a:ext uri="{FF2B5EF4-FFF2-40B4-BE49-F238E27FC236}">
                  <a16:creationId xmlns:a16="http://schemas.microsoft.com/office/drawing/2014/main" id="{77DE927E-3400-20F7-9C87-C3CA547AD68E}"/>
                </a:ext>
              </a:extLst>
            </p:cNvPr>
            <p:cNvSpPr/>
            <p:nvPr/>
          </p:nvSpPr>
          <p:spPr>
            <a:xfrm>
              <a:off x="8460884" y="1475314"/>
              <a:ext cx="1726126" cy="1720984"/>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CuadroTexto 118">
              <a:extLst>
                <a:ext uri="{FF2B5EF4-FFF2-40B4-BE49-F238E27FC236}">
                  <a16:creationId xmlns:a16="http://schemas.microsoft.com/office/drawing/2014/main" id="{2E449AB7-582A-0C8D-8640-9E95C08E7856}"/>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I</a:t>
              </a:r>
            </a:p>
          </p:txBody>
        </p:sp>
        <p:sp>
          <p:nvSpPr>
            <p:cNvPr id="120" name="CuadroTexto 119">
              <a:extLst>
                <a:ext uri="{FF2B5EF4-FFF2-40B4-BE49-F238E27FC236}">
                  <a16:creationId xmlns:a16="http://schemas.microsoft.com/office/drawing/2014/main" id="{6F544A42-2555-B439-A59A-763A9BCF6123}"/>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16,224,34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sp>
        <p:nvSpPr>
          <p:cNvPr id="122" name="Rectángulo: esquinas redondeadas 44">
            <a:extLst>
              <a:ext uri="{FF2B5EF4-FFF2-40B4-BE49-F238E27FC236}">
                <a16:creationId xmlns:a16="http://schemas.microsoft.com/office/drawing/2014/main" id="{7B557538-03E7-72AB-2D38-F392D68428EC}"/>
              </a:ext>
            </a:extLst>
          </p:cNvPr>
          <p:cNvSpPr/>
          <p:nvPr/>
        </p:nvSpPr>
        <p:spPr>
          <a:xfrm flipH="1" flipV="1">
            <a:off x="569236" y="2235279"/>
            <a:ext cx="10507736"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23" name="Content Placeholder 5">
            <a:extLst>
              <a:ext uri="{FF2B5EF4-FFF2-40B4-BE49-F238E27FC236}">
                <a16:creationId xmlns:a16="http://schemas.microsoft.com/office/drawing/2014/main" id="{E7227288-402D-C8F6-73A5-5BFE75C426B1}"/>
              </a:ext>
            </a:extLst>
          </p:cNvPr>
          <p:cNvGraphicFramePr>
            <a:graphicFrameLocks/>
          </p:cNvGraphicFramePr>
          <p:nvPr>
            <p:extLst>
              <p:ext uri="{D42A27DB-BD31-4B8C-83A1-F6EECF244321}">
                <p14:modId xmlns:p14="http://schemas.microsoft.com/office/powerpoint/2010/main" val="649574184"/>
              </p:ext>
            </p:extLst>
          </p:nvPr>
        </p:nvGraphicFramePr>
        <p:xfrm>
          <a:off x="947452" y="2169801"/>
          <a:ext cx="9749562" cy="2172018"/>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CIF Price</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fontAlgn="ctr"/>
                      <a:r>
                        <a:rPr lang="en-US" sz="1600" b="0" u="none" strike="noStrike" dirty="0">
                          <a:solidFill>
                            <a:schemeClr val="bg1"/>
                          </a:solidFill>
                          <a:effectLst/>
                          <a:latin typeface="Oswald Medium" pitchFamily="2" charset="0"/>
                          <a:cs typeface="Poppins Light" panose="00000400000000000000" pitchFamily="2" charset="0"/>
                        </a:rPr>
                        <a:t>0.74</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USD</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PPB inspection</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75%</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1</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3023115"/>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Import declaration fee)</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2.25%</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2</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1991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RWL (Railway development levy)</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5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1</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088550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Duties</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0786050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Excise</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144580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Clearing charges</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3.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2</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5654783"/>
                  </a:ext>
                </a:extLst>
              </a:tr>
            </a:tbl>
          </a:graphicData>
        </a:graphic>
      </p:graphicFrame>
      <p:graphicFrame>
        <p:nvGraphicFramePr>
          <p:cNvPr id="124" name="Table 123">
            <a:extLst>
              <a:ext uri="{FF2B5EF4-FFF2-40B4-BE49-F238E27FC236}">
                <a16:creationId xmlns:a16="http://schemas.microsoft.com/office/drawing/2014/main" id="{4EC7A858-D1C1-4DE7-5697-3B5A0883A432}"/>
              </a:ext>
            </a:extLst>
          </p:cNvPr>
          <p:cNvGraphicFramePr>
            <a:graphicFrameLocks noGrp="1"/>
          </p:cNvGraphicFramePr>
          <p:nvPr>
            <p:extLst>
              <p:ext uri="{D42A27DB-BD31-4B8C-83A1-F6EECF244321}">
                <p14:modId xmlns:p14="http://schemas.microsoft.com/office/powerpoint/2010/main" val="4274584380"/>
              </p:ext>
            </p:extLst>
          </p:nvPr>
        </p:nvGraphicFramePr>
        <p:xfrm>
          <a:off x="943404" y="4308546"/>
          <a:ext cx="9749562" cy="540000"/>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163258051"/>
                    </a:ext>
                  </a:extLst>
                </a:gridCol>
                <a:gridCol w="2164441">
                  <a:extLst>
                    <a:ext uri="{9D8B030D-6E8A-4147-A177-3AD203B41FA5}">
                      <a16:colId xmlns:a16="http://schemas.microsoft.com/office/drawing/2014/main" val="922819454"/>
                    </a:ext>
                  </a:extLst>
                </a:gridCol>
                <a:gridCol w="2164441">
                  <a:extLst>
                    <a:ext uri="{9D8B030D-6E8A-4147-A177-3AD203B41FA5}">
                      <a16:colId xmlns:a16="http://schemas.microsoft.com/office/drawing/2014/main" val="551882697"/>
                    </a:ext>
                  </a:extLst>
                </a:gridCol>
                <a:gridCol w="2164441">
                  <a:extLst>
                    <a:ext uri="{9D8B030D-6E8A-4147-A177-3AD203B41FA5}">
                      <a16:colId xmlns:a16="http://schemas.microsoft.com/office/drawing/2014/main" val="4173541284"/>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Landing Cost</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fontAlgn="ctr"/>
                      <a:r>
                        <a:rPr lang="en-US" sz="1600" b="0" u="none" strike="noStrike" dirty="0">
                          <a:solidFill>
                            <a:schemeClr val="bg1"/>
                          </a:solidFill>
                          <a:effectLst/>
                          <a:latin typeface="Oswald Medium" pitchFamily="2" charset="0"/>
                          <a:cs typeface="Poppins Light" panose="00000400000000000000" pitchFamily="2" charset="0"/>
                        </a:rPr>
                        <a:t>0.79</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USD</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18840068"/>
                  </a:ext>
                </a:extLst>
              </a:tr>
            </a:tbl>
          </a:graphicData>
        </a:graphic>
      </p:graphicFrame>
      <p:graphicFrame>
        <p:nvGraphicFramePr>
          <p:cNvPr id="126" name="Table 125">
            <a:extLst>
              <a:ext uri="{FF2B5EF4-FFF2-40B4-BE49-F238E27FC236}">
                <a16:creationId xmlns:a16="http://schemas.microsoft.com/office/drawing/2014/main" id="{C5AA0F9D-5AF2-DE3E-21C5-5DE81305402A}"/>
              </a:ext>
            </a:extLst>
          </p:cNvPr>
          <p:cNvGraphicFramePr>
            <a:graphicFrameLocks noGrp="1"/>
          </p:cNvGraphicFramePr>
          <p:nvPr>
            <p:extLst>
              <p:ext uri="{D42A27DB-BD31-4B8C-83A1-F6EECF244321}">
                <p14:modId xmlns:p14="http://schemas.microsoft.com/office/powerpoint/2010/main" val="2463234044"/>
              </p:ext>
            </p:extLst>
          </p:nvPr>
        </p:nvGraphicFramePr>
        <p:xfrm>
          <a:off x="947122" y="5351660"/>
          <a:ext cx="9749562" cy="1088012"/>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243258227"/>
                    </a:ext>
                  </a:extLst>
                </a:gridCol>
                <a:gridCol w="2164441">
                  <a:extLst>
                    <a:ext uri="{9D8B030D-6E8A-4147-A177-3AD203B41FA5}">
                      <a16:colId xmlns:a16="http://schemas.microsoft.com/office/drawing/2014/main" val="2569726526"/>
                    </a:ext>
                  </a:extLst>
                </a:gridCol>
                <a:gridCol w="2164441">
                  <a:extLst>
                    <a:ext uri="{9D8B030D-6E8A-4147-A177-3AD203B41FA5}">
                      <a16:colId xmlns:a16="http://schemas.microsoft.com/office/drawing/2014/main" val="1174954117"/>
                    </a:ext>
                  </a:extLst>
                </a:gridCol>
                <a:gridCol w="2164441">
                  <a:extLst>
                    <a:ext uri="{9D8B030D-6E8A-4147-A177-3AD203B41FA5}">
                      <a16:colId xmlns:a16="http://schemas.microsoft.com/office/drawing/2014/main" val="3341710401"/>
                    </a:ext>
                  </a:extLst>
                </a:gridCol>
              </a:tblGrid>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Trade Discounts</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5.00%</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99</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860054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To Pharmacy markup</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2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19</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539471"/>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VAT</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0.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19</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05969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Public Price </a:t>
                      </a:r>
                      <a:r>
                        <a:rPr lang="en-US" sz="10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recommended but not enforced)</a:t>
                      </a:r>
                      <a:endPar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endParaRP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33.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58</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USD</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593760"/>
                  </a:ext>
                </a:extLst>
              </a:tr>
            </a:tbl>
          </a:graphicData>
        </a:graphic>
      </p:graphicFrame>
      <p:sp>
        <p:nvSpPr>
          <p:cNvPr id="127" name="TextBox 126">
            <a:extLst>
              <a:ext uri="{FF2B5EF4-FFF2-40B4-BE49-F238E27FC236}">
                <a16:creationId xmlns:a16="http://schemas.microsoft.com/office/drawing/2014/main" id="{C4A0CD66-E32A-B895-B43C-2C083EC3FB04}"/>
              </a:ext>
            </a:extLst>
          </p:cNvPr>
          <p:cNvSpPr txBox="1"/>
          <p:nvPr/>
        </p:nvSpPr>
        <p:spPr>
          <a:xfrm>
            <a:off x="5577605" y="771765"/>
            <a:ext cx="4702011" cy="369332"/>
          </a:xfrm>
          <a:prstGeom prst="rect">
            <a:avLst/>
          </a:prstGeom>
          <a:noFill/>
        </p:spPr>
        <p:txBody>
          <a:bodyPr wrap="square" rtlCol="0">
            <a:spAutoFit/>
          </a:bodyPr>
          <a:lstStyle/>
          <a:p>
            <a:r>
              <a:rPr lang="en-US" dirty="0"/>
              <a:t>Percentage                           Total             Currency</a:t>
            </a:r>
          </a:p>
        </p:txBody>
      </p:sp>
    </p:spTree>
    <p:extLst>
      <p:ext uri="{BB962C8B-B14F-4D97-AF65-F5344CB8AC3E}">
        <p14:creationId xmlns:p14="http://schemas.microsoft.com/office/powerpoint/2010/main" val="1793977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C44368-4866-6FC4-D3D3-EBA505AF697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4" name="TextBox 3">
            <a:extLst>
              <a:ext uri="{FF2B5EF4-FFF2-40B4-BE49-F238E27FC236}">
                <a16:creationId xmlns:a16="http://schemas.microsoft.com/office/drawing/2014/main" id="{3733E73A-19F0-2ECC-FF9E-88D862AA157F}"/>
              </a:ext>
            </a:extLst>
          </p:cNvPr>
          <p:cNvSpPr txBox="1"/>
          <p:nvPr/>
        </p:nvSpPr>
        <p:spPr>
          <a:xfrm>
            <a:off x="1766063" y="759086"/>
            <a:ext cx="8741603"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3"/>
                </a:solidFill>
                <a:effectLst/>
                <a:uLnTx/>
                <a:uFillTx/>
                <a:latin typeface="Jost ExtraBold"/>
                <a:ea typeface="+mn-ea"/>
                <a:cs typeface="+mn-cs"/>
              </a:rPr>
              <a:t>WORK</a:t>
            </a:r>
            <a:r>
              <a:rPr kumimoji="0" lang="en-US" sz="3200" b="0" i="0" u="none" strike="noStrike" kern="1200" cap="none" spc="0" normalizeH="0" baseline="0" noProof="0" dirty="0">
                <a:ln>
                  <a:noFill/>
                </a:ln>
                <a:solidFill>
                  <a:schemeClr val="accent1"/>
                </a:solidFill>
                <a:effectLst/>
                <a:uLnTx/>
                <a:uFillTx/>
                <a:latin typeface="Jost ExtraBold"/>
                <a:ea typeface="+mn-ea"/>
                <a:cs typeface="+mn-cs"/>
              </a:rPr>
              <a:t>FLOW</a:t>
            </a:r>
          </a:p>
        </p:txBody>
      </p:sp>
      <p:sp>
        <p:nvSpPr>
          <p:cNvPr id="24" name="Rectangle 23">
            <a:extLst>
              <a:ext uri="{FF2B5EF4-FFF2-40B4-BE49-F238E27FC236}">
                <a16:creationId xmlns:a16="http://schemas.microsoft.com/office/drawing/2014/main" id="{937536AD-5AE4-543F-46B8-8F3118CFAB94}"/>
              </a:ext>
            </a:extLst>
          </p:cNvPr>
          <p:cNvSpPr/>
          <p:nvPr/>
        </p:nvSpPr>
        <p:spPr>
          <a:xfrm rot="1535220">
            <a:off x="3241176" y="6926465"/>
            <a:ext cx="6576973" cy="1105672"/>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5" name="Rectangle 24">
            <a:extLst>
              <a:ext uri="{FF2B5EF4-FFF2-40B4-BE49-F238E27FC236}">
                <a16:creationId xmlns:a16="http://schemas.microsoft.com/office/drawing/2014/main" id="{CB66D845-6435-FC2E-B217-1D5CA5FDAF7C}"/>
              </a:ext>
            </a:extLst>
          </p:cNvPr>
          <p:cNvSpPr/>
          <p:nvPr/>
        </p:nvSpPr>
        <p:spPr>
          <a:xfrm rot="1535220">
            <a:off x="3687639" y="7003297"/>
            <a:ext cx="3927148" cy="1105672"/>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53" name="3 Pentágono">
            <a:extLst>
              <a:ext uri="{FF2B5EF4-FFF2-40B4-BE49-F238E27FC236}">
                <a16:creationId xmlns:a16="http://schemas.microsoft.com/office/drawing/2014/main" id="{2A9AF130-89EC-A3A3-6EE8-76F95A314A39}"/>
              </a:ext>
            </a:extLst>
          </p:cNvPr>
          <p:cNvSpPr/>
          <p:nvPr/>
        </p:nvSpPr>
        <p:spPr bwMode="auto">
          <a:xfrm>
            <a:off x="2283796" y="1596247"/>
            <a:ext cx="1814741" cy="1359226"/>
          </a:xfrm>
          <a:custGeom>
            <a:avLst/>
            <a:gdLst>
              <a:gd name="connsiteX0" fmla="*/ 1602 w 3647006"/>
              <a:gd name="connsiteY0" fmla="*/ 0 h 2070230"/>
              <a:gd name="connsiteX1" fmla="*/ 2611892 w 3647006"/>
              <a:gd name="connsiteY1" fmla="*/ 0 h 2070230"/>
              <a:gd name="connsiteX2" fmla="*/ 3647006 w 3647006"/>
              <a:gd name="connsiteY2" fmla="*/ 1035115 h 2070230"/>
              <a:gd name="connsiteX3" fmla="*/ 2611892 w 3647006"/>
              <a:gd name="connsiteY3" fmla="*/ 2070230 h 2070230"/>
              <a:gd name="connsiteX4" fmla="*/ 1475556 w 3647006"/>
              <a:gd name="connsiteY4" fmla="*/ 2070230 h 2070230"/>
              <a:gd name="connsiteX5" fmla="*/ 1475556 w 3647006"/>
              <a:gd name="connsiteY5" fmla="*/ 691987 h 2070230"/>
              <a:gd name="connsiteX6" fmla="*/ 1602 w 3647006"/>
              <a:gd name="connsiteY6" fmla="*/ 691987 h 2070230"/>
              <a:gd name="connsiteX7" fmla="*/ 0 w 3647006"/>
              <a:gd name="connsiteY7" fmla="*/ 232306 h 2070230"/>
              <a:gd name="connsiteX8" fmla="*/ 1602 w 3647006"/>
              <a:gd name="connsiteY8" fmla="*/ 0 h 2070230"/>
              <a:gd name="connsiteX0" fmla="*/ 2585606 w 3647006"/>
              <a:gd name="connsiteY0" fmla="*/ 295627 h 2070230"/>
              <a:gd name="connsiteX1" fmla="*/ 2611892 w 3647006"/>
              <a:gd name="connsiteY1" fmla="*/ 0 h 2070230"/>
              <a:gd name="connsiteX2" fmla="*/ 3647006 w 3647006"/>
              <a:gd name="connsiteY2" fmla="*/ 1035115 h 2070230"/>
              <a:gd name="connsiteX3" fmla="*/ 2611892 w 3647006"/>
              <a:gd name="connsiteY3" fmla="*/ 2070230 h 2070230"/>
              <a:gd name="connsiteX4" fmla="*/ 1475556 w 3647006"/>
              <a:gd name="connsiteY4" fmla="*/ 2070230 h 2070230"/>
              <a:gd name="connsiteX5" fmla="*/ 1475556 w 3647006"/>
              <a:gd name="connsiteY5" fmla="*/ 691987 h 2070230"/>
              <a:gd name="connsiteX6" fmla="*/ 1602 w 3647006"/>
              <a:gd name="connsiteY6" fmla="*/ 691987 h 2070230"/>
              <a:gd name="connsiteX7" fmla="*/ 0 w 3647006"/>
              <a:gd name="connsiteY7" fmla="*/ 232306 h 2070230"/>
              <a:gd name="connsiteX8" fmla="*/ 2585606 w 3647006"/>
              <a:gd name="connsiteY8" fmla="*/ 295627 h 2070230"/>
              <a:gd name="connsiteX0" fmla="*/ 2585606 w 3647006"/>
              <a:gd name="connsiteY0" fmla="*/ 295627 h 2070230"/>
              <a:gd name="connsiteX1" fmla="*/ 2611892 w 3647006"/>
              <a:gd name="connsiteY1" fmla="*/ 0 h 2070230"/>
              <a:gd name="connsiteX2" fmla="*/ 3647006 w 3647006"/>
              <a:gd name="connsiteY2" fmla="*/ 1035115 h 2070230"/>
              <a:gd name="connsiteX3" fmla="*/ 2611892 w 3647006"/>
              <a:gd name="connsiteY3" fmla="*/ 2070230 h 2070230"/>
              <a:gd name="connsiteX4" fmla="*/ 1475556 w 3647006"/>
              <a:gd name="connsiteY4" fmla="*/ 2070230 h 2070230"/>
              <a:gd name="connsiteX5" fmla="*/ 1478138 w 3647006"/>
              <a:gd name="connsiteY5" fmla="*/ 1798036 h 2070230"/>
              <a:gd name="connsiteX6" fmla="*/ 1475556 w 3647006"/>
              <a:gd name="connsiteY6" fmla="*/ 691987 h 2070230"/>
              <a:gd name="connsiteX7" fmla="*/ 1602 w 3647006"/>
              <a:gd name="connsiteY7" fmla="*/ 691987 h 2070230"/>
              <a:gd name="connsiteX8" fmla="*/ 0 w 3647006"/>
              <a:gd name="connsiteY8" fmla="*/ 232306 h 2070230"/>
              <a:gd name="connsiteX9" fmla="*/ 2585606 w 3647006"/>
              <a:gd name="connsiteY9" fmla="*/ 295627 h 2070230"/>
              <a:gd name="connsiteX0" fmla="*/ 2585606 w 3647006"/>
              <a:gd name="connsiteY0" fmla="*/ 295627 h 2070230"/>
              <a:gd name="connsiteX1" fmla="*/ 2611892 w 3647006"/>
              <a:gd name="connsiteY1" fmla="*/ 0 h 2070230"/>
              <a:gd name="connsiteX2" fmla="*/ 3647006 w 3647006"/>
              <a:gd name="connsiteY2" fmla="*/ 1035115 h 2070230"/>
              <a:gd name="connsiteX3" fmla="*/ 2611892 w 3647006"/>
              <a:gd name="connsiteY3" fmla="*/ 2070230 h 2070230"/>
              <a:gd name="connsiteX4" fmla="*/ 2614270 w 3647006"/>
              <a:gd name="connsiteY4" fmla="*/ 1873144 h 2070230"/>
              <a:gd name="connsiteX5" fmla="*/ 1478138 w 3647006"/>
              <a:gd name="connsiteY5" fmla="*/ 1798036 h 2070230"/>
              <a:gd name="connsiteX6" fmla="*/ 1475556 w 3647006"/>
              <a:gd name="connsiteY6" fmla="*/ 691987 h 2070230"/>
              <a:gd name="connsiteX7" fmla="*/ 1602 w 3647006"/>
              <a:gd name="connsiteY7" fmla="*/ 691987 h 2070230"/>
              <a:gd name="connsiteX8" fmla="*/ 0 w 3647006"/>
              <a:gd name="connsiteY8" fmla="*/ 232306 h 2070230"/>
              <a:gd name="connsiteX9" fmla="*/ 2585606 w 3647006"/>
              <a:gd name="connsiteY9" fmla="*/ 295627 h 2070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006" h="2070230">
                <a:moveTo>
                  <a:pt x="2585606" y="295627"/>
                </a:moveTo>
                <a:lnTo>
                  <a:pt x="2611892" y="0"/>
                </a:lnTo>
                <a:lnTo>
                  <a:pt x="3647006" y="1035115"/>
                </a:lnTo>
                <a:lnTo>
                  <a:pt x="2611892" y="2070230"/>
                </a:lnTo>
                <a:cubicBezTo>
                  <a:pt x="2612685" y="2004535"/>
                  <a:pt x="2613477" y="1938839"/>
                  <a:pt x="2614270" y="1873144"/>
                </a:cubicBezTo>
                <a:cubicBezTo>
                  <a:pt x="2615131" y="1782413"/>
                  <a:pt x="1477277" y="1888767"/>
                  <a:pt x="1478138" y="1798036"/>
                </a:cubicBezTo>
                <a:cubicBezTo>
                  <a:pt x="1477277" y="1429353"/>
                  <a:pt x="1476417" y="1060670"/>
                  <a:pt x="1475556" y="691987"/>
                </a:cubicBezTo>
                <a:lnTo>
                  <a:pt x="1602" y="691987"/>
                </a:lnTo>
                <a:lnTo>
                  <a:pt x="0" y="232306"/>
                </a:lnTo>
                <a:lnTo>
                  <a:pt x="2585606" y="295627"/>
                </a:lnTo>
                <a:close/>
              </a:path>
            </a:pathLst>
          </a:custGeom>
          <a:solidFill>
            <a:srgbClr val="6EB82E"/>
          </a:solidFill>
          <a:ln>
            <a:noFill/>
          </a:ln>
          <a:effectLst>
            <a:outerShdw blurRad="1003300" dist="355600" dir="5400000" algn="t" rotWithShape="0">
              <a:prstClr val="black">
                <a:alpha val="65000"/>
              </a:prstClr>
            </a:outerShdw>
            <a:reflection blurRad="6350" stA="50000" endA="300" endPos="55000" dir="5400000" sy="-100000" algn="bl" rotWithShape="0"/>
          </a:effectLst>
          <a:scene3d>
            <a:camera prst="isometricOffAxis2Top">
              <a:rot lat="19545987" lon="19677410" rev="2481444"/>
            </a:camera>
            <a:lightRig rig="soft" dir="t"/>
          </a:scene3d>
          <a:sp3d extrusionH="1016000"/>
        </p:spPr>
        <p:txBody>
          <a:bodyPr lIns="0" tIns="0" rIns="0" bIns="0" rtlCol="0" anchor="ctr"/>
          <a:lstStyle/>
          <a:p>
            <a:pPr algn="ctr"/>
            <a:endParaRPr lang="es-SV" sz="900"/>
          </a:p>
        </p:txBody>
      </p:sp>
      <p:sp>
        <p:nvSpPr>
          <p:cNvPr id="54" name="4 Rectángulo">
            <a:extLst>
              <a:ext uri="{FF2B5EF4-FFF2-40B4-BE49-F238E27FC236}">
                <a16:creationId xmlns:a16="http://schemas.microsoft.com/office/drawing/2014/main" id="{368318E3-592D-C473-7C1D-394A7DF2F5F0}"/>
              </a:ext>
            </a:extLst>
          </p:cNvPr>
          <p:cNvSpPr/>
          <p:nvPr/>
        </p:nvSpPr>
        <p:spPr bwMode="auto">
          <a:xfrm>
            <a:off x="1753135" y="2391527"/>
            <a:ext cx="1556409" cy="1030142"/>
          </a:xfrm>
          <a:custGeom>
            <a:avLst/>
            <a:gdLst/>
            <a:ahLst/>
            <a:cxnLst/>
            <a:rect l="l" t="t" r="r" b="b"/>
            <a:pathLst>
              <a:path w="3127847" h="2070230">
                <a:moveTo>
                  <a:pt x="0" y="0"/>
                </a:moveTo>
                <a:lnTo>
                  <a:pt x="3127847" y="0"/>
                </a:lnTo>
                <a:lnTo>
                  <a:pt x="3127847" y="2070230"/>
                </a:lnTo>
                <a:lnTo>
                  <a:pt x="1473957" y="2070230"/>
                </a:lnTo>
                <a:lnTo>
                  <a:pt x="1473957" y="998185"/>
                </a:lnTo>
                <a:lnTo>
                  <a:pt x="0" y="998185"/>
                </a:lnTo>
                <a:close/>
              </a:path>
            </a:pathLst>
          </a:custGeom>
          <a:solidFill>
            <a:srgbClr val="F9AB0C"/>
          </a:solidFill>
          <a:ln>
            <a:noFill/>
          </a:ln>
          <a:effectLst>
            <a:outerShdw blurRad="1003300" dist="355600" dir="5400000" algn="t" rotWithShape="0">
              <a:prstClr val="black">
                <a:alpha val="65000"/>
              </a:prstClr>
            </a:outerShdw>
            <a:reflection blurRad="6350" stA="50000" endA="300" endPos="55000" dir="5400000" sy="-100000" algn="bl" rotWithShape="0"/>
          </a:effectLst>
          <a:scene3d>
            <a:camera prst="isometricOffAxis2Top">
              <a:rot lat="19545987" lon="19677410" rev="2481444"/>
            </a:camera>
            <a:lightRig rig="soft" dir="t"/>
          </a:scene3d>
          <a:sp3d extrusionH="1016000"/>
        </p:spPr>
        <p:txBody>
          <a:bodyPr lIns="0" tIns="0" rIns="0" bIns="0" rtlCol="0" anchor="ctr"/>
          <a:lstStyle/>
          <a:p>
            <a:pPr algn="ctr"/>
            <a:endParaRPr lang="es-SV" sz="900"/>
          </a:p>
        </p:txBody>
      </p:sp>
      <p:sp>
        <p:nvSpPr>
          <p:cNvPr id="55" name="6 Rectángulo">
            <a:extLst>
              <a:ext uri="{FF2B5EF4-FFF2-40B4-BE49-F238E27FC236}">
                <a16:creationId xmlns:a16="http://schemas.microsoft.com/office/drawing/2014/main" id="{51E0222C-691B-D5B1-AD71-C1C662832CFC}"/>
              </a:ext>
            </a:extLst>
          </p:cNvPr>
          <p:cNvSpPr/>
          <p:nvPr/>
        </p:nvSpPr>
        <p:spPr bwMode="auto">
          <a:xfrm>
            <a:off x="1321259" y="3090623"/>
            <a:ext cx="1556409" cy="1030142"/>
          </a:xfrm>
          <a:custGeom>
            <a:avLst/>
            <a:gdLst/>
            <a:ahLst/>
            <a:cxnLst/>
            <a:rect l="l" t="t" r="r" b="b"/>
            <a:pathLst>
              <a:path w="3127848" h="2070230">
                <a:moveTo>
                  <a:pt x="0" y="0"/>
                </a:moveTo>
                <a:lnTo>
                  <a:pt x="3127848" y="0"/>
                </a:lnTo>
                <a:lnTo>
                  <a:pt x="3127848" y="2070230"/>
                </a:lnTo>
                <a:lnTo>
                  <a:pt x="1473956" y="2070230"/>
                </a:lnTo>
                <a:lnTo>
                  <a:pt x="1473956" y="695093"/>
                </a:lnTo>
                <a:lnTo>
                  <a:pt x="0" y="695093"/>
                </a:lnTo>
                <a:close/>
              </a:path>
            </a:pathLst>
          </a:custGeom>
          <a:solidFill>
            <a:srgbClr val="41B0C2"/>
          </a:solidFill>
          <a:ln>
            <a:noFill/>
          </a:ln>
          <a:effectLst>
            <a:outerShdw blurRad="1003300" dist="355600" dir="5400000" algn="t" rotWithShape="0">
              <a:prstClr val="black">
                <a:alpha val="65000"/>
              </a:prstClr>
            </a:outerShdw>
            <a:reflection blurRad="6350" stA="50000" endA="300" endPos="55000" dir="5400000" sy="-100000" algn="bl" rotWithShape="0"/>
          </a:effectLst>
          <a:scene3d>
            <a:camera prst="isometricOffAxis2Top">
              <a:rot lat="19545987" lon="19677410" rev="2481444"/>
            </a:camera>
            <a:lightRig rig="soft" dir="t"/>
          </a:scene3d>
          <a:sp3d extrusionH="1016000"/>
        </p:spPr>
        <p:txBody>
          <a:bodyPr lIns="0" tIns="0" rIns="0" bIns="0" rtlCol="0" anchor="ctr"/>
          <a:lstStyle/>
          <a:p>
            <a:pPr algn="ctr"/>
            <a:endParaRPr lang="es-SV" sz="900"/>
          </a:p>
        </p:txBody>
      </p:sp>
      <p:sp>
        <p:nvSpPr>
          <p:cNvPr id="56" name="7 Rectángulo">
            <a:extLst>
              <a:ext uri="{FF2B5EF4-FFF2-40B4-BE49-F238E27FC236}">
                <a16:creationId xmlns:a16="http://schemas.microsoft.com/office/drawing/2014/main" id="{08C61324-B828-B898-491D-3E49D59D18BC}"/>
              </a:ext>
            </a:extLst>
          </p:cNvPr>
          <p:cNvSpPr/>
          <p:nvPr/>
        </p:nvSpPr>
        <p:spPr bwMode="auto">
          <a:xfrm>
            <a:off x="811858" y="3711788"/>
            <a:ext cx="1556409" cy="1030142"/>
          </a:xfrm>
          <a:custGeom>
            <a:avLst/>
            <a:gdLst/>
            <a:ahLst/>
            <a:cxnLst/>
            <a:rect l="l" t="t" r="r" b="b"/>
            <a:pathLst>
              <a:path w="3127847" h="2070230">
                <a:moveTo>
                  <a:pt x="0" y="0"/>
                </a:moveTo>
                <a:lnTo>
                  <a:pt x="3127847" y="0"/>
                </a:lnTo>
                <a:lnTo>
                  <a:pt x="3127847" y="2070230"/>
                </a:lnTo>
                <a:lnTo>
                  <a:pt x="1473955" y="2070230"/>
                </a:lnTo>
                <a:lnTo>
                  <a:pt x="1473955" y="720080"/>
                </a:lnTo>
                <a:lnTo>
                  <a:pt x="0" y="720080"/>
                </a:lnTo>
                <a:close/>
              </a:path>
            </a:pathLst>
          </a:custGeom>
          <a:solidFill>
            <a:srgbClr val="4F6A79"/>
          </a:solidFill>
          <a:ln>
            <a:noFill/>
          </a:ln>
          <a:effectLst>
            <a:outerShdw blurRad="1003300" dist="355600" dir="5400000" algn="t" rotWithShape="0">
              <a:prstClr val="black">
                <a:alpha val="65000"/>
              </a:prstClr>
            </a:outerShdw>
            <a:reflection blurRad="6350" stA="50000" endA="300" endPos="55000" dir="5400000" sy="-100000" algn="bl" rotWithShape="0"/>
          </a:effectLst>
          <a:scene3d>
            <a:camera prst="isometricOffAxis2Top">
              <a:rot lat="19545987" lon="19677410" rev="2481444"/>
            </a:camera>
            <a:lightRig rig="soft" dir="t"/>
          </a:scene3d>
          <a:sp3d extrusionH="1016000"/>
        </p:spPr>
        <p:txBody>
          <a:bodyPr lIns="0" tIns="0" rIns="0" bIns="0" rtlCol="0" anchor="ctr"/>
          <a:lstStyle/>
          <a:p>
            <a:pPr algn="ctr"/>
            <a:endParaRPr lang="es-SV" sz="900" dirty="0"/>
          </a:p>
        </p:txBody>
      </p:sp>
      <p:sp>
        <p:nvSpPr>
          <p:cNvPr id="57" name="8 Rectángulo">
            <a:extLst>
              <a:ext uri="{FF2B5EF4-FFF2-40B4-BE49-F238E27FC236}">
                <a16:creationId xmlns:a16="http://schemas.microsoft.com/office/drawing/2014/main" id="{1DDF30C0-573D-D376-058C-A5224BCA4CAD}"/>
              </a:ext>
            </a:extLst>
          </p:cNvPr>
          <p:cNvSpPr/>
          <p:nvPr/>
        </p:nvSpPr>
        <p:spPr bwMode="auto">
          <a:xfrm>
            <a:off x="300280" y="4346892"/>
            <a:ext cx="1556409" cy="1030142"/>
          </a:xfrm>
          <a:prstGeom prst="rect">
            <a:avLst/>
          </a:prstGeom>
          <a:solidFill>
            <a:srgbClr val="F2583A"/>
          </a:solidFill>
          <a:ln>
            <a:noFill/>
          </a:ln>
          <a:effectLst>
            <a:outerShdw blurRad="1003300" dist="355600" dir="5400000" algn="t" rotWithShape="0">
              <a:prstClr val="black">
                <a:alpha val="65000"/>
              </a:prstClr>
            </a:outerShdw>
            <a:reflection blurRad="6350" stA="50000" endA="300" endPos="55000" dir="5400000" sy="-100000" algn="bl" rotWithShape="0"/>
          </a:effectLst>
          <a:scene3d>
            <a:camera prst="isometricOffAxis2Top">
              <a:rot lat="19545987" lon="19677410" rev="2481444"/>
            </a:camera>
            <a:lightRig rig="soft" dir="t"/>
          </a:scene3d>
          <a:sp3d extrusionH="1016000"/>
        </p:spPr>
        <p:txBody>
          <a:bodyPr lIns="0" tIns="0" rIns="0" bIns="0" rtlCol="0" anchor="ctr"/>
          <a:lstStyle/>
          <a:p>
            <a:pPr algn="ctr"/>
            <a:endParaRPr lang="es-SV" sz="900" dirty="0"/>
          </a:p>
        </p:txBody>
      </p:sp>
      <p:grpSp>
        <p:nvGrpSpPr>
          <p:cNvPr id="58" name="Group 57">
            <a:extLst>
              <a:ext uri="{FF2B5EF4-FFF2-40B4-BE49-F238E27FC236}">
                <a16:creationId xmlns:a16="http://schemas.microsoft.com/office/drawing/2014/main" id="{3B41243B-EF98-E896-50E5-741DF9A2A4D1}"/>
              </a:ext>
            </a:extLst>
          </p:cNvPr>
          <p:cNvGrpSpPr/>
          <p:nvPr/>
        </p:nvGrpSpPr>
        <p:grpSpPr>
          <a:xfrm>
            <a:off x="5247370" y="1292744"/>
            <a:ext cx="702777" cy="702962"/>
            <a:chOff x="2570822" y="2884367"/>
            <a:chExt cx="702777" cy="702962"/>
          </a:xfrm>
          <a:effectLst>
            <a:outerShdw blurRad="76200" dir="18900000" sy="23000" kx="-1200000" algn="bl" rotWithShape="0">
              <a:prstClr val="black">
                <a:alpha val="20000"/>
              </a:prstClr>
            </a:outerShdw>
          </a:effectLst>
        </p:grpSpPr>
        <p:sp>
          <p:nvSpPr>
            <p:cNvPr id="59" name="Teardrop 58">
              <a:extLst>
                <a:ext uri="{FF2B5EF4-FFF2-40B4-BE49-F238E27FC236}">
                  <a16:creationId xmlns:a16="http://schemas.microsoft.com/office/drawing/2014/main" id="{D78010DF-7B6A-8FED-DC7D-65B1896377F7}"/>
                </a:ext>
              </a:extLst>
            </p:cNvPr>
            <p:cNvSpPr/>
            <p:nvPr/>
          </p:nvSpPr>
          <p:spPr bwMode="auto">
            <a:xfrm rot="8100000">
              <a:off x="2570822" y="2884367"/>
              <a:ext cx="702777" cy="702962"/>
            </a:xfrm>
            <a:prstGeom prst="teardrop">
              <a:avLst/>
            </a:prstGeom>
            <a:solidFill>
              <a:srgbClr val="9BE25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algn="ctr">
                <a:defRPr/>
              </a:pPr>
              <a:endParaRPr lang="en-US" sz="1800" dirty="0">
                <a:latin typeface="Lato Light"/>
              </a:endParaRPr>
            </a:p>
          </p:txBody>
        </p:sp>
        <p:sp>
          <p:nvSpPr>
            <p:cNvPr id="60" name="Oval 59">
              <a:extLst>
                <a:ext uri="{FF2B5EF4-FFF2-40B4-BE49-F238E27FC236}">
                  <a16:creationId xmlns:a16="http://schemas.microsoft.com/office/drawing/2014/main" id="{5CDE4CE2-FB50-0AAE-457C-372FBC57CE58}"/>
                </a:ext>
              </a:extLst>
            </p:cNvPr>
            <p:cNvSpPr/>
            <p:nvPr/>
          </p:nvSpPr>
          <p:spPr>
            <a:xfrm>
              <a:off x="2651438" y="2965076"/>
              <a:ext cx="541544" cy="541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548235"/>
                  </a:solidFill>
                  <a:latin typeface="FontAwesome" pitchFamily="2" charset="0"/>
                </a:rPr>
                <a:t>5</a:t>
              </a:r>
            </a:p>
          </p:txBody>
        </p:sp>
      </p:grpSp>
      <p:grpSp>
        <p:nvGrpSpPr>
          <p:cNvPr id="61" name="Group 60">
            <a:extLst>
              <a:ext uri="{FF2B5EF4-FFF2-40B4-BE49-F238E27FC236}">
                <a16:creationId xmlns:a16="http://schemas.microsoft.com/office/drawing/2014/main" id="{BD01EF7F-9D54-B369-9414-20F7FE01B44B}"/>
              </a:ext>
            </a:extLst>
          </p:cNvPr>
          <p:cNvGrpSpPr/>
          <p:nvPr/>
        </p:nvGrpSpPr>
        <p:grpSpPr>
          <a:xfrm>
            <a:off x="5247369" y="2446921"/>
            <a:ext cx="702777" cy="702962"/>
            <a:chOff x="2570822" y="2884367"/>
            <a:chExt cx="702777" cy="702962"/>
          </a:xfrm>
          <a:effectLst>
            <a:outerShdw blurRad="76200" dir="18900000" sy="23000" kx="-1200000" algn="bl" rotWithShape="0">
              <a:prstClr val="black">
                <a:alpha val="20000"/>
              </a:prstClr>
            </a:outerShdw>
          </a:effectLst>
        </p:grpSpPr>
        <p:sp>
          <p:nvSpPr>
            <p:cNvPr id="62" name="Teardrop 61">
              <a:extLst>
                <a:ext uri="{FF2B5EF4-FFF2-40B4-BE49-F238E27FC236}">
                  <a16:creationId xmlns:a16="http://schemas.microsoft.com/office/drawing/2014/main" id="{8BABF88E-7A30-5177-D132-A70298CD8B6A}"/>
                </a:ext>
              </a:extLst>
            </p:cNvPr>
            <p:cNvSpPr/>
            <p:nvPr/>
          </p:nvSpPr>
          <p:spPr bwMode="auto">
            <a:xfrm rot="8100000">
              <a:off x="2570822" y="2884367"/>
              <a:ext cx="702777" cy="702962"/>
            </a:xfrm>
            <a:prstGeom prst="teardrop">
              <a:avLst/>
            </a:prstGeom>
            <a:solidFill>
              <a:srgbClr val="FFD63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algn="ctr">
                <a:defRPr/>
              </a:pPr>
              <a:endParaRPr lang="en-US" sz="1800" dirty="0">
                <a:latin typeface="Lato Light"/>
              </a:endParaRPr>
            </a:p>
          </p:txBody>
        </p:sp>
        <p:sp>
          <p:nvSpPr>
            <p:cNvPr id="63" name="Oval 62">
              <a:extLst>
                <a:ext uri="{FF2B5EF4-FFF2-40B4-BE49-F238E27FC236}">
                  <a16:creationId xmlns:a16="http://schemas.microsoft.com/office/drawing/2014/main" id="{A5618432-32B8-E6C3-9933-A83B90D17DAB}"/>
                </a:ext>
              </a:extLst>
            </p:cNvPr>
            <p:cNvSpPr/>
            <p:nvPr/>
          </p:nvSpPr>
          <p:spPr>
            <a:xfrm>
              <a:off x="2651438" y="2965076"/>
              <a:ext cx="541544" cy="541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6A4804"/>
                  </a:solidFill>
                  <a:latin typeface="FontAwesome" pitchFamily="2" charset="0"/>
                </a:rPr>
                <a:t>4</a:t>
              </a:r>
            </a:p>
          </p:txBody>
        </p:sp>
      </p:grpSp>
      <p:grpSp>
        <p:nvGrpSpPr>
          <p:cNvPr id="64" name="Group 63">
            <a:extLst>
              <a:ext uri="{FF2B5EF4-FFF2-40B4-BE49-F238E27FC236}">
                <a16:creationId xmlns:a16="http://schemas.microsoft.com/office/drawing/2014/main" id="{8D9C4864-A943-1033-659E-FC0445E467DE}"/>
              </a:ext>
            </a:extLst>
          </p:cNvPr>
          <p:cNvGrpSpPr/>
          <p:nvPr/>
        </p:nvGrpSpPr>
        <p:grpSpPr>
          <a:xfrm>
            <a:off x="5283278" y="3519367"/>
            <a:ext cx="702777" cy="702962"/>
            <a:chOff x="2570822" y="2884367"/>
            <a:chExt cx="702777" cy="702962"/>
          </a:xfrm>
          <a:effectLst>
            <a:outerShdw blurRad="76200" dir="18900000" sy="23000" kx="-1200000" algn="bl" rotWithShape="0">
              <a:prstClr val="black">
                <a:alpha val="20000"/>
              </a:prstClr>
            </a:outerShdw>
          </a:effectLst>
        </p:grpSpPr>
        <p:sp>
          <p:nvSpPr>
            <p:cNvPr id="65" name="Teardrop 64">
              <a:extLst>
                <a:ext uri="{FF2B5EF4-FFF2-40B4-BE49-F238E27FC236}">
                  <a16:creationId xmlns:a16="http://schemas.microsoft.com/office/drawing/2014/main" id="{AB0FE322-14C5-00A1-9820-ABA4514FC949}"/>
                </a:ext>
              </a:extLst>
            </p:cNvPr>
            <p:cNvSpPr/>
            <p:nvPr/>
          </p:nvSpPr>
          <p:spPr bwMode="auto">
            <a:xfrm rot="8100000">
              <a:off x="2570822" y="2884367"/>
              <a:ext cx="702777" cy="702962"/>
            </a:xfrm>
            <a:prstGeom prst="teardrop">
              <a:avLst/>
            </a:prstGeom>
            <a:solidFill>
              <a:srgbClr val="6FDA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algn="ctr">
                <a:defRPr/>
              </a:pPr>
              <a:endParaRPr lang="en-US" sz="1800" dirty="0">
                <a:latin typeface="Lato Light"/>
              </a:endParaRPr>
            </a:p>
          </p:txBody>
        </p:sp>
        <p:sp>
          <p:nvSpPr>
            <p:cNvPr id="66" name="Oval 65">
              <a:extLst>
                <a:ext uri="{FF2B5EF4-FFF2-40B4-BE49-F238E27FC236}">
                  <a16:creationId xmlns:a16="http://schemas.microsoft.com/office/drawing/2014/main" id="{DBBAAE42-F8EA-6C0F-5457-FC5FD5887E54}"/>
                </a:ext>
              </a:extLst>
            </p:cNvPr>
            <p:cNvSpPr/>
            <p:nvPr/>
          </p:nvSpPr>
          <p:spPr>
            <a:xfrm>
              <a:off x="2651438" y="2965076"/>
              <a:ext cx="541544" cy="541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1A4A52"/>
                  </a:solidFill>
                  <a:latin typeface="FontAwesome" pitchFamily="2" charset="0"/>
                </a:rPr>
                <a:t>3</a:t>
              </a:r>
            </a:p>
          </p:txBody>
        </p:sp>
      </p:grpSp>
      <p:grpSp>
        <p:nvGrpSpPr>
          <p:cNvPr id="67" name="Group 66">
            <a:extLst>
              <a:ext uri="{FF2B5EF4-FFF2-40B4-BE49-F238E27FC236}">
                <a16:creationId xmlns:a16="http://schemas.microsoft.com/office/drawing/2014/main" id="{8475DBC1-8B4E-A921-0CF8-611A06B3AEBB}"/>
              </a:ext>
            </a:extLst>
          </p:cNvPr>
          <p:cNvGrpSpPr/>
          <p:nvPr/>
        </p:nvGrpSpPr>
        <p:grpSpPr>
          <a:xfrm>
            <a:off x="5247368" y="4594084"/>
            <a:ext cx="702777" cy="702962"/>
            <a:chOff x="2570822" y="2884367"/>
            <a:chExt cx="702777" cy="702962"/>
          </a:xfrm>
          <a:effectLst>
            <a:outerShdw blurRad="76200" dir="18900000" sy="23000" kx="-1200000" algn="bl" rotWithShape="0">
              <a:prstClr val="black">
                <a:alpha val="20000"/>
              </a:prstClr>
            </a:outerShdw>
          </a:effectLst>
        </p:grpSpPr>
        <p:sp>
          <p:nvSpPr>
            <p:cNvPr id="68" name="Teardrop 67">
              <a:extLst>
                <a:ext uri="{FF2B5EF4-FFF2-40B4-BE49-F238E27FC236}">
                  <a16:creationId xmlns:a16="http://schemas.microsoft.com/office/drawing/2014/main" id="{F03C1FDD-0283-DACB-AAE6-567430EFACA5}"/>
                </a:ext>
              </a:extLst>
            </p:cNvPr>
            <p:cNvSpPr/>
            <p:nvPr/>
          </p:nvSpPr>
          <p:spPr bwMode="auto">
            <a:xfrm rot="8100000">
              <a:off x="2570822" y="2884367"/>
              <a:ext cx="702777" cy="702962"/>
            </a:xfrm>
            <a:prstGeom prst="teardrop">
              <a:avLst/>
            </a:prstGeom>
            <a:solidFill>
              <a:srgbClr val="7D97A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algn="ctr">
                <a:defRPr/>
              </a:pPr>
              <a:endParaRPr lang="en-US" sz="1800" dirty="0">
                <a:latin typeface="Lato Light"/>
              </a:endParaRPr>
            </a:p>
          </p:txBody>
        </p:sp>
        <p:sp>
          <p:nvSpPr>
            <p:cNvPr id="69" name="Oval 68">
              <a:extLst>
                <a:ext uri="{FF2B5EF4-FFF2-40B4-BE49-F238E27FC236}">
                  <a16:creationId xmlns:a16="http://schemas.microsoft.com/office/drawing/2014/main" id="{949E29D7-08CA-CF9F-D400-FB211EF974C7}"/>
                </a:ext>
              </a:extLst>
            </p:cNvPr>
            <p:cNvSpPr/>
            <p:nvPr/>
          </p:nvSpPr>
          <p:spPr>
            <a:xfrm>
              <a:off x="2651438" y="2965076"/>
              <a:ext cx="541544" cy="541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202C32"/>
                  </a:solidFill>
                  <a:latin typeface="FontAwesome" pitchFamily="2" charset="0"/>
                </a:rPr>
                <a:t>2</a:t>
              </a:r>
            </a:p>
          </p:txBody>
        </p:sp>
      </p:grpSp>
      <p:grpSp>
        <p:nvGrpSpPr>
          <p:cNvPr id="70" name="Group 69">
            <a:extLst>
              <a:ext uri="{FF2B5EF4-FFF2-40B4-BE49-F238E27FC236}">
                <a16:creationId xmlns:a16="http://schemas.microsoft.com/office/drawing/2014/main" id="{29612319-4E4D-9799-0932-4DA9F6D4EA48}"/>
              </a:ext>
            </a:extLst>
          </p:cNvPr>
          <p:cNvGrpSpPr/>
          <p:nvPr/>
        </p:nvGrpSpPr>
        <p:grpSpPr>
          <a:xfrm>
            <a:off x="5280805" y="5724397"/>
            <a:ext cx="702777" cy="702962"/>
            <a:chOff x="2570822" y="2884367"/>
            <a:chExt cx="702777" cy="702962"/>
          </a:xfrm>
          <a:effectLst>
            <a:outerShdw blurRad="76200" dir="18900000" sy="23000" kx="-1200000" algn="bl" rotWithShape="0">
              <a:prstClr val="black">
                <a:alpha val="20000"/>
              </a:prstClr>
            </a:outerShdw>
          </a:effectLst>
        </p:grpSpPr>
        <p:sp>
          <p:nvSpPr>
            <p:cNvPr id="71" name="Teardrop 70">
              <a:extLst>
                <a:ext uri="{FF2B5EF4-FFF2-40B4-BE49-F238E27FC236}">
                  <a16:creationId xmlns:a16="http://schemas.microsoft.com/office/drawing/2014/main" id="{3EAB6EDE-990E-3FE7-0937-833182A7773B}"/>
                </a:ext>
              </a:extLst>
            </p:cNvPr>
            <p:cNvSpPr/>
            <p:nvPr/>
          </p:nvSpPr>
          <p:spPr bwMode="auto">
            <a:xfrm rot="8100000">
              <a:off x="2570822" y="2884367"/>
              <a:ext cx="702777" cy="702962"/>
            </a:xfrm>
            <a:prstGeom prst="teardrop">
              <a:avLst/>
            </a:prstGeom>
            <a:solidFill>
              <a:srgbClr val="FF856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828434" rtl="0" eaLnBrk="1" latinLnBrk="0" hangingPunct="1">
                <a:defRPr sz="3600" kern="1200">
                  <a:solidFill>
                    <a:schemeClr val="lt1"/>
                  </a:solidFill>
                  <a:latin typeface="+mn-lt"/>
                  <a:ea typeface="+mn-ea"/>
                  <a:cs typeface="+mn-cs"/>
                </a:defRPr>
              </a:lvl1pPr>
              <a:lvl2pPr marL="914217" algn="l" defTabSz="1828434" rtl="0" eaLnBrk="1" latinLnBrk="0" hangingPunct="1">
                <a:defRPr sz="3600" kern="1200">
                  <a:solidFill>
                    <a:schemeClr val="lt1"/>
                  </a:solidFill>
                  <a:latin typeface="+mn-lt"/>
                  <a:ea typeface="+mn-ea"/>
                  <a:cs typeface="+mn-cs"/>
                </a:defRPr>
              </a:lvl2pPr>
              <a:lvl3pPr marL="1828434" algn="l" defTabSz="1828434" rtl="0" eaLnBrk="1" latinLnBrk="0" hangingPunct="1">
                <a:defRPr sz="3600" kern="1200">
                  <a:solidFill>
                    <a:schemeClr val="lt1"/>
                  </a:solidFill>
                  <a:latin typeface="+mn-lt"/>
                  <a:ea typeface="+mn-ea"/>
                  <a:cs typeface="+mn-cs"/>
                </a:defRPr>
              </a:lvl3pPr>
              <a:lvl4pPr marL="2742651" algn="l" defTabSz="1828434" rtl="0" eaLnBrk="1" latinLnBrk="0" hangingPunct="1">
                <a:defRPr sz="3600" kern="1200">
                  <a:solidFill>
                    <a:schemeClr val="lt1"/>
                  </a:solidFill>
                  <a:latin typeface="+mn-lt"/>
                  <a:ea typeface="+mn-ea"/>
                  <a:cs typeface="+mn-cs"/>
                </a:defRPr>
              </a:lvl4pPr>
              <a:lvl5pPr marL="3656868" algn="l" defTabSz="1828434" rtl="0" eaLnBrk="1" latinLnBrk="0" hangingPunct="1">
                <a:defRPr sz="3600" kern="1200">
                  <a:solidFill>
                    <a:schemeClr val="lt1"/>
                  </a:solidFill>
                  <a:latin typeface="+mn-lt"/>
                  <a:ea typeface="+mn-ea"/>
                  <a:cs typeface="+mn-cs"/>
                </a:defRPr>
              </a:lvl5pPr>
              <a:lvl6pPr marL="4571086" algn="l" defTabSz="1828434" rtl="0" eaLnBrk="1" latinLnBrk="0" hangingPunct="1">
                <a:defRPr sz="3600" kern="1200">
                  <a:solidFill>
                    <a:schemeClr val="lt1"/>
                  </a:solidFill>
                  <a:latin typeface="+mn-lt"/>
                  <a:ea typeface="+mn-ea"/>
                  <a:cs typeface="+mn-cs"/>
                </a:defRPr>
              </a:lvl6pPr>
              <a:lvl7pPr marL="5485303" algn="l" defTabSz="1828434" rtl="0" eaLnBrk="1" latinLnBrk="0" hangingPunct="1">
                <a:defRPr sz="3600" kern="1200">
                  <a:solidFill>
                    <a:schemeClr val="lt1"/>
                  </a:solidFill>
                  <a:latin typeface="+mn-lt"/>
                  <a:ea typeface="+mn-ea"/>
                  <a:cs typeface="+mn-cs"/>
                </a:defRPr>
              </a:lvl7pPr>
              <a:lvl8pPr marL="6399520" algn="l" defTabSz="1828434" rtl="0" eaLnBrk="1" latinLnBrk="0" hangingPunct="1">
                <a:defRPr sz="3600" kern="1200">
                  <a:solidFill>
                    <a:schemeClr val="lt1"/>
                  </a:solidFill>
                  <a:latin typeface="+mn-lt"/>
                  <a:ea typeface="+mn-ea"/>
                  <a:cs typeface="+mn-cs"/>
                </a:defRPr>
              </a:lvl8pPr>
              <a:lvl9pPr marL="7313737" algn="l" defTabSz="1828434" rtl="0" eaLnBrk="1" latinLnBrk="0" hangingPunct="1">
                <a:defRPr sz="3600" kern="1200">
                  <a:solidFill>
                    <a:schemeClr val="lt1"/>
                  </a:solidFill>
                  <a:latin typeface="+mn-lt"/>
                  <a:ea typeface="+mn-ea"/>
                  <a:cs typeface="+mn-cs"/>
                </a:defRPr>
              </a:lvl9pPr>
            </a:lstStyle>
            <a:p>
              <a:pPr algn="ctr">
                <a:defRPr/>
              </a:pPr>
              <a:endParaRPr lang="en-US" sz="1800" dirty="0">
                <a:latin typeface="Lato Light"/>
              </a:endParaRPr>
            </a:p>
          </p:txBody>
        </p:sp>
        <p:sp>
          <p:nvSpPr>
            <p:cNvPr id="72" name="Oval 71">
              <a:extLst>
                <a:ext uri="{FF2B5EF4-FFF2-40B4-BE49-F238E27FC236}">
                  <a16:creationId xmlns:a16="http://schemas.microsoft.com/office/drawing/2014/main" id="{91D628CD-A661-5F1D-6F3B-88358541F130}"/>
                </a:ext>
              </a:extLst>
            </p:cNvPr>
            <p:cNvSpPr/>
            <p:nvPr/>
          </p:nvSpPr>
          <p:spPr>
            <a:xfrm>
              <a:off x="2651438" y="2965076"/>
              <a:ext cx="541544" cy="541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662418"/>
                  </a:solidFill>
                  <a:latin typeface="FontAwesome" pitchFamily="2" charset="0"/>
                </a:rPr>
                <a:t>1</a:t>
              </a:r>
            </a:p>
          </p:txBody>
        </p:sp>
      </p:grpSp>
      <p:sp>
        <p:nvSpPr>
          <p:cNvPr id="73" name="18 Rectángulo">
            <a:extLst>
              <a:ext uri="{FF2B5EF4-FFF2-40B4-BE49-F238E27FC236}">
                <a16:creationId xmlns:a16="http://schemas.microsoft.com/office/drawing/2014/main" id="{A1FCADB6-2B3F-BE32-DEFA-285151040F38}"/>
              </a:ext>
            </a:extLst>
          </p:cNvPr>
          <p:cNvSpPr/>
          <p:nvPr/>
        </p:nvSpPr>
        <p:spPr>
          <a:xfrm>
            <a:off x="616737" y="4748414"/>
            <a:ext cx="923493" cy="103978"/>
          </a:xfrm>
          <a:prstGeom prst="rect">
            <a:avLst/>
          </a:prstGeom>
          <a:noFill/>
          <a:ln>
            <a:noFill/>
          </a:ln>
          <a:effectLst/>
          <a:scene3d>
            <a:camera prst="isometricOffAxis2Top">
              <a:rot lat="19545987" lon="19677410" rev="2481444"/>
            </a:camera>
            <a:lightRig rig="soft" dir="t"/>
          </a:scene3d>
          <a:sp3d/>
        </p:spPr>
        <p:txBody>
          <a:bodyPr lIns="0" tIns="0" rIns="0" bIns="0" rtlCol="0" anchor="ctr"/>
          <a:lstStyle/>
          <a:p>
            <a:pPr algn="ctr"/>
            <a:r>
              <a:rPr lang="es-MX" b="1" cap="all" dirty="0">
                <a:solidFill>
                  <a:schemeClr val="tx1">
                    <a:lumMod val="85000"/>
                    <a:lumOff val="15000"/>
                  </a:schemeClr>
                </a:solidFill>
                <a:ea typeface="Open Sans Extrabold" panose="020B0906030804020204" pitchFamily="34" charset="0"/>
                <a:cs typeface="Open Sans Extrabold" panose="020B0906030804020204" pitchFamily="34" charset="0"/>
              </a:rPr>
              <a:t>Step 1</a:t>
            </a:r>
            <a:endParaRPr lang="es-SV" b="1" cap="all" dirty="0">
              <a:solidFill>
                <a:schemeClr val="tx1">
                  <a:lumMod val="85000"/>
                  <a:lumOff val="15000"/>
                </a:schemeClr>
              </a:solidFill>
              <a:ea typeface="Open Sans Extrabold" panose="020B0906030804020204" pitchFamily="34" charset="0"/>
              <a:cs typeface="Open Sans Extrabold" panose="020B0906030804020204" pitchFamily="34" charset="0"/>
            </a:endParaRPr>
          </a:p>
        </p:txBody>
      </p:sp>
      <p:sp>
        <p:nvSpPr>
          <p:cNvPr id="74" name="18 Rectángulo">
            <a:extLst>
              <a:ext uri="{FF2B5EF4-FFF2-40B4-BE49-F238E27FC236}">
                <a16:creationId xmlns:a16="http://schemas.microsoft.com/office/drawing/2014/main" id="{DA9D7FD3-E0BC-FC2D-B8F6-381072E64C11}"/>
              </a:ext>
            </a:extLst>
          </p:cNvPr>
          <p:cNvSpPr/>
          <p:nvPr/>
        </p:nvSpPr>
        <p:spPr>
          <a:xfrm>
            <a:off x="811858" y="3918011"/>
            <a:ext cx="1133168" cy="207956"/>
          </a:xfrm>
          <a:prstGeom prst="rect">
            <a:avLst/>
          </a:prstGeom>
          <a:noFill/>
          <a:ln>
            <a:noFill/>
          </a:ln>
          <a:effectLst/>
          <a:scene3d>
            <a:camera prst="isometricOffAxis2Top">
              <a:rot lat="19545987" lon="19677410" rev="2481444"/>
            </a:camera>
            <a:lightRig rig="soft" dir="t"/>
          </a:scene3d>
          <a:sp3d/>
        </p:spPr>
        <p:txBody>
          <a:bodyPr lIns="0" tIns="0" rIns="0" bIns="0" rtlCol="0" anchor="ctr"/>
          <a:lstStyle/>
          <a:p>
            <a:pPr algn="ctr"/>
            <a:r>
              <a:rPr lang="es-MX" b="1" cap="all" dirty="0">
                <a:solidFill>
                  <a:schemeClr val="tx1">
                    <a:lumMod val="85000"/>
                    <a:lumOff val="15000"/>
                  </a:schemeClr>
                </a:solidFill>
                <a:ea typeface="Open Sans Extrabold" panose="020B0906030804020204" pitchFamily="34" charset="0"/>
                <a:cs typeface="Open Sans Extrabold" panose="020B0906030804020204" pitchFamily="34" charset="0"/>
              </a:rPr>
              <a:t>Step 2</a:t>
            </a:r>
            <a:endParaRPr lang="es-SV" b="1" cap="all" dirty="0">
              <a:solidFill>
                <a:schemeClr val="tx1">
                  <a:lumMod val="85000"/>
                  <a:lumOff val="15000"/>
                </a:schemeClr>
              </a:solidFill>
              <a:ea typeface="Open Sans Extrabold" panose="020B0906030804020204" pitchFamily="34" charset="0"/>
              <a:cs typeface="Open Sans Extrabold" panose="020B0906030804020204" pitchFamily="34" charset="0"/>
            </a:endParaRPr>
          </a:p>
        </p:txBody>
      </p:sp>
      <p:sp>
        <p:nvSpPr>
          <p:cNvPr id="75" name="18 Rectángulo">
            <a:extLst>
              <a:ext uri="{FF2B5EF4-FFF2-40B4-BE49-F238E27FC236}">
                <a16:creationId xmlns:a16="http://schemas.microsoft.com/office/drawing/2014/main" id="{524B4C6C-FCEB-00CB-BECC-5C7C6331C7F5}"/>
              </a:ext>
            </a:extLst>
          </p:cNvPr>
          <p:cNvSpPr/>
          <p:nvPr/>
        </p:nvSpPr>
        <p:spPr>
          <a:xfrm>
            <a:off x="1549581" y="3282907"/>
            <a:ext cx="692706" cy="207956"/>
          </a:xfrm>
          <a:prstGeom prst="rect">
            <a:avLst/>
          </a:prstGeom>
          <a:noFill/>
          <a:ln>
            <a:noFill/>
          </a:ln>
          <a:effectLst/>
          <a:scene3d>
            <a:camera prst="isometricOffAxis2Top">
              <a:rot lat="19545987" lon="19677410" rev="2481444"/>
            </a:camera>
            <a:lightRig rig="soft" dir="t"/>
          </a:scene3d>
          <a:sp3d/>
        </p:spPr>
        <p:txBody>
          <a:bodyPr lIns="0" tIns="0" rIns="0" bIns="0" rtlCol="0" anchor="ctr"/>
          <a:lstStyle/>
          <a:p>
            <a:pPr algn="ctr"/>
            <a:r>
              <a:rPr lang="es-MX" b="1" cap="all" dirty="0">
                <a:solidFill>
                  <a:schemeClr val="tx1">
                    <a:lumMod val="85000"/>
                    <a:lumOff val="15000"/>
                  </a:schemeClr>
                </a:solidFill>
                <a:ea typeface="Open Sans Extrabold" panose="020B0906030804020204" pitchFamily="34" charset="0"/>
                <a:cs typeface="Open Sans Extrabold" panose="020B0906030804020204" pitchFamily="34" charset="0"/>
              </a:rPr>
              <a:t>Step 3</a:t>
            </a:r>
            <a:endParaRPr lang="es-SV" b="1" cap="all" dirty="0">
              <a:solidFill>
                <a:schemeClr val="tx1">
                  <a:lumMod val="85000"/>
                  <a:lumOff val="15000"/>
                </a:schemeClr>
              </a:solidFill>
              <a:ea typeface="Open Sans Extrabold" panose="020B0906030804020204" pitchFamily="34" charset="0"/>
              <a:cs typeface="Open Sans Extrabold" panose="020B0906030804020204" pitchFamily="34" charset="0"/>
            </a:endParaRPr>
          </a:p>
        </p:txBody>
      </p:sp>
      <p:sp>
        <p:nvSpPr>
          <p:cNvPr id="76" name="18 Rectángulo">
            <a:extLst>
              <a:ext uri="{FF2B5EF4-FFF2-40B4-BE49-F238E27FC236}">
                <a16:creationId xmlns:a16="http://schemas.microsoft.com/office/drawing/2014/main" id="{C198BF03-0A67-EA7F-0D8B-05449A4AF441}"/>
              </a:ext>
            </a:extLst>
          </p:cNvPr>
          <p:cNvSpPr/>
          <p:nvPr/>
        </p:nvSpPr>
        <p:spPr>
          <a:xfrm>
            <a:off x="1821107" y="2665920"/>
            <a:ext cx="1112830" cy="207956"/>
          </a:xfrm>
          <a:prstGeom prst="rect">
            <a:avLst/>
          </a:prstGeom>
          <a:noFill/>
          <a:ln>
            <a:noFill/>
          </a:ln>
          <a:effectLst/>
          <a:scene3d>
            <a:camera prst="isometricOffAxis2Top">
              <a:rot lat="19545987" lon="19677410" rev="2481444"/>
            </a:camera>
            <a:lightRig rig="soft" dir="t"/>
          </a:scene3d>
          <a:sp3d/>
        </p:spPr>
        <p:txBody>
          <a:bodyPr lIns="0" tIns="0" rIns="0" bIns="0" rtlCol="0" anchor="ctr"/>
          <a:lstStyle/>
          <a:p>
            <a:pPr algn="ctr"/>
            <a:r>
              <a:rPr lang="es-MX" b="1" cap="all" dirty="0">
                <a:solidFill>
                  <a:schemeClr val="tx1">
                    <a:lumMod val="85000"/>
                    <a:lumOff val="15000"/>
                  </a:schemeClr>
                </a:solidFill>
                <a:ea typeface="Open Sans Extrabold" panose="020B0906030804020204" pitchFamily="34" charset="0"/>
                <a:cs typeface="Open Sans Extrabold" panose="020B0906030804020204" pitchFamily="34" charset="0"/>
              </a:rPr>
              <a:t>Step 4</a:t>
            </a:r>
            <a:endParaRPr lang="es-SV" b="1" cap="all" dirty="0">
              <a:solidFill>
                <a:schemeClr val="tx1">
                  <a:lumMod val="85000"/>
                  <a:lumOff val="15000"/>
                </a:schemeClr>
              </a:solidFill>
              <a:ea typeface="Open Sans Extrabold" panose="020B0906030804020204" pitchFamily="34" charset="0"/>
              <a:cs typeface="Open Sans Extrabold" panose="020B0906030804020204" pitchFamily="34" charset="0"/>
            </a:endParaRPr>
          </a:p>
        </p:txBody>
      </p:sp>
      <p:sp>
        <p:nvSpPr>
          <p:cNvPr id="77" name="18 Rectángulo">
            <a:extLst>
              <a:ext uri="{FF2B5EF4-FFF2-40B4-BE49-F238E27FC236}">
                <a16:creationId xmlns:a16="http://schemas.microsoft.com/office/drawing/2014/main" id="{E3B54106-C0BE-AEA6-A45C-6E979DD8254F}"/>
              </a:ext>
            </a:extLst>
          </p:cNvPr>
          <p:cNvSpPr/>
          <p:nvPr/>
        </p:nvSpPr>
        <p:spPr>
          <a:xfrm>
            <a:off x="2979297" y="2048421"/>
            <a:ext cx="717978" cy="207956"/>
          </a:xfrm>
          <a:prstGeom prst="rect">
            <a:avLst/>
          </a:prstGeom>
          <a:noFill/>
          <a:ln>
            <a:noFill/>
          </a:ln>
          <a:effectLst/>
          <a:scene3d>
            <a:camera prst="isometricOffAxis2Top">
              <a:rot lat="19545987" lon="19677410" rev="2481444"/>
            </a:camera>
            <a:lightRig rig="soft" dir="t"/>
          </a:scene3d>
          <a:sp3d/>
        </p:spPr>
        <p:txBody>
          <a:bodyPr lIns="0" tIns="0" rIns="0" bIns="0" rtlCol="0" anchor="ctr"/>
          <a:lstStyle/>
          <a:p>
            <a:pPr algn="ctr"/>
            <a:r>
              <a:rPr lang="es-MX" b="1" cap="all" dirty="0">
                <a:solidFill>
                  <a:schemeClr val="tx1">
                    <a:lumMod val="85000"/>
                    <a:lumOff val="15000"/>
                  </a:schemeClr>
                </a:solidFill>
                <a:ea typeface="Open Sans Extrabold" panose="020B0906030804020204" pitchFamily="34" charset="0"/>
                <a:cs typeface="Open Sans Extrabold" panose="020B0906030804020204" pitchFamily="34" charset="0"/>
              </a:rPr>
              <a:t>Step 5</a:t>
            </a:r>
            <a:endParaRPr lang="es-SV" b="1" cap="all" dirty="0">
              <a:solidFill>
                <a:schemeClr val="tx1">
                  <a:lumMod val="85000"/>
                  <a:lumOff val="15000"/>
                </a:schemeClr>
              </a:solidFill>
              <a:ea typeface="Open Sans Extrabold" panose="020B0906030804020204" pitchFamily="34" charset="0"/>
              <a:cs typeface="Open Sans Extrabold" panose="020B0906030804020204" pitchFamily="34" charset="0"/>
            </a:endParaRPr>
          </a:p>
        </p:txBody>
      </p:sp>
      <p:grpSp>
        <p:nvGrpSpPr>
          <p:cNvPr id="82" name="Group 81">
            <a:extLst>
              <a:ext uri="{FF2B5EF4-FFF2-40B4-BE49-F238E27FC236}">
                <a16:creationId xmlns:a16="http://schemas.microsoft.com/office/drawing/2014/main" id="{A7E3E8EB-B3C7-7DB0-E497-36A6A2C1BAD5}"/>
              </a:ext>
            </a:extLst>
          </p:cNvPr>
          <p:cNvGrpSpPr/>
          <p:nvPr/>
        </p:nvGrpSpPr>
        <p:grpSpPr>
          <a:xfrm>
            <a:off x="6136865" y="5556494"/>
            <a:ext cx="4845560" cy="919351"/>
            <a:chOff x="293269" y="1064351"/>
            <a:chExt cx="4845560" cy="919351"/>
          </a:xfrm>
        </p:grpSpPr>
        <p:sp>
          <p:nvSpPr>
            <p:cNvPr id="83" name="TextBox 82">
              <a:extLst>
                <a:ext uri="{FF2B5EF4-FFF2-40B4-BE49-F238E27FC236}">
                  <a16:creationId xmlns:a16="http://schemas.microsoft.com/office/drawing/2014/main" id="{66E42D89-62A8-59F3-D035-A9FB6B147715}"/>
                </a:ext>
              </a:extLst>
            </p:cNvPr>
            <p:cNvSpPr txBox="1"/>
            <p:nvPr/>
          </p:nvSpPr>
          <p:spPr>
            <a:xfrm>
              <a:off x="293269" y="1064351"/>
              <a:ext cx="3216749" cy="400110"/>
            </a:xfrm>
            <a:prstGeom prst="rect">
              <a:avLst/>
            </a:prstGeom>
            <a:noFill/>
          </p:spPr>
          <p:txBody>
            <a:bodyPr wrap="square" rtlCol="0" anchor="ctr">
              <a:spAutoFit/>
            </a:bodyPr>
            <a:lstStyle/>
            <a:p>
              <a:r>
                <a:rPr lang="en-US" sz="2000" b="1" dirty="0">
                  <a:solidFill>
                    <a:schemeClr val="accent3"/>
                  </a:solidFill>
                </a:rPr>
                <a:t>Health</a:t>
              </a:r>
              <a:r>
                <a:rPr lang="en-US" sz="2000" b="1" dirty="0">
                  <a:solidFill>
                    <a:schemeClr val="accent6">
                      <a:lumMod val="75000"/>
                    </a:schemeClr>
                  </a:solidFill>
                </a:rPr>
                <a:t> </a:t>
              </a:r>
              <a:r>
                <a:rPr lang="en-US" sz="2000" b="1" dirty="0">
                  <a:solidFill>
                    <a:schemeClr val="accent1"/>
                  </a:solidFill>
                </a:rPr>
                <a:t>Icon</a:t>
              </a:r>
              <a:r>
                <a:rPr lang="en-US" sz="2000" b="1" dirty="0">
                  <a:solidFill>
                    <a:schemeClr val="accent6">
                      <a:lumMod val="75000"/>
                    </a:schemeClr>
                  </a:solidFill>
                </a:rPr>
                <a:t> Registration</a:t>
              </a:r>
            </a:p>
          </p:txBody>
        </p:sp>
        <p:sp>
          <p:nvSpPr>
            <p:cNvPr id="84" name="TextBox 83">
              <a:extLst>
                <a:ext uri="{FF2B5EF4-FFF2-40B4-BE49-F238E27FC236}">
                  <a16:creationId xmlns:a16="http://schemas.microsoft.com/office/drawing/2014/main" id="{8A9F7A89-056E-02F0-0A4B-CD30E6845C3B}"/>
                </a:ext>
              </a:extLst>
            </p:cNvPr>
            <p:cNvSpPr txBox="1"/>
            <p:nvPr/>
          </p:nvSpPr>
          <p:spPr>
            <a:xfrm>
              <a:off x="293269" y="1460482"/>
              <a:ext cx="4845560" cy="523220"/>
            </a:xfrm>
            <a:prstGeom prst="rect">
              <a:avLst/>
            </a:prstGeom>
            <a:noFill/>
          </p:spPr>
          <p:txBody>
            <a:bodyPr wrap="square" rtlCol="0" anchor="t">
              <a:spAutoFit/>
            </a:bodyPr>
            <a:lstStyle/>
            <a:p>
              <a:r>
                <a:rPr lang="en-US" sz="1400" b="1" dirty="0"/>
                <a:t>Heath Icon will register Abdi Ibrahim selected portfolio</a:t>
              </a:r>
            </a:p>
            <a:p>
              <a:r>
                <a:rPr lang="en-US" sz="1400" b="1" dirty="0"/>
                <a:t>In the designated region</a:t>
              </a:r>
            </a:p>
          </p:txBody>
        </p:sp>
      </p:grpSp>
      <p:grpSp>
        <p:nvGrpSpPr>
          <p:cNvPr id="85" name="Group 84">
            <a:extLst>
              <a:ext uri="{FF2B5EF4-FFF2-40B4-BE49-F238E27FC236}">
                <a16:creationId xmlns:a16="http://schemas.microsoft.com/office/drawing/2014/main" id="{8B975747-F862-6A51-5F1A-81FBFFF13470}"/>
              </a:ext>
            </a:extLst>
          </p:cNvPr>
          <p:cNvGrpSpPr/>
          <p:nvPr/>
        </p:nvGrpSpPr>
        <p:grpSpPr>
          <a:xfrm>
            <a:off x="6144889" y="4428735"/>
            <a:ext cx="4321673" cy="919351"/>
            <a:chOff x="293269" y="1064351"/>
            <a:chExt cx="4321673" cy="919351"/>
          </a:xfrm>
        </p:grpSpPr>
        <p:sp>
          <p:nvSpPr>
            <p:cNvPr id="86" name="TextBox 85">
              <a:extLst>
                <a:ext uri="{FF2B5EF4-FFF2-40B4-BE49-F238E27FC236}">
                  <a16:creationId xmlns:a16="http://schemas.microsoft.com/office/drawing/2014/main" id="{20F8DE28-9980-6262-AAF7-A793AE0D48F4}"/>
                </a:ext>
              </a:extLst>
            </p:cNvPr>
            <p:cNvSpPr txBox="1"/>
            <p:nvPr/>
          </p:nvSpPr>
          <p:spPr>
            <a:xfrm>
              <a:off x="293269" y="1064351"/>
              <a:ext cx="3589520" cy="400110"/>
            </a:xfrm>
            <a:prstGeom prst="rect">
              <a:avLst/>
            </a:prstGeom>
            <a:noFill/>
          </p:spPr>
          <p:txBody>
            <a:bodyPr wrap="square" rtlCol="0" anchor="ctr">
              <a:spAutoFit/>
            </a:bodyPr>
            <a:lstStyle/>
            <a:p>
              <a:r>
                <a:rPr lang="en-US" sz="2000" b="1" dirty="0">
                  <a:solidFill>
                    <a:schemeClr val="accent3"/>
                  </a:solidFill>
                </a:rPr>
                <a:t>Health</a:t>
              </a:r>
              <a:r>
                <a:rPr lang="en-US" sz="2000" b="1" dirty="0">
                  <a:solidFill>
                    <a:schemeClr val="accent6">
                      <a:lumMod val="75000"/>
                    </a:schemeClr>
                  </a:solidFill>
                </a:rPr>
                <a:t> </a:t>
              </a:r>
              <a:r>
                <a:rPr lang="en-US" sz="2000" b="1" dirty="0">
                  <a:solidFill>
                    <a:schemeClr val="accent1"/>
                  </a:solidFill>
                </a:rPr>
                <a:t>Icon</a:t>
              </a:r>
              <a:r>
                <a:rPr lang="en-US" sz="2000" b="1" dirty="0">
                  <a:solidFill>
                    <a:schemeClr val="accent6">
                      <a:lumMod val="75000"/>
                    </a:schemeClr>
                  </a:solidFill>
                </a:rPr>
                <a:t> 1</a:t>
              </a:r>
              <a:r>
                <a:rPr lang="en-US" sz="2000" b="1" baseline="30000" dirty="0">
                  <a:solidFill>
                    <a:schemeClr val="accent6">
                      <a:lumMod val="75000"/>
                    </a:schemeClr>
                  </a:solidFill>
                </a:rPr>
                <a:t>st</a:t>
              </a:r>
              <a:r>
                <a:rPr lang="en-US" sz="2000" b="1" dirty="0">
                  <a:solidFill>
                    <a:schemeClr val="accent6">
                      <a:lumMod val="75000"/>
                    </a:schemeClr>
                  </a:solidFill>
                </a:rPr>
                <a:t> Confirmed Order</a:t>
              </a:r>
            </a:p>
          </p:txBody>
        </p:sp>
        <p:sp>
          <p:nvSpPr>
            <p:cNvPr id="87" name="TextBox 86">
              <a:extLst>
                <a:ext uri="{FF2B5EF4-FFF2-40B4-BE49-F238E27FC236}">
                  <a16:creationId xmlns:a16="http://schemas.microsoft.com/office/drawing/2014/main" id="{4A6ED3CD-C2E3-868D-0F78-9527D5823B79}"/>
                </a:ext>
              </a:extLst>
            </p:cNvPr>
            <p:cNvSpPr txBox="1"/>
            <p:nvPr/>
          </p:nvSpPr>
          <p:spPr>
            <a:xfrm>
              <a:off x="293270" y="1460482"/>
              <a:ext cx="4321672" cy="523220"/>
            </a:xfrm>
            <a:prstGeom prst="rect">
              <a:avLst/>
            </a:prstGeom>
            <a:noFill/>
          </p:spPr>
          <p:txBody>
            <a:bodyPr wrap="square" rtlCol="0" anchor="t">
              <a:spAutoFit/>
            </a:bodyPr>
            <a:lstStyle/>
            <a:p>
              <a:r>
                <a:rPr lang="en-US" sz="1400" b="1" dirty="0"/>
                <a:t>Heath Icon will place a confirmed order to Abdi Ibrahim and perform the needed payment.</a:t>
              </a:r>
            </a:p>
          </p:txBody>
        </p:sp>
      </p:grpSp>
      <p:grpSp>
        <p:nvGrpSpPr>
          <p:cNvPr id="88" name="Group 87">
            <a:extLst>
              <a:ext uri="{FF2B5EF4-FFF2-40B4-BE49-F238E27FC236}">
                <a16:creationId xmlns:a16="http://schemas.microsoft.com/office/drawing/2014/main" id="{CE9CA1A1-8921-FEBB-5E3E-3B7BC7F2220B}"/>
              </a:ext>
            </a:extLst>
          </p:cNvPr>
          <p:cNvGrpSpPr/>
          <p:nvPr/>
        </p:nvGrpSpPr>
        <p:grpSpPr>
          <a:xfrm>
            <a:off x="6143289" y="3426103"/>
            <a:ext cx="4321673" cy="919351"/>
            <a:chOff x="293269" y="1064351"/>
            <a:chExt cx="4321673" cy="919351"/>
          </a:xfrm>
        </p:grpSpPr>
        <p:sp>
          <p:nvSpPr>
            <p:cNvPr id="89" name="TextBox 88">
              <a:extLst>
                <a:ext uri="{FF2B5EF4-FFF2-40B4-BE49-F238E27FC236}">
                  <a16:creationId xmlns:a16="http://schemas.microsoft.com/office/drawing/2014/main" id="{C432B29D-9328-B598-08C8-EA00E1FFB2BA}"/>
                </a:ext>
              </a:extLst>
            </p:cNvPr>
            <p:cNvSpPr txBox="1"/>
            <p:nvPr/>
          </p:nvSpPr>
          <p:spPr>
            <a:xfrm>
              <a:off x="293269" y="1064351"/>
              <a:ext cx="3589520" cy="400110"/>
            </a:xfrm>
            <a:prstGeom prst="rect">
              <a:avLst/>
            </a:prstGeom>
            <a:noFill/>
          </p:spPr>
          <p:txBody>
            <a:bodyPr wrap="square" rtlCol="0" anchor="ctr">
              <a:spAutoFit/>
            </a:bodyPr>
            <a:lstStyle/>
            <a:p>
              <a:r>
                <a:rPr lang="en-US" sz="2000" b="1" dirty="0">
                  <a:solidFill>
                    <a:schemeClr val="accent3"/>
                  </a:solidFill>
                </a:rPr>
                <a:t>Health</a:t>
              </a:r>
              <a:r>
                <a:rPr lang="en-US" sz="2000" b="1" dirty="0">
                  <a:solidFill>
                    <a:schemeClr val="accent6">
                      <a:lumMod val="75000"/>
                    </a:schemeClr>
                  </a:solidFill>
                </a:rPr>
                <a:t> </a:t>
              </a:r>
              <a:r>
                <a:rPr lang="en-US" sz="2000" b="1" dirty="0">
                  <a:solidFill>
                    <a:schemeClr val="accent1"/>
                  </a:solidFill>
                </a:rPr>
                <a:t>Icon</a:t>
              </a:r>
              <a:r>
                <a:rPr lang="en-US" sz="2000" b="1" dirty="0">
                  <a:solidFill>
                    <a:schemeClr val="accent6">
                      <a:lumMod val="75000"/>
                    </a:schemeClr>
                  </a:solidFill>
                </a:rPr>
                <a:t> Ships &amp; Distributes</a:t>
              </a:r>
            </a:p>
          </p:txBody>
        </p:sp>
        <p:sp>
          <p:nvSpPr>
            <p:cNvPr id="90" name="TextBox 89">
              <a:extLst>
                <a:ext uri="{FF2B5EF4-FFF2-40B4-BE49-F238E27FC236}">
                  <a16:creationId xmlns:a16="http://schemas.microsoft.com/office/drawing/2014/main" id="{C9563315-FDFC-9C35-1B15-4F43C04CC346}"/>
                </a:ext>
              </a:extLst>
            </p:cNvPr>
            <p:cNvSpPr txBox="1"/>
            <p:nvPr/>
          </p:nvSpPr>
          <p:spPr>
            <a:xfrm>
              <a:off x="293270" y="1460482"/>
              <a:ext cx="4321672" cy="523220"/>
            </a:xfrm>
            <a:prstGeom prst="rect">
              <a:avLst/>
            </a:prstGeom>
            <a:noFill/>
          </p:spPr>
          <p:txBody>
            <a:bodyPr wrap="square" rtlCol="0" anchor="t">
              <a:spAutoFit/>
            </a:bodyPr>
            <a:lstStyle/>
            <a:p>
              <a:r>
                <a:rPr lang="en-US" sz="1400" b="1" dirty="0"/>
                <a:t>Heath Icon will Ship the consolidated order to designated markets and local distributors.</a:t>
              </a:r>
            </a:p>
          </p:txBody>
        </p:sp>
      </p:grpSp>
      <p:grpSp>
        <p:nvGrpSpPr>
          <p:cNvPr id="91" name="Group 90">
            <a:extLst>
              <a:ext uri="{FF2B5EF4-FFF2-40B4-BE49-F238E27FC236}">
                <a16:creationId xmlns:a16="http://schemas.microsoft.com/office/drawing/2014/main" id="{8593EDAA-5179-7679-33D1-242E910B9E71}"/>
              </a:ext>
            </a:extLst>
          </p:cNvPr>
          <p:cNvGrpSpPr/>
          <p:nvPr/>
        </p:nvGrpSpPr>
        <p:grpSpPr>
          <a:xfrm>
            <a:off x="6141687" y="2250217"/>
            <a:ext cx="4321673" cy="1134795"/>
            <a:chOff x="293269" y="1064351"/>
            <a:chExt cx="4321673" cy="1134795"/>
          </a:xfrm>
        </p:grpSpPr>
        <p:sp>
          <p:nvSpPr>
            <p:cNvPr id="92" name="TextBox 91">
              <a:extLst>
                <a:ext uri="{FF2B5EF4-FFF2-40B4-BE49-F238E27FC236}">
                  <a16:creationId xmlns:a16="http://schemas.microsoft.com/office/drawing/2014/main" id="{45DB2867-8451-F018-E855-7BDB46605FB5}"/>
                </a:ext>
              </a:extLst>
            </p:cNvPr>
            <p:cNvSpPr txBox="1"/>
            <p:nvPr/>
          </p:nvSpPr>
          <p:spPr>
            <a:xfrm>
              <a:off x="293269" y="1064351"/>
              <a:ext cx="4111446" cy="400110"/>
            </a:xfrm>
            <a:prstGeom prst="rect">
              <a:avLst/>
            </a:prstGeom>
            <a:noFill/>
          </p:spPr>
          <p:txBody>
            <a:bodyPr wrap="square" rtlCol="0" anchor="ctr">
              <a:spAutoFit/>
            </a:bodyPr>
            <a:lstStyle/>
            <a:p>
              <a:r>
                <a:rPr lang="en-US" sz="2000" b="1" dirty="0">
                  <a:solidFill>
                    <a:schemeClr val="accent3"/>
                  </a:solidFill>
                </a:rPr>
                <a:t>Health</a:t>
              </a:r>
              <a:r>
                <a:rPr lang="en-US" sz="2000" b="1" dirty="0">
                  <a:solidFill>
                    <a:schemeClr val="accent6">
                      <a:lumMod val="75000"/>
                    </a:schemeClr>
                  </a:solidFill>
                </a:rPr>
                <a:t> </a:t>
              </a:r>
              <a:r>
                <a:rPr lang="en-US" sz="2000" b="1" dirty="0">
                  <a:solidFill>
                    <a:schemeClr val="accent1"/>
                  </a:solidFill>
                </a:rPr>
                <a:t>Icon</a:t>
              </a:r>
              <a:r>
                <a:rPr lang="en-US" sz="2000" b="1" dirty="0">
                  <a:solidFill>
                    <a:schemeClr val="accent6">
                      <a:lumMod val="75000"/>
                    </a:schemeClr>
                  </a:solidFill>
                </a:rPr>
                <a:t> Promotion &amp; Liquidation</a:t>
              </a:r>
            </a:p>
          </p:txBody>
        </p:sp>
        <p:sp>
          <p:nvSpPr>
            <p:cNvPr id="93" name="TextBox 92">
              <a:extLst>
                <a:ext uri="{FF2B5EF4-FFF2-40B4-BE49-F238E27FC236}">
                  <a16:creationId xmlns:a16="http://schemas.microsoft.com/office/drawing/2014/main" id="{C74E93F5-C022-AF41-9AA4-10FD6DCF0590}"/>
                </a:ext>
              </a:extLst>
            </p:cNvPr>
            <p:cNvSpPr txBox="1"/>
            <p:nvPr/>
          </p:nvSpPr>
          <p:spPr>
            <a:xfrm>
              <a:off x="293270" y="1460482"/>
              <a:ext cx="4321672" cy="738664"/>
            </a:xfrm>
            <a:prstGeom prst="rect">
              <a:avLst/>
            </a:prstGeom>
            <a:noFill/>
          </p:spPr>
          <p:txBody>
            <a:bodyPr wrap="square" rtlCol="0" anchor="t">
              <a:spAutoFit/>
            </a:bodyPr>
            <a:lstStyle/>
            <a:p>
              <a:r>
                <a:rPr lang="en-US" sz="1400" b="1" dirty="0"/>
                <a:t>Heath Icon promotes and liquidates Abdi Ibrahim  products and monitors local distributors sales and stocks and performance.</a:t>
              </a:r>
            </a:p>
          </p:txBody>
        </p:sp>
      </p:grpSp>
      <p:grpSp>
        <p:nvGrpSpPr>
          <p:cNvPr id="94" name="Group 93">
            <a:extLst>
              <a:ext uri="{FF2B5EF4-FFF2-40B4-BE49-F238E27FC236}">
                <a16:creationId xmlns:a16="http://schemas.microsoft.com/office/drawing/2014/main" id="{CCBFFD80-EAA6-FB8E-650E-B4D4B10999E8}"/>
              </a:ext>
            </a:extLst>
          </p:cNvPr>
          <p:cNvGrpSpPr/>
          <p:nvPr/>
        </p:nvGrpSpPr>
        <p:grpSpPr>
          <a:xfrm>
            <a:off x="6140083" y="1103205"/>
            <a:ext cx="4321673" cy="919351"/>
            <a:chOff x="293269" y="1064351"/>
            <a:chExt cx="4321673" cy="919351"/>
          </a:xfrm>
        </p:grpSpPr>
        <p:sp>
          <p:nvSpPr>
            <p:cNvPr id="95" name="TextBox 94">
              <a:extLst>
                <a:ext uri="{FF2B5EF4-FFF2-40B4-BE49-F238E27FC236}">
                  <a16:creationId xmlns:a16="http://schemas.microsoft.com/office/drawing/2014/main" id="{69AF2847-4CB5-E2F8-01FF-88454DA1EEA3}"/>
                </a:ext>
              </a:extLst>
            </p:cNvPr>
            <p:cNvSpPr txBox="1"/>
            <p:nvPr/>
          </p:nvSpPr>
          <p:spPr>
            <a:xfrm>
              <a:off x="293269" y="1064351"/>
              <a:ext cx="3589520" cy="400110"/>
            </a:xfrm>
            <a:prstGeom prst="rect">
              <a:avLst/>
            </a:prstGeom>
            <a:noFill/>
          </p:spPr>
          <p:txBody>
            <a:bodyPr wrap="square" rtlCol="0" anchor="ctr">
              <a:spAutoFit/>
            </a:bodyPr>
            <a:lstStyle/>
            <a:p>
              <a:r>
                <a:rPr lang="en-US" sz="2000" b="1" dirty="0">
                  <a:solidFill>
                    <a:schemeClr val="accent3"/>
                  </a:solidFill>
                </a:rPr>
                <a:t>Health</a:t>
              </a:r>
              <a:r>
                <a:rPr lang="en-US" sz="2000" b="1" dirty="0">
                  <a:solidFill>
                    <a:schemeClr val="accent6">
                      <a:lumMod val="75000"/>
                    </a:schemeClr>
                  </a:solidFill>
                </a:rPr>
                <a:t> </a:t>
              </a:r>
              <a:r>
                <a:rPr lang="en-US" sz="2000" b="1" dirty="0">
                  <a:solidFill>
                    <a:schemeClr val="accent1"/>
                  </a:solidFill>
                </a:rPr>
                <a:t>Icon</a:t>
              </a:r>
              <a:r>
                <a:rPr lang="en-US" sz="2000" b="1" dirty="0">
                  <a:solidFill>
                    <a:schemeClr val="accent6">
                      <a:lumMod val="75000"/>
                    </a:schemeClr>
                  </a:solidFill>
                </a:rPr>
                <a:t> Re-orders</a:t>
              </a:r>
            </a:p>
          </p:txBody>
        </p:sp>
        <p:sp>
          <p:nvSpPr>
            <p:cNvPr id="96" name="TextBox 95">
              <a:extLst>
                <a:ext uri="{FF2B5EF4-FFF2-40B4-BE49-F238E27FC236}">
                  <a16:creationId xmlns:a16="http://schemas.microsoft.com/office/drawing/2014/main" id="{E10F8D0A-0289-A48E-D5B5-12BC1008E225}"/>
                </a:ext>
              </a:extLst>
            </p:cNvPr>
            <p:cNvSpPr txBox="1"/>
            <p:nvPr/>
          </p:nvSpPr>
          <p:spPr>
            <a:xfrm>
              <a:off x="293270" y="1460482"/>
              <a:ext cx="4321672" cy="523220"/>
            </a:xfrm>
            <a:prstGeom prst="rect">
              <a:avLst/>
            </a:prstGeom>
            <a:noFill/>
          </p:spPr>
          <p:txBody>
            <a:bodyPr wrap="square" rtlCol="0" anchor="t">
              <a:spAutoFit/>
            </a:bodyPr>
            <a:lstStyle/>
            <a:p>
              <a:r>
                <a:rPr lang="en-US" sz="1400" b="1" dirty="0"/>
                <a:t>Heath Icon analyze local stocks versus rolling sales forecasts and place consolidated re-order.</a:t>
              </a:r>
            </a:p>
          </p:txBody>
        </p:sp>
      </p:grpSp>
    </p:spTree>
    <p:extLst>
      <p:ext uri="{BB962C8B-B14F-4D97-AF65-F5344CB8AC3E}">
        <p14:creationId xmlns:p14="http://schemas.microsoft.com/office/powerpoint/2010/main" val="20854474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0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1000"/>
                                        <p:tgtEl>
                                          <p:spTgt spid="25"/>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1000"/>
                                        <p:tgtEl>
                                          <p:spTgt spid="24"/>
                                        </p:tgtEl>
                                      </p:cBhvr>
                                    </p:animEffect>
                                  </p:childTnLst>
                                </p:cTn>
                              </p:par>
                              <p:par>
                                <p:cTn id="11" presetID="2" presetClass="entr" presetSubtype="8" decel="100000" fill="hold" grpId="0" nodeType="withEffect">
                                  <p:stCondLst>
                                    <p:cond delay="40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1000" fill="hold"/>
                                        <p:tgtEl>
                                          <p:spTgt spid="4"/>
                                        </p:tgtEl>
                                        <p:attrNameLst>
                                          <p:attrName>ppt_x</p:attrName>
                                        </p:attrNameLst>
                                      </p:cBhvr>
                                      <p:tavLst>
                                        <p:tav tm="0">
                                          <p:val>
                                            <p:strVal val="0-#ppt_w/2"/>
                                          </p:val>
                                        </p:tav>
                                        <p:tav tm="100000">
                                          <p:val>
                                            <p:strVal val="#ppt_x"/>
                                          </p:val>
                                        </p:tav>
                                      </p:tavLst>
                                    </p:anim>
                                    <p:anim calcmode="lin" valueType="num">
                                      <p:cBhvr additive="base">
                                        <p:cTn id="14"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4"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descr="Imagen que contiene persona, hombre, ventana, sostener&#10;&#10;Descripción generada automáticamente">
            <a:extLst>
              <a:ext uri="{FF2B5EF4-FFF2-40B4-BE49-F238E27FC236}">
                <a16:creationId xmlns:a16="http://schemas.microsoft.com/office/drawing/2014/main" id="{FF441768-9C26-D322-87D6-E6FF714971F4}"/>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18119" t="14699" r="5994" b="4148"/>
          <a:stretch/>
        </p:blipFill>
        <p:spPr>
          <a:xfrm flipH="1">
            <a:off x="0" y="0"/>
            <a:ext cx="12192000" cy="6858000"/>
          </a:xfrm>
          <a:prstGeom prst="rect">
            <a:avLst/>
          </a:prstGeom>
        </p:spPr>
      </p:pic>
      <p:sp>
        <p:nvSpPr>
          <p:cNvPr id="2" name="Rectángulo 1">
            <a:extLst>
              <a:ext uri="{FF2B5EF4-FFF2-40B4-BE49-F238E27FC236}">
                <a16:creationId xmlns:a16="http://schemas.microsoft.com/office/drawing/2014/main" id="{A040C768-1EEF-E9E4-342E-B8A5CF2B7552}"/>
              </a:ext>
            </a:extLst>
          </p:cNvPr>
          <p:cNvSpPr/>
          <p:nvPr/>
        </p:nvSpPr>
        <p:spPr>
          <a:xfrm>
            <a:off x="0" y="4838"/>
            <a:ext cx="12192000" cy="6858000"/>
          </a:xfrm>
          <a:prstGeom prst="rect">
            <a:avLst/>
          </a:prstGeom>
          <a:gradFill flip="none" rotWithShape="1">
            <a:gsLst>
              <a:gs pos="0">
                <a:srgbClr val="0F142A">
                  <a:alpha val="40000"/>
                </a:srgbClr>
              </a:gs>
              <a:gs pos="64000">
                <a:srgbClr val="0F142A">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Imagen 4" descr="Imagen que contiene objeto, reloj, dibujo, señal&#10;&#10;Descripción generada automáticamente">
            <a:extLst>
              <a:ext uri="{FF2B5EF4-FFF2-40B4-BE49-F238E27FC236}">
                <a16:creationId xmlns:a16="http://schemas.microsoft.com/office/drawing/2014/main" id="{56090B06-069E-16B0-996E-0501287B19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080" y="1110349"/>
            <a:ext cx="3182026" cy="574700"/>
          </a:xfrm>
          <a:prstGeom prst="rect">
            <a:avLst/>
          </a:prstGeom>
        </p:spPr>
      </p:pic>
      <p:sp>
        <p:nvSpPr>
          <p:cNvPr id="6" name="CuadroTexto 5">
            <a:extLst>
              <a:ext uri="{FF2B5EF4-FFF2-40B4-BE49-F238E27FC236}">
                <a16:creationId xmlns:a16="http://schemas.microsoft.com/office/drawing/2014/main" id="{F9DF03BB-8349-3D4F-A943-4B8D734522A9}"/>
              </a:ext>
            </a:extLst>
          </p:cNvPr>
          <p:cNvSpPr txBox="1"/>
          <p:nvPr/>
        </p:nvSpPr>
        <p:spPr>
          <a:xfrm>
            <a:off x="767080" y="3409847"/>
            <a:ext cx="5723740" cy="1677639"/>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Poppins" panose="00000500000000000000" pitchFamily="2" charset="0"/>
                <a:cs typeface="Poppins" panose="00000500000000000000" pitchFamily="2" charset="0"/>
              </a:rPr>
              <a:t>Health Icon was established in 2014 as an international enterprise focusing on food and drug distribution, digital transformation and business development in healthcare. We connect the supply to the demand and a know-how of an international outlook in MENA and Sub-Saharan regions.</a:t>
            </a:r>
          </a:p>
        </p:txBody>
      </p:sp>
      <p:grpSp>
        <p:nvGrpSpPr>
          <p:cNvPr id="44" name="Grupo 43">
            <a:extLst>
              <a:ext uri="{FF2B5EF4-FFF2-40B4-BE49-F238E27FC236}">
                <a16:creationId xmlns:a16="http://schemas.microsoft.com/office/drawing/2014/main" id="{30F8F07A-8136-F6B3-EEDB-E6FDE8E9C005}"/>
              </a:ext>
            </a:extLst>
          </p:cNvPr>
          <p:cNvGrpSpPr/>
          <p:nvPr/>
        </p:nvGrpSpPr>
        <p:grpSpPr>
          <a:xfrm flipV="1">
            <a:off x="868680" y="5924631"/>
            <a:ext cx="354651" cy="850738"/>
            <a:chOff x="-683062" y="-16463286"/>
            <a:chExt cx="14194073" cy="34048790"/>
          </a:xfrm>
        </p:grpSpPr>
        <p:sp>
          <p:nvSpPr>
            <p:cNvPr id="12" name="Elipse 11">
              <a:extLst>
                <a:ext uri="{FF2B5EF4-FFF2-40B4-BE49-F238E27FC236}">
                  <a16:creationId xmlns:a16="http://schemas.microsoft.com/office/drawing/2014/main" id="{BE710B3F-BA36-F368-42B4-7DCA37ADB5CA}"/>
                </a:ext>
              </a:extLst>
            </p:cNvPr>
            <p:cNvSpPr/>
            <p:nvPr/>
          </p:nvSpPr>
          <p:spPr>
            <a:xfrm>
              <a:off x="-683062"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F7F080D6-5AA5-C12E-6B04-0D1FE536DA46}"/>
                </a:ext>
              </a:extLst>
            </p:cNvPr>
            <p:cNvSpPr/>
            <p:nvPr/>
          </p:nvSpPr>
          <p:spPr>
            <a:xfrm>
              <a:off x="-683062"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499CF2E6-E126-5052-FEF4-795CE46C677A}"/>
                </a:ext>
              </a:extLst>
            </p:cNvPr>
            <p:cNvSpPr/>
            <p:nvPr/>
          </p:nvSpPr>
          <p:spPr>
            <a:xfrm>
              <a:off x="-683062"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54B520DB-270D-414F-88CB-466FEABE7F34}"/>
                </a:ext>
              </a:extLst>
            </p:cNvPr>
            <p:cNvSpPr/>
            <p:nvPr/>
          </p:nvSpPr>
          <p:spPr>
            <a:xfrm>
              <a:off x="-683062"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620E106B-F2D6-E322-840F-3846E5025B09}"/>
                </a:ext>
              </a:extLst>
            </p:cNvPr>
            <p:cNvSpPr/>
            <p:nvPr/>
          </p:nvSpPr>
          <p:spPr>
            <a:xfrm>
              <a:off x="-683062" y="1001848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1FD55814-83D8-9DCE-8166-F50F508D48F6}"/>
                </a:ext>
              </a:extLst>
            </p:cNvPr>
            <p:cNvSpPr/>
            <p:nvPr/>
          </p:nvSpPr>
          <p:spPr>
            <a:xfrm>
              <a:off x="-683062" y="1663894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E8446826-C3DE-82BB-27EA-411A8F75BC87}"/>
                </a:ext>
              </a:extLst>
            </p:cNvPr>
            <p:cNvSpPr/>
            <p:nvPr/>
          </p:nvSpPr>
          <p:spPr>
            <a:xfrm>
              <a:off x="5940670"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09A07849-0ECC-136E-598D-691A0877F6E5}"/>
                </a:ext>
              </a:extLst>
            </p:cNvPr>
            <p:cNvSpPr/>
            <p:nvPr/>
          </p:nvSpPr>
          <p:spPr>
            <a:xfrm>
              <a:off x="5940670"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0128B96-26FF-A981-31C6-8616440E4C17}"/>
                </a:ext>
              </a:extLst>
            </p:cNvPr>
            <p:cNvSpPr/>
            <p:nvPr/>
          </p:nvSpPr>
          <p:spPr>
            <a:xfrm>
              <a:off x="5940670"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Elipse 20">
              <a:extLst>
                <a:ext uri="{FF2B5EF4-FFF2-40B4-BE49-F238E27FC236}">
                  <a16:creationId xmlns:a16="http://schemas.microsoft.com/office/drawing/2014/main" id="{2375F3D9-437B-C201-D960-5850888B2823}"/>
                </a:ext>
              </a:extLst>
            </p:cNvPr>
            <p:cNvSpPr/>
            <p:nvPr/>
          </p:nvSpPr>
          <p:spPr>
            <a:xfrm>
              <a:off x="5940670"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Elipse 21">
              <a:extLst>
                <a:ext uri="{FF2B5EF4-FFF2-40B4-BE49-F238E27FC236}">
                  <a16:creationId xmlns:a16="http://schemas.microsoft.com/office/drawing/2014/main" id="{E34CA8C0-CCDC-BE82-2995-77AEBF20DF22}"/>
                </a:ext>
              </a:extLst>
            </p:cNvPr>
            <p:cNvSpPr/>
            <p:nvPr/>
          </p:nvSpPr>
          <p:spPr>
            <a:xfrm>
              <a:off x="5940670" y="1001848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1F612023-02CC-6E8F-365F-1A524F864C41}"/>
                </a:ext>
              </a:extLst>
            </p:cNvPr>
            <p:cNvSpPr/>
            <p:nvPr/>
          </p:nvSpPr>
          <p:spPr>
            <a:xfrm>
              <a:off x="12564401"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C48E8ED6-4841-6579-4337-E98233A8D25D}"/>
                </a:ext>
              </a:extLst>
            </p:cNvPr>
            <p:cNvSpPr/>
            <p:nvPr/>
          </p:nvSpPr>
          <p:spPr>
            <a:xfrm>
              <a:off x="12564401"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F18E10EE-22F9-EA12-976D-548A73518DFA}"/>
                </a:ext>
              </a:extLst>
            </p:cNvPr>
            <p:cNvSpPr/>
            <p:nvPr/>
          </p:nvSpPr>
          <p:spPr>
            <a:xfrm>
              <a:off x="12564401"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EA12C6CE-D0CA-7CFC-78E8-9FC0E88BACE2}"/>
                </a:ext>
              </a:extLst>
            </p:cNvPr>
            <p:cNvSpPr/>
            <p:nvPr/>
          </p:nvSpPr>
          <p:spPr>
            <a:xfrm>
              <a:off x="12564401"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 name="Grupo 44">
            <a:extLst>
              <a:ext uri="{FF2B5EF4-FFF2-40B4-BE49-F238E27FC236}">
                <a16:creationId xmlns:a16="http://schemas.microsoft.com/office/drawing/2014/main" id="{90E5A8E5-32A5-2315-FD10-72B5450F226D}"/>
              </a:ext>
            </a:extLst>
          </p:cNvPr>
          <p:cNvGrpSpPr/>
          <p:nvPr/>
        </p:nvGrpSpPr>
        <p:grpSpPr>
          <a:xfrm flipH="1">
            <a:off x="5349240" y="82631"/>
            <a:ext cx="354651" cy="850738"/>
            <a:chOff x="-683062" y="-16463286"/>
            <a:chExt cx="14194073" cy="34048790"/>
          </a:xfrm>
        </p:grpSpPr>
        <p:sp>
          <p:nvSpPr>
            <p:cNvPr id="46" name="Elipse 45">
              <a:extLst>
                <a:ext uri="{FF2B5EF4-FFF2-40B4-BE49-F238E27FC236}">
                  <a16:creationId xmlns:a16="http://schemas.microsoft.com/office/drawing/2014/main" id="{D4422793-F60D-FD82-6B5A-C95245304D2C}"/>
                </a:ext>
              </a:extLst>
            </p:cNvPr>
            <p:cNvSpPr/>
            <p:nvPr/>
          </p:nvSpPr>
          <p:spPr>
            <a:xfrm>
              <a:off x="-683062"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Elipse 46">
              <a:extLst>
                <a:ext uri="{FF2B5EF4-FFF2-40B4-BE49-F238E27FC236}">
                  <a16:creationId xmlns:a16="http://schemas.microsoft.com/office/drawing/2014/main" id="{0C77272A-E289-9E77-5C75-D1015A7AAFC0}"/>
                </a:ext>
              </a:extLst>
            </p:cNvPr>
            <p:cNvSpPr/>
            <p:nvPr/>
          </p:nvSpPr>
          <p:spPr>
            <a:xfrm>
              <a:off x="-683062"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Elipse 47">
              <a:extLst>
                <a:ext uri="{FF2B5EF4-FFF2-40B4-BE49-F238E27FC236}">
                  <a16:creationId xmlns:a16="http://schemas.microsoft.com/office/drawing/2014/main" id="{A52C05CC-DF3C-ADFA-5BBD-CED5DFF7073E}"/>
                </a:ext>
              </a:extLst>
            </p:cNvPr>
            <p:cNvSpPr/>
            <p:nvPr/>
          </p:nvSpPr>
          <p:spPr>
            <a:xfrm>
              <a:off x="-683062"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Elipse 48">
              <a:extLst>
                <a:ext uri="{FF2B5EF4-FFF2-40B4-BE49-F238E27FC236}">
                  <a16:creationId xmlns:a16="http://schemas.microsoft.com/office/drawing/2014/main" id="{8AF11A62-56ED-C3AC-0B25-0D7A3967C306}"/>
                </a:ext>
              </a:extLst>
            </p:cNvPr>
            <p:cNvSpPr/>
            <p:nvPr/>
          </p:nvSpPr>
          <p:spPr>
            <a:xfrm>
              <a:off x="-683062"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lipse 49">
              <a:extLst>
                <a:ext uri="{FF2B5EF4-FFF2-40B4-BE49-F238E27FC236}">
                  <a16:creationId xmlns:a16="http://schemas.microsoft.com/office/drawing/2014/main" id="{6A367C15-F376-5E31-B152-00C8A20C401C}"/>
                </a:ext>
              </a:extLst>
            </p:cNvPr>
            <p:cNvSpPr/>
            <p:nvPr/>
          </p:nvSpPr>
          <p:spPr>
            <a:xfrm>
              <a:off x="-683062" y="1001848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Elipse 50">
              <a:extLst>
                <a:ext uri="{FF2B5EF4-FFF2-40B4-BE49-F238E27FC236}">
                  <a16:creationId xmlns:a16="http://schemas.microsoft.com/office/drawing/2014/main" id="{9F936C9A-DA7A-37E0-26EC-0AA49E7E19C0}"/>
                </a:ext>
              </a:extLst>
            </p:cNvPr>
            <p:cNvSpPr/>
            <p:nvPr/>
          </p:nvSpPr>
          <p:spPr>
            <a:xfrm>
              <a:off x="-683062" y="1663894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Elipse 51">
              <a:extLst>
                <a:ext uri="{FF2B5EF4-FFF2-40B4-BE49-F238E27FC236}">
                  <a16:creationId xmlns:a16="http://schemas.microsoft.com/office/drawing/2014/main" id="{179AA58F-F005-2003-C95A-6FD7D7084BA6}"/>
                </a:ext>
              </a:extLst>
            </p:cNvPr>
            <p:cNvSpPr/>
            <p:nvPr/>
          </p:nvSpPr>
          <p:spPr>
            <a:xfrm>
              <a:off x="5940670"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Elipse 52">
              <a:extLst>
                <a:ext uri="{FF2B5EF4-FFF2-40B4-BE49-F238E27FC236}">
                  <a16:creationId xmlns:a16="http://schemas.microsoft.com/office/drawing/2014/main" id="{4E2C8D16-67D4-A43F-CD15-E76C014CDF52}"/>
                </a:ext>
              </a:extLst>
            </p:cNvPr>
            <p:cNvSpPr/>
            <p:nvPr/>
          </p:nvSpPr>
          <p:spPr>
            <a:xfrm>
              <a:off x="5940670"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Elipse 53">
              <a:extLst>
                <a:ext uri="{FF2B5EF4-FFF2-40B4-BE49-F238E27FC236}">
                  <a16:creationId xmlns:a16="http://schemas.microsoft.com/office/drawing/2014/main" id="{5BADCD99-6931-7C88-B3FF-9440C16A9A9F}"/>
                </a:ext>
              </a:extLst>
            </p:cNvPr>
            <p:cNvSpPr/>
            <p:nvPr/>
          </p:nvSpPr>
          <p:spPr>
            <a:xfrm>
              <a:off x="5940670"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Elipse 54">
              <a:extLst>
                <a:ext uri="{FF2B5EF4-FFF2-40B4-BE49-F238E27FC236}">
                  <a16:creationId xmlns:a16="http://schemas.microsoft.com/office/drawing/2014/main" id="{0BD398F2-44F7-360D-68EA-C68DB4528925}"/>
                </a:ext>
              </a:extLst>
            </p:cNvPr>
            <p:cNvSpPr/>
            <p:nvPr/>
          </p:nvSpPr>
          <p:spPr>
            <a:xfrm>
              <a:off x="5940670"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Elipse 55">
              <a:extLst>
                <a:ext uri="{FF2B5EF4-FFF2-40B4-BE49-F238E27FC236}">
                  <a16:creationId xmlns:a16="http://schemas.microsoft.com/office/drawing/2014/main" id="{2F13E7D5-D150-7A93-3BD7-837F26A4A2D6}"/>
                </a:ext>
              </a:extLst>
            </p:cNvPr>
            <p:cNvSpPr/>
            <p:nvPr/>
          </p:nvSpPr>
          <p:spPr>
            <a:xfrm>
              <a:off x="5940670" y="1001848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Elipse 56">
              <a:extLst>
                <a:ext uri="{FF2B5EF4-FFF2-40B4-BE49-F238E27FC236}">
                  <a16:creationId xmlns:a16="http://schemas.microsoft.com/office/drawing/2014/main" id="{6F014026-67DD-C8C6-80FA-DFD9CBE90ED1}"/>
                </a:ext>
              </a:extLst>
            </p:cNvPr>
            <p:cNvSpPr/>
            <p:nvPr/>
          </p:nvSpPr>
          <p:spPr>
            <a:xfrm>
              <a:off x="12564401" y="-1646328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Elipse 57">
              <a:extLst>
                <a:ext uri="{FF2B5EF4-FFF2-40B4-BE49-F238E27FC236}">
                  <a16:creationId xmlns:a16="http://schemas.microsoft.com/office/drawing/2014/main" id="{30271E16-BF0A-4C15-8A07-1BF065340EED}"/>
                </a:ext>
              </a:extLst>
            </p:cNvPr>
            <p:cNvSpPr/>
            <p:nvPr/>
          </p:nvSpPr>
          <p:spPr>
            <a:xfrm>
              <a:off x="12564401" y="-9842826"/>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Elipse 58">
              <a:extLst>
                <a:ext uri="{FF2B5EF4-FFF2-40B4-BE49-F238E27FC236}">
                  <a16:creationId xmlns:a16="http://schemas.microsoft.com/office/drawing/2014/main" id="{D9993A4E-7C0F-330F-CC09-1438EC3075BC}"/>
                </a:ext>
              </a:extLst>
            </p:cNvPr>
            <p:cNvSpPr/>
            <p:nvPr/>
          </p:nvSpPr>
          <p:spPr>
            <a:xfrm>
              <a:off x="12564401" y="-3222402"/>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Elipse 59">
              <a:extLst>
                <a:ext uri="{FF2B5EF4-FFF2-40B4-BE49-F238E27FC236}">
                  <a16:creationId xmlns:a16="http://schemas.microsoft.com/office/drawing/2014/main" id="{593791EF-2638-4C83-7CB7-63DE3619C11F}"/>
                </a:ext>
              </a:extLst>
            </p:cNvPr>
            <p:cNvSpPr/>
            <p:nvPr/>
          </p:nvSpPr>
          <p:spPr>
            <a:xfrm>
              <a:off x="12564401" y="3398058"/>
              <a:ext cx="946610" cy="9465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4" name="Grupo 63">
            <a:extLst>
              <a:ext uri="{FF2B5EF4-FFF2-40B4-BE49-F238E27FC236}">
                <a16:creationId xmlns:a16="http://schemas.microsoft.com/office/drawing/2014/main" id="{51B8AA52-3C15-C426-1475-684F55C699B0}"/>
              </a:ext>
            </a:extLst>
          </p:cNvPr>
          <p:cNvGrpSpPr/>
          <p:nvPr/>
        </p:nvGrpSpPr>
        <p:grpSpPr>
          <a:xfrm>
            <a:off x="892332" y="5484835"/>
            <a:ext cx="2291080" cy="287288"/>
            <a:chOff x="6002020" y="5737861"/>
            <a:chExt cx="2291080" cy="287288"/>
          </a:xfrm>
        </p:grpSpPr>
        <p:sp>
          <p:nvSpPr>
            <p:cNvPr id="63" name="Rectángulo: esquinas redondeadas 62">
              <a:extLst>
                <a:ext uri="{FF2B5EF4-FFF2-40B4-BE49-F238E27FC236}">
                  <a16:creationId xmlns:a16="http://schemas.microsoft.com/office/drawing/2014/main" id="{88CAE75F-06D3-2C5C-2BFD-52C28FD1BFB1}"/>
                </a:ext>
              </a:extLst>
            </p:cNvPr>
            <p:cNvSpPr/>
            <p:nvPr/>
          </p:nvSpPr>
          <p:spPr>
            <a:xfrm>
              <a:off x="6002020" y="5737861"/>
              <a:ext cx="2291080" cy="287288"/>
            </a:xfrm>
            <a:prstGeom prst="round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CuadroTexto 61">
              <a:hlinkClick r:id="rId5"/>
              <a:extLst>
                <a:ext uri="{FF2B5EF4-FFF2-40B4-BE49-F238E27FC236}">
                  <a16:creationId xmlns:a16="http://schemas.microsoft.com/office/drawing/2014/main" id="{C30391B0-48C3-94C2-741A-0EE914B30130}"/>
                </a:ext>
              </a:extLst>
            </p:cNvPr>
            <p:cNvSpPr txBox="1"/>
            <p:nvPr/>
          </p:nvSpPr>
          <p:spPr>
            <a:xfrm>
              <a:off x="6090920" y="5758394"/>
              <a:ext cx="211328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300" normalizeH="0" baseline="0" noProof="0" dirty="0">
                  <a:ln>
                    <a:noFill/>
                  </a:ln>
                  <a:solidFill>
                    <a:prstClr val="white">
                      <a:lumMod val="95000"/>
                    </a:prstClr>
                  </a:solidFill>
                  <a:effectLst/>
                  <a:uLnTx/>
                  <a:uFillTx/>
                  <a:latin typeface="Poppins Light" panose="00000400000000000000" pitchFamily="2" charset="0"/>
                  <a:ea typeface="+mn-ea"/>
                  <a:cs typeface="Poppins Light" panose="00000400000000000000" pitchFamily="2" charset="0"/>
                </a:rPr>
                <a:t>www.healthicon.co</a:t>
              </a:r>
            </a:p>
          </p:txBody>
        </p:sp>
      </p:grpSp>
      <p:sp>
        <p:nvSpPr>
          <p:cNvPr id="27" name="Paralelogramo 26">
            <a:extLst>
              <a:ext uri="{FF2B5EF4-FFF2-40B4-BE49-F238E27FC236}">
                <a16:creationId xmlns:a16="http://schemas.microsoft.com/office/drawing/2014/main" id="{CB623EB3-386C-F7CB-C301-445A672750E0}"/>
              </a:ext>
            </a:extLst>
          </p:cNvPr>
          <p:cNvSpPr/>
          <p:nvPr/>
        </p:nvSpPr>
        <p:spPr>
          <a:xfrm>
            <a:off x="650241" y="3037751"/>
            <a:ext cx="5243830" cy="102044"/>
          </a:xfrm>
          <a:prstGeom prst="parallelogram">
            <a:avLst/>
          </a:prstGeom>
          <a:solidFill>
            <a:srgbClr val="EC212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uadroTexto 2">
            <a:extLst>
              <a:ext uri="{FF2B5EF4-FFF2-40B4-BE49-F238E27FC236}">
                <a16:creationId xmlns:a16="http://schemas.microsoft.com/office/drawing/2014/main" id="{225EA90B-C5B6-CBC0-C999-3F0A057908EC}"/>
              </a:ext>
            </a:extLst>
          </p:cNvPr>
          <p:cNvSpPr txBox="1"/>
          <p:nvPr/>
        </p:nvSpPr>
        <p:spPr>
          <a:xfrm>
            <a:off x="767080" y="1838765"/>
            <a:ext cx="5565885"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lumMod val="95000"/>
                  </a:prstClr>
                </a:solidFill>
                <a:effectLst/>
                <a:uLnTx/>
                <a:uFillTx/>
                <a:latin typeface="Kautiva Pro" panose="02000506000000020004" pitchFamily="50" charset="0"/>
                <a:cs typeface="Poppins Light" panose="00000400000000000000" pitchFamily="2" charset="0"/>
              </a:rPr>
              <a:t>Your trusted regional partner in healthcare</a:t>
            </a:r>
          </a:p>
        </p:txBody>
      </p:sp>
      <p:pic>
        <p:nvPicPr>
          <p:cNvPr id="28" name="Imagen 27" descr="Un dibujo animado con letras&#10;&#10;Descripción generada automáticamente con confianza baja">
            <a:extLst>
              <a:ext uri="{FF2B5EF4-FFF2-40B4-BE49-F238E27FC236}">
                <a16:creationId xmlns:a16="http://schemas.microsoft.com/office/drawing/2014/main" id="{F68AFCED-37FA-ED25-9337-0C21AD1F43B6}"/>
              </a:ext>
            </a:extLst>
          </p:cNvPr>
          <p:cNvPicPr>
            <a:picLocks noChangeAspect="1"/>
          </p:cNvPicPr>
          <p:nvPr/>
        </p:nvPicPr>
        <p:blipFill>
          <a:blip r:embed="rId6">
            <a:grayscl/>
            <a:alphaModFix amt="7000"/>
            <a:extLst>
              <a:ext uri="{28A0092B-C50C-407E-A947-70E740481C1C}">
                <a14:useLocalDpi xmlns:a14="http://schemas.microsoft.com/office/drawing/2010/main" val="0"/>
              </a:ext>
            </a:extLst>
          </a:blip>
          <a:stretch>
            <a:fillRect/>
          </a:stretch>
        </p:blipFill>
        <p:spPr>
          <a:xfrm>
            <a:off x="6351969" y="248049"/>
            <a:ext cx="4807140" cy="4077480"/>
          </a:xfrm>
          <a:prstGeom prst="rect">
            <a:avLst/>
          </a:prstGeom>
        </p:spPr>
      </p:pic>
    </p:spTree>
    <p:extLst>
      <p:ext uri="{BB962C8B-B14F-4D97-AF65-F5344CB8AC3E}">
        <p14:creationId xmlns:p14="http://schemas.microsoft.com/office/powerpoint/2010/main" val="220319447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8">
            <a:grayscl/>
            <a:alphaModFix amt="5000"/>
            <a:extLst>
              <a:ext uri="{28A0092B-C50C-407E-A947-70E740481C1C}">
                <a14:useLocalDpi xmlns:a14="http://schemas.microsoft.com/office/drawing/2010/main" val="0"/>
              </a:ext>
            </a:extLst>
          </a:blip>
          <a:stretch>
            <a:fillRect/>
          </a:stretch>
        </p:blipFill>
        <p:spPr>
          <a:xfrm>
            <a:off x="9349045" y="2935447"/>
            <a:ext cx="3278067" cy="2780503"/>
          </a:xfrm>
          <a:prstGeom prst="rect">
            <a:avLst/>
          </a:prstGeom>
        </p:spPr>
      </p:pic>
      <p:sp>
        <p:nvSpPr>
          <p:cNvPr id="53" name="Rectángulo: esquinas redondeadas 52">
            <a:extLst>
              <a:ext uri="{FF2B5EF4-FFF2-40B4-BE49-F238E27FC236}">
                <a16:creationId xmlns:a16="http://schemas.microsoft.com/office/drawing/2014/main" id="{BCDAF261-0565-E0A7-276B-0055AD9E6FD3}"/>
              </a:ext>
            </a:extLst>
          </p:cNvPr>
          <p:cNvSpPr/>
          <p:nvPr/>
        </p:nvSpPr>
        <p:spPr>
          <a:xfrm flipH="1" flipV="1">
            <a:off x="569236" y="3067827"/>
            <a:ext cx="10507736" cy="434389"/>
          </a:xfrm>
          <a:prstGeom prst="roundRect">
            <a:avLst>
              <a:gd name="adj" fmla="val 10030"/>
            </a:avLst>
          </a:prstGeom>
          <a:solidFill>
            <a:srgbClr val="0F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ángulo: esquinas redondeadas 44">
            <a:extLst>
              <a:ext uri="{FF2B5EF4-FFF2-40B4-BE49-F238E27FC236}">
                <a16:creationId xmlns:a16="http://schemas.microsoft.com/office/drawing/2014/main" id="{DE8DC42F-1C1A-2ECC-2231-6E3B5F5F3089}"/>
              </a:ext>
            </a:extLst>
          </p:cNvPr>
          <p:cNvSpPr/>
          <p:nvPr/>
        </p:nvSpPr>
        <p:spPr>
          <a:xfrm flipH="1" flipV="1">
            <a:off x="569236" y="1198297"/>
            <a:ext cx="10507736"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4599972" y="348594"/>
            <a:ext cx="376297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The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Figures      </a:t>
            </a:r>
            <a:r>
              <a:rPr kumimoji="0" lang="en-US" sz="1600" b="0" i="0" u="none" strike="noStrike" kern="1200" cap="none" spc="0" normalizeH="0" baseline="0" noProof="0" dirty="0">
                <a:ln>
                  <a:noFill/>
                </a:ln>
                <a:effectLst/>
                <a:uLnTx/>
                <a:uFillTx/>
                <a:latin typeface="Oswald SemiBold" pitchFamily="2" charset="0"/>
                <a:ea typeface="+mn-ea"/>
                <a:cs typeface="Poppins Light" panose="00000400000000000000" pitchFamily="2" charset="0"/>
              </a:rPr>
              <a:t>1</a:t>
            </a:r>
            <a:r>
              <a:rPr kumimoji="0" lang="en-US" sz="1600" b="0" i="0" u="none" strike="noStrike" kern="1200" cap="none" spc="0" normalizeH="0" baseline="30000" noProof="0" dirty="0">
                <a:ln>
                  <a:noFill/>
                </a:ln>
                <a:effectLst/>
                <a:uLnTx/>
                <a:uFillTx/>
                <a:latin typeface="Oswald SemiBold" pitchFamily="2" charset="0"/>
                <a:ea typeface="+mn-ea"/>
                <a:cs typeface="Poppins Light" panose="00000400000000000000" pitchFamily="2" charset="0"/>
              </a:rPr>
              <a:t>st</a:t>
            </a:r>
            <a:r>
              <a:rPr kumimoji="0" lang="en-US" sz="1600" b="0" i="0" u="none" strike="noStrike" kern="1200" cap="none" spc="0" normalizeH="0" baseline="0" noProof="0" dirty="0">
                <a:ln>
                  <a:noFill/>
                </a:ln>
                <a:effectLst/>
                <a:uLnTx/>
                <a:uFillTx/>
                <a:latin typeface="Oswald SemiBold" pitchFamily="2" charset="0"/>
                <a:ea typeface="+mn-ea"/>
                <a:cs typeface="Poppins Light" panose="00000400000000000000" pitchFamily="2" charset="0"/>
              </a:rPr>
              <a:t> Phase </a:t>
            </a:r>
            <a:endParaRPr kumimoji="0" lang="en-US" sz="3200" b="0" i="0" u="none" strike="noStrike" kern="1200" cap="none" spc="0" normalizeH="0" baseline="0" noProof="0" dirty="0">
              <a:ln>
                <a:noFill/>
              </a:ln>
              <a:effectLst/>
              <a:uLnTx/>
              <a:uFillTx/>
              <a:latin typeface="Oswald SemiBold" pitchFamily="2" charset="0"/>
              <a:ea typeface="+mn-ea"/>
              <a:cs typeface="Poppins Light" panose="00000400000000000000" pitchFamily="2" charset="0"/>
            </a:endParaRPr>
          </a:p>
        </p:txBody>
      </p:sp>
      <p:grpSp>
        <p:nvGrpSpPr>
          <p:cNvPr id="4" name="Grupo 3">
            <a:extLst>
              <a:ext uri="{FF2B5EF4-FFF2-40B4-BE49-F238E27FC236}">
                <a16:creationId xmlns:a16="http://schemas.microsoft.com/office/drawing/2014/main" id="{DA7C4BBE-EA2C-C5E0-B561-ECF85AB1FC50}"/>
              </a:ext>
            </a:extLst>
          </p:cNvPr>
          <p:cNvGrpSpPr/>
          <p:nvPr/>
        </p:nvGrpSpPr>
        <p:grpSpPr>
          <a:xfrm>
            <a:off x="54323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10657080"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9"/>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graphicFrame>
        <p:nvGraphicFramePr>
          <p:cNvPr id="54" name="Content Placeholder 5">
            <a:extLst>
              <a:ext uri="{FF2B5EF4-FFF2-40B4-BE49-F238E27FC236}">
                <a16:creationId xmlns:a16="http://schemas.microsoft.com/office/drawing/2014/main" id="{C2FE36DD-70EE-F4F5-B803-3962A98E633A}"/>
              </a:ext>
            </a:extLst>
          </p:cNvPr>
          <p:cNvGraphicFramePr>
            <a:graphicFrameLocks/>
          </p:cNvGraphicFramePr>
          <p:nvPr>
            <p:extLst>
              <p:ext uri="{D42A27DB-BD31-4B8C-83A1-F6EECF244321}">
                <p14:modId xmlns:p14="http://schemas.microsoft.com/office/powerpoint/2010/main" val="2468687534"/>
              </p:ext>
            </p:extLst>
          </p:nvPr>
        </p:nvGraphicFramePr>
        <p:xfrm>
          <a:off x="948323" y="3010435"/>
          <a:ext cx="9749562" cy="812003"/>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PROJECTED SALES FOB USD</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algn="ctr" fontAlgn="b"/>
                      <a:r>
                        <a:rPr lang="en-US" sz="1400" b="0" u="none" strike="noStrike" dirty="0">
                          <a:solidFill>
                            <a:srgbClr val="EC2129"/>
                          </a:solidFill>
                          <a:effectLst/>
                          <a:latin typeface="Poppins Medium" panose="00000600000000000000" pitchFamily="2" charset="0"/>
                          <a:cs typeface="Poppins Medium" panose="00000600000000000000" pitchFamily="2" charset="0"/>
                        </a:rPr>
                        <a:t>Grand Total</a:t>
                      </a:r>
                      <a:endParaRPr lang="en-US" sz="1400" b="0" i="0" u="none" strike="noStrike" dirty="0">
                        <a:solidFill>
                          <a:srgbClr val="EC2129"/>
                        </a:solidFill>
                        <a:effectLst/>
                        <a:latin typeface="Poppins Medium" panose="00000600000000000000" pitchFamily="2" charset="0"/>
                        <a:cs typeface="Poppins Medium" panose="000006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u="none" strike="noStrike" kern="1200" dirty="0">
                          <a:solidFill>
                            <a:srgbClr val="EC2129"/>
                          </a:solidFill>
                          <a:effectLst/>
                          <a:latin typeface="Poppins Medium" panose="00000600000000000000" pitchFamily="2" charset="0"/>
                          <a:ea typeface="+mn-ea"/>
                          <a:cs typeface="Poppins Medium" panose="00000600000000000000" pitchFamily="2" charset="0"/>
                        </a:rPr>
                        <a:t>3,871,240</a:t>
                      </a:r>
                    </a:p>
                  </a:txBody>
                  <a:tcPr marL="9525" marR="9525" marT="9525" marB="0" anchor="b">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rgbClr val="EC2129"/>
                          </a:solidFill>
                          <a:effectLst/>
                          <a:latin typeface="Poppins Medium" panose="00000600000000000000" pitchFamily="2" charset="0"/>
                          <a:ea typeface="+mn-ea"/>
                          <a:cs typeface="Poppins Medium" panose="00000600000000000000" pitchFamily="2" charset="0"/>
                        </a:rPr>
                        <a:t>5,430,310</a:t>
                      </a:r>
                    </a:p>
                  </a:txBody>
                  <a:tcPr marL="9525" marR="9525" marT="9525" marB="0" anchor="b">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400" b="0" u="none" strike="noStrike" kern="1200" dirty="0">
                          <a:solidFill>
                            <a:srgbClr val="EC2129"/>
                          </a:solidFill>
                          <a:effectLst/>
                          <a:latin typeface="Poppins Medium" panose="00000600000000000000" pitchFamily="2" charset="0"/>
                          <a:ea typeface="+mn-ea"/>
                          <a:cs typeface="Poppins Medium" panose="00000600000000000000" pitchFamily="2" charset="0"/>
                        </a:rPr>
                        <a:t>7,360,720</a:t>
                      </a:r>
                    </a:p>
                  </a:txBody>
                  <a:tcPr marL="9525" marR="9525" marT="9525" marB="0" anchor="b">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9177961"/>
                  </a:ext>
                </a:extLst>
              </a:tr>
            </a:tbl>
          </a:graphicData>
        </a:graphic>
      </p:graphicFrame>
      <p:graphicFrame>
        <p:nvGraphicFramePr>
          <p:cNvPr id="57" name="Content Placeholder 5">
            <a:extLst>
              <a:ext uri="{FF2B5EF4-FFF2-40B4-BE49-F238E27FC236}">
                <a16:creationId xmlns:a16="http://schemas.microsoft.com/office/drawing/2014/main" id="{0F924B9B-4059-AE3B-E9FC-74E3752BAE9D}"/>
              </a:ext>
            </a:extLst>
          </p:cNvPr>
          <p:cNvGraphicFramePr>
            <a:graphicFrameLocks noGrp="1"/>
          </p:cNvGraphicFramePr>
          <p:nvPr>
            <p:ph idx="1"/>
            <p:extLst>
              <p:ext uri="{D42A27DB-BD31-4B8C-83A1-F6EECF244321}">
                <p14:modId xmlns:p14="http://schemas.microsoft.com/office/powerpoint/2010/main" val="1240651386"/>
              </p:ext>
            </p:extLst>
          </p:nvPr>
        </p:nvGraphicFramePr>
        <p:xfrm>
          <a:off x="948323" y="1142050"/>
          <a:ext cx="9749562" cy="1628012"/>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THERAPEUTIC GROUP</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Analgesics &amp; NSAIDs</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346,000</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485,200</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666,050</a:t>
                      </a:r>
                    </a:p>
                  </a:txBody>
                  <a:tcPr marL="9525" marR="9525" marT="9525" marB="0" anchor="b">
                    <a:lnL w="12700" cmpd="sng">
                      <a:noFill/>
                    </a:lnL>
                    <a:lnR w="12700" cmpd="sng">
                      <a:noFill/>
                    </a:lnR>
                    <a:lnT w="6350" cap="flat" cmpd="sng" algn="ctr">
                      <a:no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3023115"/>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Cardiovascular Line</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259,6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764,8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2,387,90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19916"/>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Ophthalmic</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265,86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775,47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2,393,73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8827702"/>
                  </a:ext>
                </a:extLst>
              </a:tr>
              <a:tr h="272003">
                <a:tc>
                  <a:txBody>
                    <a:bodyPr/>
                    <a:lstStyle/>
                    <a:p>
                      <a:pPr marL="0" algn="l"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Respiratory Line </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999,78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404,84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en-US" sz="1400" b="0" u="none" strike="noStrike" kern="1200" dirty="0">
                          <a:solidFill>
                            <a:schemeClr val="bg2">
                              <a:lumMod val="25000"/>
                            </a:schemeClr>
                          </a:solidFill>
                          <a:effectLst/>
                          <a:latin typeface="Poppins" panose="00000500000000000000" pitchFamily="2" charset="0"/>
                          <a:ea typeface="+mn-ea"/>
                          <a:cs typeface="Poppins" panose="00000500000000000000" pitchFamily="2" charset="0"/>
                        </a:rPr>
                        <a:t>1,913,040</a:t>
                      </a:r>
                    </a:p>
                  </a:txBody>
                  <a:tcPr marL="9525" marR="9525" marT="9525" marB="0" anchor="b">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1608651"/>
                  </a:ext>
                </a:extLst>
              </a:tr>
            </a:tbl>
          </a:graphicData>
        </a:graphic>
      </p:graphicFrame>
      <p:sp>
        <p:nvSpPr>
          <p:cNvPr id="3" name="Flecha: hacia arriba 218">
            <a:extLst>
              <a:ext uri="{FF2B5EF4-FFF2-40B4-BE49-F238E27FC236}">
                <a16:creationId xmlns:a16="http://schemas.microsoft.com/office/drawing/2014/main" id="{A0AD3D51-CB85-5304-A508-4DBF30468653}"/>
              </a:ext>
            </a:extLst>
          </p:cNvPr>
          <p:cNvSpPr/>
          <p:nvPr/>
        </p:nvSpPr>
        <p:spPr>
          <a:xfrm flipH="1">
            <a:off x="6409746" y="7173119"/>
            <a:ext cx="2437724" cy="6314602"/>
          </a:xfrm>
          <a:custGeom>
            <a:avLst/>
            <a:gdLst>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643808 w 4043004"/>
              <a:gd name="connsiteY5" fmla="*/ 6290951 h 6290951"/>
              <a:gd name="connsiteX6" fmla="*/ 643808 w 4043004"/>
              <a:gd name="connsiteY6" fmla="*/ 684400 h 6290951"/>
              <a:gd name="connsiteX7" fmla="*/ 0 w 4043004"/>
              <a:gd name="connsiteY7" fmla="*/ 684400 h 6290951"/>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2001520 w 4043004"/>
              <a:gd name="connsiteY5" fmla="*/ 6281027 h 6290951"/>
              <a:gd name="connsiteX6" fmla="*/ 643808 w 4043004"/>
              <a:gd name="connsiteY6" fmla="*/ 6290951 h 6290951"/>
              <a:gd name="connsiteX7" fmla="*/ 643808 w 4043004"/>
              <a:gd name="connsiteY7" fmla="*/ 684400 h 6290951"/>
              <a:gd name="connsiteX8" fmla="*/ 0 w 4043004"/>
              <a:gd name="connsiteY8" fmla="*/ 684400 h 6290951"/>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290951 h 6728067"/>
              <a:gd name="connsiteX7" fmla="*/ 643808 w 4043004"/>
              <a:gd name="connsiteY7" fmla="*/ 684400 h 6728067"/>
              <a:gd name="connsiteX8" fmla="*/ 0 w 4043004"/>
              <a:gd name="connsiteY8"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1981200 w 4043004"/>
              <a:gd name="connsiteY4" fmla="*/ 6728067 h 6728067"/>
              <a:gd name="connsiteX5" fmla="*/ 643808 w 4043004"/>
              <a:gd name="connsiteY5" fmla="*/ 684400 h 6728067"/>
              <a:gd name="connsiteX6" fmla="*/ 0 w 4043004"/>
              <a:gd name="connsiteY6" fmla="*/ 684400 h 672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3004" h="6728067">
                <a:moveTo>
                  <a:pt x="0" y="684400"/>
                </a:moveTo>
                <a:lnTo>
                  <a:pt x="2021502" y="0"/>
                </a:lnTo>
                <a:lnTo>
                  <a:pt x="4043004" y="684400"/>
                </a:lnTo>
                <a:lnTo>
                  <a:pt x="3399196" y="684400"/>
                </a:lnTo>
                <a:lnTo>
                  <a:pt x="1981200" y="6728067"/>
                </a:lnTo>
                <a:lnTo>
                  <a:pt x="643808" y="684400"/>
                </a:lnTo>
                <a:lnTo>
                  <a:pt x="0" y="684400"/>
                </a:lnTo>
                <a:close/>
              </a:path>
            </a:pathLst>
          </a:cu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Map_Africa">
            <a:extLst>
              <a:ext uri="{FF2B5EF4-FFF2-40B4-BE49-F238E27FC236}">
                <a16:creationId xmlns:a16="http://schemas.microsoft.com/office/drawing/2014/main" id="{FE4431D7-D810-3807-B70B-49E980131F31}"/>
              </a:ext>
            </a:extLst>
          </p:cNvPr>
          <p:cNvGrpSpPr/>
          <p:nvPr/>
        </p:nvGrpSpPr>
        <p:grpSpPr>
          <a:xfrm>
            <a:off x="578447" y="7779520"/>
            <a:ext cx="5931540" cy="5576226"/>
            <a:chOff x="4858807" y="775624"/>
            <a:chExt cx="4833772" cy="5384801"/>
          </a:xfrm>
          <a:solidFill>
            <a:sysClr val="window" lastClr="FFFFFF">
              <a:lumMod val="85000"/>
            </a:sysClr>
          </a:solidFill>
        </p:grpSpPr>
        <p:sp>
          <p:nvSpPr>
            <p:cNvPr id="37" name="Angola">
              <a:extLst>
                <a:ext uri="{FF2B5EF4-FFF2-40B4-BE49-F238E27FC236}">
                  <a16:creationId xmlns:a16="http://schemas.microsoft.com/office/drawing/2014/main" id="{148A8E11-46D9-BBB5-1002-F5856DCD40DE}"/>
                </a:ext>
              </a:extLst>
            </p:cNvPr>
            <p:cNvSpPr>
              <a:spLocks noEditPoints="1"/>
            </p:cNvSpPr>
            <p:nvPr/>
          </p:nvSpPr>
          <p:spPr bwMode="auto">
            <a:xfrm>
              <a:off x="6904929" y="3895062"/>
              <a:ext cx="881063" cy="1006475"/>
            </a:xfrm>
            <a:custGeom>
              <a:avLst/>
              <a:gdLst>
                <a:gd name="T0" fmla="*/ 83 w 555"/>
                <a:gd name="T1" fmla="*/ 67 h 634"/>
                <a:gd name="T2" fmla="*/ 55 w 555"/>
                <a:gd name="T3" fmla="*/ 72 h 634"/>
                <a:gd name="T4" fmla="*/ 32 w 555"/>
                <a:gd name="T5" fmla="*/ 88 h 634"/>
                <a:gd name="T6" fmla="*/ 63 w 555"/>
                <a:gd name="T7" fmla="*/ 149 h 634"/>
                <a:gd name="T8" fmla="*/ 62 w 555"/>
                <a:gd name="T9" fmla="*/ 213 h 634"/>
                <a:gd name="T10" fmla="*/ 70 w 555"/>
                <a:gd name="T11" fmla="*/ 251 h 634"/>
                <a:gd name="T12" fmla="*/ 95 w 555"/>
                <a:gd name="T13" fmla="*/ 296 h 634"/>
                <a:gd name="T14" fmla="*/ 92 w 555"/>
                <a:gd name="T15" fmla="*/ 358 h 634"/>
                <a:gd name="T16" fmla="*/ 51 w 555"/>
                <a:gd name="T17" fmla="*/ 409 h 634"/>
                <a:gd name="T18" fmla="*/ 26 w 555"/>
                <a:gd name="T19" fmla="*/ 471 h 634"/>
                <a:gd name="T20" fmla="*/ 7 w 555"/>
                <a:gd name="T21" fmla="*/ 533 h 634"/>
                <a:gd name="T22" fmla="*/ 4 w 555"/>
                <a:gd name="T23" fmla="*/ 605 h 634"/>
                <a:gd name="T24" fmla="*/ 52 w 555"/>
                <a:gd name="T25" fmla="*/ 588 h 634"/>
                <a:gd name="T26" fmla="*/ 106 w 555"/>
                <a:gd name="T27" fmla="*/ 611 h 634"/>
                <a:gd name="T28" fmla="*/ 291 w 555"/>
                <a:gd name="T29" fmla="*/ 605 h 634"/>
                <a:gd name="T30" fmla="*/ 427 w 555"/>
                <a:gd name="T31" fmla="*/ 634 h 634"/>
                <a:gd name="T32" fmla="*/ 482 w 555"/>
                <a:gd name="T33" fmla="*/ 585 h 634"/>
                <a:gd name="T34" fmla="*/ 459 w 555"/>
                <a:gd name="T35" fmla="*/ 398 h 634"/>
                <a:gd name="T36" fmla="*/ 548 w 555"/>
                <a:gd name="T37" fmla="*/ 382 h 634"/>
                <a:gd name="T38" fmla="*/ 548 w 555"/>
                <a:gd name="T39" fmla="*/ 342 h 634"/>
                <a:gd name="T40" fmla="*/ 549 w 555"/>
                <a:gd name="T41" fmla="*/ 305 h 634"/>
                <a:gd name="T42" fmla="*/ 501 w 555"/>
                <a:gd name="T43" fmla="*/ 309 h 634"/>
                <a:gd name="T44" fmla="*/ 471 w 555"/>
                <a:gd name="T45" fmla="*/ 313 h 634"/>
                <a:gd name="T46" fmla="*/ 460 w 555"/>
                <a:gd name="T47" fmla="*/ 239 h 634"/>
                <a:gd name="T48" fmla="*/ 464 w 555"/>
                <a:gd name="T49" fmla="*/ 182 h 634"/>
                <a:gd name="T50" fmla="*/ 455 w 555"/>
                <a:gd name="T51" fmla="*/ 134 h 634"/>
                <a:gd name="T52" fmla="*/ 405 w 555"/>
                <a:gd name="T53" fmla="*/ 117 h 634"/>
                <a:gd name="T54" fmla="*/ 380 w 555"/>
                <a:gd name="T55" fmla="*/ 126 h 634"/>
                <a:gd name="T56" fmla="*/ 341 w 555"/>
                <a:gd name="T57" fmla="*/ 156 h 634"/>
                <a:gd name="T58" fmla="*/ 309 w 555"/>
                <a:gd name="T59" fmla="*/ 161 h 634"/>
                <a:gd name="T60" fmla="*/ 265 w 555"/>
                <a:gd name="T61" fmla="*/ 171 h 634"/>
                <a:gd name="T62" fmla="*/ 238 w 555"/>
                <a:gd name="T63" fmla="*/ 131 h 634"/>
                <a:gd name="T64" fmla="*/ 215 w 555"/>
                <a:gd name="T65" fmla="*/ 67 h 634"/>
                <a:gd name="T66" fmla="*/ 42 w 555"/>
                <a:gd name="T67" fmla="*/ 59 h 634"/>
                <a:gd name="T68" fmla="*/ 50 w 555"/>
                <a:gd name="T69" fmla="*/ 27 h 634"/>
                <a:gd name="T70" fmla="*/ 50 w 555"/>
                <a:gd name="T71" fmla="*/ 0 h 634"/>
                <a:gd name="T72" fmla="*/ 18 w 555"/>
                <a:gd name="T73" fmla="*/ 28 h 634"/>
                <a:gd name="T74" fmla="*/ 42 w 555"/>
                <a:gd name="T75" fmla="*/ 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634">
                  <a:moveTo>
                    <a:pt x="215" y="67"/>
                  </a:moveTo>
                  <a:lnTo>
                    <a:pt x="83" y="67"/>
                  </a:lnTo>
                  <a:lnTo>
                    <a:pt x="68" y="72"/>
                  </a:lnTo>
                  <a:lnTo>
                    <a:pt x="55" y="72"/>
                  </a:lnTo>
                  <a:lnTo>
                    <a:pt x="37" y="78"/>
                  </a:lnTo>
                  <a:lnTo>
                    <a:pt x="32" y="88"/>
                  </a:lnTo>
                  <a:lnTo>
                    <a:pt x="54" y="117"/>
                  </a:lnTo>
                  <a:lnTo>
                    <a:pt x="63" y="149"/>
                  </a:lnTo>
                  <a:lnTo>
                    <a:pt x="76" y="194"/>
                  </a:lnTo>
                  <a:lnTo>
                    <a:pt x="62" y="213"/>
                  </a:lnTo>
                  <a:lnTo>
                    <a:pt x="60" y="222"/>
                  </a:lnTo>
                  <a:lnTo>
                    <a:pt x="70" y="251"/>
                  </a:lnTo>
                  <a:lnTo>
                    <a:pt x="82" y="279"/>
                  </a:lnTo>
                  <a:lnTo>
                    <a:pt x="95" y="296"/>
                  </a:lnTo>
                  <a:lnTo>
                    <a:pt x="97" y="322"/>
                  </a:lnTo>
                  <a:lnTo>
                    <a:pt x="92" y="358"/>
                  </a:lnTo>
                  <a:lnTo>
                    <a:pt x="78" y="378"/>
                  </a:lnTo>
                  <a:lnTo>
                    <a:pt x="51" y="409"/>
                  </a:lnTo>
                  <a:lnTo>
                    <a:pt x="41" y="428"/>
                  </a:lnTo>
                  <a:lnTo>
                    <a:pt x="26" y="471"/>
                  </a:lnTo>
                  <a:lnTo>
                    <a:pt x="23" y="490"/>
                  </a:lnTo>
                  <a:lnTo>
                    <a:pt x="7" y="533"/>
                  </a:lnTo>
                  <a:lnTo>
                    <a:pt x="0" y="575"/>
                  </a:lnTo>
                  <a:lnTo>
                    <a:pt x="4" y="605"/>
                  </a:lnTo>
                  <a:lnTo>
                    <a:pt x="26" y="595"/>
                  </a:lnTo>
                  <a:lnTo>
                    <a:pt x="52" y="588"/>
                  </a:lnTo>
                  <a:lnTo>
                    <a:pt x="80" y="589"/>
                  </a:lnTo>
                  <a:lnTo>
                    <a:pt x="106" y="611"/>
                  </a:lnTo>
                  <a:lnTo>
                    <a:pt x="113" y="607"/>
                  </a:lnTo>
                  <a:lnTo>
                    <a:pt x="291" y="605"/>
                  </a:lnTo>
                  <a:lnTo>
                    <a:pt x="322" y="628"/>
                  </a:lnTo>
                  <a:lnTo>
                    <a:pt x="427" y="634"/>
                  </a:lnTo>
                  <a:lnTo>
                    <a:pt x="510" y="615"/>
                  </a:lnTo>
                  <a:lnTo>
                    <a:pt x="482" y="585"/>
                  </a:lnTo>
                  <a:lnTo>
                    <a:pt x="453" y="547"/>
                  </a:lnTo>
                  <a:lnTo>
                    <a:pt x="459" y="398"/>
                  </a:lnTo>
                  <a:lnTo>
                    <a:pt x="552" y="398"/>
                  </a:lnTo>
                  <a:lnTo>
                    <a:pt x="548" y="382"/>
                  </a:lnTo>
                  <a:lnTo>
                    <a:pt x="555" y="364"/>
                  </a:lnTo>
                  <a:lnTo>
                    <a:pt x="548" y="342"/>
                  </a:lnTo>
                  <a:lnTo>
                    <a:pt x="554" y="319"/>
                  </a:lnTo>
                  <a:lnTo>
                    <a:pt x="549" y="305"/>
                  </a:lnTo>
                  <a:lnTo>
                    <a:pt x="529" y="303"/>
                  </a:lnTo>
                  <a:lnTo>
                    <a:pt x="501" y="309"/>
                  </a:lnTo>
                  <a:lnTo>
                    <a:pt x="482" y="308"/>
                  </a:lnTo>
                  <a:lnTo>
                    <a:pt x="471" y="313"/>
                  </a:lnTo>
                  <a:lnTo>
                    <a:pt x="474" y="257"/>
                  </a:lnTo>
                  <a:lnTo>
                    <a:pt x="460" y="239"/>
                  </a:lnTo>
                  <a:lnTo>
                    <a:pt x="457" y="210"/>
                  </a:lnTo>
                  <a:lnTo>
                    <a:pt x="464" y="182"/>
                  </a:lnTo>
                  <a:lnTo>
                    <a:pt x="455" y="164"/>
                  </a:lnTo>
                  <a:lnTo>
                    <a:pt x="455" y="134"/>
                  </a:lnTo>
                  <a:lnTo>
                    <a:pt x="401" y="134"/>
                  </a:lnTo>
                  <a:lnTo>
                    <a:pt x="405" y="117"/>
                  </a:lnTo>
                  <a:lnTo>
                    <a:pt x="382" y="118"/>
                  </a:lnTo>
                  <a:lnTo>
                    <a:pt x="380" y="126"/>
                  </a:lnTo>
                  <a:lnTo>
                    <a:pt x="352" y="128"/>
                  </a:lnTo>
                  <a:lnTo>
                    <a:pt x="341" y="156"/>
                  </a:lnTo>
                  <a:lnTo>
                    <a:pt x="333" y="167"/>
                  </a:lnTo>
                  <a:lnTo>
                    <a:pt x="309" y="161"/>
                  </a:lnTo>
                  <a:lnTo>
                    <a:pt x="294" y="167"/>
                  </a:lnTo>
                  <a:lnTo>
                    <a:pt x="265" y="171"/>
                  </a:lnTo>
                  <a:lnTo>
                    <a:pt x="248" y="146"/>
                  </a:lnTo>
                  <a:lnTo>
                    <a:pt x="238" y="131"/>
                  </a:lnTo>
                  <a:lnTo>
                    <a:pt x="226" y="103"/>
                  </a:lnTo>
                  <a:lnTo>
                    <a:pt x="215" y="67"/>
                  </a:lnTo>
                  <a:lnTo>
                    <a:pt x="215" y="67"/>
                  </a:lnTo>
                  <a:close/>
                  <a:moveTo>
                    <a:pt x="42" y="59"/>
                  </a:moveTo>
                  <a:lnTo>
                    <a:pt x="43" y="38"/>
                  </a:lnTo>
                  <a:lnTo>
                    <a:pt x="50" y="27"/>
                  </a:lnTo>
                  <a:lnTo>
                    <a:pt x="67" y="16"/>
                  </a:lnTo>
                  <a:lnTo>
                    <a:pt x="50" y="0"/>
                  </a:lnTo>
                  <a:lnTo>
                    <a:pt x="37" y="8"/>
                  </a:lnTo>
                  <a:lnTo>
                    <a:pt x="18" y="28"/>
                  </a:lnTo>
                  <a:lnTo>
                    <a:pt x="30" y="64"/>
                  </a:lnTo>
                  <a:lnTo>
                    <a:pt x="42" y="59"/>
                  </a:lnTo>
                  <a:lnTo>
                    <a:pt x="42" y="5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38" name="Burundi">
              <a:extLst>
                <a:ext uri="{FF2B5EF4-FFF2-40B4-BE49-F238E27FC236}">
                  <a16:creationId xmlns:a16="http://schemas.microsoft.com/office/drawing/2014/main" id="{36AE0995-A13A-6F4B-6978-9BC107EE6089}"/>
                </a:ext>
              </a:extLst>
            </p:cNvPr>
            <p:cNvSpPr>
              <a:spLocks/>
            </p:cNvSpPr>
            <p:nvPr/>
          </p:nvSpPr>
          <p:spPr bwMode="auto">
            <a:xfrm>
              <a:off x="8147941" y="3739487"/>
              <a:ext cx="120650" cy="157163"/>
            </a:xfrm>
            <a:custGeom>
              <a:avLst/>
              <a:gdLst>
                <a:gd name="T0" fmla="*/ 66 w 76"/>
                <a:gd name="T1" fmla="*/ 21 h 99"/>
                <a:gd name="T2" fmla="*/ 65 w 76"/>
                <a:gd name="T3" fmla="*/ 3 h 99"/>
                <a:gd name="T4" fmla="*/ 65 w 76"/>
                <a:gd name="T5" fmla="*/ 3 h 99"/>
                <a:gd name="T6" fmla="*/ 41 w 76"/>
                <a:gd name="T7" fmla="*/ 0 h 99"/>
                <a:gd name="T8" fmla="*/ 26 w 76"/>
                <a:gd name="T9" fmla="*/ 27 h 99"/>
                <a:gd name="T10" fmla="*/ 0 w 76"/>
                <a:gd name="T11" fmla="*/ 23 h 99"/>
                <a:gd name="T12" fmla="*/ 11 w 76"/>
                <a:gd name="T13" fmla="*/ 45 h 99"/>
                <a:gd name="T14" fmla="*/ 11 w 76"/>
                <a:gd name="T15" fmla="*/ 52 h 99"/>
                <a:gd name="T16" fmla="*/ 26 w 76"/>
                <a:gd name="T17" fmla="*/ 97 h 99"/>
                <a:gd name="T18" fmla="*/ 26 w 76"/>
                <a:gd name="T19" fmla="*/ 99 h 99"/>
                <a:gd name="T20" fmla="*/ 31 w 76"/>
                <a:gd name="T21" fmla="*/ 99 h 99"/>
                <a:gd name="T22" fmla="*/ 47 w 76"/>
                <a:gd name="T23" fmla="*/ 82 h 99"/>
                <a:gd name="T24" fmla="*/ 65 w 76"/>
                <a:gd name="T25" fmla="*/ 58 h 99"/>
                <a:gd name="T26" fmla="*/ 76 w 76"/>
                <a:gd name="T27" fmla="*/ 47 h 99"/>
                <a:gd name="T28" fmla="*/ 76 w 76"/>
                <a:gd name="T29" fmla="*/ 32 h 99"/>
                <a:gd name="T30" fmla="*/ 66 w 76"/>
                <a:gd name="T31" fmla="*/ 21 h 99"/>
                <a:gd name="T32" fmla="*/ 66 w 76"/>
                <a:gd name="T33" fmla="*/ 2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99">
                  <a:moveTo>
                    <a:pt x="66" y="21"/>
                  </a:moveTo>
                  <a:lnTo>
                    <a:pt x="65" y="3"/>
                  </a:lnTo>
                  <a:lnTo>
                    <a:pt x="65" y="3"/>
                  </a:lnTo>
                  <a:lnTo>
                    <a:pt x="41" y="0"/>
                  </a:lnTo>
                  <a:lnTo>
                    <a:pt x="26" y="27"/>
                  </a:lnTo>
                  <a:lnTo>
                    <a:pt x="0" y="23"/>
                  </a:lnTo>
                  <a:lnTo>
                    <a:pt x="11" y="45"/>
                  </a:lnTo>
                  <a:lnTo>
                    <a:pt x="11" y="52"/>
                  </a:lnTo>
                  <a:lnTo>
                    <a:pt x="26" y="97"/>
                  </a:lnTo>
                  <a:lnTo>
                    <a:pt x="26" y="99"/>
                  </a:lnTo>
                  <a:lnTo>
                    <a:pt x="31" y="99"/>
                  </a:lnTo>
                  <a:lnTo>
                    <a:pt x="47" y="82"/>
                  </a:lnTo>
                  <a:lnTo>
                    <a:pt x="65" y="58"/>
                  </a:lnTo>
                  <a:lnTo>
                    <a:pt x="76" y="47"/>
                  </a:lnTo>
                  <a:lnTo>
                    <a:pt x="76" y="32"/>
                  </a:lnTo>
                  <a:lnTo>
                    <a:pt x="66" y="21"/>
                  </a:lnTo>
                  <a:lnTo>
                    <a:pt x="66" y="21"/>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0" name="Benin">
              <a:extLst>
                <a:ext uri="{FF2B5EF4-FFF2-40B4-BE49-F238E27FC236}">
                  <a16:creationId xmlns:a16="http://schemas.microsoft.com/office/drawing/2014/main" id="{F5945F07-C191-BB5A-E5B6-D66575C93D15}"/>
                </a:ext>
              </a:extLst>
            </p:cNvPr>
            <p:cNvSpPr>
              <a:spLocks/>
            </p:cNvSpPr>
            <p:nvPr/>
          </p:nvSpPr>
          <p:spPr bwMode="auto">
            <a:xfrm>
              <a:off x="6146104" y="2652050"/>
              <a:ext cx="212725" cy="454025"/>
            </a:xfrm>
            <a:custGeom>
              <a:avLst/>
              <a:gdLst>
                <a:gd name="T0" fmla="*/ 126 w 134"/>
                <a:gd name="T1" fmla="*/ 27 h 286"/>
                <a:gd name="T2" fmla="*/ 92 w 134"/>
                <a:gd name="T3" fmla="*/ 0 h 286"/>
                <a:gd name="T4" fmla="*/ 76 w 134"/>
                <a:gd name="T5" fmla="*/ 0 h 286"/>
                <a:gd name="T6" fmla="*/ 61 w 134"/>
                <a:gd name="T7" fmla="*/ 13 h 286"/>
                <a:gd name="T8" fmla="*/ 52 w 134"/>
                <a:gd name="T9" fmla="*/ 28 h 286"/>
                <a:gd name="T10" fmla="*/ 30 w 134"/>
                <a:gd name="T11" fmla="*/ 32 h 286"/>
                <a:gd name="T12" fmla="*/ 21 w 134"/>
                <a:gd name="T13" fmla="*/ 52 h 286"/>
                <a:gd name="T14" fmla="*/ 5 w 134"/>
                <a:gd name="T15" fmla="*/ 58 h 286"/>
                <a:gd name="T16" fmla="*/ 0 w 134"/>
                <a:gd name="T17" fmla="*/ 83 h 286"/>
                <a:gd name="T18" fmla="*/ 13 w 134"/>
                <a:gd name="T19" fmla="*/ 96 h 286"/>
                <a:gd name="T20" fmla="*/ 29 w 134"/>
                <a:gd name="T21" fmla="*/ 113 h 286"/>
                <a:gd name="T22" fmla="*/ 31 w 134"/>
                <a:gd name="T23" fmla="*/ 136 h 286"/>
                <a:gd name="T24" fmla="*/ 40 w 134"/>
                <a:gd name="T25" fmla="*/ 146 h 286"/>
                <a:gd name="T26" fmla="*/ 38 w 134"/>
                <a:gd name="T27" fmla="*/ 254 h 286"/>
                <a:gd name="T28" fmla="*/ 49 w 134"/>
                <a:gd name="T29" fmla="*/ 286 h 286"/>
                <a:gd name="T30" fmla="*/ 85 w 134"/>
                <a:gd name="T31" fmla="*/ 281 h 286"/>
                <a:gd name="T32" fmla="*/ 87 w 134"/>
                <a:gd name="T33" fmla="*/ 205 h 286"/>
                <a:gd name="T34" fmla="*/ 86 w 134"/>
                <a:gd name="T35" fmla="*/ 175 h 286"/>
                <a:gd name="T36" fmla="*/ 95 w 134"/>
                <a:gd name="T37" fmla="*/ 146 h 286"/>
                <a:gd name="T38" fmla="*/ 108 w 134"/>
                <a:gd name="T39" fmla="*/ 130 h 286"/>
                <a:gd name="T40" fmla="*/ 130 w 134"/>
                <a:gd name="T41" fmla="*/ 102 h 286"/>
                <a:gd name="T42" fmla="*/ 126 w 134"/>
                <a:gd name="T43" fmla="*/ 90 h 286"/>
                <a:gd name="T44" fmla="*/ 134 w 134"/>
                <a:gd name="T45" fmla="*/ 70 h 286"/>
                <a:gd name="T46" fmla="*/ 124 w 134"/>
                <a:gd name="T47" fmla="*/ 42 h 286"/>
                <a:gd name="T48" fmla="*/ 126 w 134"/>
                <a:gd name="T49" fmla="*/ 27 h 286"/>
                <a:gd name="T50" fmla="*/ 126 w 134"/>
                <a:gd name="T51" fmla="*/ 2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286">
                  <a:moveTo>
                    <a:pt x="126" y="27"/>
                  </a:moveTo>
                  <a:lnTo>
                    <a:pt x="92" y="0"/>
                  </a:lnTo>
                  <a:lnTo>
                    <a:pt x="76" y="0"/>
                  </a:lnTo>
                  <a:lnTo>
                    <a:pt x="61" y="13"/>
                  </a:lnTo>
                  <a:lnTo>
                    <a:pt x="52" y="28"/>
                  </a:lnTo>
                  <a:lnTo>
                    <a:pt x="30" y="32"/>
                  </a:lnTo>
                  <a:lnTo>
                    <a:pt x="21" y="52"/>
                  </a:lnTo>
                  <a:lnTo>
                    <a:pt x="5" y="58"/>
                  </a:lnTo>
                  <a:lnTo>
                    <a:pt x="0" y="83"/>
                  </a:lnTo>
                  <a:lnTo>
                    <a:pt x="13" y="96"/>
                  </a:lnTo>
                  <a:lnTo>
                    <a:pt x="29" y="113"/>
                  </a:lnTo>
                  <a:lnTo>
                    <a:pt x="31" y="136"/>
                  </a:lnTo>
                  <a:lnTo>
                    <a:pt x="40" y="146"/>
                  </a:lnTo>
                  <a:lnTo>
                    <a:pt x="38" y="254"/>
                  </a:lnTo>
                  <a:lnTo>
                    <a:pt x="49" y="286"/>
                  </a:lnTo>
                  <a:lnTo>
                    <a:pt x="85" y="281"/>
                  </a:lnTo>
                  <a:lnTo>
                    <a:pt x="87" y="205"/>
                  </a:lnTo>
                  <a:lnTo>
                    <a:pt x="86" y="175"/>
                  </a:lnTo>
                  <a:lnTo>
                    <a:pt x="95" y="146"/>
                  </a:lnTo>
                  <a:lnTo>
                    <a:pt x="108" y="130"/>
                  </a:lnTo>
                  <a:lnTo>
                    <a:pt x="130" y="102"/>
                  </a:lnTo>
                  <a:lnTo>
                    <a:pt x="126" y="90"/>
                  </a:lnTo>
                  <a:lnTo>
                    <a:pt x="134" y="70"/>
                  </a:lnTo>
                  <a:lnTo>
                    <a:pt x="124" y="42"/>
                  </a:lnTo>
                  <a:lnTo>
                    <a:pt x="126" y="27"/>
                  </a:lnTo>
                  <a:lnTo>
                    <a:pt x="12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1" name="Burkina Faso">
              <a:extLst>
                <a:ext uri="{FF2B5EF4-FFF2-40B4-BE49-F238E27FC236}">
                  <a16:creationId xmlns:a16="http://schemas.microsoft.com/office/drawing/2014/main" id="{D9EBE5C3-FBFF-0B73-DB79-7FB858470A03}"/>
                </a:ext>
              </a:extLst>
            </p:cNvPr>
            <p:cNvSpPr>
              <a:spLocks/>
            </p:cNvSpPr>
            <p:nvPr/>
          </p:nvSpPr>
          <p:spPr bwMode="auto">
            <a:xfrm>
              <a:off x="5704779" y="2437737"/>
              <a:ext cx="539750" cy="409575"/>
            </a:xfrm>
            <a:custGeom>
              <a:avLst/>
              <a:gdLst>
                <a:gd name="T0" fmla="*/ 260 w 340"/>
                <a:gd name="T1" fmla="*/ 8 h 258"/>
                <a:gd name="T2" fmla="*/ 232 w 340"/>
                <a:gd name="T3" fmla="*/ 8 h 258"/>
                <a:gd name="T4" fmla="*/ 221 w 340"/>
                <a:gd name="T5" fmla="*/ 0 h 258"/>
                <a:gd name="T6" fmla="*/ 196 w 340"/>
                <a:gd name="T7" fmla="*/ 6 h 258"/>
                <a:gd name="T8" fmla="*/ 155 w 340"/>
                <a:gd name="T9" fmla="*/ 26 h 258"/>
                <a:gd name="T10" fmla="*/ 146 w 340"/>
                <a:gd name="T11" fmla="*/ 40 h 258"/>
                <a:gd name="T12" fmla="*/ 112 w 340"/>
                <a:gd name="T13" fmla="*/ 62 h 258"/>
                <a:gd name="T14" fmla="*/ 106 w 340"/>
                <a:gd name="T15" fmla="*/ 74 h 258"/>
                <a:gd name="T16" fmla="*/ 88 w 340"/>
                <a:gd name="T17" fmla="*/ 83 h 258"/>
                <a:gd name="T18" fmla="*/ 66 w 340"/>
                <a:gd name="T19" fmla="*/ 77 h 258"/>
                <a:gd name="T20" fmla="*/ 54 w 340"/>
                <a:gd name="T21" fmla="*/ 88 h 258"/>
                <a:gd name="T22" fmla="*/ 47 w 340"/>
                <a:gd name="T23" fmla="*/ 120 h 258"/>
                <a:gd name="T24" fmla="*/ 12 w 340"/>
                <a:gd name="T25" fmla="*/ 159 h 258"/>
                <a:gd name="T26" fmla="*/ 13 w 340"/>
                <a:gd name="T27" fmla="*/ 175 h 258"/>
                <a:gd name="T28" fmla="*/ 0 w 340"/>
                <a:gd name="T29" fmla="*/ 195 h 258"/>
                <a:gd name="T30" fmla="*/ 4 w 340"/>
                <a:gd name="T31" fmla="*/ 222 h 258"/>
                <a:gd name="T32" fmla="*/ 24 w 340"/>
                <a:gd name="T33" fmla="*/ 232 h 258"/>
                <a:gd name="T34" fmla="*/ 31 w 340"/>
                <a:gd name="T35" fmla="*/ 248 h 258"/>
                <a:gd name="T36" fmla="*/ 51 w 340"/>
                <a:gd name="T37" fmla="*/ 258 h 258"/>
                <a:gd name="T38" fmla="*/ 67 w 340"/>
                <a:gd name="T39" fmla="*/ 247 h 258"/>
                <a:gd name="T40" fmla="*/ 88 w 340"/>
                <a:gd name="T41" fmla="*/ 244 h 258"/>
                <a:gd name="T42" fmla="*/ 118 w 340"/>
                <a:gd name="T43" fmla="*/ 257 h 258"/>
                <a:gd name="T44" fmla="*/ 111 w 340"/>
                <a:gd name="T45" fmla="*/ 221 h 258"/>
                <a:gd name="T46" fmla="*/ 113 w 340"/>
                <a:gd name="T47" fmla="*/ 194 h 258"/>
                <a:gd name="T48" fmla="*/ 190 w 340"/>
                <a:gd name="T49" fmla="*/ 192 h 258"/>
                <a:gd name="T50" fmla="*/ 210 w 340"/>
                <a:gd name="T51" fmla="*/ 196 h 258"/>
                <a:gd name="T52" fmla="*/ 224 w 340"/>
                <a:gd name="T53" fmla="*/ 188 h 258"/>
                <a:gd name="T54" fmla="*/ 245 w 340"/>
                <a:gd name="T55" fmla="*/ 192 h 258"/>
                <a:gd name="T56" fmla="*/ 283 w 340"/>
                <a:gd name="T57" fmla="*/ 193 h 258"/>
                <a:gd name="T58" fmla="*/ 299 w 340"/>
                <a:gd name="T59" fmla="*/ 187 h 258"/>
                <a:gd name="T60" fmla="*/ 308 w 340"/>
                <a:gd name="T61" fmla="*/ 167 h 258"/>
                <a:gd name="T62" fmla="*/ 330 w 340"/>
                <a:gd name="T63" fmla="*/ 163 h 258"/>
                <a:gd name="T64" fmla="*/ 339 w 340"/>
                <a:gd name="T65" fmla="*/ 148 h 258"/>
                <a:gd name="T66" fmla="*/ 340 w 340"/>
                <a:gd name="T67" fmla="*/ 116 h 258"/>
                <a:gd name="T68" fmla="*/ 288 w 340"/>
                <a:gd name="T69" fmla="*/ 106 h 258"/>
                <a:gd name="T70" fmla="*/ 288 w 340"/>
                <a:gd name="T71" fmla="*/ 83 h 258"/>
                <a:gd name="T72" fmla="*/ 262 w 340"/>
                <a:gd name="T73" fmla="*/ 52 h 258"/>
                <a:gd name="T74" fmla="*/ 257 w 340"/>
                <a:gd name="T75" fmla="*/ 31 h 258"/>
                <a:gd name="T76" fmla="*/ 260 w 340"/>
                <a:gd name="T77" fmla="*/ 8 h 258"/>
                <a:gd name="T78" fmla="*/ 260 w 340"/>
                <a:gd name="T79" fmla="*/ 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258">
                  <a:moveTo>
                    <a:pt x="260" y="8"/>
                  </a:moveTo>
                  <a:lnTo>
                    <a:pt x="232" y="8"/>
                  </a:lnTo>
                  <a:lnTo>
                    <a:pt x="221" y="0"/>
                  </a:lnTo>
                  <a:lnTo>
                    <a:pt x="196" y="6"/>
                  </a:lnTo>
                  <a:lnTo>
                    <a:pt x="155" y="26"/>
                  </a:lnTo>
                  <a:lnTo>
                    <a:pt x="146" y="40"/>
                  </a:lnTo>
                  <a:lnTo>
                    <a:pt x="112" y="62"/>
                  </a:lnTo>
                  <a:lnTo>
                    <a:pt x="106" y="74"/>
                  </a:lnTo>
                  <a:lnTo>
                    <a:pt x="88" y="83"/>
                  </a:lnTo>
                  <a:lnTo>
                    <a:pt x="66" y="77"/>
                  </a:lnTo>
                  <a:lnTo>
                    <a:pt x="54" y="88"/>
                  </a:lnTo>
                  <a:lnTo>
                    <a:pt x="47" y="120"/>
                  </a:lnTo>
                  <a:lnTo>
                    <a:pt x="12" y="159"/>
                  </a:lnTo>
                  <a:lnTo>
                    <a:pt x="13" y="175"/>
                  </a:lnTo>
                  <a:lnTo>
                    <a:pt x="0" y="195"/>
                  </a:lnTo>
                  <a:lnTo>
                    <a:pt x="4" y="222"/>
                  </a:lnTo>
                  <a:lnTo>
                    <a:pt x="24" y="232"/>
                  </a:lnTo>
                  <a:lnTo>
                    <a:pt x="31" y="248"/>
                  </a:lnTo>
                  <a:lnTo>
                    <a:pt x="51" y="258"/>
                  </a:lnTo>
                  <a:lnTo>
                    <a:pt x="67" y="247"/>
                  </a:lnTo>
                  <a:lnTo>
                    <a:pt x="88" y="244"/>
                  </a:lnTo>
                  <a:lnTo>
                    <a:pt x="118" y="257"/>
                  </a:lnTo>
                  <a:lnTo>
                    <a:pt x="111" y="221"/>
                  </a:lnTo>
                  <a:lnTo>
                    <a:pt x="113" y="194"/>
                  </a:lnTo>
                  <a:lnTo>
                    <a:pt x="190" y="192"/>
                  </a:lnTo>
                  <a:lnTo>
                    <a:pt x="210" y="196"/>
                  </a:lnTo>
                  <a:lnTo>
                    <a:pt x="224" y="188"/>
                  </a:lnTo>
                  <a:lnTo>
                    <a:pt x="245" y="192"/>
                  </a:lnTo>
                  <a:lnTo>
                    <a:pt x="283" y="193"/>
                  </a:lnTo>
                  <a:lnTo>
                    <a:pt x="299" y="187"/>
                  </a:lnTo>
                  <a:lnTo>
                    <a:pt x="308" y="167"/>
                  </a:lnTo>
                  <a:lnTo>
                    <a:pt x="330" y="163"/>
                  </a:lnTo>
                  <a:lnTo>
                    <a:pt x="339" y="148"/>
                  </a:lnTo>
                  <a:lnTo>
                    <a:pt x="340" y="116"/>
                  </a:lnTo>
                  <a:lnTo>
                    <a:pt x="288" y="106"/>
                  </a:lnTo>
                  <a:lnTo>
                    <a:pt x="288" y="83"/>
                  </a:lnTo>
                  <a:lnTo>
                    <a:pt x="262" y="52"/>
                  </a:lnTo>
                  <a:lnTo>
                    <a:pt x="257" y="31"/>
                  </a:lnTo>
                  <a:lnTo>
                    <a:pt x="260" y="8"/>
                  </a:lnTo>
                  <a:lnTo>
                    <a:pt x="260"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2" name="Botswana">
              <a:extLst>
                <a:ext uri="{FF2B5EF4-FFF2-40B4-BE49-F238E27FC236}">
                  <a16:creationId xmlns:a16="http://schemas.microsoft.com/office/drawing/2014/main" id="{E6FFAAFC-CA91-94C7-CBA7-B81644F55F1C}"/>
                </a:ext>
              </a:extLst>
            </p:cNvPr>
            <p:cNvSpPr>
              <a:spLocks/>
            </p:cNvSpPr>
            <p:nvPr/>
          </p:nvSpPr>
          <p:spPr bwMode="auto">
            <a:xfrm>
              <a:off x="7463729" y="4882487"/>
              <a:ext cx="668338" cy="682625"/>
            </a:xfrm>
            <a:custGeom>
              <a:avLst/>
              <a:gdLst>
                <a:gd name="T0" fmla="*/ 247 w 421"/>
                <a:gd name="T1" fmla="*/ 3 h 430"/>
                <a:gd name="T2" fmla="*/ 240 w 421"/>
                <a:gd name="T3" fmla="*/ 0 h 430"/>
                <a:gd name="T4" fmla="*/ 214 w 421"/>
                <a:gd name="T5" fmla="*/ 10 h 430"/>
                <a:gd name="T6" fmla="*/ 202 w 421"/>
                <a:gd name="T7" fmla="*/ 10 h 430"/>
                <a:gd name="T8" fmla="*/ 172 w 421"/>
                <a:gd name="T9" fmla="*/ 29 h 430"/>
                <a:gd name="T10" fmla="*/ 156 w 421"/>
                <a:gd name="T11" fmla="*/ 9 h 430"/>
                <a:gd name="T12" fmla="*/ 88 w 421"/>
                <a:gd name="T13" fmla="*/ 26 h 430"/>
                <a:gd name="T14" fmla="*/ 55 w 421"/>
                <a:gd name="T15" fmla="*/ 27 h 430"/>
                <a:gd name="T16" fmla="*/ 48 w 421"/>
                <a:gd name="T17" fmla="*/ 194 h 430"/>
                <a:gd name="T18" fmla="*/ 5 w 421"/>
                <a:gd name="T19" fmla="*/ 196 h 430"/>
                <a:gd name="T20" fmla="*/ 0 w 421"/>
                <a:gd name="T21" fmla="*/ 333 h 430"/>
                <a:gd name="T22" fmla="*/ 12 w 421"/>
                <a:gd name="T23" fmla="*/ 340 h 430"/>
                <a:gd name="T24" fmla="*/ 35 w 421"/>
                <a:gd name="T25" fmla="*/ 385 h 430"/>
                <a:gd name="T26" fmla="*/ 30 w 421"/>
                <a:gd name="T27" fmla="*/ 413 h 430"/>
                <a:gd name="T28" fmla="*/ 39 w 421"/>
                <a:gd name="T29" fmla="*/ 430 h 430"/>
                <a:gd name="T30" fmla="*/ 70 w 421"/>
                <a:gd name="T31" fmla="*/ 425 h 430"/>
                <a:gd name="T32" fmla="*/ 93 w 421"/>
                <a:gd name="T33" fmla="*/ 405 h 430"/>
                <a:gd name="T34" fmla="*/ 114 w 421"/>
                <a:gd name="T35" fmla="*/ 390 h 430"/>
                <a:gd name="T36" fmla="*/ 126 w 421"/>
                <a:gd name="T37" fmla="*/ 367 h 430"/>
                <a:gd name="T38" fmla="*/ 148 w 421"/>
                <a:gd name="T39" fmla="*/ 357 h 430"/>
                <a:gd name="T40" fmla="*/ 165 w 421"/>
                <a:gd name="T41" fmla="*/ 362 h 430"/>
                <a:gd name="T42" fmla="*/ 185 w 421"/>
                <a:gd name="T43" fmla="*/ 376 h 430"/>
                <a:gd name="T44" fmla="*/ 221 w 421"/>
                <a:gd name="T45" fmla="*/ 378 h 430"/>
                <a:gd name="T46" fmla="*/ 249 w 421"/>
                <a:gd name="T47" fmla="*/ 367 h 430"/>
                <a:gd name="T48" fmla="*/ 254 w 421"/>
                <a:gd name="T49" fmla="*/ 352 h 430"/>
                <a:gd name="T50" fmla="*/ 263 w 421"/>
                <a:gd name="T51" fmla="*/ 330 h 430"/>
                <a:gd name="T52" fmla="*/ 286 w 421"/>
                <a:gd name="T53" fmla="*/ 327 h 430"/>
                <a:gd name="T54" fmla="*/ 301 w 421"/>
                <a:gd name="T55" fmla="*/ 309 h 430"/>
                <a:gd name="T56" fmla="*/ 317 w 421"/>
                <a:gd name="T57" fmla="*/ 277 h 430"/>
                <a:gd name="T58" fmla="*/ 358 w 421"/>
                <a:gd name="T59" fmla="*/ 242 h 430"/>
                <a:gd name="T60" fmla="*/ 421 w 421"/>
                <a:gd name="T61" fmla="*/ 208 h 430"/>
                <a:gd name="T62" fmla="*/ 394 w 421"/>
                <a:gd name="T63" fmla="*/ 186 h 430"/>
                <a:gd name="T64" fmla="*/ 360 w 421"/>
                <a:gd name="T65" fmla="*/ 179 h 430"/>
                <a:gd name="T66" fmla="*/ 349 w 421"/>
                <a:gd name="T67" fmla="*/ 149 h 430"/>
                <a:gd name="T68" fmla="*/ 350 w 421"/>
                <a:gd name="T69" fmla="*/ 133 h 430"/>
                <a:gd name="T70" fmla="*/ 331 w 421"/>
                <a:gd name="T71" fmla="*/ 128 h 430"/>
                <a:gd name="T72" fmla="*/ 284 w 421"/>
                <a:gd name="T73" fmla="*/ 76 h 430"/>
                <a:gd name="T74" fmla="*/ 271 w 421"/>
                <a:gd name="T75" fmla="*/ 49 h 430"/>
                <a:gd name="T76" fmla="*/ 263 w 421"/>
                <a:gd name="T77" fmla="*/ 40 h 430"/>
                <a:gd name="T78" fmla="*/ 247 w 421"/>
                <a:gd name="T79" fmla="*/ 3 h 430"/>
                <a:gd name="T80" fmla="*/ 247 w 421"/>
                <a:gd name="T81"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30">
                  <a:moveTo>
                    <a:pt x="247" y="3"/>
                  </a:moveTo>
                  <a:lnTo>
                    <a:pt x="240" y="0"/>
                  </a:lnTo>
                  <a:lnTo>
                    <a:pt x="214" y="10"/>
                  </a:lnTo>
                  <a:lnTo>
                    <a:pt x="202" y="10"/>
                  </a:lnTo>
                  <a:lnTo>
                    <a:pt x="172" y="29"/>
                  </a:lnTo>
                  <a:lnTo>
                    <a:pt x="156" y="9"/>
                  </a:lnTo>
                  <a:lnTo>
                    <a:pt x="88" y="26"/>
                  </a:lnTo>
                  <a:lnTo>
                    <a:pt x="55" y="27"/>
                  </a:lnTo>
                  <a:lnTo>
                    <a:pt x="48" y="194"/>
                  </a:lnTo>
                  <a:lnTo>
                    <a:pt x="5" y="196"/>
                  </a:lnTo>
                  <a:lnTo>
                    <a:pt x="0" y="333"/>
                  </a:lnTo>
                  <a:lnTo>
                    <a:pt x="12" y="340"/>
                  </a:lnTo>
                  <a:lnTo>
                    <a:pt x="35" y="385"/>
                  </a:lnTo>
                  <a:lnTo>
                    <a:pt x="30" y="413"/>
                  </a:lnTo>
                  <a:lnTo>
                    <a:pt x="39" y="430"/>
                  </a:lnTo>
                  <a:lnTo>
                    <a:pt x="70" y="425"/>
                  </a:lnTo>
                  <a:lnTo>
                    <a:pt x="93" y="405"/>
                  </a:lnTo>
                  <a:lnTo>
                    <a:pt x="114" y="390"/>
                  </a:lnTo>
                  <a:lnTo>
                    <a:pt x="126" y="367"/>
                  </a:lnTo>
                  <a:lnTo>
                    <a:pt x="148" y="357"/>
                  </a:lnTo>
                  <a:lnTo>
                    <a:pt x="165" y="362"/>
                  </a:lnTo>
                  <a:lnTo>
                    <a:pt x="185" y="376"/>
                  </a:lnTo>
                  <a:lnTo>
                    <a:pt x="221" y="378"/>
                  </a:lnTo>
                  <a:lnTo>
                    <a:pt x="249" y="367"/>
                  </a:lnTo>
                  <a:lnTo>
                    <a:pt x="254" y="352"/>
                  </a:lnTo>
                  <a:lnTo>
                    <a:pt x="263" y="330"/>
                  </a:lnTo>
                  <a:lnTo>
                    <a:pt x="286" y="327"/>
                  </a:lnTo>
                  <a:lnTo>
                    <a:pt x="301" y="309"/>
                  </a:lnTo>
                  <a:lnTo>
                    <a:pt x="317" y="277"/>
                  </a:lnTo>
                  <a:lnTo>
                    <a:pt x="358" y="242"/>
                  </a:lnTo>
                  <a:lnTo>
                    <a:pt x="421" y="208"/>
                  </a:lnTo>
                  <a:lnTo>
                    <a:pt x="394" y="186"/>
                  </a:lnTo>
                  <a:lnTo>
                    <a:pt x="360" y="179"/>
                  </a:lnTo>
                  <a:lnTo>
                    <a:pt x="349" y="149"/>
                  </a:lnTo>
                  <a:lnTo>
                    <a:pt x="350" y="133"/>
                  </a:lnTo>
                  <a:lnTo>
                    <a:pt x="331" y="128"/>
                  </a:lnTo>
                  <a:lnTo>
                    <a:pt x="284" y="76"/>
                  </a:lnTo>
                  <a:lnTo>
                    <a:pt x="271" y="49"/>
                  </a:lnTo>
                  <a:lnTo>
                    <a:pt x="263" y="40"/>
                  </a:lnTo>
                  <a:lnTo>
                    <a:pt x="247" y="3"/>
                  </a:lnTo>
                  <a:lnTo>
                    <a:pt x="247"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3" name="Central African Rep.">
              <a:extLst>
                <a:ext uri="{FF2B5EF4-FFF2-40B4-BE49-F238E27FC236}">
                  <a16:creationId xmlns:a16="http://schemas.microsoft.com/office/drawing/2014/main" id="{1848A359-DB4D-0185-88DA-10D070392AF3}"/>
                </a:ext>
              </a:extLst>
            </p:cNvPr>
            <p:cNvSpPr>
              <a:spLocks/>
            </p:cNvSpPr>
            <p:nvPr/>
          </p:nvSpPr>
          <p:spPr bwMode="auto">
            <a:xfrm>
              <a:off x="7114479" y="2733012"/>
              <a:ext cx="914400" cy="661988"/>
            </a:xfrm>
            <a:custGeom>
              <a:avLst/>
              <a:gdLst>
                <a:gd name="T0" fmla="*/ 418 w 576"/>
                <a:gd name="T1" fmla="*/ 118 h 417"/>
                <a:gd name="T2" fmla="*/ 414 w 576"/>
                <a:gd name="T3" fmla="*/ 117 h 417"/>
                <a:gd name="T4" fmla="*/ 399 w 576"/>
                <a:gd name="T5" fmla="*/ 103 h 417"/>
                <a:gd name="T6" fmla="*/ 396 w 576"/>
                <a:gd name="T7" fmla="*/ 88 h 417"/>
                <a:gd name="T8" fmla="*/ 402 w 576"/>
                <a:gd name="T9" fmla="*/ 69 h 417"/>
                <a:gd name="T10" fmla="*/ 402 w 576"/>
                <a:gd name="T11" fmla="*/ 50 h 417"/>
                <a:gd name="T12" fmla="*/ 376 w 576"/>
                <a:gd name="T13" fmla="*/ 20 h 417"/>
                <a:gd name="T14" fmla="*/ 370 w 576"/>
                <a:gd name="T15" fmla="*/ 0 h 417"/>
                <a:gd name="T16" fmla="*/ 342 w 576"/>
                <a:gd name="T17" fmla="*/ 8 h 417"/>
                <a:gd name="T18" fmla="*/ 320 w 576"/>
                <a:gd name="T19" fmla="*/ 27 h 417"/>
                <a:gd name="T20" fmla="*/ 289 w 576"/>
                <a:gd name="T21" fmla="*/ 79 h 417"/>
                <a:gd name="T22" fmla="*/ 248 w 576"/>
                <a:gd name="T23" fmla="*/ 100 h 417"/>
                <a:gd name="T24" fmla="*/ 204 w 576"/>
                <a:gd name="T25" fmla="*/ 97 h 417"/>
                <a:gd name="T26" fmla="*/ 192 w 576"/>
                <a:gd name="T27" fmla="*/ 101 h 417"/>
                <a:gd name="T28" fmla="*/ 197 w 576"/>
                <a:gd name="T29" fmla="*/ 118 h 417"/>
                <a:gd name="T30" fmla="*/ 173 w 576"/>
                <a:gd name="T31" fmla="*/ 135 h 417"/>
                <a:gd name="T32" fmla="*/ 155 w 576"/>
                <a:gd name="T33" fmla="*/ 152 h 417"/>
                <a:gd name="T34" fmla="*/ 99 w 576"/>
                <a:gd name="T35" fmla="*/ 171 h 417"/>
                <a:gd name="T36" fmla="*/ 88 w 576"/>
                <a:gd name="T37" fmla="*/ 160 h 417"/>
                <a:gd name="T38" fmla="*/ 80 w 576"/>
                <a:gd name="T39" fmla="*/ 159 h 417"/>
                <a:gd name="T40" fmla="*/ 73 w 576"/>
                <a:gd name="T41" fmla="*/ 171 h 417"/>
                <a:gd name="T42" fmla="*/ 36 w 576"/>
                <a:gd name="T43" fmla="*/ 175 h 417"/>
                <a:gd name="T44" fmla="*/ 13 w 576"/>
                <a:gd name="T45" fmla="*/ 222 h 417"/>
                <a:gd name="T46" fmla="*/ 3 w 576"/>
                <a:gd name="T47" fmla="*/ 231 h 417"/>
                <a:gd name="T48" fmla="*/ 0 w 576"/>
                <a:gd name="T49" fmla="*/ 268 h 417"/>
                <a:gd name="T50" fmla="*/ 4 w 576"/>
                <a:gd name="T51" fmla="*/ 287 h 417"/>
                <a:gd name="T52" fmla="*/ 1 w 576"/>
                <a:gd name="T53" fmla="*/ 301 h 417"/>
                <a:gd name="T54" fmla="*/ 22 w 576"/>
                <a:gd name="T55" fmla="*/ 326 h 417"/>
                <a:gd name="T56" fmla="*/ 26 w 576"/>
                <a:gd name="T57" fmla="*/ 343 h 417"/>
                <a:gd name="T58" fmla="*/ 43 w 576"/>
                <a:gd name="T59" fmla="*/ 367 h 417"/>
                <a:gd name="T60" fmla="*/ 64 w 576"/>
                <a:gd name="T61" fmla="*/ 382 h 417"/>
                <a:gd name="T62" fmla="*/ 65 w 576"/>
                <a:gd name="T63" fmla="*/ 404 h 417"/>
                <a:gd name="T64" fmla="*/ 70 w 576"/>
                <a:gd name="T65" fmla="*/ 417 h 417"/>
                <a:gd name="T66" fmla="*/ 93 w 576"/>
                <a:gd name="T67" fmla="*/ 373 h 417"/>
                <a:gd name="T68" fmla="*/ 120 w 576"/>
                <a:gd name="T69" fmla="*/ 349 h 417"/>
                <a:gd name="T70" fmla="*/ 149 w 576"/>
                <a:gd name="T71" fmla="*/ 356 h 417"/>
                <a:gd name="T72" fmla="*/ 179 w 576"/>
                <a:gd name="T73" fmla="*/ 359 h 417"/>
                <a:gd name="T74" fmla="*/ 182 w 576"/>
                <a:gd name="T75" fmla="*/ 326 h 417"/>
                <a:gd name="T76" fmla="*/ 200 w 576"/>
                <a:gd name="T77" fmla="*/ 302 h 417"/>
                <a:gd name="T78" fmla="*/ 223 w 576"/>
                <a:gd name="T79" fmla="*/ 287 h 417"/>
                <a:gd name="T80" fmla="*/ 260 w 576"/>
                <a:gd name="T81" fmla="*/ 304 h 417"/>
                <a:gd name="T82" fmla="*/ 288 w 576"/>
                <a:gd name="T83" fmla="*/ 321 h 417"/>
                <a:gd name="T84" fmla="*/ 321 w 576"/>
                <a:gd name="T85" fmla="*/ 326 h 417"/>
                <a:gd name="T86" fmla="*/ 355 w 576"/>
                <a:gd name="T87" fmla="*/ 334 h 417"/>
                <a:gd name="T88" fmla="*/ 368 w 576"/>
                <a:gd name="T89" fmla="*/ 306 h 417"/>
                <a:gd name="T90" fmla="*/ 374 w 576"/>
                <a:gd name="T91" fmla="*/ 302 h 417"/>
                <a:gd name="T92" fmla="*/ 394 w 576"/>
                <a:gd name="T93" fmla="*/ 307 h 417"/>
                <a:gd name="T94" fmla="*/ 443 w 576"/>
                <a:gd name="T95" fmla="*/ 283 h 417"/>
                <a:gd name="T96" fmla="*/ 462 w 576"/>
                <a:gd name="T97" fmla="*/ 293 h 417"/>
                <a:gd name="T98" fmla="*/ 475 w 576"/>
                <a:gd name="T99" fmla="*/ 292 h 417"/>
                <a:gd name="T100" fmla="*/ 482 w 576"/>
                <a:gd name="T101" fmla="*/ 281 h 417"/>
                <a:gd name="T102" fmla="*/ 498 w 576"/>
                <a:gd name="T103" fmla="*/ 276 h 417"/>
                <a:gd name="T104" fmla="*/ 532 w 576"/>
                <a:gd name="T105" fmla="*/ 281 h 417"/>
                <a:gd name="T106" fmla="*/ 561 w 576"/>
                <a:gd name="T107" fmla="*/ 283 h 417"/>
                <a:gd name="T108" fmla="*/ 576 w 576"/>
                <a:gd name="T109" fmla="*/ 278 h 417"/>
                <a:gd name="T110" fmla="*/ 569 w 576"/>
                <a:gd name="T111" fmla="*/ 263 h 417"/>
                <a:gd name="T112" fmla="*/ 535 w 576"/>
                <a:gd name="T113" fmla="*/ 244 h 417"/>
                <a:gd name="T114" fmla="*/ 523 w 576"/>
                <a:gd name="T115" fmla="*/ 216 h 417"/>
                <a:gd name="T116" fmla="*/ 504 w 576"/>
                <a:gd name="T117" fmla="*/ 196 h 417"/>
                <a:gd name="T118" fmla="*/ 474 w 576"/>
                <a:gd name="T119" fmla="*/ 171 h 417"/>
                <a:gd name="T120" fmla="*/ 474 w 576"/>
                <a:gd name="T121" fmla="*/ 156 h 417"/>
                <a:gd name="T122" fmla="*/ 449 w 576"/>
                <a:gd name="T123" fmla="*/ 137 h 417"/>
                <a:gd name="T124" fmla="*/ 418 w 576"/>
                <a:gd name="T125" fmla="*/ 1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417">
                  <a:moveTo>
                    <a:pt x="418" y="118"/>
                  </a:moveTo>
                  <a:lnTo>
                    <a:pt x="414" y="117"/>
                  </a:lnTo>
                  <a:lnTo>
                    <a:pt x="399" y="103"/>
                  </a:lnTo>
                  <a:lnTo>
                    <a:pt x="396" y="88"/>
                  </a:lnTo>
                  <a:lnTo>
                    <a:pt x="402" y="69"/>
                  </a:lnTo>
                  <a:lnTo>
                    <a:pt x="402" y="50"/>
                  </a:lnTo>
                  <a:lnTo>
                    <a:pt x="376" y="20"/>
                  </a:lnTo>
                  <a:lnTo>
                    <a:pt x="370" y="0"/>
                  </a:lnTo>
                  <a:lnTo>
                    <a:pt x="342" y="8"/>
                  </a:lnTo>
                  <a:lnTo>
                    <a:pt x="320" y="27"/>
                  </a:lnTo>
                  <a:lnTo>
                    <a:pt x="289" y="79"/>
                  </a:lnTo>
                  <a:lnTo>
                    <a:pt x="248" y="100"/>
                  </a:lnTo>
                  <a:lnTo>
                    <a:pt x="204" y="97"/>
                  </a:lnTo>
                  <a:lnTo>
                    <a:pt x="192" y="101"/>
                  </a:lnTo>
                  <a:lnTo>
                    <a:pt x="197" y="118"/>
                  </a:lnTo>
                  <a:lnTo>
                    <a:pt x="173" y="135"/>
                  </a:lnTo>
                  <a:lnTo>
                    <a:pt x="155" y="152"/>
                  </a:lnTo>
                  <a:lnTo>
                    <a:pt x="99" y="171"/>
                  </a:lnTo>
                  <a:lnTo>
                    <a:pt x="88" y="160"/>
                  </a:lnTo>
                  <a:lnTo>
                    <a:pt x="80" y="159"/>
                  </a:lnTo>
                  <a:lnTo>
                    <a:pt x="73" y="171"/>
                  </a:lnTo>
                  <a:lnTo>
                    <a:pt x="36" y="175"/>
                  </a:lnTo>
                  <a:lnTo>
                    <a:pt x="13" y="222"/>
                  </a:lnTo>
                  <a:lnTo>
                    <a:pt x="3" y="231"/>
                  </a:lnTo>
                  <a:lnTo>
                    <a:pt x="0" y="268"/>
                  </a:lnTo>
                  <a:lnTo>
                    <a:pt x="4" y="287"/>
                  </a:lnTo>
                  <a:lnTo>
                    <a:pt x="1" y="301"/>
                  </a:lnTo>
                  <a:lnTo>
                    <a:pt x="22" y="326"/>
                  </a:lnTo>
                  <a:lnTo>
                    <a:pt x="26" y="343"/>
                  </a:lnTo>
                  <a:lnTo>
                    <a:pt x="43" y="367"/>
                  </a:lnTo>
                  <a:lnTo>
                    <a:pt x="64" y="382"/>
                  </a:lnTo>
                  <a:lnTo>
                    <a:pt x="65" y="404"/>
                  </a:lnTo>
                  <a:lnTo>
                    <a:pt x="70" y="417"/>
                  </a:lnTo>
                  <a:lnTo>
                    <a:pt x="93" y="373"/>
                  </a:lnTo>
                  <a:lnTo>
                    <a:pt x="120" y="349"/>
                  </a:lnTo>
                  <a:lnTo>
                    <a:pt x="149" y="356"/>
                  </a:lnTo>
                  <a:lnTo>
                    <a:pt x="179" y="359"/>
                  </a:lnTo>
                  <a:lnTo>
                    <a:pt x="182" y="326"/>
                  </a:lnTo>
                  <a:lnTo>
                    <a:pt x="200" y="302"/>
                  </a:lnTo>
                  <a:lnTo>
                    <a:pt x="223" y="287"/>
                  </a:lnTo>
                  <a:lnTo>
                    <a:pt x="260" y="304"/>
                  </a:lnTo>
                  <a:lnTo>
                    <a:pt x="288" y="321"/>
                  </a:lnTo>
                  <a:lnTo>
                    <a:pt x="321" y="326"/>
                  </a:lnTo>
                  <a:lnTo>
                    <a:pt x="355" y="334"/>
                  </a:lnTo>
                  <a:lnTo>
                    <a:pt x="368" y="306"/>
                  </a:lnTo>
                  <a:lnTo>
                    <a:pt x="374" y="302"/>
                  </a:lnTo>
                  <a:lnTo>
                    <a:pt x="394" y="307"/>
                  </a:lnTo>
                  <a:lnTo>
                    <a:pt x="443" y="283"/>
                  </a:lnTo>
                  <a:lnTo>
                    <a:pt x="462" y="293"/>
                  </a:lnTo>
                  <a:lnTo>
                    <a:pt x="475" y="292"/>
                  </a:lnTo>
                  <a:lnTo>
                    <a:pt x="482" y="281"/>
                  </a:lnTo>
                  <a:lnTo>
                    <a:pt x="498" y="276"/>
                  </a:lnTo>
                  <a:lnTo>
                    <a:pt x="532" y="281"/>
                  </a:lnTo>
                  <a:lnTo>
                    <a:pt x="561" y="283"/>
                  </a:lnTo>
                  <a:lnTo>
                    <a:pt x="576" y="278"/>
                  </a:lnTo>
                  <a:lnTo>
                    <a:pt x="569" y="263"/>
                  </a:lnTo>
                  <a:lnTo>
                    <a:pt x="535" y="244"/>
                  </a:lnTo>
                  <a:lnTo>
                    <a:pt x="523" y="216"/>
                  </a:lnTo>
                  <a:lnTo>
                    <a:pt x="504" y="196"/>
                  </a:lnTo>
                  <a:lnTo>
                    <a:pt x="474" y="171"/>
                  </a:lnTo>
                  <a:lnTo>
                    <a:pt x="474" y="156"/>
                  </a:lnTo>
                  <a:lnTo>
                    <a:pt x="449" y="137"/>
                  </a:lnTo>
                  <a:lnTo>
                    <a:pt x="418" y="11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4" name="Côte d'Ivoire">
              <a:extLst>
                <a:ext uri="{FF2B5EF4-FFF2-40B4-BE49-F238E27FC236}">
                  <a16:creationId xmlns:a16="http://schemas.microsoft.com/office/drawing/2014/main" id="{FC4EA0FA-171D-8156-E232-435E50EC5863}"/>
                </a:ext>
              </a:extLst>
            </p:cNvPr>
            <p:cNvSpPr>
              <a:spLocks/>
            </p:cNvSpPr>
            <p:nvPr/>
          </p:nvSpPr>
          <p:spPr bwMode="auto">
            <a:xfrm>
              <a:off x="5482529" y="2779050"/>
              <a:ext cx="428625" cy="461963"/>
            </a:xfrm>
            <a:custGeom>
              <a:avLst/>
              <a:gdLst>
                <a:gd name="T0" fmla="*/ 144 w 270"/>
                <a:gd name="T1" fmla="*/ 7 h 291"/>
                <a:gd name="T2" fmla="*/ 125 w 270"/>
                <a:gd name="T3" fmla="*/ 15 h 291"/>
                <a:gd name="T4" fmla="*/ 114 w 270"/>
                <a:gd name="T5" fmla="*/ 20 h 291"/>
                <a:gd name="T6" fmla="*/ 108 w 270"/>
                <a:gd name="T7" fmla="*/ 0 h 291"/>
                <a:gd name="T8" fmla="*/ 95 w 270"/>
                <a:gd name="T9" fmla="*/ 5 h 291"/>
                <a:gd name="T10" fmla="*/ 87 w 270"/>
                <a:gd name="T11" fmla="*/ 5 h 291"/>
                <a:gd name="T12" fmla="*/ 79 w 270"/>
                <a:gd name="T13" fmla="*/ 18 h 291"/>
                <a:gd name="T14" fmla="*/ 45 w 270"/>
                <a:gd name="T15" fmla="*/ 18 h 291"/>
                <a:gd name="T16" fmla="*/ 32 w 270"/>
                <a:gd name="T17" fmla="*/ 11 h 291"/>
                <a:gd name="T18" fmla="*/ 27 w 270"/>
                <a:gd name="T19" fmla="*/ 15 h 291"/>
                <a:gd name="T20" fmla="*/ 18 w 270"/>
                <a:gd name="T21" fmla="*/ 19 h 291"/>
                <a:gd name="T22" fmla="*/ 14 w 270"/>
                <a:gd name="T23" fmla="*/ 35 h 291"/>
                <a:gd name="T24" fmla="*/ 24 w 270"/>
                <a:gd name="T25" fmla="*/ 54 h 291"/>
                <a:gd name="T26" fmla="*/ 35 w 270"/>
                <a:gd name="T27" fmla="*/ 92 h 291"/>
                <a:gd name="T28" fmla="*/ 18 w 270"/>
                <a:gd name="T29" fmla="*/ 97 h 291"/>
                <a:gd name="T30" fmla="*/ 14 w 270"/>
                <a:gd name="T31" fmla="*/ 104 h 291"/>
                <a:gd name="T32" fmla="*/ 18 w 270"/>
                <a:gd name="T33" fmla="*/ 113 h 291"/>
                <a:gd name="T34" fmla="*/ 15 w 270"/>
                <a:gd name="T35" fmla="*/ 134 h 291"/>
                <a:gd name="T36" fmla="*/ 7 w 270"/>
                <a:gd name="T37" fmla="*/ 134 h 291"/>
                <a:gd name="T38" fmla="*/ 6 w 270"/>
                <a:gd name="T39" fmla="*/ 147 h 291"/>
                <a:gd name="T40" fmla="*/ 10 w 270"/>
                <a:gd name="T41" fmla="*/ 170 h 291"/>
                <a:gd name="T42" fmla="*/ 0 w 270"/>
                <a:gd name="T43" fmla="*/ 191 h 291"/>
                <a:gd name="T44" fmla="*/ 13 w 270"/>
                <a:gd name="T45" fmla="*/ 203 h 291"/>
                <a:gd name="T46" fmla="*/ 27 w 270"/>
                <a:gd name="T47" fmla="*/ 207 h 291"/>
                <a:gd name="T48" fmla="*/ 46 w 270"/>
                <a:gd name="T49" fmla="*/ 226 h 291"/>
                <a:gd name="T50" fmla="*/ 47 w 270"/>
                <a:gd name="T51" fmla="*/ 245 h 291"/>
                <a:gd name="T52" fmla="*/ 43 w 270"/>
                <a:gd name="T53" fmla="*/ 251 h 291"/>
                <a:gd name="T54" fmla="*/ 39 w 270"/>
                <a:gd name="T55" fmla="*/ 290 h 291"/>
                <a:gd name="T56" fmla="*/ 48 w 270"/>
                <a:gd name="T57" fmla="*/ 291 h 291"/>
                <a:gd name="T58" fmla="*/ 92 w 270"/>
                <a:gd name="T59" fmla="*/ 274 h 291"/>
                <a:gd name="T60" fmla="*/ 123 w 270"/>
                <a:gd name="T61" fmla="*/ 260 h 291"/>
                <a:gd name="T62" fmla="*/ 176 w 270"/>
                <a:gd name="T63" fmla="*/ 252 h 291"/>
                <a:gd name="T64" fmla="*/ 205 w 270"/>
                <a:gd name="T65" fmla="*/ 251 h 291"/>
                <a:gd name="T66" fmla="*/ 236 w 270"/>
                <a:gd name="T67" fmla="*/ 260 h 291"/>
                <a:gd name="T68" fmla="*/ 256 w 270"/>
                <a:gd name="T69" fmla="*/ 260 h 291"/>
                <a:gd name="T70" fmla="*/ 258 w 270"/>
                <a:gd name="T71" fmla="*/ 241 h 291"/>
                <a:gd name="T72" fmla="*/ 239 w 270"/>
                <a:gd name="T73" fmla="*/ 201 h 291"/>
                <a:gd name="T74" fmla="*/ 250 w 270"/>
                <a:gd name="T75" fmla="*/ 148 h 291"/>
                <a:gd name="T76" fmla="*/ 270 w 270"/>
                <a:gd name="T77" fmla="*/ 108 h 291"/>
                <a:gd name="T78" fmla="*/ 258 w 270"/>
                <a:gd name="T79" fmla="*/ 42 h 291"/>
                <a:gd name="T80" fmla="*/ 228 w 270"/>
                <a:gd name="T81" fmla="*/ 29 h 291"/>
                <a:gd name="T82" fmla="*/ 207 w 270"/>
                <a:gd name="T83" fmla="*/ 32 h 291"/>
                <a:gd name="T84" fmla="*/ 191 w 270"/>
                <a:gd name="T85" fmla="*/ 43 h 291"/>
                <a:gd name="T86" fmla="*/ 171 w 270"/>
                <a:gd name="T87" fmla="*/ 33 h 291"/>
                <a:gd name="T88" fmla="*/ 164 w 270"/>
                <a:gd name="T89" fmla="*/ 17 h 291"/>
                <a:gd name="T90" fmla="*/ 144 w 270"/>
                <a:gd name="T91" fmla="*/ 7 h 291"/>
                <a:gd name="T92" fmla="*/ 144 w 270"/>
                <a:gd name="T93" fmla="*/ 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91">
                  <a:moveTo>
                    <a:pt x="144" y="7"/>
                  </a:moveTo>
                  <a:lnTo>
                    <a:pt x="125" y="15"/>
                  </a:lnTo>
                  <a:lnTo>
                    <a:pt x="114" y="20"/>
                  </a:lnTo>
                  <a:lnTo>
                    <a:pt x="108" y="0"/>
                  </a:lnTo>
                  <a:lnTo>
                    <a:pt x="95" y="5"/>
                  </a:lnTo>
                  <a:lnTo>
                    <a:pt x="87" y="5"/>
                  </a:lnTo>
                  <a:lnTo>
                    <a:pt x="79" y="18"/>
                  </a:lnTo>
                  <a:lnTo>
                    <a:pt x="45" y="18"/>
                  </a:lnTo>
                  <a:lnTo>
                    <a:pt x="32" y="11"/>
                  </a:lnTo>
                  <a:lnTo>
                    <a:pt x="27" y="15"/>
                  </a:lnTo>
                  <a:lnTo>
                    <a:pt x="18" y="19"/>
                  </a:lnTo>
                  <a:lnTo>
                    <a:pt x="14" y="35"/>
                  </a:lnTo>
                  <a:lnTo>
                    <a:pt x="24" y="54"/>
                  </a:lnTo>
                  <a:lnTo>
                    <a:pt x="35" y="92"/>
                  </a:lnTo>
                  <a:lnTo>
                    <a:pt x="18" y="97"/>
                  </a:lnTo>
                  <a:lnTo>
                    <a:pt x="14" y="104"/>
                  </a:lnTo>
                  <a:lnTo>
                    <a:pt x="18" y="113"/>
                  </a:lnTo>
                  <a:lnTo>
                    <a:pt x="15" y="134"/>
                  </a:lnTo>
                  <a:lnTo>
                    <a:pt x="7" y="134"/>
                  </a:lnTo>
                  <a:lnTo>
                    <a:pt x="6" y="147"/>
                  </a:lnTo>
                  <a:lnTo>
                    <a:pt x="10" y="170"/>
                  </a:lnTo>
                  <a:lnTo>
                    <a:pt x="0" y="191"/>
                  </a:lnTo>
                  <a:lnTo>
                    <a:pt x="13" y="203"/>
                  </a:lnTo>
                  <a:lnTo>
                    <a:pt x="27" y="207"/>
                  </a:lnTo>
                  <a:lnTo>
                    <a:pt x="46" y="226"/>
                  </a:lnTo>
                  <a:lnTo>
                    <a:pt x="47" y="245"/>
                  </a:lnTo>
                  <a:lnTo>
                    <a:pt x="43" y="251"/>
                  </a:lnTo>
                  <a:lnTo>
                    <a:pt x="39" y="290"/>
                  </a:lnTo>
                  <a:lnTo>
                    <a:pt x="48" y="291"/>
                  </a:lnTo>
                  <a:lnTo>
                    <a:pt x="92" y="274"/>
                  </a:lnTo>
                  <a:lnTo>
                    <a:pt x="123" y="260"/>
                  </a:lnTo>
                  <a:lnTo>
                    <a:pt x="176" y="252"/>
                  </a:lnTo>
                  <a:lnTo>
                    <a:pt x="205" y="251"/>
                  </a:lnTo>
                  <a:lnTo>
                    <a:pt x="236" y="260"/>
                  </a:lnTo>
                  <a:lnTo>
                    <a:pt x="256" y="260"/>
                  </a:lnTo>
                  <a:lnTo>
                    <a:pt x="258" y="241"/>
                  </a:lnTo>
                  <a:lnTo>
                    <a:pt x="239" y="201"/>
                  </a:lnTo>
                  <a:lnTo>
                    <a:pt x="250" y="148"/>
                  </a:lnTo>
                  <a:lnTo>
                    <a:pt x="270" y="108"/>
                  </a:lnTo>
                  <a:lnTo>
                    <a:pt x="258" y="42"/>
                  </a:lnTo>
                  <a:lnTo>
                    <a:pt x="228" y="29"/>
                  </a:lnTo>
                  <a:lnTo>
                    <a:pt x="207" y="32"/>
                  </a:lnTo>
                  <a:lnTo>
                    <a:pt x="191" y="43"/>
                  </a:lnTo>
                  <a:lnTo>
                    <a:pt x="171" y="33"/>
                  </a:lnTo>
                  <a:lnTo>
                    <a:pt x="164" y="17"/>
                  </a:lnTo>
                  <a:lnTo>
                    <a:pt x="144" y="7"/>
                  </a:lnTo>
                  <a:lnTo>
                    <a:pt x="144" y="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6" name="Cameroon">
              <a:extLst>
                <a:ext uri="{FF2B5EF4-FFF2-40B4-BE49-F238E27FC236}">
                  <a16:creationId xmlns:a16="http://schemas.microsoft.com/office/drawing/2014/main" id="{5180F1A7-0F54-73E1-B7D4-D3ADE7EB2767}"/>
                </a:ext>
              </a:extLst>
            </p:cNvPr>
            <p:cNvSpPr>
              <a:spLocks/>
            </p:cNvSpPr>
            <p:nvPr/>
          </p:nvSpPr>
          <p:spPr bwMode="auto">
            <a:xfrm>
              <a:off x="6692204" y="2606012"/>
              <a:ext cx="533400" cy="830263"/>
            </a:xfrm>
            <a:custGeom>
              <a:avLst/>
              <a:gdLst>
                <a:gd name="T0" fmla="*/ 284 w 336"/>
                <a:gd name="T1" fmla="*/ 92 h 523"/>
                <a:gd name="T2" fmla="*/ 286 w 336"/>
                <a:gd name="T3" fmla="*/ 61 h 523"/>
                <a:gd name="T4" fmla="*/ 282 w 336"/>
                <a:gd name="T5" fmla="*/ 30 h 523"/>
                <a:gd name="T6" fmla="*/ 264 w 336"/>
                <a:gd name="T7" fmla="*/ 0 h 523"/>
                <a:gd name="T8" fmla="*/ 251 w 336"/>
                <a:gd name="T9" fmla="*/ 2 h 523"/>
                <a:gd name="T10" fmla="*/ 250 w 336"/>
                <a:gd name="T11" fmla="*/ 17 h 523"/>
                <a:gd name="T12" fmla="*/ 267 w 336"/>
                <a:gd name="T13" fmla="*/ 35 h 523"/>
                <a:gd name="T14" fmla="*/ 263 w 336"/>
                <a:gd name="T15" fmla="*/ 44 h 523"/>
                <a:gd name="T16" fmla="*/ 261 w 336"/>
                <a:gd name="T17" fmla="*/ 60 h 523"/>
                <a:gd name="T18" fmla="*/ 224 w 336"/>
                <a:gd name="T19" fmla="*/ 97 h 523"/>
                <a:gd name="T20" fmla="*/ 213 w 336"/>
                <a:gd name="T21" fmla="*/ 126 h 523"/>
                <a:gd name="T22" fmla="*/ 207 w 336"/>
                <a:gd name="T23" fmla="*/ 151 h 523"/>
                <a:gd name="T24" fmla="*/ 197 w 336"/>
                <a:gd name="T25" fmla="*/ 161 h 523"/>
                <a:gd name="T26" fmla="*/ 189 w 336"/>
                <a:gd name="T27" fmla="*/ 194 h 523"/>
                <a:gd name="T28" fmla="*/ 165 w 336"/>
                <a:gd name="T29" fmla="*/ 214 h 523"/>
                <a:gd name="T30" fmla="*/ 158 w 336"/>
                <a:gd name="T31" fmla="*/ 238 h 523"/>
                <a:gd name="T32" fmla="*/ 149 w 336"/>
                <a:gd name="T33" fmla="*/ 256 h 523"/>
                <a:gd name="T34" fmla="*/ 144 w 336"/>
                <a:gd name="T35" fmla="*/ 276 h 523"/>
                <a:gd name="T36" fmla="*/ 114 w 336"/>
                <a:gd name="T37" fmla="*/ 292 h 523"/>
                <a:gd name="T38" fmla="*/ 88 w 336"/>
                <a:gd name="T39" fmla="*/ 272 h 523"/>
                <a:gd name="T40" fmla="*/ 72 w 336"/>
                <a:gd name="T41" fmla="*/ 273 h 523"/>
                <a:gd name="T42" fmla="*/ 45 w 336"/>
                <a:gd name="T43" fmla="*/ 300 h 523"/>
                <a:gd name="T44" fmla="*/ 33 w 336"/>
                <a:gd name="T45" fmla="*/ 300 h 523"/>
                <a:gd name="T46" fmla="*/ 12 w 336"/>
                <a:gd name="T47" fmla="*/ 346 h 523"/>
                <a:gd name="T48" fmla="*/ 1 w 336"/>
                <a:gd name="T49" fmla="*/ 379 h 523"/>
                <a:gd name="T50" fmla="*/ 0 w 336"/>
                <a:gd name="T51" fmla="*/ 392 h 523"/>
                <a:gd name="T52" fmla="*/ 12 w 336"/>
                <a:gd name="T53" fmla="*/ 399 h 523"/>
                <a:gd name="T54" fmla="*/ 21 w 336"/>
                <a:gd name="T55" fmla="*/ 420 h 523"/>
                <a:gd name="T56" fmla="*/ 41 w 336"/>
                <a:gd name="T57" fmla="*/ 428 h 523"/>
                <a:gd name="T58" fmla="*/ 58 w 336"/>
                <a:gd name="T59" fmla="*/ 459 h 523"/>
                <a:gd name="T60" fmla="*/ 52 w 336"/>
                <a:gd name="T61" fmla="*/ 496 h 523"/>
                <a:gd name="T62" fmla="*/ 125 w 336"/>
                <a:gd name="T63" fmla="*/ 497 h 523"/>
                <a:gd name="T64" fmla="*/ 146 w 336"/>
                <a:gd name="T65" fmla="*/ 494 h 523"/>
                <a:gd name="T66" fmla="*/ 172 w 336"/>
                <a:gd name="T67" fmla="*/ 501 h 523"/>
                <a:gd name="T68" fmla="*/ 200 w 336"/>
                <a:gd name="T69" fmla="*/ 495 h 523"/>
                <a:gd name="T70" fmla="*/ 205 w 336"/>
                <a:gd name="T71" fmla="*/ 497 h 523"/>
                <a:gd name="T72" fmla="*/ 261 w 336"/>
                <a:gd name="T73" fmla="*/ 499 h 523"/>
                <a:gd name="T74" fmla="*/ 298 w 336"/>
                <a:gd name="T75" fmla="*/ 511 h 523"/>
                <a:gd name="T76" fmla="*/ 333 w 336"/>
                <a:gd name="T77" fmla="*/ 523 h 523"/>
                <a:gd name="T78" fmla="*/ 336 w 336"/>
                <a:gd name="T79" fmla="*/ 497 h 523"/>
                <a:gd name="T80" fmla="*/ 331 w 336"/>
                <a:gd name="T81" fmla="*/ 484 h 523"/>
                <a:gd name="T82" fmla="*/ 330 w 336"/>
                <a:gd name="T83" fmla="*/ 462 h 523"/>
                <a:gd name="T84" fmla="*/ 309 w 336"/>
                <a:gd name="T85" fmla="*/ 447 h 523"/>
                <a:gd name="T86" fmla="*/ 292 w 336"/>
                <a:gd name="T87" fmla="*/ 423 h 523"/>
                <a:gd name="T88" fmla="*/ 288 w 336"/>
                <a:gd name="T89" fmla="*/ 406 h 523"/>
                <a:gd name="T90" fmla="*/ 267 w 336"/>
                <a:gd name="T91" fmla="*/ 381 h 523"/>
                <a:gd name="T92" fmla="*/ 270 w 336"/>
                <a:gd name="T93" fmla="*/ 367 h 523"/>
                <a:gd name="T94" fmla="*/ 266 w 336"/>
                <a:gd name="T95" fmla="*/ 348 h 523"/>
                <a:gd name="T96" fmla="*/ 269 w 336"/>
                <a:gd name="T97" fmla="*/ 311 h 523"/>
                <a:gd name="T98" fmla="*/ 279 w 336"/>
                <a:gd name="T99" fmla="*/ 302 h 523"/>
                <a:gd name="T100" fmla="*/ 302 w 336"/>
                <a:gd name="T101" fmla="*/ 255 h 523"/>
                <a:gd name="T102" fmla="*/ 309 w 336"/>
                <a:gd name="T103" fmla="*/ 243 h 523"/>
                <a:gd name="T104" fmla="*/ 294 w 336"/>
                <a:gd name="T105" fmla="*/ 210 h 523"/>
                <a:gd name="T106" fmla="*/ 288 w 336"/>
                <a:gd name="T107" fmla="*/ 190 h 523"/>
                <a:gd name="T108" fmla="*/ 268 w 336"/>
                <a:gd name="T109" fmla="*/ 182 h 523"/>
                <a:gd name="T110" fmla="*/ 242 w 336"/>
                <a:gd name="T111" fmla="*/ 155 h 523"/>
                <a:gd name="T112" fmla="*/ 251 w 336"/>
                <a:gd name="T113" fmla="*/ 133 h 523"/>
                <a:gd name="T114" fmla="*/ 271 w 336"/>
                <a:gd name="T115" fmla="*/ 137 h 523"/>
                <a:gd name="T116" fmla="*/ 284 w 336"/>
                <a:gd name="T117" fmla="*/ 134 h 523"/>
                <a:gd name="T118" fmla="*/ 309 w 336"/>
                <a:gd name="T119" fmla="*/ 135 h 523"/>
                <a:gd name="T120" fmla="*/ 284 w 336"/>
                <a:gd name="T121" fmla="*/ 92 h 523"/>
                <a:gd name="T122" fmla="*/ 284 w 336"/>
                <a:gd name="T123"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523">
                  <a:moveTo>
                    <a:pt x="284" y="92"/>
                  </a:moveTo>
                  <a:lnTo>
                    <a:pt x="286" y="61"/>
                  </a:lnTo>
                  <a:lnTo>
                    <a:pt x="282" y="30"/>
                  </a:lnTo>
                  <a:lnTo>
                    <a:pt x="264" y="0"/>
                  </a:lnTo>
                  <a:lnTo>
                    <a:pt x="251" y="2"/>
                  </a:lnTo>
                  <a:lnTo>
                    <a:pt x="250" y="17"/>
                  </a:lnTo>
                  <a:lnTo>
                    <a:pt x="267" y="35"/>
                  </a:lnTo>
                  <a:lnTo>
                    <a:pt x="263" y="44"/>
                  </a:lnTo>
                  <a:lnTo>
                    <a:pt x="261" y="60"/>
                  </a:lnTo>
                  <a:lnTo>
                    <a:pt x="224" y="97"/>
                  </a:lnTo>
                  <a:lnTo>
                    <a:pt x="213" y="126"/>
                  </a:lnTo>
                  <a:lnTo>
                    <a:pt x="207" y="151"/>
                  </a:lnTo>
                  <a:lnTo>
                    <a:pt x="197" y="161"/>
                  </a:lnTo>
                  <a:lnTo>
                    <a:pt x="189" y="194"/>
                  </a:lnTo>
                  <a:lnTo>
                    <a:pt x="165" y="214"/>
                  </a:lnTo>
                  <a:lnTo>
                    <a:pt x="158" y="238"/>
                  </a:lnTo>
                  <a:lnTo>
                    <a:pt x="149" y="256"/>
                  </a:lnTo>
                  <a:lnTo>
                    <a:pt x="144" y="276"/>
                  </a:lnTo>
                  <a:lnTo>
                    <a:pt x="114" y="292"/>
                  </a:lnTo>
                  <a:lnTo>
                    <a:pt x="88" y="272"/>
                  </a:lnTo>
                  <a:lnTo>
                    <a:pt x="72" y="273"/>
                  </a:lnTo>
                  <a:lnTo>
                    <a:pt x="45" y="300"/>
                  </a:lnTo>
                  <a:lnTo>
                    <a:pt x="33" y="300"/>
                  </a:lnTo>
                  <a:lnTo>
                    <a:pt x="12" y="346"/>
                  </a:lnTo>
                  <a:lnTo>
                    <a:pt x="1" y="379"/>
                  </a:lnTo>
                  <a:lnTo>
                    <a:pt x="0" y="392"/>
                  </a:lnTo>
                  <a:lnTo>
                    <a:pt x="12" y="399"/>
                  </a:lnTo>
                  <a:lnTo>
                    <a:pt x="21" y="420"/>
                  </a:lnTo>
                  <a:lnTo>
                    <a:pt x="41" y="428"/>
                  </a:lnTo>
                  <a:lnTo>
                    <a:pt x="58" y="459"/>
                  </a:lnTo>
                  <a:lnTo>
                    <a:pt x="52" y="496"/>
                  </a:lnTo>
                  <a:lnTo>
                    <a:pt x="125" y="497"/>
                  </a:lnTo>
                  <a:lnTo>
                    <a:pt x="146" y="494"/>
                  </a:lnTo>
                  <a:lnTo>
                    <a:pt x="172" y="501"/>
                  </a:lnTo>
                  <a:lnTo>
                    <a:pt x="200" y="495"/>
                  </a:lnTo>
                  <a:lnTo>
                    <a:pt x="205" y="497"/>
                  </a:lnTo>
                  <a:lnTo>
                    <a:pt x="261" y="499"/>
                  </a:lnTo>
                  <a:lnTo>
                    <a:pt x="298" y="511"/>
                  </a:lnTo>
                  <a:lnTo>
                    <a:pt x="333" y="523"/>
                  </a:lnTo>
                  <a:lnTo>
                    <a:pt x="336" y="497"/>
                  </a:lnTo>
                  <a:lnTo>
                    <a:pt x="331" y="484"/>
                  </a:lnTo>
                  <a:lnTo>
                    <a:pt x="330" y="462"/>
                  </a:lnTo>
                  <a:lnTo>
                    <a:pt x="309" y="447"/>
                  </a:lnTo>
                  <a:lnTo>
                    <a:pt x="292" y="423"/>
                  </a:lnTo>
                  <a:lnTo>
                    <a:pt x="288" y="406"/>
                  </a:lnTo>
                  <a:lnTo>
                    <a:pt x="267" y="381"/>
                  </a:lnTo>
                  <a:lnTo>
                    <a:pt x="270" y="367"/>
                  </a:lnTo>
                  <a:lnTo>
                    <a:pt x="266" y="348"/>
                  </a:lnTo>
                  <a:lnTo>
                    <a:pt x="269" y="311"/>
                  </a:lnTo>
                  <a:lnTo>
                    <a:pt x="279" y="302"/>
                  </a:lnTo>
                  <a:lnTo>
                    <a:pt x="302" y="255"/>
                  </a:lnTo>
                  <a:lnTo>
                    <a:pt x="309" y="243"/>
                  </a:lnTo>
                  <a:lnTo>
                    <a:pt x="294" y="210"/>
                  </a:lnTo>
                  <a:lnTo>
                    <a:pt x="288" y="190"/>
                  </a:lnTo>
                  <a:lnTo>
                    <a:pt x="268" y="182"/>
                  </a:lnTo>
                  <a:lnTo>
                    <a:pt x="242" y="155"/>
                  </a:lnTo>
                  <a:lnTo>
                    <a:pt x="251" y="133"/>
                  </a:lnTo>
                  <a:lnTo>
                    <a:pt x="271" y="137"/>
                  </a:lnTo>
                  <a:lnTo>
                    <a:pt x="284" y="134"/>
                  </a:lnTo>
                  <a:lnTo>
                    <a:pt x="309" y="135"/>
                  </a:lnTo>
                  <a:lnTo>
                    <a:pt x="284" y="92"/>
                  </a:lnTo>
                  <a:lnTo>
                    <a:pt x="284" y="92"/>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7" name="The Democratic Republic of the Congo">
              <a:extLst>
                <a:ext uri="{FF2B5EF4-FFF2-40B4-BE49-F238E27FC236}">
                  <a16:creationId xmlns:a16="http://schemas.microsoft.com/office/drawing/2014/main" id="{553905AE-FB56-F453-DA56-93CA1E24D4FA}"/>
                </a:ext>
              </a:extLst>
            </p:cNvPr>
            <p:cNvSpPr>
              <a:spLocks/>
            </p:cNvSpPr>
            <p:nvPr/>
          </p:nvSpPr>
          <p:spPr bwMode="auto">
            <a:xfrm>
              <a:off x="6952554" y="3171162"/>
              <a:ext cx="1347788" cy="1382713"/>
            </a:xfrm>
            <a:custGeom>
              <a:avLst/>
              <a:gdLst>
                <a:gd name="T0" fmla="*/ 584 w 849"/>
                <a:gd name="T1" fmla="*/ 5 h 871"/>
                <a:gd name="T2" fmla="*/ 545 w 849"/>
                <a:gd name="T3" fmla="*/ 7 h 871"/>
                <a:gd name="T4" fmla="*/ 470 w 849"/>
                <a:gd name="T5" fmla="*/ 30 h 871"/>
                <a:gd name="T6" fmla="*/ 390 w 849"/>
                <a:gd name="T7" fmla="*/ 45 h 871"/>
                <a:gd name="T8" fmla="*/ 302 w 849"/>
                <a:gd name="T9" fmla="*/ 26 h 871"/>
                <a:gd name="T10" fmla="*/ 278 w 849"/>
                <a:gd name="T11" fmla="*/ 112 h 871"/>
                <a:gd name="T12" fmla="*/ 250 w 849"/>
                <a:gd name="T13" fmla="*/ 208 h 871"/>
                <a:gd name="T14" fmla="*/ 245 w 849"/>
                <a:gd name="T15" fmla="*/ 268 h 871"/>
                <a:gd name="T16" fmla="*/ 189 w 849"/>
                <a:gd name="T17" fmla="*/ 330 h 871"/>
                <a:gd name="T18" fmla="*/ 160 w 849"/>
                <a:gd name="T19" fmla="*/ 428 h 871"/>
                <a:gd name="T20" fmla="*/ 91 w 849"/>
                <a:gd name="T21" fmla="*/ 472 h 871"/>
                <a:gd name="T22" fmla="*/ 49 w 849"/>
                <a:gd name="T23" fmla="*/ 478 h 871"/>
                <a:gd name="T24" fmla="*/ 13 w 849"/>
                <a:gd name="T25" fmla="*/ 494 h 871"/>
                <a:gd name="T26" fmla="*/ 7 w 849"/>
                <a:gd name="T27" fmla="*/ 534 h 871"/>
                <a:gd name="T28" fmla="*/ 53 w 849"/>
                <a:gd name="T29" fmla="*/ 523 h 871"/>
                <a:gd name="T30" fmla="*/ 208 w 849"/>
                <a:gd name="T31" fmla="*/ 587 h 871"/>
                <a:gd name="T32" fmla="*/ 264 w 849"/>
                <a:gd name="T33" fmla="*/ 623 h 871"/>
                <a:gd name="T34" fmla="*/ 311 w 849"/>
                <a:gd name="T35" fmla="*/ 612 h 871"/>
                <a:gd name="T36" fmla="*/ 352 w 849"/>
                <a:gd name="T37" fmla="*/ 574 h 871"/>
                <a:gd name="T38" fmla="*/ 425 w 849"/>
                <a:gd name="T39" fmla="*/ 590 h 871"/>
                <a:gd name="T40" fmla="*/ 427 w 849"/>
                <a:gd name="T41" fmla="*/ 666 h 871"/>
                <a:gd name="T42" fmla="*/ 441 w 849"/>
                <a:gd name="T43" fmla="*/ 769 h 871"/>
                <a:gd name="T44" fmla="*/ 499 w 849"/>
                <a:gd name="T45" fmla="*/ 759 h 871"/>
                <a:gd name="T46" fmla="*/ 536 w 849"/>
                <a:gd name="T47" fmla="*/ 776 h 871"/>
                <a:gd name="T48" fmla="*/ 600 w 849"/>
                <a:gd name="T49" fmla="*/ 801 h 871"/>
                <a:gd name="T50" fmla="*/ 672 w 849"/>
                <a:gd name="T51" fmla="*/ 818 h 871"/>
                <a:gd name="T52" fmla="*/ 739 w 849"/>
                <a:gd name="T53" fmla="*/ 870 h 871"/>
                <a:gd name="T54" fmla="*/ 758 w 849"/>
                <a:gd name="T55" fmla="*/ 828 h 871"/>
                <a:gd name="T56" fmla="*/ 723 w 849"/>
                <a:gd name="T57" fmla="*/ 754 h 871"/>
                <a:gd name="T58" fmla="*/ 735 w 849"/>
                <a:gd name="T59" fmla="*/ 648 h 871"/>
                <a:gd name="T60" fmla="*/ 816 w 849"/>
                <a:gd name="T61" fmla="*/ 637 h 871"/>
                <a:gd name="T62" fmla="*/ 799 w 849"/>
                <a:gd name="T63" fmla="*/ 590 h 871"/>
                <a:gd name="T64" fmla="*/ 766 w 849"/>
                <a:gd name="T65" fmla="*/ 511 h 871"/>
                <a:gd name="T66" fmla="*/ 764 w 849"/>
                <a:gd name="T67" fmla="*/ 410 h 871"/>
                <a:gd name="T68" fmla="*/ 757 w 849"/>
                <a:gd name="T69" fmla="*/ 355 h 871"/>
                <a:gd name="T70" fmla="*/ 777 w 849"/>
                <a:gd name="T71" fmla="*/ 311 h 871"/>
                <a:gd name="T72" fmla="*/ 791 w 849"/>
                <a:gd name="T73" fmla="*/ 219 h 871"/>
                <a:gd name="T74" fmla="*/ 834 w 849"/>
                <a:gd name="T75" fmla="*/ 161 h 871"/>
                <a:gd name="T76" fmla="*/ 833 w 849"/>
                <a:gd name="T77" fmla="*/ 83 h 871"/>
                <a:gd name="T78" fmla="*/ 783 w 849"/>
                <a:gd name="T79" fmla="*/ 32 h 871"/>
                <a:gd name="T80" fmla="*/ 725 w 849"/>
                <a:gd name="T81" fmla="*/ 46 h 871"/>
                <a:gd name="T82" fmla="*/ 663 w 849"/>
                <a:gd name="T83" fmla="*/ 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9" h="871">
                  <a:moveTo>
                    <a:pt x="634" y="5"/>
                  </a:moveTo>
                  <a:lnTo>
                    <a:pt x="600" y="0"/>
                  </a:lnTo>
                  <a:lnTo>
                    <a:pt x="584" y="5"/>
                  </a:lnTo>
                  <a:lnTo>
                    <a:pt x="577" y="16"/>
                  </a:lnTo>
                  <a:lnTo>
                    <a:pt x="564" y="17"/>
                  </a:lnTo>
                  <a:lnTo>
                    <a:pt x="545" y="7"/>
                  </a:lnTo>
                  <a:lnTo>
                    <a:pt x="496" y="31"/>
                  </a:lnTo>
                  <a:lnTo>
                    <a:pt x="476" y="26"/>
                  </a:lnTo>
                  <a:lnTo>
                    <a:pt x="470" y="30"/>
                  </a:lnTo>
                  <a:lnTo>
                    <a:pt x="457" y="58"/>
                  </a:lnTo>
                  <a:lnTo>
                    <a:pt x="423" y="50"/>
                  </a:lnTo>
                  <a:lnTo>
                    <a:pt x="390" y="45"/>
                  </a:lnTo>
                  <a:lnTo>
                    <a:pt x="362" y="28"/>
                  </a:lnTo>
                  <a:lnTo>
                    <a:pt x="325" y="11"/>
                  </a:lnTo>
                  <a:lnTo>
                    <a:pt x="302" y="26"/>
                  </a:lnTo>
                  <a:lnTo>
                    <a:pt x="284" y="50"/>
                  </a:lnTo>
                  <a:lnTo>
                    <a:pt x="281" y="83"/>
                  </a:lnTo>
                  <a:lnTo>
                    <a:pt x="278" y="112"/>
                  </a:lnTo>
                  <a:lnTo>
                    <a:pt x="265" y="136"/>
                  </a:lnTo>
                  <a:lnTo>
                    <a:pt x="256" y="166"/>
                  </a:lnTo>
                  <a:lnTo>
                    <a:pt x="250" y="208"/>
                  </a:lnTo>
                  <a:lnTo>
                    <a:pt x="253" y="234"/>
                  </a:lnTo>
                  <a:lnTo>
                    <a:pt x="246" y="250"/>
                  </a:lnTo>
                  <a:lnTo>
                    <a:pt x="245" y="268"/>
                  </a:lnTo>
                  <a:lnTo>
                    <a:pt x="239" y="282"/>
                  </a:lnTo>
                  <a:lnTo>
                    <a:pt x="210" y="305"/>
                  </a:lnTo>
                  <a:lnTo>
                    <a:pt x="189" y="330"/>
                  </a:lnTo>
                  <a:lnTo>
                    <a:pt x="170" y="375"/>
                  </a:lnTo>
                  <a:lnTo>
                    <a:pt x="171" y="414"/>
                  </a:lnTo>
                  <a:lnTo>
                    <a:pt x="160" y="428"/>
                  </a:lnTo>
                  <a:lnTo>
                    <a:pt x="134" y="452"/>
                  </a:lnTo>
                  <a:lnTo>
                    <a:pt x="107" y="481"/>
                  </a:lnTo>
                  <a:lnTo>
                    <a:pt x="91" y="472"/>
                  </a:lnTo>
                  <a:lnTo>
                    <a:pt x="88" y="460"/>
                  </a:lnTo>
                  <a:lnTo>
                    <a:pt x="64" y="459"/>
                  </a:lnTo>
                  <a:lnTo>
                    <a:pt x="49" y="478"/>
                  </a:lnTo>
                  <a:lnTo>
                    <a:pt x="37" y="472"/>
                  </a:lnTo>
                  <a:lnTo>
                    <a:pt x="20" y="483"/>
                  </a:lnTo>
                  <a:lnTo>
                    <a:pt x="13" y="494"/>
                  </a:lnTo>
                  <a:lnTo>
                    <a:pt x="12" y="515"/>
                  </a:lnTo>
                  <a:lnTo>
                    <a:pt x="0" y="520"/>
                  </a:lnTo>
                  <a:lnTo>
                    <a:pt x="7" y="534"/>
                  </a:lnTo>
                  <a:lnTo>
                    <a:pt x="25" y="528"/>
                  </a:lnTo>
                  <a:lnTo>
                    <a:pt x="38" y="528"/>
                  </a:lnTo>
                  <a:lnTo>
                    <a:pt x="53" y="523"/>
                  </a:lnTo>
                  <a:lnTo>
                    <a:pt x="185" y="523"/>
                  </a:lnTo>
                  <a:lnTo>
                    <a:pt x="196" y="559"/>
                  </a:lnTo>
                  <a:lnTo>
                    <a:pt x="208" y="587"/>
                  </a:lnTo>
                  <a:lnTo>
                    <a:pt x="218" y="602"/>
                  </a:lnTo>
                  <a:lnTo>
                    <a:pt x="235" y="627"/>
                  </a:lnTo>
                  <a:lnTo>
                    <a:pt x="264" y="623"/>
                  </a:lnTo>
                  <a:lnTo>
                    <a:pt x="279" y="617"/>
                  </a:lnTo>
                  <a:lnTo>
                    <a:pt x="303" y="623"/>
                  </a:lnTo>
                  <a:lnTo>
                    <a:pt x="311" y="612"/>
                  </a:lnTo>
                  <a:lnTo>
                    <a:pt x="322" y="584"/>
                  </a:lnTo>
                  <a:lnTo>
                    <a:pt x="350" y="582"/>
                  </a:lnTo>
                  <a:lnTo>
                    <a:pt x="352" y="574"/>
                  </a:lnTo>
                  <a:lnTo>
                    <a:pt x="375" y="573"/>
                  </a:lnTo>
                  <a:lnTo>
                    <a:pt x="371" y="590"/>
                  </a:lnTo>
                  <a:lnTo>
                    <a:pt x="425" y="590"/>
                  </a:lnTo>
                  <a:lnTo>
                    <a:pt x="425" y="620"/>
                  </a:lnTo>
                  <a:lnTo>
                    <a:pt x="434" y="638"/>
                  </a:lnTo>
                  <a:lnTo>
                    <a:pt x="427" y="666"/>
                  </a:lnTo>
                  <a:lnTo>
                    <a:pt x="430" y="695"/>
                  </a:lnTo>
                  <a:lnTo>
                    <a:pt x="444" y="713"/>
                  </a:lnTo>
                  <a:lnTo>
                    <a:pt x="441" y="769"/>
                  </a:lnTo>
                  <a:lnTo>
                    <a:pt x="452" y="764"/>
                  </a:lnTo>
                  <a:lnTo>
                    <a:pt x="471" y="765"/>
                  </a:lnTo>
                  <a:lnTo>
                    <a:pt x="499" y="759"/>
                  </a:lnTo>
                  <a:lnTo>
                    <a:pt x="519" y="761"/>
                  </a:lnTo>
                  <a:lnTo>
                    <a:pt x="534" y="762"/>
                  </a:lnTo>
                  <a:lnTo>
                    <a:pt x="536" y="776"/>
                  </a:lnTo>
                  <a:lnTo>
                    <a:pt x="557" y="775"/>
                  </a:lnTo>
                  <a:lnTo>
                    <a:pt x="586" y="780"/>
                  </a:lnTo>
                  <a:lnTo>
                    <a:pt x="600" y="801"/>
                  </a:lnTo>
                  <a:lnTo>
                    <a:pt x="635" y="808"/>
                  </a:lnTo>
                  <a:lnTo>
                    <a:pt x="662" y="793"/>
                  </a:lnTo>
                  <a:lnTo>
                    <a:pt x="672" y="818"/>
                  </a:lnTo>
                  <a:lnTo>
                    <a:pt x="706" y="824"/>
                  </a:lnTo>
                  <a:lnTo>
                    <a:pt x="722" y="844"/>
                  </a:lnTo>
                  <a:lnTo>
                    <a:pt x="739" y="870"/>
                  </a:lnTo>
                  <a:lnTo>
                    <a:pt x="773" y="871"/>
                  </a:lnTo>
                  <a:lnTo>
                    <a:pt x="771" y="820"/>
                  </a:lnTo>
                  <a:lnTo>
                    <a:pt x="758" y="828"/>
                  </a:lnTo>
                  <a:lnTo>
                    <a:pt x="728" y="810"/>
                  </a:lnTo>
                  <a:lnTo>
                    <a:pt x="716" y="802"/>
                  </a:lnTo>
                  <a:lnTo>
                    <a:pt x="723" y="754"/>
                  </a:lnTo>
                  <a:lnTo>
                    <a:pt x="732" y="699"/>
                  </a:lnTo>
                  <a:lnTo>
                    <a:pt x="723" y="678"/>
                  </a:lnTo>
                  <a:lnTo>
                    <a:pt x="735" y="648"/>
                  </a:lnTo>
                  <a:lnTo>
                    <a:pt x="748" y="642"/>
                  </a:lnTo>
                  <a:lnTo>
                    <a:pt x="808" y="635"/>
                  </a:lnTo>
                  <a:lnTo>
                    <a:pt x="816" y="637"/>
                  </a:lnTo>
                  <a:lnTo>
                    <a:pt x="818" y="629"/>
                  </a:lnTo>
                  <a:lnTo>
                    <a:pt x="805" y="617"/>
                  </a:lnTo>
                  <a:lnTo>
                    <a:pt x="799" y="590"/>
                  </a:lnTo>
                  <a:lnTo>
                    <a:pt x="773" y="565"/>
                  </a:lnTo>
                  <a:lnTo>
                    <a:pt x="758" y="531"/>
                  </a:lnTo>
                  <a:lnTo>
                    <a:pt x="766" y="511"/>
                  </a:lnTo>
                  <a:lnTo>
                    <a:pt x="755" y="485"/>
                  </a:lnTo>
                  <a:lnTo>
                    <a:pt x="764" y="410"/>
                  </a:lnTo>
                  <a:lnTo>
                    <a:pt x="764" y="410"/>
                  </a:lnTo>
                  <a:lnTo>
                    <a:pt x="764" y="403"/>
                  </a:lnTo>
                  <a:lnTo>
                    <a:pt x="753" y="381"/>
                  </a:lnTo>
                  <a:lnTo>
                    <a:pt x="757" y="355"/>
                  </a:lnTo>
                  <a:lnTo>
                    <a:pt x="763" y="352"/>
                  </a:lnTo>
                  <a:lnTo>
                    <a:pt x="765" y="324"/>
                  </a:lnTo>
                  <a:lnTo>
                    <a:pt x="777" y="311"/>
                  </a:lnTo>
                  <a:lnTo>
                    <a:pt x="778" y="275"/>
                  </a:lnTo>
                  <a:lnTo>
                    <a:pt x="788" y="257"/>
                  </a:lnTo>
                  <a:lnTo>
                    <a:pt x="791" y="219"/>
                  </a:lnTo>
                  <a:lnTo>
                    <a:pt x="800" y="197"/>
                  </a:lnTo>
                  <a:lnTo>
                    <a:pt x="818" y="174"/>
                  </a:lnTo>
                  <a:lnTo>
                    <a:pt x="834" y="161"/>
                  </a:lnTo>
                  <a:lnTo>
                    <a:pt x="849" y="144"/>
                  </a:lnTo>
                  <a:lnTo>
                    <a:pt x="830" y="138"/>
                  </a:lnTo>
                  <a:lnTo>
                    <a:pt x="833" y="83"/>
                  </a:lnTo>
                  <a:lnTo>
                    <a:pt x="833" y="83"/>
                  </a:lnTo>
                  <a:lnTo>
                    <a:pt x="793" y="51"/>
                  </a:lnTo>
                  <a:lnTo>
                    <a:pt x="783" y="32"/>
                  </a:lnTo>
                  <a:lnTo>
                    <a:pt x="757" y="41"/>
                  </a:lnTo>
                  <a:lnTo>
                    <a:pt x="737" y="39"/>
                  </a:lnTo>
                  <a:lnTo>
                    <a:pt x="725" y="46"/>
                  </a:lnTo>
                  <a:lnTo>
                    <a:pt x="705" y="40"/>
                  </a:lnTo>
                  <a:lnTo>
                    <a:pt x="678" y="2"/>
                  </a:lnTo>
                  <a:lnTo>
                    <a:pt x="663" y="7"/>
                  </a:lnTo>
                  <a:lnTo>
                    <a:pt x="634" y="5"/>
                  </a:lnTo>
                  <a:lnTo>
                    <a:pt x="634" y="5"/>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8" name="Congo">
              <a:extLst>
                <a:ext uri="{FF2B5EF4-FFF2-40B4-BE49-F238E27FC236}">
                  <a16:creationId xmlns:a16="http://schemas.microsoft.com/office/drawing/2014/main" id="{F89C3008-B972-DB45-5E44-247200C794A6}"/>
                </a:ext>
              </a:extLst>
            </p:cNvPr>
            <p:cNvSpPr>
              <a:spLocks/>
            </p:cNvSpPr>
            <p:nvPr/>
          </p:nvSpPr>
          <p:spPr bwMode="auto">
            <a:xfrm>
              <a:off x="6876354" y="3287050"/>
              <a:ext cx="522288" cy="652463"/>
            </a:xfrm>
            <a:custGeom>
              <a:avLst/>
              <a:gdLst>
                <a:gd name="T0" fmla="*/ 329 w 329"/>
                <a:gd name="T1" fmla="*/ 10 h 411"/>
                <a:gd name="T2" fmla="*/ 299 w 329"/>
                <a:gd name="T3" fmla="*/ 7 h 411"/>
                <a:gd name="T4" fmla="*/ 270 w 329"/>
                <a:gd name="T5" fmla="*/ 0 h 411"/>
                <a:gd name="T6" fmla="*/ 243 w 329"/>
                <a:gd name="T7" fmla="*/ 24 h 411"/>
                <a:gd name="T8" fmla="*/ 220 w 329"/>
                <a:gd name="T9" fmla="*/ 68 h 411"/>
                <a:gd name="T10" fmla="*/ 217 w 329"/>
                <a:gd name="T11" fmla="*/ 94 h 411"/>
                <a:gd name="T12" fmla="*/ 182 w 329"/>
                <a:gd name="T13" fmla="*/ 82 h 411"/>
                <a:gd name="T14" fmla="*/ 145 w 329"/>
                <a:gd name="T15" fmla="*/ 70 h 411"/>
                <a:gd name="T16" fmla="*/ 89 w 329"/>
                <a:gd name="T17" fmla="*/ 68 h 411"/>
                <a:gd name="T18" fmla="*/ 86 w 329"/>
                <a:gd name="T19" fmla="*/ 89 h 411"/>
                <a:gd name="T20" fmla="*/ 98 w 329"/>
                <a:gd name="T21" fmla="*/ 112 h 411"/>
                <a:gd name="T22" fmla="*/ 131 w 329"/>
                <a:gd name="T23" fmla="*/ 109 h 411"/>
                <a:gd name="T24" fmla="*/ 142 w 329"/>
                <a:gd name="T25" fmla="*/ 118 h 411"/>
                <a:gd name="T26" fmla="*/ 123 w 329"/>
                <a:gd name="T27" fmla="*/ 173 h 411"/>
                <a:gd name="T28" fmla="*/ 144 w 329"/>
                <a:gd name="T29" fmla="*/ 201 h 411"/>
                <a:gd name="T30" fmla="*/ 150 w 329"/>
                <a:gd name="T31" fmla="*/ 237 h 411"/>
                <a:gd name="T32" fmla="*/ 143 w 329"/>
                <a:gd name="T33" fmla="*/ 269 h 411"/>
                <a:gd name="T34" fmla="*/ 129 w 329"/>
                <a:gd name="T35" fmla="*/ 291 h 411"/>
                <a:gd name="T36" fmla="*/ 90 w 329"/>
                <a:gd name="T37" fmla="*/ 289 h 411"/>
                <a:gd name="T38" fmla="*/ 66 w 329"/>
                <a:gd name="T39" fmla="*/ 266 h 411"/>
                <a:gd name="T40" fmla="*/ 63 w 329"/>
                <a:gd name="T41" fmla="*/ 287 h 411"/>
                <a:gd name="T42" fmla="*/ 33 w 329"/>
                <a:gd name="T43" fmla="*/ 292 h 411"/>
                <a:gd name="T44" fmla="*/ 17 w 329"/>
                <a:gd name="T45" fmla="*/ 304 h 411"/>
                <a:gd name="T46" fmla="*/ 35 w 329"/>
                <a:gd name="T47" fmla="*/ 336 h 411"/>
                <a:gd name="T48" fmla="*/ 0 w 329"/>
                <a:gd name="T49" fmla="*/ 362 h 411"/>
                <a:gd name="T50" fmla="*/ 36 w 329"/>
                <a:gd name="T51" fmla="*/ 411 h 411"/>
                <a:gd name="T52" fmla="*/ 55 w 329"/>
                <a:gd name="T53" fmla="*/ 391 h 411"/>
                <a:gd name="T54" fmla="*/ 68 w 329"/>
                <a:gd name="T55" fmla="*/ 383 h 411"/>
                <a:gd name="T56" fmla="*/ 85 w 329"/>
                <a:gd name="T57" fmla="*/ 399 h 411"/>
                <a:gd name="T58" fmla="*/ 97 w 329"/>
                <a:gd name="T59" fmla="*/ 405 h 411"/>
                <a:gd name="T60" fmla="*/ 112 w 329"/>
                <a:gd name="T61" fmla="*/ 386 h 411"/>
                <a:gd name="T62" fmla="*/ 136 w 329"/>
                <a:gd name="T63" fmla="*/ 387 h 411"/>
                <a:gd name="T64" fmla="*/ 139 w 329"/>
                <a:gd name="T65" fmla="*/ 399 h 411"/>
                <a:gd name="T66" fmla="*/ 155 w 329"/>
                <a:gd name="T67" fmla="*/ 408 h 411"/>
                <a:gd name="T68" fmla="*/ 182 w 329"/>
                <a:gd name="T69" fmla="*/ 379 h 411"/>
                <a:gd name="T70" fmla="*/ 208 w 329"/>
                <a:gd name="T71" fmla="*/ 355 h 411"/>
                <a:gd name="T72" fmla="*/ 219 w 329"/>
                <a:gd name="T73" fmla="*/ 341 h 411"/>
                <a:gd name="T74" fmla="*/ 218 w 329"/>
                <a:gd name="T75" fmla="*/ 302 h 411"/>
                <a:gd name="T76" fmla="*/ 237 w 329"/>
                <a:gd name="T77" fmla="*/ 257 h 411"/>
                <a:gd name="T78" fmla="*/ 258 w 329"/>
                <a:gd name="T79" fmla="*/ 232 h 411"/>
                <a:gd name="T80" fmla="*/ 287 w 329"/>
                <a:gd name="T81" fmla="*/ 209 h 411"/>
                <a:gd name="T82" fmla="*/ 293 w 329"/>
                <a:gd name="T83" fmla="*/ 195 h 411"/>
                <a:gd name="T84" fmla="*/ 294 w 329"/>
                <a:gd name="T85" fmla="*/ 177 h 411"/>
                <a:gd name="T86" fmla="*/ 301 w 329"/>
                <a:gd name="T87" fmla="*/ 161 h 411"/>
                <a:gd name="T88" fmla="*/ 298 w 329"/>
                <a:gd name="T89" fmla="*/ 135 h 411"/>
                <a:gd name="T90" fmla="*/ 304 w 329"/>
                <a:gd name="T91" fmla="*/ 93 h 411"/>
                <a:gd name="T92" fmla="*/ 313 w 329"/>
                <a:gd name="T93" fmla="*/ 63 h 411"/>
                <a:gd name="T94" fmla="*/ 326 w 329"/>
                <a:gd name="T95" fmla="*/ 39 h 411"/>
                <a:gd name="T96" fmla="*/ 329 w 329"/>
                <a:gd name="T97" fmla="*/ 10 h 411"/>
                <a:gd name="T98" fmla="*/ 329 w 329"/>
                <a:gd name="T99" fmla="*/ 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411">
                  <a:moveTo>
                    <a:pt x="329" y="10"/>
                  </a:moveTo>
                  <a:lnTo>
                    <a:pt x="299" y="7"/>
                  </a:lnTo>
                  <a:lnTo>
                    <a:pt x="270" y="0"/>
                  </a:lnTo>
                  <a:lnTo>
                    <a:pt x="243" y="24"/>
                  </a:lnTo>
                  <a:lnTo>
                    <a:pt x="220" y="68"/>
                  </a:lnTo>
                  <a:lnTo>
                    <a:pt x="217" y="94"/>
                  </a:lnTo>
                  <a:lnTo>
                    <a:pt x="182" y="82"/>
                  </a:lnTo>
                  <a:lnTo>
                    <a:pt x="145" y="70"/>
                  </a:lnTo>
                  <a:lnTo>
                    <a:pt x="89" y="68"/>
                  </a:lnTo>
                  <a:lnTo>
                    <a:pt x="86" y="89"/>
                  </a:lnTo>
                  <a:lnTo>
                    <a:pt x="98" y="112"/>
                  </a:lnTo>
                  <a:lnTo>
                    <a:pt x="131" y="109"/>
                  </a:lnTo>
                  <a:lnTo>
                    <a:pt x="142" y="118"/>
                  </a:lnTo>
                  <a:lnTo>
                    <a:pt x="123" y="173"/>
                  </a:lnTo>
                  <a:lnTo>
                    <a:pt x="144" y="201"/>
                  </a:lnTo>
                  <a:lnTo>
                    <a:pt x="150" y="237"/>
                  </a:lnTo>
                  <a:lnTo>
                    <a:pt x="143" y="269"/>
                  </a:lnTo>
                  <a:lnTo>
                    <a:pt x="129" y="291"/>
                  </a:lnTo>
                  <a:lnTo>
                    <a:pt x="90" y="289"/>
                  </a:lnTo>
                  <a:lnTo>
                    <a:pt x="66" y="266"/>
                  </a:lnTo>
                  <a:lnTo>
                    <a:pt x="63" y="287"/>
                  </a:lnTo>
                  <a:lnTo>
                    <a:pt x="33" y="292"/>
                  </a:lnTo>
                  <a:lnTo>
                    <a:pt x="17" y="304"/>
                  </a:lnTo>
                  <a:lnTo>
                    <a:pt x="35" y="336"/>
                  </a:lnTo>
                  <a:lnTo>
                    <a:pt x="0" y="362"/>
                  </a:lnTo>
                  <a:lnTo>
                    <a:pt x="36" y="411"/>
                  </a:lnTo>
                  <a:lnTo>
                    <a:pt x="55" y="391"/>
                  </a:lnTo>
                  <a:lnTo>
                    <a:pt x="68" y="383"/>
                  </a:lnTo>
                  <a:lnTo>
                    <a:pt x="85" y="399"/>
                  </a:lnTo>
                  <a:lnTo>
                    <a:pt x="97" y="405"/>
                  </a:lnTo>
                  <a:lnTo>
                    <a:pt x="112" y="386"/>
                  </a:lnTo>
                  <a:lnTo>
                    <a:pt x="136" y="387"/>
                  </a:lnTo>
                  <a:lnTo>
                    <a:pt x="139" y="399"/>
                  </a:lnTo>
                  <a:lnTo>
                    <a:pt x="155" y="408"/>
                  </a:lnTo>
                  <a:lnTo>
                    <a:pt x="182" y="379"/>
                  </a:lnTo>
                  <a:lnTo>
                    <a:pt x="208" y="355"/>
                  </a:lnTo>
                  <a:lnTo>
                    <a:pt x="219" y="341"/>
                  </a:lnTo>
                  <a:lnTo>
                    <a:pt x="218" y="302"/>
                  </a:lnTo>
                  <a:lnTo>
                    <a:pt x="237" y="257"/>
                  </a:lnTo>
                  <a:lnTo>
                    <a:pt x="258" y="232"/>
                  </a:lnTo>
                  <a:lnTo>
                    <a:pt x="287" y="209"/>
                  </a:lnTo>
                  <a:lnTo>
                    <a:pt x="293" y="195"/>
                  </a:lnTo>
                  <a:lnTo>
                    <a:pt x="294" y="177"/>
                  </a:lnTo>
                  <a:lnTo>
                    <a:pt x="301" y="161"/>
                  </a:lnTo>
                  <a:lnTo>
                    <a:pt x="298" y="135"/>
                  </a:lnTo>
                  <a:lnTo>
                    <a:pt x="304" y="93"/>
                  </a:lnTo>
                  <a:lnTo>
                    <a:pt x="313" y="63"/>
                  </a:lnTo>
                  <a:lnTo>
                    <a:pt x="326" y="39"/>
                  </a:lnTo>
                  <a:lnTo>
                    <a:pt x="329" y="10"/>
                  </a:lnTo>
                  <a:lnTo>
                    <a:pt x="329" y="1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9" name="Djibouti">
              <a:extLst>
                <a:ext uri="{FF2B5EF4-FFF2-40B4-BE49-F238E27FC236}">
                  <a16:creationId xmlns:a16="http://schemas.microsoft.com/office/drawing/2014/main" id="{AF11EEB1-16D2-AF2B-3FD4-2E25C055CB54}"/>
                </a:ext>
              </a:extLst>
            </p:cNvPr>
            <p:cNvSpPr>
              <a:spLocks/>
            </p:cNvSpPr>
            <p:nvPr/>
          </p:nvSpPr>
          <p:spPr bwMode="auto">
            <a:xfrm>
              <a:off x="9025829" y="2617125"/>
              <a:ext cx="114300" cy="131763"/>
            </a:xfrm>
            <a:custGeom>
              <a:avLst/>
              <a:gdLst>
                <a:gd name="T0" fmla="*/ 66 w 72"/>
                <a:gd name="T1" fmla="*/ 58 h 83"/>
                <a:gd name="T2" fmla="*/ 47 w 72"/>
                <a:gd name="T3" fmla="*/ 45 h 83"/>
                <a:gd name="T4" fmla="*/ 71 w 72"/>
                <a:gd name="T5" fmla="*/ 34 h 83"/>
                <a:gd name="T6" fmla="*/ 72 w 72"/>
                <a:gd name="T7" fmla="*/ 15 h 83"/>
                <a:gd name="T8" fmla="*/ 61 w 72"/>
                <a:gd name="T9" fmla="*/ 0 h 83"/>
                <a:gd name="T10" fmla="*/ 48 w 72"/>
                <a:gd name="T11" fmla="*/ 11 h 83"/>
                <a:gd name="T12" fmla="*/ 28 w 72"/>
                <a:gd name="T13" fmla="*/ 7 h 83"/>
                <a:gd name="T14" fmla="*/ 14 w 72"/>
                <a:gd name="T15" fmla="*/ 28 h 83"/>
                <a:gd name="T16" fmla="*/ 0 w 72"/>
                <a:gd name="T17" fmla="*/ 51 h 83"/>
                <a:gd name="T18" fmla="*/ 4 w 72"/>
                <a:gd name="T19" fmla="*/ 63 h 83"/>
                <a:gd name="T20" fmla="*/ 5 w 72"/>
                <a:gd name="T21" fmla="*/ 78 h 83"/>
                <a:gd name="T22" fmla="*/ 30 w 72"/>
                <a:gd name="T23" fmla="*/ 78 h 83"/>
                <a:gd name="T24" fmla="*/ 40 w 72"/>
                <a:gd name="T25" fmla="*/ 75 h 83"/>
                <a:gd name="T26" fmla="*/ 50 w 72"/>
                <a:gd name="T27" fmla="*/ 83 h 83"/>
                <a:gd name="T28" fmla="*/ 66 w 72"/>
                <a:gd name="T29" fmla="*/ 58 h 83"/>
                <a:gd name="T30" fmla="*/ 66 w 72"/>
                <a:gd name="T31" fmla="*/ 5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3">
                  <a:moveTo>
                    <a:pt x="66" y="58"/>
                  </a:moveTo>
                  <a:lnTo>
                    <a:pt x="47" y="45"/>
                  </a:lnTo>
                  <a:lnTo>
                    <a:pt x="71" y="34"/>
                  </a:lnTo>
                  <a:lnTo>
                    <a:pt x="72" y="15"/>
                  </a:lnTo>
                  <a:lnTo>
                    <a:pt x="61" y="0"/>
                  </a:lnTo>
                  <a:lnTo>
                    <a:pt x="48" y="11"/>
                  </a:lnTo>
                  <a:lnTo>
                    <a:pt x="28" y="7"/>
                  </a:lnTo>
                  <a:lnTo>
                    <a:pt x="14" y="28"/>
                  </a:lnTo>
                  <a:lnTo>
                    <a:pt x="0" y="51"/>
                  </a:lnTo>
                  <a:lnTo>
                    <a:pt x="4" y="63"/>
                  </a:lnTo>
                  <a:lnTo>
                    <a:pt x="5" y="78"/>
                  </a:lnTo>
                  <a:lnTo>
                    <a:pt x="30" y="78"/>
                  </a:lnTo>
                  <a:lnTo>
                    <a:pt x="40" y="75"/>
                  </a:lnTo>
                  <a:lnTo>
                    <a:pt x="50" y="83"/>
                  </a:lnTo>
                  <a:lnTo>
                    <a:pt x="66" y="58"/>
                  </a:lnTo>
                  <a:lnTo>
                    <a:pt x="66" y="5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0" name="Algeria">
              <a:extLst>
                <a:ext uri="{FF2B5EF4-FFF2-40B4-BE49-F238E27FC236}">
                  <a16:creationId xmlns:a16="http://schemas.microsoft.com/office/drawing/2014/main" id="{CA91C669-F1FD-5D00-DC7E-338DD8093DE2}"/>
                </a:ext>
              </a:extLst>
            </p:cNvPr>
            <p:cNvSpPr>
              <a:spLocks/>
            </p:cNvSpPr>
            <p:nvPr/>
          </p:nvSpPr>
          <p:spPr bwMode="auto">
            <a:xfrm>
              <a:off x="5495229" y="793087"/>
              <a:ext cx="1425575" cy="1349375"/>
            </a:xfrm>
            <a:custGeom>
              <a:avLst/>
              <a:gdLst>
                <a:gd name="T0" fmla="*/ 727 w 898"/>
                <a:gd name="T1" fmla="*/ 8 h 850"/>
                <a:gd name="T2" fmla="*/ 698 w 898"/>
                <a:gd name="T3" fmla="*/ 11 h 850"/>
                <a:gd name="T4" fmla="*/ 681 w 898"/>
                <a:gd name="T5" fmla="*/ 0 h 850"/>
                <a:gd name="T6" fmla="*/ 636 w 898"/>
                <a:gd name="T7" fmla="*/ 1 h 850"/>
                <a:gd name="T8" fmla="*/ 598 w 898"/>
                <a:gd name="T9" fmla="*/ 19 h 850"/>
                <a:gd name="T10" fmla="*/ 577 w 898"/>
                <a:gd name="T11" fmla="*/ 12 h 850"/>
                <a:gd name="T12" fmla="*/ 507 w 898"/>
                <a:gd name="T13" fmla="*/ 16 h 850"/>
                <a:gd name="T14" fmla="*/ 437 w 898"/>
                <a:gd name="T15" fmla="*/ 25 h 850"/>
                <a:gd name="T16" fmla="*/ 397 w 898"/>
                <a:gd name="T17" fmla="*/ 39 h 850"/>
                <a:gd name="T18" fmla="*/ 370 w 898"/>
                <a:gd name="T19" fmla="*/ 59 h 850"/>
                <a:gd name="T20" fmla="*/ 325 w 898"/>
                <a:gd name="T21" fmla="*/ 67 h 850"/>
                <a:gd name="T22" fmla="*/ 284 w 898"/>
                <a:gd name="T23" fmla="*/ 93 h 850"/>
                <a:gd name="T24" fmla="*/ 300 w 898"/>
                <a:gd name="T25" fmla="*/ 124 h 850"/>
                <a:gd name="T26" fmla="*/ 302 w 898"/>
                <a:gd name="T27" fmla="*/ 152 h 850"/>
                <a:gd name="T28" fmla="*/ 316 w 898"/>
                <a:gd name="T29" fmla="*/ 202 h 850"/>
                <a:gd name="T30" fmla="*/ 327 w 898"/>
                <a:gd name="T31" fmla="*/ 212 h 850"/>
                <a:gd name="T32" fmla="*/ 320 w 898"/>
                <a:gd name="T33" fmla="*/ 230 h 850"/>
                <a:gd name="T34" fmla="*/ 264 w 898"/>
                <a:gd name="T35" fmla="*/ 239 h 850"/>
                <a:gd name="T36" fmla="*/ 244 w 898"/>
                <a:gd name="T37" fmla="*/ 255 h 850"/>
                <a:gd name="T38" fmla="*/ 220 w 898"/>
                <a:gd name="T39" fmla="*/ 260 h 850"/>
                <a:gd name="T40" fmla="*/ 218 w 898"/>
                <a:gd name="T41" fmla="*/ 295 h 850"/>
                <a:gd name="T42" fmla="*/ 168 w 898"/>
                <a:gd name="T43" fmla="*/ 312 h 850"/>
                <a:gd name="T44" fmla="*/ 150 w 898"/>
                <a:gd name="T45" fmla="*/ 336 h 850"/>
                <a:gd name="T46" fmla="*/ 115 w 898"/>
                <a:gd name="T47" fmla="*/ 349 h 850"/>
                <a:gd name="T48" fmla="*/ 73 w 898"/>
                <a:gd name="T49" fmla="*/ 356 h 850"/>
                <a:gd name="T50" fmla="*/ 2 w 898"/>
                <a:gd name="T51" fmla="*/ 390 h 850"/>
                <a:gd name="T52" fmla="*/ 1 w 898"/>
                <a:gd name="T53" fmla="*/ 446 h 850"/>
                <a:gd name="T54" fmla="*/ 1 w 898"/>
                <a:gd name="T55" fmla="*/ 449 h 850"/>
                <a:gd name="T56" fmla="*/ 0 w 898"/>
                <a:gd name="T57" fmla="*/ 458 h 850"/>
                <a:gd name="T58" fmla="*/ 161 w 898"/>
                <a:gd name="T59" fmla="*/ 572 h 850"/>
                <a:gd name="T60" fmla="*/ 307 w 898"/>
                <a:gd name="T61" fmla="*/ 675 h 850"/>
                <a:gd name="T62" fmla="*/ 455 w 898"/>
                <a:gd name="T63" fmla="*/ 778 h 850"/>
                <a:gd name="T64" fmla="*/ 466 w 898"/>
                <a:gd name="T65" fmla="*/ 799 h 850"/>
                <a:gd name="T66" fmla="*/ 494 w 898"/>
                <a:gd name="T67" fmla="*/ 812 h 850"/>
                <a:gd name="T68" fmla="*/ 514 w 898"/>
                <a:gd name="T69" fmla="*/ 820 h 850"/>
                <a:gd name="T70" fmla="*/ 514 w 898"/>
                <a:gd name="T71" fmla="*/ 850 h 850"/>
                <a:gd name="T72" fmla="*/ 563 w 898"/>
                <a:gd name="T73" fmla="*/ 846 h 850"/>
                <a:gd name="T74" fmla="*/ 624 w 898"/>
                <a:gd name="T75" fmla="*/ 824 h 850"/>
                <a:gd name="T76" fmla="*/ 750 w 898"/>
                <a:gd name="T77" fmla="*/ 733 h 850"/>
                <a:gd name="T78" fmla="*/ 898 w 898"/>
                <a:gd name="T79" fmla="*/ 643 h 850"/>
                <a:gd name="T80" fmla="*/ 879 w 898"/>
                <a:gd name="T81" fmla="*/ 614 h 850"/>
                <a:gd name="T82" fmla="*/ 843 w 898"/>
                <a:gd name="T83" fmla="*/ 592 h 850"/>
                <a:gd name="T84" fmla="*/ 823 w 898"/>
                <a:gd name="T85" fmla="*/ 600 h 850"/>
                <a:gd name="T86" fmla="*/ 808 w 898"/>
                <a:gd name="T87" fmla="*/ 574 h 850"/>
                <a:gd name="T88" fmla="*/ 806 w 898"/>
                <a:gd name="T89" fmla="*/ 554 h 850"/>
                <a:gd name="T90" fmla="*/ 779 w 898"/>
                <a:gd name="T91" fmla="*/ 520 h 850"/>
                <a:gd name="T92" fmla="*/ 796 w 898"/>
                <a:gd name="T93" fmla="*/ 500 h 850"/>
                <a:gd name="T94" fmla="*/ 791 w 898"/>
                <a:gd name="T95" fmla="*/ 470 h 850"/>
                <a:gd name="T96" fmla="*/ 797 w 898"/>
                <a:gd name="T97" fmla="*/ 445 h 850"/>
                <a:gd name="T98" fmla="*/ 793 w 898"/>
                <a:gd name="T99" fmla="*/ 424 h 850"/>
                <a:gd name="T100" fmla="*/ 799 w 898"/>
                <a:gd name="T101" fmla="*/ 385 h 850"/>
                <a:gd name="T102" fmla="*/ 797 w 898"/>
                <a:gd name="T103" fmla="*/ 363 h 850"/>
                <a:gd name="T104" fmla="*/ 781 w 898"/>
                <a:gd name="T105" fmla="*/ 322 h 850"/>
                <a:gd name="T106" fmla="*/ 760 w 898"/>
                <a:gd name="T107" fmla="*/ 238 h 850"/>
                <a:gd name="T108" fmla="*/ 734 w 898"/>
                <a:gd name="T109" fmla="*/ 219 h 850"/>
                <a:gd name="T110" fmla="*/ 733 w 898"/>
                <a:gd name="T111" fmla="*/ 208 h 850"/>
                <a:gd name="T112" fmla="*/ 698 w 898"/>
                <a:gd name="T113" fmla="*/ 179 h 850"/>
                <a:gd name="T114" fmla="*/ 693 w 898"/>
                <a:gd name="T115" fmla="*/ 144 h 850"/>
                <a:gd name="T116" fmla="*/ 718 w 898"/>
                <a:gd name="T117" fmla="*/ 118 h 850"/>
                <a:gd name="T118" fmla="*/ 727 w 898"/>
                <a:gd name="T119" fmla="*/ 78 h 850"/>
                <a:gd name="T120" fmla="*/ 719 w 898"/>
                <a:gd name="T121" fmla="*/ 33 h 850"/>
                <a:gd name="T122" fmla="*/ 727 w 898"/>
                <a:gd name="T123" fmla="*/ 8 h 850"/>
                <a:gd name="T124" fmla="*/ 727 w 898"/>
                <a:gd name="T125" fmla="*/ 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850">
                  <a:moveTo>
                    <a:pt x="727" y="8"/>
                  </a:moveTo>
                  <a:lnTo>
                    <a:pt x="698" y="11"/>
                  </a:lnTo>
                  <a:lnTo>
                    <a:pt x="681" y="0"/>
                  </a:lnTo>
                  <a:lnTo>
                    <a:pt x="636" y="1"/>
                  </a:lnTo>
                  <a:lnTo>
                    <a:pt x="598" y="19"/>
                  </a:lnTo>
                  <a:lnTo>
                    <a:pt x="577" y="12"/>
                  </a:lnTo>
                  <a:lnTo>
                    <a:pt x="507" y="16"/>
                  </a:lnTo>
                  <a:lnTo>
                    <a:pt x="437" y="25"/>
                  </a:lnTo>
                  <a:lnTo>
                    <a:pt x="397" y="39"/>
                  </a:lnTo>
                  <a:lnTo>
                    <a:pt x="370" y="59"/>
                  </a:lnTo>
                  <a:lnTo>
                    <a:pt x="325" y="67"/>
                  </a:lnTo>
                  <a:lnTo>
                    <a:pt x="284" y="93"/>
                  </a:lnTo>
                  <a:lnTo>
                    <a:pt x="300" y="124"/>
                  </a:lnTo>
                  <a:lnTo>
                    <a:pt x="302" y="152"/>
                  </a:lnTo>
                  <a:lnTo>
                    <a:pt x="316" y="202"/>
                  </a:lnTo>
                  <a:lnTo>
                    <a:pt x="327" y="212"/>
                  </a:lnTo>
                  <a:lnTo>
                    <a:pt x="320" y="230"/>
                  </a:lnTo>
                  <a:lnTo>
                    <a:pt x="264" y="239"/>
                  </a:lnTo>
                  <a:lnTo>
                    <a:pt x="244" y="255"/>
                  </a:lnTo>
                  <a:lnTo>
                    <a:pt x="220" y="260"/>
                  </a:lnTo>
                  <a:lnTo>
                    <a:pt x="218" y="295"/>
                  </a:lnTo>
                  <a:lnTo>
                    <a:pt x="168" y="312"/>
                  </a:lnTo>
                  <a:lnTo>
                    <a:pt x="150" y="336"/>
                  </a:lnTo>
                  <a:lnTo>
                    <a:pt x="115" y="349"/>
                  </a:lnTo>
                  <a:lnTo>
                    <a:pt x="73" y="356"/>
                  </a:lnTo>
                  <a:lnTo>
                    <a:pt x="2" y="390"/>
                  </a:lnTo>
                  <a:lnTo>
                    <a:pt x="1" y="446"/>
                  </a:lnTo>
                  <a:lnTo>
                    <a:pt x="1" y="449"/>
                  </a:lnTo>
                  <a:lnTo>
                    <a:pt x="0" y="458"/>
                  </a:lnTo>
                  <a:lnTo>
                    <a:pt x="161" y="572"/>
                  </a:lnTo>
                  <a:lnTo>
                    <a:pt x="307" y="675"/>
                  </a:lnTo>
                  <a:lnTo>
                    <a:pt x="455" y="778"/>
                  </a:lnTo>
                  <a:lnTo>
                    <a:pt x="466" y="799"/>
                  </a:lnTo>
                  <a:lnTo>
                    <a:pt x="494" y="812"/>
                  </a:lnTo>
                  <a:lnTo>
                    <a:pt x="514" y="820"/>
                  </a:lnTo>
                  <a:lnTo>
                    <a:pt x="514" y="850"/>
                  </a:lnTo>
                  <a:lnTo>
                    <a:pt x="563" y="846"/>
                  </a:lnTo>
                  <a:lnTo>
                    <a:pt x="624" y="824"/>
                  </a:lnTo>
                  <a:lnTo>
                    <a:pt x="750" y="733"/>
                  </a:lnTo>
                  <a:lnTo>
                    <a:pt x="898" y="643"/>
                  </a:lnTo>
                  <a:lnTo>
                    <a:pt x="879" y="614"/>
                  </a:lnTo>
                  <a:lnTo>
                    <a:pt x="843" y="592"/>
                  </a:lnTo>
                  <a:lnTo>
                    <a:pt x="823" y="600"/>
                  </a:lnTo>
                  <a:lnTo>
                    <a:pt x="808" y="574"/>
                  </a:lnTo>
                  <a:lnTo>
                    <a:pt x="806" y="554"/>
                  </a:lnTo>
                  <a:lnTo>
                    <a:pt x="779" y="520"/>
                  </a:lnTo>
                  <a:lnTo>
                    <a:pt x="796" y="500"/>
                  </a:lnTo>
                  <a:lnTo>
                    <a:pt x="791" y="470"/>
                  </a:lnTo>
                  <a:lnTo>
                    <a:pt x="797" y="445"/>
                  </a:lnTo>
                  <a:lnTo>
                    <a:pt x="793" y="424"/>
                  </a:lnTo>
                  <a:lnTo>
                    <a:pt x="799" y="385"/>
                  </a:lnTo>
                  <a:lnTo>
                    <a:pt x="797" y="363"/>
                  </a:lnTo>
                  <a:lnTo>
                    <a:pt x="781" y="322"/>
                  </a:lnTo>
                  <a:lnTo>
                    <a:pt x="760" y="238"/>
                  </a:lnTo>
                  <a:lnTo>
                    <a:pt x="734" y="219"/>
                  </a:lnTo>
                  <a:lnTo>
                    <a:pt x="733" y="208"/>
                  </a:lnTo>
                  <a:lnTo>
                    <a:pt x="698" y="179"/>
                  </a:lnTo>
                  <a:lnTo>
                    <a:pt x="693" y="144"/>
                  </a:lnTo>
                  <a:lnTo>
                    <a:pt x="718" y="118"/>
                  </a:lnTo>
                  <a:lnTo>
                    <a:pt x="727" y="78"/>
                  </a:lnTo>
                  <a:lnTo>
                    <a:pt x="719" y="33"/>
                  </a:lnTo>
                  <a:lnTo>
                    <a:pt x="727" y="8"/>
                  </a:lnTo>
                  <a:lnTo>
                    <a:pt x="727"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1" name="Egypt">
              <a:extLst>
                <a:ext uri="{FF2B5EF4-FFF2-40B4-BE49-F238E27FC236}">
                  <a16:creationId xmlns:a16="http://schemas.microsoft.com/office/drawing/2014/main" id="{FD6A9FE5-42A6-89A0-47A3-3FA3903E8476}"/>
                </a:ext>
              </a:extLst>
            </p:cNvPr>
            <p:cNvSpPr>
              <a:spLocks/>
            </p:cNvSpPr>
            <p:nvPr/>
          </p:nvSpPr>
          <p:spPr bwMode="auto">
            <a:xfrm>
              <a:off x="7771704" y="1209012"/>
              <a:ext cx="876300" cy="714375"/>
            </a:xfrm>
            <a:custGeom>
              <a:avLst/>
              <a:gdLst>
                <a:gd name="T0" fmla="*/ 156 w 552"/>
                <a:gd name="T1" fmla="*/ 26 h 450"/>
                <a:gd name="T2" fmla="*/ 113 w 552"/>
                <a:gd name="T3" fmla="*/ 12 h 450"/>
                <a:gd name="T4" fmla="*/ 71 w 552"/>
                <a:gd name="T5" fmla="*/ 0 h 450"/>
                <a:gd name="T6" fmla="*/ 14 w 552"/>
                <a:gd name="T7" fmla="*/ 0 h 450"/>
                <a:gd name="T8" fmla="*/ 0 w 552"/>
                <a:gd name="T9" fmla="*/ 23 h 450"/>
                <a:gd name="T10" fmla="*/ 8 w 552"/>
                <a:gd name="T11" fmla="*/ 43 h 450"/>
                <a:gd name="T12" fmla="*/ 0 w 552"/>
                <a:gd name="T13" fmla="*/ 72 h 450"/>
                <a:gd name="T14" fmla="*/ 15 w 552"/>
                <a:gd name="T15" fmla="*/ 110 h 450"/>
                <a:gd name="T16" fmla="*/ 26 w 552"/>
                <a:gd name="T17" fmla="*/ 277 h 450"/>
                <a:gd name="T18" fmla="*/ 34 w 552"/>
                <a:gd name="T19" fmla="*/ 450 h 450"/>
                <a:gd name="T20" fmla="*/ 209 w 552"/>
                <a:gd name="T21" fmla="*/ 450 h 450"/>
                <a:gd name="T22" fmla="*/ 379 w 552"/>
                <a:gd name="T23" fmla="*/ 450 h 450"/>
                <a:gd name="T24" fmla="*/ 552 w 552"/>
                <a:gd name="T25" fmla="*/ 450 h 450"/>
                <a:gd name="T26" fmla="*/ 544 w 552"/>
                <a:gd name="T27" fmla="*/ 440 h 450"/>
                <a:gd name="T28" fmla="*/ 491 w 552"/>
                <a:gd name="T29" fmla="*/ 398 h 450"/>
                <a:gd name="T30" fmla="*/ 487 w 552"/>
                <a:gd name="T31" fmla="*/ 368 h 450"/>
                <a:gd name="T32" fmla="*/ 495 w 552"/>
                <a:gd name="T33" fmla="*/ 359 h 450"/>
                <a:gd name="T34" fmla="*/ 453 w 552"/>
                <a:gd name="T35" fmla="*/ 308 h 450"/>
                <a:gd name="T36" fmla="*/ 437 w 552"/>
                <a:gd name="T37" fmla="*/ 280 h 450"/>
                <a:gd name="T38" fmla="*/ 418 w 552"/>
                <a:gd name="T39" fmla="*/ 255 h 450"/>
                <a:gd name="T40" fmla="*/ 380 w 552"/>
                <a:gd name="T41" fmla="*/ 182 h 450"/>
                <a:gd name="T42" fmla="*/ 350 w 552"/>
                <a:gd name="T43" fmla="*/ 134 h 450"/>
                <a:gd name="T44" fmla="*/ 327 w 552"/>
                <a:gd name="T45" fmla="*/ 85 h 450"/>
                <a:gd name="T46" fmla="*/ 332 w 552"/>
                <a:gd name="T47" fmla="*/ 81 h 450"/>
                <a:gd name="T48" fmla="*/ 368 w 552"/>
                <a:gd name="T49" fmla="*/ 148 h 450"/>
                <a:gd name="T50" fmla="*/ 389 w 552"/>
                <a:gd name="T51" fmla="*/ 169 h 450"/>
                <a:gd name="T52" fmla="*/ 406 w 552"/>
                <a:gd name="T53" fmla="*/ 185 h 450"/>
                <a:gd name="T54" fmla="*/ 415 w 552"/>
                <a:gd name="T55" fmla="*/ 176 h 450"/>
                <a:gd name="T56" fmla="*/ 424 w 552"/>
                <a:gd name="T57" fmla="*/ 151 h 450"/>
                <a:gd name="T58" fmla="*/ 430 w 552"/>
                <a:gd name="T59" fmla="*/ 117 h 450"/>
                <a:gd name="T60" fmla="*/ 440 w 552"/>
                <a:gd name="T61" fmla="*/ 97 h 450"/>
                <a:gd name="T62" fmla="*/ 435 w 552"/>
                <a:gd name="T63" fmla="*/ 85 h 450"/>
                <a:gd name="T64" fmla="*/ 404 w 552"/>
                <a:gd name="T65" fmla="*/ 17 h 450"/>
                <a:gd name="T66" fmla="*/ 404 w 552"/>
                <a:gd name="T67" fmla="*/ 17 h 450"/>
                <a:gd name="T68" fmla="*/ 384 w 552"/>
                <a:gd name="T69" fmla="*/ 29 h 450"/>
                <a:gd name="T70" fmla="*/ 351 w 552"/>
                <a:gd name="T71" fmla="*/ 26 h 450"/>
                <a:gd name="T72" fmla="*/ 315 w 552"/>
                <a:gd name="T73" fmla="*/ 16 h 450"/>
                <a:gd name="T74" fmla="*/ 307 w 552"/>
                <a:gd name="T75" fmla="*/ 31 h 450"/>
                <a:gd name="T76" fmla="*/ 293 w 552"/>
                <a:gd name="T77" fmla="*/ 7 h 450"/>
                <a:gd name="T78" fmla="*/ 262 w 552"/>
                <a:gd name="T79" fmla="*/ 1 h 450"/>
                <a:gd name="T80" fmla="*/ 225 w 552"/>
                <a:gd name="T81" fmla="*/ 5 h 450"/>
                <a:gd name="T82" fmla="*/ 208 w 552"/>
                <a:gd name="T83" fmla="*/ 19 h 450"/>
                <a:gd name="T84" fmla="*/ 177 w 552"/>
                <a:gd name="T85" fmla="*/ 33 h 450"/>
                <a:gd name="T86" fmla="*/ 156 w 552"/>
                <a:gd name="T87" fmla="*/ 26 h 450"/>
                <a:gd name="T88" fmla="*/ 156 w 552"/>
                <a:gd name="T89" fmla="*/ 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450">
                  <a:moveTo>
                    <a:pt x="156" y="26"/>
                  </a:moveTo>
                  <a:lnTo>
                    <a:pt x="113" y="12"/>
                  </a:lnTo>
                  <a:lnTo>
                    <a:pt x="71" y="0"/>
                  </a:lnTo>
                  <a:lnTo>
                    <a:pt x="14" y="0"/>
                  </a:lnTo>
                  <a:lnTo>
                    <a:pt x="0" y="23"/>
                  </a:lnTo>
                  <a:lnTo>
                    <a:pt x="8" y="43"/>
                  </a:lnTo>
                  <a:lnTo>
                    <a:pt x="0" y="72"/>
                  </a:lnTo>
                  <a:lnTo>
                    <a:pt x="15" y="110"/>
                  </a:lnTo>
                  <a:lnTo>
                    <a:pt x="26" y="277"/>
                  </a:lnTo>
                  <a:lnTo>
                    <a:pt x="34" y="450"/>
                  </a:lnTo>
                  <a:lnTo>
                    <a:pt x="209" y="450"/>
                  </a:lnTo>
                  <a:lnTo>
                    <a:pt x="379" y="450"/>
                  </a:lnTo>
                  <a:lnTo>
                    <a:pt x="552" y="450"/>
                  </a:lnTo>
                  <a:lnTo>
                    <a:pt x="544" y="440"/>
                  </a:lnTo>
                  <a:lnTo>
                    <a:pt x="491" y="398"/>
                  </a:lnTo>
                  <a:lnTo>
                    <a:pt x="487" y="368"/>
                  </a:lnTo>
                  <a:lnTo>
                    <a:pt x="495" y="359"/>
                  </a:lnTo>
                  <a:lnTo>
                    <a:pt x="453" y="308"/>
                  </a:lnTo>
                  <a:lnTo>
                    <a:pt x="437" y="280"/>
                  </a:lnTo>
                  <a:lnTo>
                    <a:pt x="418" y="255"/>
                  </a:lnTo>
                  <a:lnTo>
                    <a:pt x="380" y="182"/>
                  </a:lnTo>
                  <a:lnTo>
                    <a:pt x="350" y="134"/>
                  </a:lnTo>
                  <a:lnTo>
                    <a:pt x="327" y="85"/>
                  </a:lnTo>
                  <a:lnTo>
                    <a:pt x="332" y="81"/>
                  </a:lnTo>
                  <a:lnTo>
                    <a:pt x="368" y="148"/>
                  </a:lnTo>
                  <a:lnTo>
                    <a:pt x="389" y="169"/>
                  </a:lnTo>
                  <a:lnTo>
                    <a:pt x="406" y="185"/>
                  </a:lnTo>
                  <a:lnTo>
                    <a:pt x="415" y="176"/>
                  </a:lnTo>
                  <a:lnTo>
                    <a:pt x="424" y="151"/>
                  </a:lnTo>
                  <a:lnTo>
                    <a:pt x="430" y="117"/>
                  </a:lnTo>
                  <a:lnTo>
                    <a:pt x="440" y="97"/>
                  </a:lnTo>
                  <a:lnTo>
                    <a:pt x="435" y="85"/>
                  </a:lnTo>
                  <a:lnTo>
                    <a:pt x="404" y="17"/>
                  </a:lnTo>
                  <a:lnTo>
                    <a:pt x="404" y="17"/>
                  </a:lnTo>
                  <a:lnTo>
                    <a:pt x="384" y="29"/>
                  </a:lnTo>
                  <a:lnTo>
                    <a:pt x="351" y="26"/>
                  </a:lnTo>
                  <a:lnTo>
                    <a:pt x="315" y="16"/>
                  </a:lnTo>
                  <a:lnTo>
                    <a:pt x="307" y="31"/>
                  </a:lnTo>
                  <a:lnTo>
                    <a:pt x="293" y="7"/>
                  </a:lnTo>
                  <a:lnTo>
                    <a:pt x="262" y="1"/>
                  </a:lnTo>
                  <a:lnTo>
                    <a:pt x="225" y="5"/>
                  </a:lnTo>
                  <a:lnTo>
                    <a:pt x="208" y="19"/>
                  </a:lnTo>
                  <a:lnTo>
                    <a:pt x="177" y="33"/>
                  </a:lnTo>
                  <a:lnTo>
                    <a:pt x="156" y="26"/>
                  </a:lnTo>
                  <a:lnTo>
                    <a:pt x="156" y="2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2" name="Eritrea">
              <a:extLst>
                <a:ext uri="{FF2B5EF4-FFF2-40B4-BE49-F238E27FC236}">
                  <a16:creationId xmlns:a16="http://schemas.microsoft.com/office/drawing/2014/main" id="{85E78981-F47A-F158-A7E1-5372E38ED7EB}"/>
                </a:ext>
              </a:extLst>
            </p:cNvPr>
            <p:cNvSpPr>
              <a:spLocks/>
            </p:cNvSpPr>
            <p:nvPr/>
          </p:nvSpPr>
          <p:spPr bwMode="auto">
            <a:xfrm>
              <a:off x="8640066" y="2221837"/>
              <a:ext cx="482600" cy="412750"/>
            </a:xfrm>
            <a:custGeom>
              <a:avLst/>
              <a:gdLst>
                <a:gd name="T0" fmla="*/ 153 w 304"/>
                <a:gd name="T1" fmla="*/ 120 h 260"/>
                <a:gd name="T2" fmla="*/ 127 w 304"/>
                <a:gd name="T3" fmla="*/ 97 h 260"/>
                <a:gd name="T4" fmla="*/ 113 w 304"/>
                <a:gd name="T5" fmla="*/ 54 h 260"/>
                <a:gd name="T6" fmla="*/ 84 w 304"/>
                <a:gd name="T7" fmla="*/ 0 h 260"/>
                <a:gd name="T8" fmla="*/ 63 w 304"/>
                <a:gd name="T9" fmla="*/ 27 h 260"/>
                <a:gd name="T10" fmla="*/ 31 w 304"/>
                <a:gd name="T11" fmla="*/ 35 h 260"/>
                <a:gd name="T12" fmla="*/ 18 w 304"/>
                <a:gd name="T13" fmla="*/ 49 h 260"/>
                <a:gd name="T14" fmla="*/ 16 w 304"/>
                <a:gd name="T15" fmla="*/ 81 h 260"/>
                <a:gd name="T16" fmla="*/ 0 w 304"/>
                <a:gd name="T17" fmla="*/ 149 h 260"/>
                <a:gd name="T18" fmla="*/ 6 w 304"/>
                <a:gd name="T19" fmla="*/ 168 h 260"/>
                <a:gd name="T20" fmla="*/ 58 w 304"/>
                <a:gd name="T21" fmla="*/ 178 h 260"/>
                <a:gd name="T22" fmla="*/ 70 w 304"/>
                <a:gd name="T23" fmla="*/ 142 h 260"/>
                <a:gd name="T24" fmla="*/ 98 w 304"/>
                <a:gd name="T25" fmla="*/ 164 h 260"/>
                <a:gd name="T26" fmla="*/ 124 w 304"/>
                <a:gd name="T27" fmla="*/ 154 h 260"/>
                <a:gd name="T28" fmla="*/ 134 w 304"/>
                <a:gd name="T29" fmla="*/ 163 h 260"/>
                <a:gd name="T30" fmla="*/ 165 w 304"/>
                <a:gd name="T31" fmla="*/ 164 h 260"/>
                <a:gd name="T32" fmla="*/ 204 w 304"/>
                <a:gd name="T33" fmla="*/ 182 h 260"/>
                <a:gd name="T34" fmla="*/ 217 w 304"/>
                <a:gd name="T35" fmla="*/ 199 h 260"/>
                <a:gd name="T36" fmla="*/ 237 w 304"/>
                <a:gd name="T37" fmla="*/ 214 h 260"/>
                <a:gd name="T38" fmla="*/ 256 w 304"/>
                <a:gd name="T39" fmla="*/ 241 h 260"/>
                <a:gd name="T40" fmla="*/ 271 w 304"/>
                <a:gd name="T41" fmla="*/ 256 h 260"/>
                <a:gd name="T42" fmla="*/ 291 w 304"/>
                <a:gd name="T43" fmla="*/ 260 h 260"/>
                <a:gd name="T44" fmla="*/ 304 w 304"/>
                <a:gd name="T45" fmla="*/ 249 h 260"/>
                <a:gd name="T46" fmla="*/ 282 w 304"/>
                <a:gd name="T47" fmla="*/ 235 h 260"/>
                <a:gd name="T48" fmla="*/ 267 w 304"/>
                <a:gd name="T49" fmla="*/ 219 h 260"/>
                <a:gd name="T50" fmla="*/ 241 w 304"/>
                <a:gd name="T51" fmla="*/ 192 h 260"/>
                <a:gd name="T52" fmla="*/ 216 w 304"/>
                <a:gd name="T53" fmla="*/ 165 h 260"/>
                <a:gd name="T54" fmla="*/ 153 w 304"/>
                <a:gd name="T55" fmla="*/ 120 h 260"/>
                <a:gd name="T56" fmla="*/ 153 w 304"/>
                <a:gd name="T57" fmla="*/ 12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4" h="260">
                  <a:moveTo>
                    <a:pt x="153" y="120"/>
                  </a:moveTo>
                  <a:lnTo>
                    <a:pt x="127" y="97"/>
                  </a:lnTo>
                  <a:lnTo>
                    <a:pt x="113" y="54"/>
                  </a:lnTo>
                  <a:lnTo>
                    <a:pt x="84" y="0"/>
                  </a:lnTo>
                  <a:lnTo>
                    <a:pt x="63" y="27"/>
                  </a:lnTo>
                  <a:lnTo>
                    <a:pt x="31" y="35"/>
                  </a:lnTo>
                  <a:lnTo>
                    <a:pt x="18" y="49"/>
                  </a:lnTo>
                  <a:lnTo>
                    <a:pt x="16" y="81"/>
                  </a:lnTo>
                  <a:lnTo>
                    <a:pt x="0" y="149"/>
                  </a:lnTo>
                  <a:lnTo>
                    <a:pt x="6" y="168"/>
                  </a:lnTo>
                  <a:lnTo>
                    <a:pt x="58" y="178"/>
                  </a:lnTo>
                  <a:lnTo>
                    <a:pt x="70" y="142"/>
                  </a:lnTo>
                  <a:lnTo>
                    <a:pt x="98" y="164"/>
                  </a:lnTo>
                  <a:lnTo>
                    <a:pt x="124" y="154"/>
                  </a:lnTo>
                  <a:lnTo>
                    <a:pt x="134" y="163"/>
                  </a:lnTo>
                  <a:lnTo>
                    <a:pt x="165" y="164"/>
                  </a:lnTo>
                  <a:lnTo>
                    <a:pt x="204" y="182"/>
                  </a:lnTo>
                  <a:lnTo>
                    <a:pt x="217" y="199"/>
                  </a:lnTo>
                  <a:lnTo>
                    <a:pt x="237" y="214"/>
                  </a:lnTo>
                  <a:lnTo>
                    <a:pt x="256" y="241"/>
                  </a:lnTo>
                  <a:lnTo>
                    <a:pt x="271" y="256"/>
                  </a:lnTo>
                  <a:lnTo>
                    <a:pt x="291" y="260"/>
                  </a:lnTo>
                  <a:lnTo>
                    <a:pt x="304" y="249"/>
                  </a:lnTo>
                  <a:lnTo>
                    <a:pt x="282" y="235"/>
                  </a:lnTo>
                  <a:lnTo>
                    <a:pt x="267" y="219"/>
                  </a:lnTo>
                  <a:lnTo>
                    <a:pt x="241" y="192"/>
                  </a:lnTo>
                  <a:lnTo>
                    <a:pt x="216" y="165"/>
                  </a:lnTo>
                  <a:lnTo>
                    <a:pt x="153" y="120"/>
                  </a:lnTo>
                  <a:lnTo>
                    <a:pt x="153" y="1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5" name="Ethiopia">
              <a:extLst>
                <a:ext uri="{FF2B5EF4-FFF2-40B4-BE49-F238E27FC236}">
                  <a16:creationId xmlns:a16="http://schemas.microsoft.com/office/drawing/2014/main" id="{76D2B884-2404-0E2C-592A-0B080AA4E97F}"/>
                </a:ext>
              </a:extLst>
            </p:cNvPr>
            <p:cNvSpPr>
              <a:spLocks/>
            </p:cNvSpPr>
            <p:nvPr/>
          </p:nvSpPr>
          <p:spPr bwMode="auto">
            <a:xfrm>
              <a:off x="8419746" y="2446808"/>
              <a:ext cx="1049338" cy="862013"/>
            </a:xfrm>
            <a:custGeom>
              <a:avLst/>
              <a:gdLst>
                <a:gd name="T0" fmla="*/ 209 w 661"/>
                <a:gd name="T1" fmla="*/ 0 h 543"/>
                <a:gd name="T2" fmla="*/ 197 w 661"/>
                <a:gd name="T3" fmla="*/ 36 h 543"/>
                <a:gd name="T4" fmla="*/ 145 w 661"/>
                <a:gd name="T5" fmla="*/ 26 h 543"/>
                <a:gd name="T6" fmla="*/ 139 w 661"/>
                <a:gd name="T7" fmla="*/ 67 h 543"/>
                <a:gd name="T8" fmla="*/ 123 w 661"/>
                <a:gd name="T9" fmla="*/ 113 h 543"/>
                <a:gd name="T10" fmla="*/ 97 w 661"/>
                <a:gd name="T11" fmla="*/ 135 h 543"/>
                <a:gd name="T12" fmla="*/ 80 w 661"/>
                <a:gd name="T13" fmla="*/ 172 h 543"/>
                <a:gd name="T14" fmla="*/ 75 w 661"/>
                <a:gd name="T15" fmla="*/ 192 h 543"/>
                <a:gd name="T16" fmla="*/ 55 w 661"/>
                <a:gd name="T17" fmla="*/ 204 h 543"/>
                <a:gd name="T18" fmla="*/ 43 w 661"/>
                <a:gd name="T19" fmla="*/ 253 h 543"/>
                <a:gd name="T20" fmla="*/ 43 w 661"/>
                <a:gd name="T21" fmla="*/ 259 h 543"/>
                <a:gd name="T22" fmla="*/ 45 w 661"/>
                <a:gd name="T23" fmla="*/ 296 h 543"/>
                <a:gd name="T24" fmla="*/ 38 w 661"/>
                <a:gd name="T25" fmla="*/ 310 h 543"/>
                <a:gd name="T26" fmla="*/ 15 w 661"/>
                <a:gd name="T27" fmla="*/ 311 h 543"/>
                <a:gd name="T28" fmla="*/ 0 w 661"/>
                <a:gd name="T29" fmla="*/ 338 h 543"/>
                <a:gd name="T30" fmla="*/ 28 w 661"/>
                <a:gd name="T31" fmla="*/ 341 h 543"/>
                <a:gd name="T32" fmla="*/ 51 w 661"/>
                <a:gd name="T33" fmla="*/ 364 h 543"/>
                <a:gd name="T34" fmla="*/ 59 w 661"/>
                <a:gd name="T35" fmla="*/ 383 h 543"/>
                <a:gd name="T36" fmla="*/ 80 w 661"/>
                <a:gd name="T37" fmla="*/ 394 h 543"/>
                <a:gd name="T38" fmla="*/ 106 w 661"/>
                <a:gd name="T39" fmla="*/ 445 h 543"/>
                <a:gd name="T40" fmla="*/ 130 w 661"/>
                <a:gd name="T41" fmla="*/ 453 h 543"/>
                <a:gd name="T42" fmla="*/ 130 w 661"/>
                <a:gd name="T43" fmla="*/ 479 h 543"/>
                <a:gd name="T44" fmla="*/ 146 w 661"/>
                <a:gd name="T45" fmla="*/ 495 h 543"/>
                <a:gd name="T46" fmla="*/ 177 w 661"/>
                <a:gd name="T47" fmla="*/ 495 h 543"/>
                <a:gd name="T48" fmla="*/ 234 w 661"/>
                <a:gd name="T49" fmla="*/ 534 h 543"/>
                <a:gd name="T50" fmla="*/ 248 w 661"/>
                <a:gd name="T51" fmla="*/ 535 h 543"/>
                <a:gd name="T52" fmla="*/ 259 w 661"/>
                <a:gd name="T53" fmla="*/ 534 h 543"/>
                <a:gd name="T54" fmla="*/ 268 w 661"/>
                <a:gd name="T55" fmla="*/ 540 h 543"/>
                <a:gd name="T56" fmla="*/ 298 w 661"/>
                <a:gd name="T57" fmla="*/ 543 h 543"/>
                <a:gd name="T58" fmla="*/ 311 w 661"/>
                <a:gd name="T59" fmla="*/ 523 h 543"/>
                <a:gd name="T60" fmla="*/ 352 w 661"/>
                <a:gd name="T61" fmla="*/ 504 h 543"/>
                <a:gd name="T62" fmla="*/ 369 w 661"/>
                <a:gd name="T63" fmla="*/ 519 h 543"/>
                <a:gd name="T64" fmla="*/ 400 w 661"/>
                <a:gd name="T65" fmla="*/ 519 h 543"/>
                <a:gd name="T66" fmla="*/ 412 w 661"/>
                <a:gd name="T67" fmla="*/ 505 h 543"/>
                <a:gd name="T68" fmla="*/ 441 w 661"/>
                <a:gd name="T69" fmla="*/ 504 h 543"/>
                <a:gd name="T70" fmla="*/ 480 w 661"/>
                <a:gd name="T71" fmla="*/ 471 h 543"/>
                <a:gd name="T72" fmla="*/ 538 w 661"/>
                <a:gd name="T73" fmla="*/ 468 h 543"/>
                <a:gd name="T74" fmla="*/ 661 w 661"/>
                <a:gd name="T75" fmla="*/ 327 h 543"/>
                <a:gd name="T76" fmla="*/ 622 w 661"/>
                <a:gd name="T77" fmla="*/ 328 h 543"/>
                <a:gd name="T78" fmla="*/ 475 w 661"/>
                <a:gd name="T79" fmla="*/ 272 h 543"/>
                <a:gd name="T80" fmla="*/ 458 w 661"/>
                <a:gd name="T81" fmla="*/ 255 h 543"/>
                <a:gd name="T82" fmla="*/ 442 w 661"/>
                <a:gd name="T83" fmla="*/ 233 h 543"/>
                <a:gd name="T84" fmla="*/ 423 w 661"/>
                <a:gd name="T85" fmla="*/ 207 h 543"/>
                <a:gd name="T86" fmla="*/ 432 w 661"/>
                <a:gd name="T87" fmla="*/ 190 h 543"/>
                <a:gd name="T88" fmla="*/ 422 w 661"/>
                <a:gd name="T89" fmla="*/ 182 h 543"/>
                <a:gd name="T90" fmla="*/ 412 w 661"/>
                <a:gd name="T91" fmla="*/ 185 h 543"/>
                <a:gd name="T92" fmla="*/ 387 w 661"/>
                <a:gd name="T93" fmla="*/ 185 h 543"/>
                <a:gd name="T94" fmla="*/ 386 w 661"/>
                <a:gd name="T95" fmla="*/ 170 h 543"/>
                <a:gd name="T96" fmla="*/ 382 w 661"/>
                <a:gd name="T97" fmla="*/ 158 h 543"/>
                <a:gd name="T98" fmla="*/ 396 w 661"/>
                <a:gd name="T99" fmla="*/ 135 h 543"/>
                <a:gd name="T100" fmla="*/ 410 w 661"/>
                <a:gd name="T101" fmla="*/ 114 h 543"/>
                <a:gd name="T102" fmla="*/ 395 w 661"/>
                <a:gd name="T103" fmla="*/ 99 h 543"/>
                <a:gd name="T104" fmla="*/ 376 w 661"/>
                <a:gd name="T105" fmla="*/ 72 h 543"/>
                <a:gd name="T106" fmla="*/ 356 w 661"/>
                <a:gd name="T107" fmla="*/ 57 h 543"/>
                <a:gd name="T108" fmla="*/ 343 w 661"/>
                <a:gd name="T109" fmla="*/ 40 h 543"/>
                <a:gd name="T110" fmla="*/ 304 w 661"/>
                <a:gd name="T111" fmla="*/ 22 h 543"/>
                <a:gd name="T112" fmla="*/ 273 w 661"/>
                <a:gd name="T113" fmla="*/ 21 h 543"/>
                <a:gd name="T114" fmla="*/ 263 w 661"/>
                <a:gd name="T115" fmla="*/ 12 h 543"/>
                <a:gd name="T116" fmla="*/ 237 w 661"/>
                <a:gd name="T117" fmla="*/ 22 h 543"/>
                <a:gd name="T118" fmla="*/ 209 w 661"/>
                <a:gd name="T119" fmla="*/ 0 h 543"/>
                <a:gd name="T120" fmla="*/ 209 w 661"/>
                <a:gd name="T1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1" h="543">
                  <a:moveTo>
                    <a:pt x="209" y="0"/>
                  </a:moveTo>
                  <a:lnTo>
                    <a:pt x="197" y="36"/>
                  </a:lnTo>
                  <a:lnTo>
                    <a:pt x="145" y="26"/>
                  </a:lnTo>
                  <a:lnTo>
                    <a:pt x="139" y="67"/>
                  </a:lnTo>
                  <a:lnTo>
                    <a:pt x="123" y="113"/>
                  </a:lnTo>
                  <a:lnTo>
                    <a:pt x="97" y="135"/>
                  </a:lnTo>
                  <a:lnTo>
                    <a:pt x="80" y="172"/>
                  </a:lnTo>
                  <a:lnTo>
                    <a:pt x="75" y="192"/>
                  </a:lnTo>
                  <a:lnTo>
                    <a:pt x="55" y="204"/>
                  </a:lnTo>
                  <a:lnTo>
                    <a:pt x="43" y="253"/>
                  </a:lnTo>
                  <a:lnTo>
                    <a:pt x="43" y="259"/>
                  </a:lnTo>
                  <a:lnTo>
                    <a:pt x="45" y="296"/>
                  </a:lnTo>
                  <a:lnTo>
                    <a:pt x="38" y="310"/>
                  </a:lnTo>
                  <a:lnTo>
                    <a:pt x="15" y="311"/>
                  </a:lnTo>
                  <a:lnTo>
                    <a:pt x="0" y="338"/>
                  </a:lnTo>
                  <a:lnTo>
                    <a:pt x="28" y="341"/>
                  </a:lnTo>
                  <a:lnTo>
                    <a:pt x="51" y="364"/>
                  </a:lnTo>
                  <a:lnTo>
                    <a:pt x="59" y="383"/>
                  </a:lnTo>
                  <a:lnTo>
                    <a:pt x="80" y="394"/>
                  </a:lnTo>
                  <a:lnTo>
                    <a:pt x="106" y="445"/>
                  </a:lnTo>
                  <a:lnTo>
                    <a:pt x="130" y="453"/>
                  </a:lnTo>
                  <a:lnTo>
                    <a:pt x="130" y="479"/>
                  </a:lnTo>
                  <a:lnTo>
                    <a:pt x="146" y="495"/>
                  </a:lnTo>
                  <a:lnTo>
                    <a:pt x="177" y="495"/>
                  </a:lnTo>
                  <a:lnTo>
                    <a:pt x="234" y="534"/>
                  </a:lnTo>
                  <a:lnTo>
                    <a:pt x="248" y="535"/>
                  </a:lnTo>
                  <a:lnTo>
                    <a:pt x="259" y="534"/>
                  </a:lnTo>
                  <a:lnTo>
                    <a:pt x="268" y="540"/>
                  </a:lnTo>
                  <a:lnTo>
                    <a:pt x="298" y="543"/>
                  </a:lnTo>
                  <a:lnTo>
                    <a:pt x="311" y="523"/>
                  </a:lnTo>
                  <a:lnTo>
                    <a:pt x="352" y="504"/>
                  </a:lnTo>
                  <a:lnTo>
                    <a:pt x="369" y="519"/>
                  </a:lnTo>
                  <a:lnTo>
                    <a:pt x="400" y="519"/>
                  </a:lnTo>
                  <a:lnTo>
                    <a:pt x="412" y="505"/>
                  </a:lnTo>
                  <a:lnTo>
                    <a:pt x="441" y="504"/>
                  </a:lnTo>
                  <a:lnTo>
                    <a:pt x="480" y="471"/>
                  </a:lnTo>
                  <a:lnTo>
                    <a:pt x="538" y="468"/>
                  </a:lnTo>
                  <a:lnTo>
                    <a:pt x="661" y="327"/>
                  </a:lnTo>
                  <a:lnTo>
                    <a:pt x="622" y="328"/>
                  </a:lnTo>
                  <a:lnTo>
                    <a:pt x="475" y="272"/>
                  </a:lnTo>
                  <a:lnTo>
                    <a:pt x="458" y="255"/>
                  </a:lnTo>
                  <a:lnTo>
                    <a:pt x="442" y="233"/>
                  </a:lnTo>
                  <a:lnTo>
                    <a:pt x="423" y="207"/>
                  </a:lnTo>
                  <a:lnTo>
                    <a:pt x="432" y="190"/>
                  </a:lnTo>
                  <a:lnTo>
                    <a:pt x="422" y="182"/>
                  </a:lnTo>
                  <a:lnTo>
                    <a:pt x="412" y="185"/>
                  </a:lnTo>
                  <a:lnTo>
                    <a:pt x="387" y="185"/>
                  </a:lnTo>
                  <a:lnTo>
                    <a:pt x="386" y="170"/>
                  </a:lnTo>
                  <a:lnTo>
                    <a:pt x="382" y="158"/>
                  </a:lnTo>
                  <a:lnTo>
                    <a:pt x="396" y="135"/>
                  </a:lnTo>
                  <a:lnTo>
                    <a:pt x="410" y="114"/>
                  </a:lnTo>
                  <a:lnTo>
                    <a:pt x="395" y="99"/>
                  </a:lnTo>
                  <a:lnTo>
                    <a:pt x="376" y="72"/>
                  </a:lnTo>
                  <a:lnTo>
                    <a:pt x="356" y="57"/>
                  </a:lnTo>
                  <a:lnTo>
                    <a:pt x="343" y="40"/>
                  </a:lnTo>
                  <a:lnTo>
                    <a:pt x="304" y="22"/>
                  </a:lnTo>
                  <a:lnTo>
                    <a:pt x="273" y="21"/>
                  </a:lnTo>
                  <a:lnTo>
                    <a:pt x="263" y="12"/>
                  </a:lnTo>
                  <a:lnTo>
                    <a:pt x="237" y="22"/>
                  </a:lnTo>
                  <a:lnTo>
                    <a:pt x="209" y="0"/>
                  </a:lnTo>
                  <a:lnTo>
                    <a:pt x="209"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6" name="Gabon">
              <a:extLst>
                <a:ext uri="{FF2B5EF4-FFF2-40B4-BE49-F238E27FC236}">
                  <a16:creationId xmlns:a16="http://schemas.microsoft.com/office/drawing/2014/main" id="{E4149308-2D18-7CC4-A127-F4B665C093F0}"/>
                </a:ext>
              </a:extLst>
            </p:cNvPr>
            <p:cNvSpPr>
              <a:spLocks/>
            </p:cNvSpPr>
            <p:nvPr/>
          </p:nvSpPr>
          <p:spPr bwMode="auto">
            <a:xfrm>
              <a:off x="6714429" y="3390237"/>
              <a:ext cx="400050" cy="471488"/>
            </a:xfrm>
            <a:custGeom>
              <a:avLst/>
              <a:gdLst>
                <a:gd name="T0" fmla="*/ 191 w 252"/>
                <a:gd name="T1" fmla="*/ 3 h 297"/>
                <a:gd name="T2" fmla="*/ 186 w 252"/>
                <a:gd name="T3" fmla="*/ 1 h 297"/>
                <a:gd name="T4" fmla="*/ 158 w 252"/>
                <a:gd name="T5" fmla="*/ 7 h 297"/>
                <a:gd name="T6" fmla="*/ 132 w 252"/>
                <a:gd name="T7" fmla="*/ 0 h 297"/>
                <a:gd name="T8" fmla="*/ 111 w 252"/>
                <a:gd name="T9" fmla="*/ 3 h 297"/>
                <a:gd name="T10" fmla="*/ 111 w 252"/>
                <a:gd name="T11" fmla="*/ 60 h 297"/>
                <a:gd name="T12" fmla="*/ 46 w 252"/>
                <a:gd name="T13" fmla="*/ 59 h 297"/>
                <a:gd name="T14" fmla="*/ 31 w 252"/>
                <a:gd name="T15" fmla="*/ 62 h 297"/>
                <a:gd name="T16" fmla="*/ 22 w 252"/>
                <a:gd name="T17" fmla="*/ 97 h 297"/>
                <a:gd name="T18" fmla="*/ 11 w 252"/>
                <a:gd name="T19" fmla="*/ 132 h 297"/>
                <a:gd name="T20" fmla="*/ 1 w 252"/>
                <a:gd name="T21" fmla="*/ 146 h 297"/>
                <a:gd name="T22" fmla="*/ 0 w 252"/>
                <a:gd name="T23" fmla="*/ 162 h 297"/>
                <a:gd name="T24" fmla="*/ 27 w 252"/>
                <a:gd name="T25" fmla="*/ 210 h 297"/>
                <a:gd name="T26" fmla="*/ 56 w 252"/>
                <a:gd name="T27" fmla="*/ 250 h 297"/>
                <a:gd name="T28" fmla="*/ 102 w 252"/>
                <a:gd name="T29" fmla="*/ 297 h 297"/>
                <a:gd name="T30" fmla="*/ 137 w 252"/>
                <a:gd name="T31" fmla="*/ 271 h 297"/>
                <a:gd name="T32" fmla="*/ 119 w 252"/>
                <a:gd name="T33" fmla="*/ 239 h 297"/>
                <a:gd name="T34" fmla="*/ 135 w 252"/>
                <a:gd name="T35" fmla="*/ 227 h 297"/>
                <a:gd name="T36" fmla="*/ 165 w 252"/>
                <a:gd name="T37" fmla="*/ 222 h 297"/>
                <a:gd name="T38" fmla="*/ 168 w 252"/>
                <a:gd name="T39" fmla="*/ 201 h 297"/>
                <a:gd name="T40" fmla="*/ 192 w 252"/>
                <a:gd name="T41" fmla="*/ 224 h 297"/>
                <a:gd name="T42" fmla="*/ 231 w 252"/>
                <a:gd name="T43" fmla="*/ 226 h 297"/>
                <a:gd name="T44" fmla="*/ 245 w 252"/>
                <a:gd name="T45" fmla="*/ 204 h 297"/>
                <a:gd name="T46" fmla="*/ 252 w 252"/>
                <a:gd name="T47" fmla="*/ 172 h 297"/>
                <a:gd name="T48" fmla="*/ 246 w 252"/>
                <a:gd name="T49" fmla="*/ 136 h 297"/>
                <a:gd name="T50" fmla="*/ 225 w 252"/>
                <a:gd name="T51" fmla="*/ 108 h 297"/>
                <a:gd name="T52" fmla="*/ 244 w 252"/>
                <a:gd name="T53" fmla="*/ 53 h 297"/>
                <a:gd name="T54" fmla="*/ 233 w 252"/>
                <a:gd name="T55" fmla="*/ 44 h 297"/>
                <a:gd name="T56" fmla="*/ 200 w 252"/>
                <a:gd name="T57" fmla="*/ 47 h 297"/>
                <a:gd name="T58" fmla="*/ 188 w 252"/>
                <a:gd name="T59" fmla="*/ 24 h 297"/>
                <a:gd name="T60" fmla="*/ 191 w 252"/>
                <a:gd name="T61" fmla="*/ 3 h 297"/>
                <a:gd name="T62" fmla="*/ 191 w 252"/>
                <a:gd name="T6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97">
                  <a:moveTo>
                    <a:pt x="191" y="3"/>
                  </a:moveTo>
                  <a:lnTo>
                    <a:pt x="186" y="1"/>
                  </a:lnTo>
                  <a:lnTo>
                    <a:pt x="158" y="7"/>
                  </a:lnTo>
                  <a:lnTo>
                    <a:pt x="132" y="0"/>
                  </a:lnTo>
                  <a:lnTo>
                    <a:pt x="111" y="3"/>
                  </a:lnTo>
                  <a:lnTo>
                    <a:pt x="111" y="60"/>
                  </a:lnTo>
                  <a:lnTo>
                    <a:pt x="46" y="59"/>
                  </a:lnTo>
                  <a:lnTo>
                    <a:pt x="31" y="62"/>
                  </a:lnTo>
                  <a:lnTo>
                    <a:pt x="22" y="97"/>
                  </a:lnTo>
                  <a:lnTo>
                    <a:pt x="11" y="132"/>
                  </a:lnTo>
                  <a:lnTo>
                    <a:pt x="1" y="146"/>
                  </a:lnTo>
                  <a:lnTo>
                    <a:pt x="0" y="162"/>
                  </a:lnTo>
                  <a:lnTo>
                    <a:pt x="27" y="210"/>
                  </a:lnTo>
                  <a:lnTo>
                    <a:pt x="56" y="250"/>
                  </a:lnTo>
                  <a:lnTo>
                    <a:pt x="102" y="297"/>
                  </a:lnTo>
                  <a:lnTo>
                    <a:pt x="137" y="271"/>
                  </a:lnTo>
                  <a:lnTo>
                    <a:pt x="119" y="239"/>
                  </a:lnTo>
                  <a:lnTo>
                    <a:pt x="135" y="227"/>
                  </a:lnTo>
                  <a:lnTo>
                    <a:pt x="165" y="222"/>
                  </a:lnTo>
                  <a:lnTo>
                    <a:pt x="168" y="201"/>
                  </a:lnTo>
                  <a:lnTo>
                    <a:pt x="192" y="224"/>
                  </a:lnTo>
                  <a:lnTo>
                    <a:pt x="231" y="226"/>
                  </a:lnTo>
                  <a:lnTo>
                    <a:pt x="245" y="204"/>
                  </a:lnTo>
                  <a:lnTo>
                    <a:pt x="252" y="172"/>
                  </a:lnTo>
                  <a:lnTo>
                    <a:pt x="246" y="136"/>
                  </a:lnTo>
                  <a:lnTo>
                    <a:pt x="225" y="108"/>
                  </a:lnTo>
                  <a:lnTo>
                    <a:pt x="244" y="53"/>
                  </a:lnTo>
                  <a:lnTo>
                    <a:pt x="233" y="44"/>
                  </a:lnTo>
                  <a:lnTo>
                    <a:pt x="200" y="47"/>
                  </a:lnTo>
                  <a:lnTo>
                    <a:pt x="188" y="24"/>
                  </a:lnTo>
                  <a:lnTo>
                    <a:pt x="191" y="3"/>
                  </a:lnTo>
                  <a:lnTo>
                    <a:pt x="191"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8" name="Ghana">
              <a:extLst>
                <a:ext uri="{FF2B5EF4-FFF2-40B4-BE49-F238E27FC236}">
                  <a16:creationId xmlns:a16="http://schemas.microsoft.com/office/drawing/2014/main" id="{D7EB8632-380C-B281-40D8-B854F593D9E6}"/>
                </a:ext>
              </a:extLst>
            </p:cNvPr>
            <p:cNvSpPr>
              <a:spLocks/>
            </p:cNvSpPr>
            <p:nvPr/>
          </p:nvSpPr>
          <p:spPr bwMode="auto">
            <a:xfrm>
              <a:off x="5861941" y="2736187"/>
              <a:ext cx="303213" cy="476250"/>
            </a:xfrm>
            <a:custGeom>
              <a:avLst/>
              <a:gdLst>
                <a:gd name="T0" fmla="*/ 146 w 191"/>
                <a:gd name="T1" fmla="*/ 4 h 300"/>
                <a:gd name="T2" fmla="*/ 125 w 191"/>
                <a:gd name="T3" fmla="*/ 0 h 300"/>
                <a:gd name="T4" fmla="*/ 111 w 191"/>
                <a:gd name="T5" fmla="*/ 8 h 300"/>
                <a:gd name="T6" fmla="*/ 91 w 191"/>
                <a:gd name="T7" fmla="*/ 4 h 300"/>
                <a:gd name="T8" fmla="*/ 14 w 191"/>
                <a:gd name="T9" fmla="*/ 6 h 300"/>
                <a:gd name="T10" fmla="*/ 12 w 191"/>
                <a:gd name="T11" fmla="*/ 33 h 300"/>
                <a:gd name="T12" fmla="*/ 19 w 191"/>
                <a:gd name="T13" fmla="*/ 69 h 300"/>
                <a:gd name="T14" fmla="*/ 31 w 191"/>
                <a:gd name="T15" fmla="*/ 135 h 300"/>
                <a:gd name="T16" fmla="*/ 11 w 191"/>
                <a:gd name="T17" fmla="*/ 175 h 300"/>
                <a:gd name="T18" fmla="*/ 0 w 191"/>
                <a:gd name="T19" fmla="*/ 228 h 300"/>
                <a:gd name="T20" fmla="*/ 19 w 191"/>
                <a:gd name="T21" fmla="*/ 268 h 300"/>
                <a:gd name="T22" fmla="*/ 17 w 191"/>
                <a:gd name="T23" fmla="*/ 287 h 300"/>
                <a:gd name="T24" fmla="*/ 57 w 191"/>
                <a:gd name="T25" fmla="*/ 300 h 300"/>
                <a:gd name="T26" fmla="*/ 97 w 191"/>
                <a:gd name="T27" fmla="*/ 286 h 300"/>
                <a:gd name="T28" fmla="*/ 122 w 191"/>
                <a:gd name="T29" fmla="*/ 271 h 300"/>
                <a:gd name="T30" fmla="*/ 191 w 191"/>
                <a:gd name="T31" fmla="*/ 243 h 300"/>
                <a:gd name="T32" fmla="*/ 181 w 191"/>
                <a:gd name="T33" fmla="*/ 227 h 300"/>
                <a:gd name="T34" fmla="*/ 169 w 191"/>
                <a:gd name="T35" fmla="*/ 196 h 300"/>
                <a:gd name="T36" fmla="*/ 166 w 191"/>
                <a:gd name="T37" fmla="*/ 173 h 300"/>
                <a:gd name="T38" fmla="*/ 176 w 191"/>
                <a:gd name="T39" fmla="*/ 131 h 300"/>
                <a:gd name="T40" fmla="*/ 165 w 191"/>
                <a:gd name="T41" fmla="*/ 114 h 300"/>
                <a:gd name="T42" fmla="*/ 160 w 191"/>
                <a:gd name="T43" fmla="*/ 77 h 300"/>
                <a:gd name="T44" fmla="*/ 160 w 191"/>
                <a:gd name="T45" fmla="*/ 43 h 300"/>
                <a:gd name="T46" fmla="*/ 142 w 191"/>
                <a:gd name="T47" fmla="*/ 19 h 300"/>
                <a:gd name="T48" fmla="*/ 146 w 191"/>
                <a:gd name="T49" fmla="*/ 4 h 300"/>
                <a:gd name="T50" fmla="*/ 146 w 191"/>
                <a:gd name="T5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00">
                  <a:moveTo>
                    <a:pt x="146" y="4"/>
                  </a:moveTo>
                  <a:lnTo>
                    <a:pt x="125" y="0"/>
                  </a:lnTo>
                  <a:lnTo>
                    <a:pt x="111" y="8"/>
                  </a:lnTo>
                  <a:lnTo>
                    <a:pt x="91" y="4"/>
                  </a:lnTo>
                  <a:lnTo>
                    <a:pt x="14" y="6"/>
                  </a:lnTo>
                  <a:lnTo>
                    <a:pt x="12" y="33"/>
                  </a:lnTo>
                  <a:lnTo>
                    <a:pt x="19" y="69"/>
                  </a:lnTo>
                  <a:lnTo>
                    <a:pt x="31" y="135"/>
                  </a:lnTo>
                  <a:lnTo>
                    <a:pt x="11" y="175"/>
                  </a:lnTo>
                  <a:lnTo>
                    <a:pt x="0" y="228"/>
                  </a:lnTo>
                  <a:lnTo>
                    <a:pt x="19" y="268"/>
                  </a:lnTo>
                  <a:lnTo>
                    <a:pt x="17" y="287"/>
                  </a:lnTo>
                  <a:lnTo>
                    <a:pt x="57" y="300"/>
                  </a:lnTo>
                  <a:lnTo>
                    <a:pt x="97" y="286"/>
                  </a:lnTo>
                  <a:lnTo>
                    <a:pt x="122" y="271"/>
                  </a:lnTo>
                  <a:lnTo>
                    <a:pt x="191" y="243"/>
                  </a:lnTo>
                  <a:lnTo>
                    <a:pt x="181" y="227"/>
                  </a:lnTo>
                  <a:lnTo>
                    <a:pt x="169" y="196"/>
                  </a:lnTo>
                  <a:lnTo>
                    <a:pt x="166" y="173"/>
                  </a:lnTo>
                  <a:lnTo>
                    <a:pt x="176" y="131"/>
                  </a:lnTo>
                  <a:lnTo>
                    <a:pt x="165" y="114"/>
                  </a:lnTo>
                  <a:lnTo>
                    <a:pt x="160" y="77"/>
                  </a:lnTo>
                  <a:lnTo>
                    <a:pt x="160" y="43"/>
                  </a:lnTo>
                  <a:lnTo>
                    <a:pt x="142" y="19"/>
                  </a:lnTo>
                  <a:lnTo>
                    <a:pt x="146" y="4"/>
                  </a:lnTo>
                  <a:lnTo>
                    <a:pt x="146" y="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9" name="Guinea">
              <a:extLst>
                <a:ext uri="{FF2B5EF4-FFF2-40B4-BE49-F238E27FC236}">
                  <a16:creationId xmlns:a16="http://schemas.microsoft.com/office/drawing/2014/main" id="{E602F6B7-58B5-F78F-C07A-589F1A18994E}"/>
                </a:ext>
              </a:extLst>
            </p:cNvPr>
            <p:cNvSpPr>
              <a:spLocks/>
            </p:cNvSpPr>
            <p:nvPr/>
          </p:nvSpPr>
          <p:spPr bwMode="auto">
            <a:xfrm>
              <a:off x="5025329" y="2626650"/>
              <a:ext cx="512763" cy="392113"/>
            </a:xfrm>
            <a:custGeom>
              <a:avLst/>
              <a:gdLst>
                <a:gd name="T0" fmla="*/ 154 w 323"/>
                <a:gd name="T1" fmla="*/ 9 h 247"/>
                <a:gd name="T2" fmla="*/ 127 w 323"/>
                <a:gd name="T3" fmla="*/ 11 h 247"/>
                <a:gd name="T4" fmla="*/ 85 w 323"/>
                <a:gd name="T5" fmla="*/ 0 h 247"/>
                <a:gd name="T6" fmla="*/ 63 w 323"/>
                <a:gd name="T7" fmla="*/ 16 h 247"/>
                <a:gd name="T8" fmla="*/ 62 w 323"/>
                <a:gd name="T9" fmla="*/ 36 h 247"/>
                <a:gd name="T10" fmla="*/ 44 w 323"/>
                <a:gd name="T11" fmla="*/ 42 h 247"/>
                <a:gd name="T12" fmla="*/ 20 w 323"/>
                <a:gd name="T13" fmla="*/ 49 h 247"/>
                <a:gd name="T14" fmla="*/ 12 w 323"/>
                <a:gd name="T15" fmla="*/ 79 h 247"/>
                <a:gd name="T16" fmla="*/ 23 w 323"/>
                <a:gd name="T17" fmla="*/ 111 h 247"/>
                <a:gd name="T18" fmla="*/ 46 w 323"/>
                <a:gd name="T19" fmla="*/ 126 h 247"/>
                <a:gd name="T20" fmla="*/ 83 w 323"/>
                <a:gd name="T21" fmla="*/ 172 h 247"/>
                <a:gd name="T22" fmla="*/ 112 w 323"/>
                <a:gd name="T23" fmla="*/ 139 h 247"/>
                <a:gd name="T24" fmla="*/ 131 w 323"/>
                <a:gd name="T25" fmla="*/ 128 h 247"/>
                <a:gd name="T26" fmla="*/ 178 w 323"/>
                <a:gd name="T27" fmla="*/ 118 h 247"/>
                <a:gd name="T28" fmla="*/ 199 w 323"/>
                <a:gd name="T29" fmla="*/ 155 h 247"/>
                <a:gd name="T30" fmla="*/ 204 w 323"/>
                <a:gd name="T31" fmla="*/ 181 h 247"/>
                <a:gd name="T32" fmla="*/ 216 w 323"/>
                <a:gd name="T33" fmla="*/ 196 h 247"/>
                <a:gd name="T34" fmla="*/ 237 w 323"/>
                <a:gd name="T35" fmla="*/ 189 h 247"/>
                <a:gd name="T36" fmla="*/ 253 w 323"/>
                <a:gd name="T37" fmla="*/ 237 h 247"/>
                <a:gd name="T38" fmla="*/ 274 w 323"/>
                <a:gd name="T39" fmla="*/ 247 h 247"/>
                <a:gd name="T40" fmla="*/ 295 w 323"/>
                <a:gd name="T41" fmla="*/ 230 h 247"/>
                <a:gd name="T42" fmla="*/ 306 w 323"/>
                <a:gd name="T43" fmla="*/ 209 h 247"/>
                <a:gd name="T44" fmla="*/ 306 w 323"/>
                <a:gd name="T45" fmla="*/ 193 h 247"/>
                <a:gd name="T46" fmla="*/ 312 w 323"/>
                <a:gd name="T47" fmla="*/ 150 h 247"/>
                <a:gd name="T48" fmla="*/ 306 w 323"/>
                <a:gd name="T49" fmla="*/ 115 h 247"/>
                <a:gd name="T50" fmla="*/ 301 w 323"/>
                <a:gd name="T51" fmla="*/ 97 h 247"/>
                <a:gd name="T52" fmla="*/ 298 w 323"/>
                <a:gd name="T53" fmla="*/ 79 h 247"/>
                <a:gd name="T54" fmla="*/ 291 w 323"/>
                <a:gd name="T55" fmla="*/ 67 h 247"/>
                <a:gd name="T56" fmla="*/ 282 w 323"/>
                <a:gd name="T57" fmla="*/ 36 h 247"/>
                <a:gd name="T58" fmla="*/ 266 w 323"/>
                <a:gd name="T59" fmla="*/ 12 h 247"/>
                <a:gd name="T60" fmla="*/ 247 w 323"/>
                <a:gd name="T61" fmla="*/ 17 h 247"/>
                <a:gd name="T62" fmla="*/ 221 w 323"/>
                <a:gd name="T63" fmla="*/ 34 h 247"/>
                <a:gd name="T64" fmla="*/ 190 w 323"/>
                <a:gd name="T65" fmla="*/ 18 h 247"/>
                <a:gd name="T66" fmla="*/ 170 w 323"/>
                <a:gd name="T67" fmla="*/ 23 h 247"/>
                <a:gd name="T68" fmla="*/ 161 w 323"/>
                <a:gd name="T69"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47">
                  <a:moveTo>
                    <a:pt x="161" y="6"/>
                  </a:moveTo>
                  <a:lnTo>
                    <a:pt x="154" y="9"/>
                  </a:lnTo>
                  <a:lnTo>
                    <a:pt x="130" y="5"/>
                  </a:lnTo>
                  <a:lnTo>
                    <a:pt x="127" y="11"/>
                  </a:lnTo>
                  <a:lnTo>
                    <a:pt x="117" y="11"/>
                  </a:lnTo>
                  <a:lnTo>
                    <a:pt x="85" y="0"/>
                  </a:lnTo>
                  <a:lnTo>
                    <a:pt x="64" y="0"/>
                  </a:lnTo>
                  <a:lnTo>
                    <a:pt x="63" y="16"/>
                  </a:lnTo>
                  <a:lnTo>
                    <a:pt x="58" y="20"/>
                  </a:lnTo>
                  <a:lnTo>
                    <a:pt x="62" y="36"/>
                  </a:lnTo>
                  <a:lnTo>
                    <a:pt x="54" y="42"/>
                  </a:lnTo>
                  <a:lnTo>
                    <a:pt x="44" y="42"/>
                  </a:lnTo>
                  <a:lnTo>
                    <a:pt x="33" y="50"/>
                  </a:lnTo>
                  <a:lnTo>
                    <a:pt x="20" y="49"/>
                  </a:lnTo>
                  <a:lnTo>
                    <a:pt x="0" y="72"/>
                  </a:lnTo>
                  <a:lnTo>
                    <a:pt x="12" y="79"/>
                  </a:lnTo>
                  <a:lnTo>
                    <a:pt x="19" y="90"/>
                  </a:lnTo>
                  <a:lnTo>
                    <a:pt x="23" y="111"/>
                  </a:lnTo>
                  <a:lnTo>
                    <a:pt x="34" y="120"/>
                  </a:lnTo>
                  <a:lnTo>
                    <a:pt x="46" y="126"/>
                  </a:lnTo>
                  <a:lnTo>
                    <a:pt x="63" y="145"/>
                  </a:lnTo>
                  <a:lnTo>
                    <a:pt x="83" y="172"/>
                  </a:lnTo>
                  <a:lnTo>
                    <a:pt x="106" y="152"/>
                  </a:lnTo>
                  <a:lnTo>
                    <a:pt x="112" y="139"/>
                  </a:lnTo>
                  <a:lnTo>
                    <a:pt x="119" y="129"/>
                  </a:lnTo>
                  <a:lnTo>
                    <a:pt x="131" y="128"/>
                  </a:lnTo>
                  <a:lnTo>
                    <a:pt x="142" y="118"/>
                  </a:lnTo>
                  <a:lnTo>
                    <a:pt x="178" y="118"/>
                  </a:lnTo>
                  <a:lnTo>
                    <a:pt x="190" y="135"/>
                  </a:lnTo>
                  <a:lnTo>
                    <a:pt x="199" y="155"/>
                  </a:lnTo>
                  <a:lnTo>
                    <a:pt x="198" y="168"/>
                  </a:lnTo>
                  <a:lnTo>
                    <a:pt x="204" y="181"/>
                  </a:lnTo>
                  <a:lnTo>
                    <a:pt x="204" y="198"/>
                  </a:lnTo>
                  <a:lnTo>
                    <a:pt x="216" y="196"/>
                  </a:lnTo>
                  <a:lnTo>
                    <a:pt x="225" y="195"/>
                  </a:lnTo>
                  <a:lnTo>
                    <a:pt x="237" y="189"/>
                  </a:lnTo>
                  <a:lnTo>
                    <a:pt x="256" y="218"/>
                  </a:lnTo>
                  <a:lnTo>
                    <a:pt x="253" y="237"/>
                  </a:lnTo>
                  <a:lnTo>
                    <a:pt x="262" y="247"/>
                  </a:lnTo>
                  <a:lnTo>
                    <a:pt x="274" y="247"/>
                  </a:lnTo>
                  <a:lnTo>
                    <a:pt x="284" y="228"/>
                  </a:lnTo>
                  <a:lnTo>
                    <a:pt x="295" y="230"/>
                  </a:lnTo>
                  <a:lnTo>
                    <a:pt x="303" y="230"/>
                  </a:lnTo>
                  <a:lnTo>
                    <a:pt x="306" y="209"/>
                  </a:lnTo>
                  <a:lnTo>
                    <a:pt x="302" y="200"/>
                  </a:lnTo>
                  <a:lnTo>
                    <a:pt x="306" y="193"/>
                  </a:lnTo>
                  <a:lnTo>
                    <a:pt x="323" y="188"/>
                  </a:lnTo>
                  <a:lnTo>
                    <a:pt x="312" y="150"/>
                  </a:lnTo>
                  <a:lnTo>
                    <a:pt x="302" y="131"/>
                  </a:lnTo>
                  <a:lnTo>
                    <a:pt x="306" y="115"/>
                  </a:lnTo>
                  <a:lnTo>
                    <a:pt x="315" y="111"/>
                  </a:lnTo>
                  <a:lnTo>
                    <a:pt x="301" y="97"/>
                  </a:lnTo>
                  <a:lnTo>
                    <a:pt x="304" y="84"/>
                  </a:lnTo>
                  <a:lnTo>
                    <a:pt x="298" y="79"/>
                  </a:lnTo>
                  <a:lnTo>
                    <a:pt x="288" y="83"/>
                  </a:lnTo>
                  <a:lnTo>
                    <a:pt x="291" y="67"/>
                  </a:lnTo>
                  <a:lnTo>
                    <a:pt x="300" y="56"/>
                  </a:lnTo>
                  <a:lnTo>
                    <a:pt x="282" y="36"/>
                  </a:lnTo>
                  <a:lnTo>
                    <a:pt x="276" y="22"/>
                  </a:lnTo>
                  <a:lnTo>
                    <a:pt x="266" y="12"/>
                  </a:lnTo>
                  <a:lnTo>
                    <a:pt x="258" y="11"/>
                  </a:lnTo>
                  <a:lnTo>
                    <a:pt x="247" y="17"/>
                  </a:lnTo>
                  <a:lnTo>
                    <a:pt x="232" y="24"/>
                  </a:lnTo>
                  <a:lnTo>
                    <a:pt x="221" y="34"/>
                  </a:lnTo>
                  <a:lnTo>
                    <a:pt x="201" y="30"/>
                  </a:lnTo>
                  <a:lnTo>
                    <a:pt x="190" y="18"/>
                  </a:lnTo>
                  <a:lnTo>
                    <a:pt x="182" y="17"/>
                  </a:lnTo>
                  <a:lnTo>
                    <a:pt x="170" y="23"/>
                  </a:lnTo>
                  <a:lnTo>
                    <a:pt x="163" y="23"/>
                  </a:lnTo>
                  <a:lnTo>
                    <a:pt x="161" y="6"/>
                  </a:lnTo>
                  <a:lnTo>
                    <a:pt x="161" y="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0" name="Gambia">
              <a:extLst>
                <a:ext uri="{FF2B5EF4-FFF2-40B4-BE49-F238E27FC236}">
                  <a16:creationId xmlns:a16="http://schemas.microsoft.com/office/drawing/2014/main" id="{A2E5A8A5-73B2-0496-D1DD-58A66403DC04}"/>
                </a:ext>
              </a:extLst>
            </p:cNvPr>
            <p:cNvSpPr>
              <a:spLocks/>
            </p:cNvSpPr>
            <p:nvPr/>
          </p:nvSpPr>
          <p:spPr bwMode="auto">
            <a:xfrm>
              <a:off x="4909407" y="2522706"/>
              <a:ext cx="209550" cy="55563"/>
            </a:xfrm>
            <a:custGeom>
              <a:avLst/>
              <a:gdLst>
                <a:gd name="T0" fmla="*/ 0 w 132"/>
                <a:gd name="T1" fmla="*/ 35 h 35"/>
                <a:gd name="T2" fmla="*/ 40 w 132"/>
                <a:gd name="T3" fmla="*/ 35 h 35"/>
                <a:gd name="T4" fmla="*/ 51 w 132"/>
                <a:gd name="T5" fmla="*/ 29 h 35"/>
                <a:gd name="T6" fmla="*/ 58 w 132"/>
                <a:gd name="T7" fmla="*/ 28 h 35"/>
                <a:gd name="T8" fmla="*/ 75 w 132"/>
                <a:gd name="T9" fmla="*/ 18 h 35"/>
                <a:gd name="T10" fmla="*/ 94 w 132"/>
                <a:gd name="T11" fmla="*/ 28 h 35"/>
                <a:gd name="T12" fmla="*/ 113 w 132"/>
                <a:gd name="T13" fmla="*/ 28 h 35"/>
                <a:gd name="T14" fmla="*/ 132 w 132"/>
                <a:gd name="T15" fmla="*/ 18 h 35"/>
                <a:gd name="T16" fmla="*/ 124 w 132"/>
                <a:gd name="T17" fmla="*/ 5 h 35"/>
                <a:gd name="T18" fmla="*/ 109 w 132"/>
                <a:gd name="T19" fmla="*/ 12 h 35"/>
                <a:gd name="T20" fmla="*/ 95 w 132"/>
                <a:gd name="T21" fmla="*/ 12 h 35"/>
                <a:gd name="T22" fmla="*/ 78 w 132"/>
                <a:gd name="T23" fmla="*/ 0 h 35"/>
                <a:gd name="T24" fmla="*/ 64 w 132"/>
                <a:gd name="T25" fmla="*/ 1 h 35"/>
                <a:gd name="T26" fmla="*/ 54 w 132"/>
                <a:gd name="T27" fmla="*/ 12 h 35"/>
                <a:gd name="T28" fmla="*/ 5 w 132"/>
                <a:gd name="T29" fmla="*/ 14 h 35"/>
                <a:gd name="T30" fmla="*/ 0 w 132"/>
                <a:gd name="T31" fmla="*/ 35 h 35"/>
                <a:gd name="T32" fmla="*/ 0 w 1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35">
                  <a:moveTo>
                    <a:pt x="0" y="35"/>
                  </a:moveTo>
                  <a:lnTo>
                    <a:pt x="40" y="35"/>
                  </a:lnTo>
                  <a:lnTo>
                    <a:pt x="51" y="29"/>
                  </a:lnTo>
                  <a:lnTo>
                    <a:pt x="58" y="28"/>
                  </a:lnTo>
                  <a:lnTo>
                    <a:pt x="75" y="18"/>
                  </a:lnTo>
                  <a:lnTo>
                    <a:pt x="94" y="28"/>
                  </a:lnTo>
                  <a:lnTo>
                    <a:pt x="113" y="28"/>
                  </a:lnTo>
                  <a:lnTo>
                    <a:pt x="132" y="18"/>
                  </a:lnTo>
                  <a:lnTo>
                    <a:pt x="124" y="5"/>
                  </a:lnTo>
                  <a:lnTo>
                    <a:pt x="109" y="12"/>
                  </a:lnTo>
                  <a:lnTo>
                    <a:pt x="95" y="12"/>
                  </a:lnTo>
                  <a:lnTo>
                    <a:pt x="78" y="0"/>
                  </a:lnTo>
                  <a:lnTo>
                    <a:pt x="64" y="1"/>
                  </a:lnTo>
                  <a:lnTo>
                    <a:pt x="54" y="12"/>
                  </a:lnTo>
                  <a:lnTo>
                    <a:pt x="5" y="14"/>
                  </a:lnTo>
                  <a:lnTo>
                    <a:pt x="0" y="35"/>
                  </a:lnTo>
                  <a:lnTo>
                    <a:pt x="0" y="3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1" name="Guinea-Bissau">
              <a:extLst>
                <a:ext uri="{FF2B5EF4-FFF2-40B4-BE49-F238E27FC236}">
                  <a16:creationId xmlns:a16="http://schemas.microsoft.com/office/drawing/2014/main" id="{E2C640F2-9D92-122E-EF31-5EBBC4A4FEB2}"/>
                </a:ext>
              </a:extLst>
            </p:cNvPr>
            <p:cNvSpPr>
              <a:spLocks/>
            </p:cNvSpPr>
            <p:nvPr/>
          </p:nvSpPr>
          <p:spPr bwMode="auto">
            <a:xfrm>
              <a:off x="4917379" y="2621887"/>
              <a:ext cx="209550" cy="119063"/>
            </a:xfrm>
            <a:custGeom>
              <a:avLst/>
              <a:gdLst>
                <a:gd name="T0" fmla="*/ 132 w 132"/>
                <a:gd name="T1" fmla="*/ 3 h 75"/>
                <a:gd name="T2" fmla="*/ 50 w 132"/>
                <a:gd name="T3" fmla="*/ 0 h 75"/>
                <a:gd name="T4" fmla="*/ 38 w 132"/>
                <a:gd name="T5" fmla="*/ 6 h 75"/>
                <a:gd name="T6" fmla="*/ 24 w 132"/>
                <a:gd name="T7" fmla="*/ 4 h 75"/>
                <a:gd name="T8" fmla="*/ 0 w 132"/>
                <a:gd name="T9" fmla="*/ 12 h 75"/>
                <a:gd name="T10" fmla="*/ 3 w 132"/>
                <a:gd name="T11" fmla="*/ 22 h 75"/>
                <a:gd name="T12" fmla="*/ 16 w 132"/>
                <a:gd name="T13" fmla="*/ 32 h 75"/>
                <a:gd name="T14" fmla="*/ 16 w 132"/>
                <a:gd name="T15" fmla="*/ 39 h 75"/>
                <a:gd name="T16" fmla="*/ 26 w 132"/>
                <a:gd name="T17" fmla="*/ 53 h 75"/>
                <a:gd name="T18" fmla="*/ 44 w 132"/>
                <a:gd name="T19" fmla="*/ 55 h 75"/>
                <a:gd name="T20" fmla="*/ 68 w 132"/>
                <a:gd name="T21" fmla="*/ 75 h 75"/>
                <a:gd name="T22" fmla="*/ 88 w 132"/>
                <a:gd name="T23" fmla="*/ 52 h 75"/>
                <a:gd name="T24" fmla="*/ 101 w 132"/>
                <a:gd name="T25" fmla="*/ 53 h 75"/>
                <a:gd name="T26" fmla="*/ 112 w 132"/>
                <a:gd name="T27" fmla="*/ 45 h 75"/>
                <a:gd name="T28" fmla="*/ 122 w 132"/>
                <a:gd name="T29" fmla="*/ 45 h 75"/>
                <a:gd name="T30" fmla="*/ 130 w 132"/>
                <a:gd name="T31" fmla="*/ 39 h 75"/>
                <a:gd name="T32" fmla="*/ 126 w 132"/>
                <a:gd name="T33" fmla="*/ 23 h 75"/>
                <a:gd name="T34" fmla="*/ 131 w 132"/>
                <a:gd name="T35" fmla="*/ 19 h 75"/>
                <a:gd name="T36" fmla="*/ 132 w 132"/>
                <a:gd name="T37" fmla="*/ 3 h 75"/>
                <a:gd name="T38" fmla="*/ 132 w 132"/>
                <a:gd name="T39"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75">
                  <a:moveTo>
                    <a:pt x="132" y="3"/>
                  </a:moveTo>
                  <a:lnTo>
                    <a:pt x="50" y="0"/>
                  </a:lnTo>
                  <a:lnTo>
                    <a:pt x="38" y="6"/>
                  </a:lnTo>
                  <a:lnTo>
                    <a:pt x="24" y="4"/>
                  </a:lnTo>
                  <a:lnTo>
                    <a:pt x="0" y="12"/>
                  </a:lnTo>
                  <a:lnTo>
                    <a:pt x="3" y="22"/>
                  </a:lnTo>
                  <a:lnTo>
                    <a:pt x="16" y="32"/>
                  </a:lnTo>
                  <a:lnTo>
                    <a:pt x="16" y="39"/>
                  </a:lnTo>
                  <a:lnTo>
                    <a:pt x="26" y="53"/>
                  </a:lnTo>
                  <a:lnTo>
                    <a:pt x="44" y="55"/>
                  </a:lnTo>
                  <a:lnTo>
                    <a:pt x="68" y="75"/>
                  </a:lnTo>
                  <a:lnTo>
                    <a:pt x="88" y="52"/>
                  </a:lnTo>
                  <a:lnTo>
                    <a:pt x="101" y="53"/>
                  </a:lnTo>
                  <a:lnTo>
                    <a:pt x="112" y="45"/>
                  </a:lnTo>
                  <a:lnTo>
                    <a:pt x="122" y="45"/>
                  </a:lnTo>
                  <a:lnTo>
                    <a:pt x="130" y="39"/>
                  </a:lnTo>
                  <a:lnTo>
                    <a:pt x="126" y="23"/>
                  </a:lnTo>
                  <a:lnTo>
                    <a:pt x="131" y="19"/>
                  </a:lnTo>
                  <a:lnTo>
                    <a:pt x="132" y="3"/>
                  </a:lnTo>
                  <a:lnTo>
                    <a:pt x="132"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2" name="Equatorial Guinea">
              <a:extLst>
                <a:ext uri="{FF2B5EF4-FFF2-40B4-BE49-F238E27FC236}">
                  <a16:creationId xmlns:a16="http://schemas.microsoft.com/office/drawing/2014/main" id="{F32E32F7-957C-5F05-0896-62270BDD9A77}"/>
                </a:ext>
              </a:extLst>
            </p:cNvPr>
            <p:cNvSpPr>
              <a:spLocks/>
            </p:cNvSpPr>
            <p:nvPr/>
          </p:nvSpPr>
          <p:spPr bwMode="auto">
            <a:xfrm>
              <a:off x="6750941" y="3393412"/>
              <a:ext cx="139700" cy="95250"/>
            </a:xfrm>
            <a:custGeom>
              <a:avLst/>
              <a:gdLst>
                <a:gd name="T0" fmla="*/ 88 w 88"/>
                <a:gd name="T1" fmla="*/ 1 h 60"/>
                <a:gd name="T2" fmla="*/ 15 w 88"/>
                <a:gd name="T3" fmla="*/ 0 h 60"/>
                <a:gd name="T4" fmla="*/ 0 w 88"/>
                <a:gd name="T5" fmla="*/ 53 h 60"/>
                <a:gd name="T6" fmla="*/ 8 w 88"/>
                <a:gd name="T7" fmla="*/ 60 h 60"/>
                <a:gd name="T8" fmla="*/ 23 w 88"/>
                <a:gd name="T9" fmla="*/ 57 h 60"/>
                <a:gd name="T10" fmla="*/ 88 w 88"/>
                <a:gd name="T11" fmla="*/ 58 h 60"/>
                <a:gd name="T12" fmla="*/ 88 w 88"/>
                <a:gd name="T13" fmla="*/ 1 h 60"/>
                <a:gd name="T14" fmla="*/ 88 w 88"/>
                <a:gd name="T15" fmla="*/ 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0">
                  <a:moveTo>
                    <a:pt x="88" y="1"/>
                  </a:moveTo>
                  <a:lnTo>
                    <a:pt x="15" y="0"/>
                  </a:lnTo>
                  <a:lnTo>
                    <a:pt x="0" y="53"/>
                  </a:lnTo>
                  <a:lnTo>
                    <a:pt x="8" y="60"/>
                  </a:lnTo>
                  <a:lnTo>
                    <a:pt x="23" y="57"/>
                  </a:lnTo>
                  <a:lnTo>
                    <a:pt x="88" y="58"/>
                  </a:lnTo>
                  <a:lnTo>
                    <a:pt x="88" y="1"/>
                  </a:lnTo>
                  <a:lnTo>
                    <a:pt x="88"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3" name="Kenya">
              <a:extLst>
                <a:ext uri="{FF2B5EF4-FFF2-40B4-BE49-F238E27FC236}">
                  <a16:creationId xmlns:a16="http://schemas.microsoft.com/office/drawing/2014/main" id="{C906EB48-CB39-AED7-5B90-AA7324505FBA}"/>
                </a:ext>
              </a:extLst>
            </p:cNvPr>
            <p:cNvSpPr>
              <a:spLocks/>
            </p:cNvSpPr>
            <p:nvPr/>
          </p:nvSpPr>
          <p:spPr bwMode="auto">
            <a:xfrm>
              <a:off x="8494016" y="3153700"/>
              <a:ext cx="560388" cy="758825"/>
            </a:xfrm>
            <a:custGeom>
              <a:avLst/>
              <a:gdLst>
                <a:gd name="T0" fmla="*/ 353 w 353"/>
                <a:gd name="T1" fmla="*/ 74 h 478"/>
                <a:gd name="T2" fmla="*/ 322 w 353"/>
                <a:gd name="T3" fmla="*/ 74 h 478"/>
                <a:gd name="T4" fmla="*/ 305 w 353"/>
                <a:gd name="T5" fmla="*/ 59 h 478"/>
                <a:gd name="T6" fmla="*/ 264 w 353"/>
                <a:gd name="T7" fmla="*/ 78 h 478"/>
                <a:gd name="T8" fmla="*/ 251 w 353"/>
                <a:gd name="T9" fmla="*/ 98 h 478"/>
                <a:gd name="T10" fmla="*/ 221 w 353"/>
                <a:gd name="T11" fmla="*/ 95 h 478"/>
                <a:gd name="T12" fmla="*/ 212 w 353"/>
                <a:gd name="T13" fmla="*/ 89 h 478"/>
                <a:gd name="T14" fmla="*/ 201 w 353"/>
                <a:gd name="T15" fmla="*/ 90 h 478"/>
                <a:gd name="T16" fmla="*/ 187 w 353"/>
                <a:gd name="T17" fmla="*/ 89 h 478"/>
                <a:gd name="T18" fmla="*/ 130 w 353"/>
                <a:gd name="T19" fmla="*/ 50 h 478"/>
                <a:gd name="T20" fmla="*/ 99 w 353"/>
                <a:gd name="T21" fmla="*/ 50 h 478"/>
                <a:gd name="T22" fmla="*/ 83 w 353"/>
                <a:gd name="T23" fmla="*/ 34 h 478"/>
                <a:gd name="T24" fmla="*/ 83 w 353"/>
                <a:gd name="T25" fmla="*/ 8 h 478"/>
                <a:gd name="T26" fmla="*/ 59 w 353"/>
                <a:gd name="T27" fmla="*/ 0 h 478"/>
                <a:gd name="T28" fmla="*/ 30 w 353"/>
                <a:gd name="T29" fmla="*/ 31 h 478"/>
                <a:gd name="T30" fmla="*/ 3 w 353"/>
                <a:gd name="T31" fmla="*/ 59 h 478"/>
                <a:gd name="T32" fmla="*/ 25 w 353"/>
                <a:gd name="T33" fmla="*/ 91 h 478"/>
                <a:gd name="T34" fmla="*/ 30 w 353"/>
                <a:gd name="T35" fmla="*/ 115 h 478"/>
                <a:gd name="T36" fmla="*/ 50 w 353"/>
                <a:gd name="T37" fmla="*/ 169 h 478"/>
                <a:gd name="T38" fmla="*/ 34 w 353"/>
                <a:gd name="T39" fmla="*/ 203 h 478"/>
                <a:gd name="T40" fmla="*/ 13 w 353"/>
                <a:gd name="T41" fmla="*/ 235 h 478"/>
                <a:gd name="T42" fmla="*/ 0 w 353"/>
                <a:gd name="T43" fmla="*/ 253 h 478"/>
                <a:gd name="T44" fmla="*/ 0 w 353"/>
                <a:gd name="T45" fmla="*/ 256 h 478"/>
                <a:gd name="T46" fmla="*/ 10 w 353"/>
                <a:gd name="T47" fmla="*/ 274 h 478"/>
                <a:gd name="T48" fmla="*/ 7 w 353"/>
                <a:gd name="T49" fmla="*/ 309 h 478"/>
                <a:gd name="T50" fmla="*/ 168 w 353"/>
                <a:gd name="T51" fmla="*/ 404 h 478"/>
                <a:gd name="T52" fmla="*/ 171 w 353"/>
                <a:gd name="T53" fmla="*/ 432 h 478"/>
                <a:gd name="T54" fmla="*/ 234 w 353"/>
                <a:gd name="T55" fmla="*/ 478 h 478"/>
                <a:gd name="T56" fmla="*/ 252 w 353"/>
                <a:gd name="T57" fmla="*/ 463 h 478"/>
                <a:gd name="T58" fmla="*/ 261 w 353"/>
                <a:gd name="T59" fmla="*/ 432 h 478"/>
                <a:gd name="T60" fmla="*/ 276 w 353"/>
                <a:gd name="T61" fmla="*/ 413 h 478"/>
                <a:gd name="T62" fmla="*/ 283 w 353"/>
                <a:gd name="T63" fmla="*/ 380 h 478"/>
                <a:gd name="T64" fmla="*/ 300 w 353"/>
                <a:gd name="T65" fmla="*/ 376 h 478"/>
                <a:gd name="T66" fmla="*/ 311 w 353"/>
                <a:gd name="T67" fmla="*/ 356 h 478"/>
                <a:gd name="T68" fmla="*/ 342 w 353"/>
                <a:gd name="T69" fmla="*/ 337 h 478"/>
                <a:gd name="T70" fmla="*/ 316 w 353"/>
                <a:gd name="T71" fmla="*/ 299 h 478"/>
                <a:gd name="T72" fmla="*/ 315 w 353"/>
                <a:gd name="T73" fmla="*/ 128 h 478"/>
                <a:gd name="T74" fmla="*/ 353 w 353"/>
                <a:gd name="T75" fmla="*/ 74 h 478"/>
                <a:gd name="T76" fmla="*/ 353 w 353"/>
                <a:gd name="T77"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3" h="478">
                  <a:moveTo>
                    <a:pt x="353" y="74"/>
                  </a:moveTo>
                  <a:lnTo>
                    <a:pt x="322" y="74"/>
                  </a:lnTo>
                  <a:lnTo>
                    <a:pt x="305" y="59"/>
                  </a:lnTo>
                  <a:lnTo>
                    <a:pt x="264" y="78"/>
                  </a:lnTo>
                  <a:lnTo>
                    <a:pt x="251" y="98"/>
                  </a:lnTo>
                  <a:lnTo>
                    <a:pt x="221" y="95"/>
                  </a:lnTo>
                  <a:lnTo>
                    <a:pt x="212" y="89"/>
                  </a:lnTo>
                  <a:lnTo>
                    <a:pt x="201" y="90"/>
                  </a:lnTo>
                  <a:lnTo>
                    <a:pt x="187" y="89"/>
                  </a:lnTo>
                  <a:lnTo>
                    <a:pt x="130" y="50"/>
                  </a:lnTo>
                  <a:lnTo>
                    <a:pt x="99" y="50"/>
                  </a:lnTo>
                  <a:lnTo>
                    <a:pt x="83" y="34"/>
                  </a:lnTo>
                  <a:lnTo>
                    <a:pt x="83" y="8"/>
                  </a:lnTo>
                  <a:lnTo>
                    <a:pt x="59" y="0"/>
                  </a:lnTo>
                  <a:lnTo>
                    <a:pt x="30" y="31"/>
                  </a:lnTo>
                  <a:lnTo>
                    <a:pt x="3" y="59"/>
                  </a:lnTo>
                  <a:lnTo>
                    <a:pt x="25" y="91"/>
                  </a:lnTo>
                  <a:lnTo>
                    <a:pt x="30" y="115"/>
                  </a:lnTo>
                  <a:lnTo>
                    <a:pt x="50" y="169"/>
                  </a:lnTo>
                  <a:lnTo>
                    <a:pt x="34" y="203"/>
                  </a:lnTo>
                  <a:lnTo>
                    <a:pt x="13" y="235"/>
                  </a:lnTo>
                  <a:lnTo>
                    <a:pt x="0" y="253"/>
                  </a:lnTo>
                  <a:lnTo>
                    <a:pt x="0" y="256"/>
                  </a:lnTo>
                  <a:lnTo>
                    <a:pt x="10" y="274"/>
                  </a:lnTo>
                  <a:lnTo>
                    <a:pt x="7" y="309"/>
                  </a:lnTo>
                  <a:lnTo>
                    <a:pt x="168" y="404"/>
                  </a:lnTo>
                  <a:lnTo>
                    <a:pt x="171" y="432"/>
                  </a:lnTo>
                  <a:lnTo>
                    <a:pt x="234" y="478"/>
                  </a:lnTo>
                  <a:lnTo>
                    <a:pt x="252" y="463"/>
                  </a:lnTo>
                  <a:lnTo>
                    <a:pt x="261" y="432"/>
                  </a:lnTo>
                  <a:lnTo>
                    <a:pt x="276" y="413"/>
                  </a:lnTo>
                  <a:lnTo>
                    <a:pt x="283" y="380"/>
                  </a:lnTo>
                  <a:lnTo>
                    <a:pt x="300" y="376"/>
                  </a:lnTo>
                  <a:lnTo>
                    <a:pt x="311" y="356"/>
                  </a:lnTo>
                  <a:lnTo>
                    <a:pt x="342" y="337"/>
                  </a:lnTo>
                  <a:lnTo>
                    <a:pt x="316" y="299"/>
                  </a:lnTo>
                  <a:lnTo>
                    <a:pt x="315" y="128"/>
                  </a:lnTo>
                  <a:lnTo>
                    <a:pt x="353" y="74"/>
                  </a:lnTo>
                  <a:lnTo>
                    <a:pt x="353" y="74"/>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4" name="Liberia">
              <a:extLst>
                <a:ext uri="{FF2B5EF4-FFF2-40B4-BE49-F238E27FC236}">
                  <a16:creationId xmlns:a16="http://schemas.microsoft.com/office/drawing/2014/main" id="{FFD3F307-B2C5-AE18-8DB1-CAFF47A7EDAA}"/>
                </a:ext>
              </a:extLst>
            </p:cNvPr>
            <p:cNvSpPr>
              <a:spLocks/>
            </p:cNvSpPr>
            <p:nvPr/>
          </p:nvSpPr>
          <p:spPr bwMode="auto">
            <a:xfrm>
              <a:off x="5282504" y="2926687"/>
              <a:ext cx="274638" cy="312738"/>
            </a:xfrm>
            <a:custGeom>
              <a:avLst/>
              <a:gdLst>
                <a:gd name="T0" fmla="*/ 133 w 173"/>
                <a:gd name="T1" fmla="*/ 41 h 197"/>
                <a:gd name="T2" fmla="*/ 122 w 173"/>
                <a:gd name="T3" fmla="*/ 39 h 197"/>
                <a:gd name="T4" fmla="*/ 112 w 173"/>
                <a:gd name="T5" fmla="*/ 58 h 197"/>
                <a:gd name="T6" fmla="*/ 100 w 173"/>
                <a:gd name="T7" fmla="*/ 58 h 197"/>
                <a:gd name="T8" fmla="*/ 91 w 173"/>
                <a:gd name="T9" fmla="*/ 48 h 197"/>
                <a:gd name="T10" fmla="*/ 94 w 173"/>
                <a:gd name="T11" fmla="*/ 29 h 197"/>
                <a:gd name="T12" fmla="*/ 75 w 173"/>
                <a:gd name="T13" fmla="*/ 0 h 197"/>
                <a:gd name="T14" fmla="*/ 63 w 173"/>
                <a:gd name="T15" fmla="*/ 6 h 197"/>
                <a:gd name="T16" fmla="*/ 54 w 173"/>
                <a:gd name="T17" fmla="*/ 7 h 197"/>
                <a:gd name="T18" fmla="*/ 33 w 173"/>
                <a:gd name="T19" fmla="*/ 29 h 197"/>
                <a:gd name="T20" fmla="*/ 13 w 173"/>
                <a:gd name="T21" fmla="*/ 54 h 197"/>
                <a:gd name="T22" fmla="*/ 10 w 173"/>
                <a:gd name="T23" fmla="*/ 68 h 197"/>
                <a:gd name="T24" fmla="*/ 0 w 173"/>
                <a:gd name="T25" fmla="*/ 83 h 197"/>
                <a:gd name="T26" fmla="*/ 29 w 173"/>
                <a:gd name="T27" fmla="*/ 113 h 197"/>
                <a:gd name="T28" fmla="*/ 68 w 173"/>
                <a:gd name="T29" fmla="*/ 139 h 197"/>
                <a:gd name="T30" fmla="*/ 108 w 173"/>
                <a:gd name="T31" fmla="*/ 175 h 197"/>
                <a:gd name="T32" fmla="*/ 154 w 173"/>
                <a:gd name="T33" fmla="*/ 197 h 197"/>
                <a:gd name="T34" fmla="*/ 165 w 173"/>
                <a:gd name="T35" fmla="*/ 197 h 197"/>
                <a:gd name="T36" fmla="*/ 169 w 173"/>
                <a:gd name="T37" fmla="*/ 158 h 197"/>
                <a:gd name="T38" fmla="*/ 173 w 173"/>
                <a:gd name="T39" fmla="*/ 152 h 197"/>
                <a:gd name="T40" fmla="*/ 172 w 173"/>
                <a:gd name="T41" fmla="*/ 133 h 197"/>
                <a:gd name="T42" fmla="*/ 153 w 173"/>
                <a:gd name="T43" fmla="*/ 114 h 197"/>
                <a:gd name="T44" fmla="*/ 139 w 173"/>
                <a:gd name="T45" fmla="*/ 110 h 197"/>
                <a:gd name="T46" fmla="*/ 126 w 173"/>
                <a:gd name="T47" fmla="*/ 98 h 197"/>
                <a:gd name="T48" fmla="*/ 136 w 173"/>
                <a:gd name="T49" fmla="*/ 77 h 197"/>
                <a:gd name="T50" fmla="*/ 132 w 173"/>
                <a:gd name="T51" fmla="*/ 54 h 197"/>
                <a:gd name="T52" fmla="*/ 133 w 173"/>
                <a:gd name="T53" fmla="*/ 41 h 197"/>
                <a:gd name="T54" fmla="*/ 133 w 173"/>
                <a:gd name="T55" fmla="*/ 4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97">
                  <a:moveTo>
                    <a:pt x="133" y="41"/>
                  </a:moveTo>
                  <a:lnTo>
                    <a:pt x="122" y="39"/>
                  </a:lnTo>
                  <a:lnTo>
                    <a:pt x="112" y="58"/>
                  </a:lnTo>
                  <a:lnTo>
                    <a:pt x="100" y="58"/>
                  </a:lnTo>
                  <a:lnTo>
                    <a:pt x="91" y="48"/>
                  </a:lnTo>
                  <a:lnTo>
                    <a:pt x="94" y="29"/>
                  </a:lnTo>
                  <a:lnTo>
                    <a:pt x="75" y="0"/>
                  </a:lnTo>
                  <a:lnTo>
                    <a:pt x="63" y="6"/>
                  </a:lnTo>
                  <a:lnTo>
                    <a:pt x="54" y="7"/>
                  </a:lnTo>
                  <a:lnTo>
                    <a:pt x="33" y="29"/>
                  </a:lnTo>
                  <a:lnTo>
                    <a:pt x="13" y="54"/>
                  </a:lnTo>
                  <a:lnTo>
                    <a:pt x="10" y="68"/>
                  </a:lnTo>
                  <a:lnTo>
                    <a:pt x="0" y="83"/>
                  </a:lnTo>
                  <a:lnTo>
                    <a:pt x="29" y="113"/>
                  </a:lnTo>
                  <a:lnTo>
                    <a:pt x="68" y="139"/>
                  </a:lnTo>
                  <a:lnTo>
                    <a:pt x="108" y="175"/>
                  </a:lnTo>
                  <a:lnTo>
                    <a:pt x="154" y="197"/>
                  </a:lnTo>
                  <a:lnTo>
                    <a:pt x="165" y="197"/>
                  </a:lnTo>
                  <a:lnTo>
                    <a:pt x="169" y="158"/>
                  </a:lnTo>
                  <a:lnTo>
                    <a:pt x="173" y="152"/>
                  </a:lnTo>
                  <a:lnTo>
                    <a:pt x="172" y="133"/>
                  </a:lnTo>
                  <a:lnTo>
                    <a:pt x="153" y="114"/>
                  </a:lnTo>
                  <a:lnTo>
                    <a:pt x="139" y="110"/>
                  </a:lnTo>
                  <a:lnTo>
                    <a:pt x="126" y="98"/>
                  </a:lnTo>
                  <a:lnTo>
                    <a:pt x="136" y="77"/>
                  </a:lnTo>
                  <a:lnTo>
                    <a:pt x="132" y="54"/>
                  </a:lnTo>
                  <a:lnTo>
                    <a:pt x="133" y="41"/>
                  </a:lnTo>
                  <a:lnTo>
                    <a:pt x="133" y="4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5" name="Libya">
              <a:extLst>
                <a:ext uri="{FF2B5EF4-FFF2-40B4-BE49-F238E27FC236}">
                  <a16:creationId xmlns:a16="http://schemas.microsoft.com/office/drawing/2014/main" id="{1BA59976-4BC5-34D7-E148-A981E8DA8505}"/>
                </a:ext>
              </a:extLst>
            </p:cNvPr>
            <p:cNvSpPr>
              <a:spLocks/>
            </p:cNvSpPr>
            <p:nvPr/>
          </p:nvSpPr>
          <p:spPr bwMode="auto">
            <a:xfrm>
              <a:off x="6731891" y="1093125"/>
              <a:ext cx="1100138" cy="1011238"/>
            </a:xfrm>
            <a:custGeom>
              <a:avLst/>
              <a:gdLst>
                <a:gd name="T0" fmla="*/ 669 w 693"/>
                <a:gd name="T1" fmla="*/ 73 h 637"/>
                <a:gd name="T2" fmla="*/ 658 w 693"/>
                <a:gd name="T3" fmla="*/ 58 h 637"/>
                <a:gd name="T4" fmla="*/ 615 w 693"/>
                <a:gd name="T5" fmla="*/ 53 h 637"/>
                <a:gd name="T6" fmla="*/ 600 w 693"/>
                <a:gd name="T7" fmla="*/ 44 h 637"/>
                <a:gd name="T8" fmla="*/ 585 w 693"/>
                <a:gd name="T9" fmla="*/ 44 h 637"/>
                <a:gd name="T10" fmla="*/ 568 w 693"/>
                <a:gd name="T11" fmla="*/ 24 h 637"/>
                <a:gd name="T12" fmla="*/ 511 w 693"/>
                <a:gd name="T13" fmla="*/ 14 h 637"/>
                <a:gd name="T14" fmla="*/ 482 w 693"/>
                <a:gd name="T15" fmla="*/ 21 h 637"/>
                <a:gd name="T16" fmla="*/ 452 w 693"/>
                <a:gd name="T17" fmla="*/ 43 h 637"/>
                <a:gd name="T18" fmla="*/ 441 w 693"/>
                <a:gd name="T19" fmla="*/ 65 h 637"/>
                <a:gd name="T20" fmla="*/ 453 w 693"/>
                <a:gd name="T21" fmla="*/ 101 h 637"/>
                <a:gd name="T22" fmla="*/ 434 w 693"/>
                <a:gd name="T23" fmla="*/ 123 h 637"/>
                <a:gd name="T24" fmla="*/ 414 w 693"/>
                <a:gd name="T25" fmla="*/ 134 h 637"/>
                <a:gd name="T26" fmla="*/ 367 w 693"/>
                <a:gd name="T27" fmla="*/ 111 h 637"/>
                <a:gd name="T28" fmla="*/ 305 w 693"/>
                <a:gd name="T29" fmla="*/ 92 h 637"/>
                <a:gd name="T30" fmla="*/ 267 w 693"/>
                <a:gd name="T31" fmla="*/ 83 h 637"/>
                <a:gd name="T32" fmla="*/ 244 w 693"/>
                <a:gd name="T33" fmla="*/ 41 h 637"/>
                <a:gd name="T34" fmla="*/ 188 w 693"/>
                <a:gd name="T35" fmla="*/ 21 h 637"/>
                <a:gd name="T36" fmla="*/ 151 w 693"/>
                <a:gd name="T37" fmla="*/ 12 h 637"/>
                <a:gd name="T38" fmla="*/ 134 w 693"/>
                <a:gd name="T39" fmla="*/ 16 h 637"/>
                <a:gd name="T40" fmla="*/ 84 w 693"/>
                <a:gd name="T41" fmla="*/ 0 h 637"/>
                <a:gd name="T42" fmla="*/ 83 w 693"/>
                <a:gd name="T43" fmla="*/ 36 h 637"/>
                <a:gd name="T44" fmla="*/ 62 w 693"/>
                <a:gd name="T45" fmla="*/ 50 h 637"/>
                <a:gd name="T46" fmla="*/ 50 w 693"/>
                <a:gd name="T47" fmla="*/ 65 h 637"/>
                <a:gd name="T48" fmla="*/ 20 w 693"/>
                <a:gd name="T49" fmla="*/ 83 h 637"/>
                <a:gd name="T50" fmla="*/ 26 w 693"/>
                <a:gd name="T51" fmla="*/ 102 h 637"/>
                <a:gd name="T52" fmla="*/ 23 w 693"/>
                <a:gd name="T53" fmla="*/ 122 h 637"/>
                <a:gd name="T54" fmla="*/ 2 w 693"/>
                <a:gd name="T55" fmla="*/ 133 h 637"/>
                <a:gd name="T56" fmla="*/ 18 w 693"/>
                <a:gd name="T57" fmla="*/ 174 h 637"/>
                <a:gd name="T58" fmla="*/ 20 w 693"/>
                <a:gd name="T59" fmla="*/ 196 h 637"/>
                <a:gd name="T60" fmla="*/ 14 w 693"/>
                <a:gd name="T61" fmla="*/ 235 h 637"/>
                <a:gd name="T62" fmla="*/ 18 w 693"/>
                <a:gd name="T63" fmla="*/ 256 h 637"/>
                <a:gd name="T64" fmla="*/ 12 w 693"/>
                <a:gd name="T65" fmla="*/ 281 h 637"/>
                <a:gd name="T66" fmla="*/ 17 w 693"/>
                <a:gd name="T67" fmla="*/ 311 h 637"/>
                <a:gd name="T68" fmla="*/ 0 w 693"/>
                <a:gd name="T69" fmla="*/ 331 h 637"/>
                <a:gd name="T70" fmla="*/ 27 w 693"/>
                <a:gd name="T71" fmla="*/ 365 h 637"/>
                <a:gd name="T72" fmla="*/ 29 w 693"/>
                <a:gd name="T73" fmla="*/ 385 h 637"/>
                <a:gd name="T74" fmla="*/ 44 w 693"/>
                <a:gd name="T75" fmla="*/ 411 h 637"/>
                <a:gd name="T76" fmla="*/ 64 w 693"/>
                <a:gd name="T77" fmla="*/ 403 h 637"/>
                <a:gd name="T78" fmla="*/ 100 w 693"/>
                <a:gd name="T79" fmla="*/ 425 h 637"/>
                <a:gd name="T80" fmla="*/ 119 w 693"/>
                <a:gd name="T81" fmla="*/ 454 h 637"/>
                <a:gd name="T82" fmla="*/ 189 w 693"/>
                <a:gd name="T83" fmla="*/ 474 h 637"/>
                <a:gd name="T84" fmla="*/ 214 w 693"/>
                <a:gd name="T85" fmla="*/ 499 h 637"/>
                <a:gd name="T86" fmla="*/ 244 w 693"/>
                <a:gd name="T87" fmla="*/ 482 h 637"/>
                <a:gd name="T88" fmla="*/ 288 w 693"/>
                <a:gd name="T89" fmla="*/ 457 h 637"/>
                <a:gd name="T90" fmla="*/ 464 w 693"/>
                <a:gd name="T91" fmla="*/ 547 h 637"/>
                <a:gd name="T92" fmla="*/ 642 w 693"/>
                <a:gd name="T93" fmla="*/ 637 h 637"/>
                <a:gd name="T94" fmla="*/ 642 w 693"/>
                <a:gd name="T95" fmla="*/ 617 h 637"/>
                <a:gd name="T96" fmla="*/ 693 w 693"/>
                <a:gd name="T97" fmla="*/ 617 h 637"/>
                <a:gd name="T98" fmla="*/ 689 w 693"/>
                <a:gd name="T99" fmla="*/ 523 h 637"/>
                <a:gd name="T100" fmla="*/ 681 w 693"/>
                <a:gd name="T101" fmla="*/ 350 h 637"/>
                <a:gd name="T102" fmla="*/ 670 w 693"/>
                <a:gd name="T103" fmla="*/ 183 h 637"/>
                <a:gd name="T104" fmla="*/ 655 w 693"/>
                <a:gd name="T105" fmla="*/ 145 h 637"/>
                <a:gd name="T106" fmla="*/ 663 w 693"/>
                <a:gd name="T107" fmla="*/ 116 h 637"/>
                <a:gd name="T108" fmla="*/ 655 w 693"/>
                <a:gd name="T109" fmla="*/ 96 h 637"/>
                <a:gd name="T110" fmla="*/ 669 w 693"/>
                <a:gd name="T111" fmla="*/ 73 h 637"/>
                <a:gd name="T112" fmla="*/ 669 w 693"/>
                <a:gd name="T113" fmla="*/ 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 h="637">
                  <a:moveTo>
                    <a:pt x="669" y="73"/>
                  </a:moveTo>
                  <a:lnTo>
                    <a:pt x="658" y="58"/>
                  </a:lnTo>
                  <a:lnTo>
                    <a:pt x="615" y="53"/>
                  </a:lnTo>
                  <a:lnTo>
                    <a:pt x="600" y="44"/>
                  </a:lnTo>
                  <a:lnTo>
                    <a:pt x="585" y="44"/>
                  </a:lnTo>
                  <a:lnTo>
                    <a:pt x="568" y="24"/>
                  </a:lnTo>
                  <a:lnTo>
                    <a:pt x="511" y="14"/>
                  </a:lnTo>
                  <a:lnTo>
                    <a:pt x="482" y="21"/>
                  </a:lnTo>
                  <a:lnTo>
                    <a:pt x="452" y="43"/>
                  </a:lnTo>
                  <a:lnTo>
                    <a:pt x="441" y="65"/>
                  </a:lnTo>
                  <a:lnTo>
                    <a:pt x="453" y="101"/>
                  </a:lnTo>
                  <a:lnTo>
                    <a:pt x="434" y="123"/>
                  </a:lnTo>
                  <a:lnTo>
                    <a:pt x="414" y="134"/>
                  </a:lnTo>
                  <a:lnTo>
                    <a:pt x="367" y="111"/>
                  </a:lnTo>
                  <a:lnTo>
                    <a:pt x="305" y="92"/>
                  </a:lnTo>
                  <a:lnTo>
                    <a:pt x="267" y="83"/>
                  </a:lnTo>
                  <a:lnTo>
                    <a:pt x="244" y="41"/>
                  </a:lnTo>
                  <a:lnTo>
                    <a:pt x="188" y="21"/>
                  </a:lnTo>
                  <a:lnTo>
                    <a:pt x="151" y="12"/>
                  </a:lnTo>
                  <a:lnTo>
                    <a:pt x="134" y="16"/>
                  </a:lnTo>
                  <a:lnTo>
                    <a:pt x="84" y="0"/>
                  </a:lnTo>
                  <a:lnTo>
                    <a:pt x="83" y="36"/>
                  </a:lnTo>
                  <a:lnTo>
                    <a:pt x="62" y="50"/>
                  </a:lnTo>
                  <a:lnTo>
                    <a:pt x="50" y="65"/>
                  </a:lnTo>
                  <a:lnTo>
                    <a:pt x="20" y="83"/>
                  </a:lnTo>
                  <a:lnTo>
                    <a:pt x="26" y="102"/>
                  </a:lnTo>
                  <a:lnTo>
                    <a:pt x="23" y="122"/>
                  </a:lnTo>
                  <a:lnTo>
                    <a:pt x="2" y="133"/>
                  </a:lnTo>
                  <a:lnTo>
                    <a:pt x="18" y="174"/>
                  </a:lnTo>
                  <a:lnTo>
                    <a:pt x="20" y="196"/>
                  </a:lnTo>
                  <a:lnTo>
                    <a:pt x="14" y="235"/>
                  </a:lnTo>
                  <a:lnTo>
                    <a:pt x="18" y="256"/>
                  </a:lnTo>
                  <a:lnTo>
                    <a:pt x="12" y="281"/>
                  </a:lnTo>
                  <a:lnTo>
                    <a:pt x="17" y="311"/>
                  </a:lnTo>
                  <a:lnTo>
                    <a:pt x="0" y="331"/>
                  </a:lnTo>
                  <a:lnTo>
                    <a:pt x="27" y="365"/>
                  </a:lnTo>
                  <a:lnTo>
                    <a:pt x="29" y="385"/>
                  </a:lnTo>
                  <a:lnTo>
                    <a:pt x="44" y="411"/>
                  </a:lnTo>
                  <a:lnTo>
                    <a:pt x="64" y="403"/>
                  </a:lnTo>
                  <a:lnTo>
                    <a:pt x="100" y="425"/>
                  </a:lnTo>
                  <a:lnTo>
                    <a:pt x="119" y="454"/>
                  </a:lnTo>
                  <a:lnTo>
                    <a:pt x="189" y="474"/>
                  </a:lnTo>
                  <a:lnTo>
                    <a:pt x="214" y="499"/>
                  </a:lnTo>
                  <a:lnTo>
                    <a:pt x="244" y="482"/>
                  </a:lnTo>
                  <a:lnTo>
                    <a:pt x="288" y="457"/>
                  </a:lnTo>
                  <a:lnTo>
                    <a:pt x="464" y="547"/>
                  </a:lnTo>
                  <a:lnTo>
                    <a:pt x="642" y="637"/>
                  </a:lnTo>
                  <a:lnTo>
                    <a:pt x="642" y="617"/>
                  </a:lnTo>
                  <a:lnTo>
                    <a:pt x="693" y="617"/>
                  </a:lnTo>
                  <a:lnTo>
                    <a:pt x="689" y="523"/>
                  </a:lnTo>
                  <a:lnTo>
                    <a:pt x="681" y="350"/>
                  </a:lnTo>
                  <a:lnTo>
                    <a:pt x="670" y="183"/>
                  </a:lnTo>
                  <a:lnTo>
                    <a:pt x="655" y="145"/>
                  </a:lnTo>
                  <a:lnTo>
                    <a:pt x="663" y="116"/>
                  </a:lnTo>
                  <a:lnTo>
                    <a:pt x="655" y="96"/>
                  </a:lnTo>
                  <a:lnTo>
                    <a:pt x="669" y="73"/>
                  </a:lnTo>
                  <a:lnTo>
                    <a:pt x="669" y="7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6" name="Lesotho">
              <a:extLst>
                <a:ext uri="{FF2B5EF4-FFF2-40B4-BE49-F238E27FC236}">
                  <a16:creationId xmlns:a16="http://schemas.microsoft.com/office/drawing/2014/main" id="{1084DC30-A739-BE02-3E19-A583DACA1509}"/>
                </a:ext>
              </a:extLst>
            </p:cNvPr>
            <p:cNvSpPr>
              <a:spLocks/>
            </p:cNvSpPr>
            <p:nvPr/>
          </p:nvSpPr>
          <p:spPr bwMode="auto">
            <a:xfrm>
              <a:off x="7928866" y="5701637"/>
              <a:ext cx="161925" cy="147638"/>
            </a:xfrm>
            <a:custGeom>
              <a:avLst/>
              <a:gdLst>
                <a:gd name="T0" fmla="*/ 45 w 102"/>
                <a:gd name="T1" fmla="*/ 89 h 93"/>
                <a:gd name="T2" fmla="*/ 54 w 102"/>
                <a:gd name="T3" fmla="*/ 74 h 93"/>
                <a:gd name="T4" fmla="*/ 78 w 102"/>
                <a:gd name="T5" fmla="*/ 66 h 93"/>
                <a:gd name="T6" fmla="*/ 87 w 102"/>
                <a:gd name="T7" fmla="*/ 51 h 93"/>
                <a:gd name="T8" fmla="*/ 102 w 102"/>
                <a:gd name="T9" fmla="*/ 28 h 93"/>
                <a:gd name="T10" fmla="*/ 88 w 102"/>
                <a:gd name="T11" fmla="*/ 14 h 93"/>
                <a:gd name="T12" fmla="*/ 71 w 102"/>
                <a:gd name="T13" fmla="*/ 0 h 93"/>
                <a:gd name="T14" fmla="*/ 50 w 102"/>
                <a:gd name="T15" fmla="*/ 9 h 93"/>
                <a:gd name="T16" fmla="*/ 25 w 102"/>
                <a:gd name="T17" fmla="*/ 28 h 93"/>
                <a:gd name="T18" fmla="*/ 0 w 102"/>
                <a:gd name="T19" fmla="*/ 57 h 93"/>
                <a:gd name="T20" fmla="*/ 29 w 102"/>
                <a:gd name="T21" fmla="*/ 93 h 93"/>
                <a:gd name="T22" fmla="*/ 45 w 102"/>
                <a:gd name="T23" fmla="*/ 89 h 93"/>
                <a:gd name="T24" fmla="*/ 45 w 102"/>
                <a:gd name="T25"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93">
                  <a:moveTo>
                    <a:pt x="45" y="89"/>
                  </a:moveTo>
                  <a:lnTo>
                    <a:pt x="54" y="74"/>
                  </a:lnTo>
                  <a:lnTo>
                    <a:pt x="78" y="66"/>
                  </a:lnTo>
                  <a:lnTo>
                    <a:pt x="87" y="51"/>
                  </a:lnTo>
                  <a:lnTo>
                    <a:pt x="102" y="28"/>
                  </a:lnTo>
                  <a:lnTo>
                    <a:pt x="88" y="14"/>
                  </a:lnTo>
                  <a:lnTo>
                    <a:pt x="71" y="0"/>
                  </a:lnTo>
                  <a:lnTo>
                    <a:pt x="50" y="9"/>
                  </a:lnTo>
                  <a:lnTo>
                    <a:pt x="25" y="28"/>
                  </a:lnTo>
                  <a:lnTo>
                    <a:pt x="0" y="57"/>
                  </a:lnTo>
                  <a:lnTo>
                    <a:pt x="29" y="93"/>
                  </a:lnTo>
                  <a:lnTo>
                    <a:pt x="45" y="89"/>
                  </a:lnTo>
                  <a:lnTo>
                    <a:pt x="45" y="8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7" name="Morocco">
              <a:extLst>
                <a:ext uri="{FF2B5EF4-FFF2-40B4-BE49-F238E27FC236}">
                  <a16:creationId xmlns:a16="http://schemas.microsoft.com/office/drawing/2014/main" id="{1242ADC4-B515-5F90-29DC-353CB615C367}"/>
                </a:ext>
              </a:extLst>
            </p:cNvPr>
            <p:cNvSpPr>
              <a:spLocks/>
            </p:cNvSpPr>
            <p:nvPr/>
          </p:nvSpPr>
          <p:spPr bwMode="auto">
            <a:xfrm>
              <a:off x="4909441" y="896275"/>
              <a:ext cx="1104900" cy="1069975"/>
            </a:xfrm>
            <a:custGeom>
              <a:avLst/>
              <a:gdLst>
                <a:gd name="T0" fmla="*/ 635 w 696"/>
                <a:gd name="T1" fmla="*/ 27 h 674"/>
                <a:gd name="T2" fmla="*/ 551 w 696"/>
                <a:gd name="T3" fmla="*/ 21 h 674"/>
                <a:gd name="T4" fmla="*/ 495 w 696"/>
                <a:gd name="T5" fmla="*/ 0 h 674"/>
                <a:gd name="T6" fmla="*/ 453 w 696"/>
                <a:gd name="T7" fmla="*/ 78 h 674"/>
                <a:gd name="T8" fmla="*/ 378 w 696"/>
                <a:gd name="T9" fmla="*/ 119 h 674"/>
                <a:gd name="T10" fmla="*/ 343 w 696"/>
                <a:gd name="T11" fmla="*/ 176 h 674"/>
                <a:gd name="T12" fmla="*/ 335 w 696"/>
                <a:gd name="T13" fmla="*/ 275 h 674"/>
                <a:gd name="T14" fmla="*/ 275 w 696"/>
                <a:gd name="T15" fmla="*/ 326 h 674"/>
                <a:gd name="T16" fmla="*/ 200 w 696"/>
                <a:gd name="T17" fmla="*/ 364 h 674"/>
                <a:gd name="T18" fmla="*/ 178 w 696"/>
                <a:gd name="T19" fmla="*/ 382 h 674"/>
                <a:gd name="T20" fmla="*/ 119 w 696"/>
                <a:gd name="T21" fmla="*/ 447 h 674"/>
                <a:gd name="T22" fmla="*/ 101 w 696"/>
                <a:gd name="T23" fmla="*/ 501 h 674"/>
                <a:gd name="T24" fmla="*/ 74 w 696"/>
                <a:gd name="T25" fmla="*/ 536 h 674"/>
                <a:gd name="T26" fmla="*/ 32 w 696"/>
                <a:gd name="T27" fmla="*/ 600 h 674"/>
                <a:gd name="T28" fmla="*/ 20 w 696"/>
                <a:gd name="T29" fmla="*/ 640 h 674"/>
                <a:gd name="T30" fmla="*/ 0 w 696"/>
                <a:gd name="T31" fmla="*/ 674 h 674"/>
                <a:gd name="T32" fmla="*/ 99 w 696"/>
                <a:gd name="T33" fmla="*/ 671 h 674"/>
                <a:gd name="T34" fmla="*/ 123 w 696"/>
                <a:gd name="T35" fmla="*/ 633 h 674"/>
                <a:gd name="T36" fmla="*/ 201 w 696"/>
                <a:gd name="T37" fmla="*/ 517 h 674"/>
                <a:gd name="T38" fmla="*/ 236 w 696"/>
                <a:gd name="T39" fmla="*/ 454 h 674"/>
                <a:gd name="T40" fmla="*/ 288 w 696"/>
                <a:gd name="T41" fmla="*/ 413 h 674"/>
                <a:gd name="T42" fmla="*/ 324 w 696"/>
                <a:gd name="T43" fmla="*/ 419 h 674"/>
                <a:gd name="T44" fmla="*/ 364 w 696"/>
                <a:gd name="T45" fmla="*/ 406 h 674"/>
                <a:gd name="T46" fmla="*/ 364 w 696"/>
                <a:gd name="T47" fmla="*/ 381 h 674"/>
                <a:gd name="T48" fmla="*/ 371 w 696"/>
                <a:gd name="T49" fmla="*/ 325 h 674"/>
                <a:gd name="T50" fmla="*/ 484 w 696"/>
                <a:gd name="T51" fmla="*/ 284 h 674"/>
                <a:gd name="T52" fmla="*/ 537 w 696"/>
                <a:gd name="T53" fmla="*/ 247 h 674"/>
                <a:gd name="T54" fmla="*/ 589 w 696"/>
                <a:gd name="T55" fmla="*/ 195 h 674"/>
                <a:gd name="T56" fmla="*/ 633 w 696"/>
                <a:gd name="T57" fmla="*/ 174 h 674"/>
                <a:gd name="T58" fmla="*/ 696 w 696"/>
                <a:gd name="T59" fmla="*/ 147 h 674"/>
                <a:gd name="T60" fmla="*/ 671 w 696"/>
                <a:gd name="T61" fmla="*/ 87 h 674"/>
                <a:gd name="T62" fmla="*/ 653 w 696"/>
                <a:gd name="T63" fmla="*/ 2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6" h="674">
                  <a:moveTo>
                    <a:pt x="653" y="28"/>
                  </a:moveTo>
                  <a:lnTo>
                    <a:pt x="635" y="27"/>
                  </a:lnTo>
                  <a:lnTo>
                    <a:pt x="591" y="17"/>
                  </a:lnTo>
                  <a:lnTo>
                    <a:pt x="551" y="21"/>
                  </a:lnTo>
                  <a:lnTo>
                    <a:pt x="526" y="0"/>
                  </a:lnTo>
                  <a:lnTo>
                    <a:pt x="495" y="0"/>
                  </a:lnTo>
                  <a:lnTo>
                    <a:pt x="482" y="29"/>
                  </a:lnTo>
                  <a:lnTo>
                    <a:pt x="453" y="78"/>
                  </a:lnTo>
                  <a:lnTo>
                    <a:pt x="421" y="98"/>
                  </a:lnTo>
                  <a:lnTo>
                    <a:pt x="378" y="119"/>
                  </a:lnTo>
                  <a:lnTo>
                    <a:pt x="349" y="151"/>
                  </a:lnTo>
                  <a:lnTo>
                    <a:pt x="343" y="176"/>
                  </a:lnTo>
                  <a:lnTo>
                    <a:pt x="326" y="216"/>
                  </a:lnTo>
                  <a:lnTo>
                    <a:pt x="335" y="275"/>
                  </a:lnTo>
                  <a:lnTo>
                    <a:pt x="297" y="314"/>
                  </a:lnTo>
                  <a:lnTo>
                    <a:pt x="275" y="326"/>
                  </a:lnTo>
                  <a:lnTo>
                    <a:pt x="241" y="358"/>
                  </a:lnTo>
                  <a:lnTo>
                    <a:pt x="200" y="364"/>
                  </a:lnTo>
                  <a:lnTo>
                    <a:pt x="178" y="382"/>
                  </a:lnTo>
                  <a:lnTo>
                    <a:pt x="178" y="382"/>
                  </a:lnTo>
                  <a:lnTo>
                    <a:pt x="148" y="430"/>
                  </a:lnTo>
                  <a:lnTo>
                    <a:pt x="119" y="447"/>
                  </a:lnTo>
                  <a:lnTo>
                    <a:pt x="103" y="476"/>
                  </a:lnTo>
                  <a:lnTo>
                    <a:pt x="101" y="501"/>
                  </a:lnTo>
                  <a:lnTo>
                    <a:pt x="88" y="528"/>
                  </a:lnTo>
                  <a:lnTo>
                    <a:pt x="74" y="536"/>
                  </a:lnTo>
                  <a:lnTo>
                    <a:pt x="48" y="566"/>
                  </a:lnTo>
                  <a:lnTo>
                    <a:pt x="32" y="600"/>
                  </a:lnTo>
                  <a:lnTo>
                    <a:pt x="35" y="615"/>
                  </a:lnTo>
                  <a:lnTo>
                    <a:pt x="20" y="640"/>
                  </a:lnTo>
                  <a:lnTo>
                    <a:pt x="2" y="652"/>
                  </a:lnTo>
                  <a:lnTo>
                    <a:pt x="0" y="674"/>
                  </a:lnTo>
                  <a:lnTo>
                    <a:pt x="0" y="674"/>
                  </a:lnTo>
                  <a:lnTo>
                    <a:pt x="99" y="671"/>
                  </a:lnTo>
                  <a:lnTo>
                    <a:pt x="105" y="654"/>
                  </a:lnTo>
                  <a:lnTo>
                    <a:pt x="123" y="633"/>
                  </a:lnTo>
                  <a:lnTo>
                    <a:pt x="139" y="567"/>
                  </a:lnTo>
                  <a:lnTo>
                    <a:pt x="201" y="517"/>
                  </a:lnTo>
                  <a:lnTo>
                    <a:pt x="223" y="458"/>
                  </a:lnTo>
                  <a:lnTo>
                    <a:pt x="236" y="454"/>
                  </a:lnTo>
                  <a:lnTo>
                    <a:pt x="252" y="417"/>
                  </a:lnTo>
                  <a:lnTo>
                    <a:pt x="288" y="413"/>
                  </a:lnTo>
                  <a:lnTo>
                    <a:pt x="304" y="419"/>
                  </a:lnTo>
                  <a:lnTo>
                    <a:pt x="324" y="419"/>
                  </a:lnTo>
                  <a:lnTo>
                    <a:pt x="337" y="408"/>
                  </a:lnTo>
                  <a:lnTo>
                    <a:pt x="364" y="406"/>
                  </a:lnTo>
                  <a:lnTo>
                    <a:pt x="364" y="381"/>
                  </a:lnTo>
                  <a:lnTo>
                    <a:pt x="364" y="381"/>
                  </a:lnTo>
                  <a:lnTo>
                    <a:pt x="370" y="381"/>
                  </a:lnTo>
                  <a:lnTo>
                    <a:pt x="371" y="325"/>
                  </a:lnTo>
                  <a:lnTo>
                    <a:pt x="442" y="291"/>
                  </a:lnTo>
                  <a:lnTo>
                    <a:pt x="484" y="284"/>
                  </a:lnTo>
                  <a:lnTo>
                    <a:pt x="519" y="271"/>
                  </a:lnTo>
                  <a:lnTo>
                    <a:pt x="537" y="247"/>
                  </a:lnTo>
                  <a:lnTo>
                    <a:pt x="587" y="230"/>
                  </a:lnTo>
                  <a:lnTo>
                    <a:pt x="589" y="195"/>
                  </a:lnTo>
                  <a:lnTo>
                    <a:pt x="613" y="190"/>
                  </a:lnTo>
                  <a:lnTo>
                    <a:pt x="633" y="174"/>
                  </a:lnTo>
                  <a:lnTo>
                    <a:pt x="689" y="165"/>
                  </a:lnTo>
                  <a:lnTo>
                    <a:pt x="696" y="147"/>
                  </a:lnTo>
                  <a:lnTo>
                    <a:pt x="685" y="137"/>
                  </a:lnTo>
                  <a:lnTo>
                    <a:pt x="671" y="87"/>
                  </a:lnTo>
                  <a:lnTo>
                    <a:pt x="669" y="59"/>
                  </a:lnTo>
                  <a:lnTo>
                    <a:pt x="653" y="28"/>
                  </a:lnTo>
                  <a:lnTo>
                    <a:pt x="653" y="2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8" name="Madagascar">
              <a:extLst>
                <a:ext uri="{FF2B5EF4-FFF2-40B4-BE49-F238E27FC236}">
                  <a16:creationId xmlns:a16="http://schemas.microsoft.com/office/drawing/2014/main" id="{DB59B6B1-A71A-64C3-FAE9-F35BF1E2E1F1}"/>
                </a:ext>
              </a:extLst>
            </p:cNvPr>
            <p:cNvSpPr>
              <a:spLocks/>
            </p:cNvSpPr>
            <p:nvPr/>
          </p:nvSpPr>
          <p:spPr bwMode="auto">
            <a:xfrm>
              <a:off x="9090916" y="4463387"/>
              <a:ext cx="541338" cy="1009650"/>
            </a:xfrm>
            <a:custGeom>
              <a:avLst/>
              <a:gdLst>
                <a:gd name="T0" fmla="*/ 327 w 341"/>
                <a:gd name="T1" fmla="*/ 70 h 636"/>
                <a:gd name="T2" fmla="*/ 318 w 341"/>
                <a:gd name="T3" fmla="*/ 40 h 636"/>
                <a:gd name="T4" fmla="*/ 307 w 341"/>
                <a:gd name="T5" fmla="*/ 19 h 636"/>
                <a:gd name="T6" fmla="*/ 292 w 341"/>
                <a:gd name="T7" fmla="*/ 0 h 636"/>
                <a:gd name="T8" fmla="*/ 277 w 341"/>
                <a:gd name="T9" fmla="*/ 20 h 636"/>
                <a:gd name="T10" fmla="*/ 274 w 341"/>
                <a:gd name="T11" fmla="*/ 49 h 636"/>
                <a:gd name="T12" fmla="*/ 249 w 341"/>
                <a:gd name="T13" fmla="*/ 81 h 636"/>
                <a:gd name="T14" fmla="*/ 229 w 341"/>
                <a:gd name="T15" fmla="*/ 75 h 636"/>
                <a:gd name="T16" fmla="*/ 234 w 341"/>
                <a:gd name="T17" fmla="*/ 96 h 636"/>
                <a:gd name="T18" fmla="*/ 219 w 341"/>
                <a:gd name="T19" fmla="*/ 119 h 636"/>
                <a:gd name="T20" fmla="*/ 182 w 341"/>
                <a:gd name="T21" fmla="*/ 148 h 636"/>
                <a:gd name="T22" fmla="*/ 155 w 341"/>
                <a:gd name="T23" fmla="*/ 175 h 636"/>
                <a:gd name="T24" fmla="*/ 135 w 341"/>
                <a:gd name="T25" fmla="*/ 175 h 636"/>
                <a:gd name="T26" fmla="*/ 119 w 341"/>
                <a:gd name="T27" fmla="*/ 184 h 636"/>
                <a:gd name="T28" fmla="*/ 93 w 341"/>
                <a:gd name="T29" fmla="*/ 193 h 636"/>
                <a:gd name="T30" fmla="*/ 71 w 341"/>
                <a:gd name="T31" fmla="*/ 196 h 636"/>
                <a:gd name="T32" fmla="*/ 63 w 341"/>
                <a:gd name="T33" fmla="*/ 226 h 636"/>
                <a:gd name="T34" fmla="*/ 46 w 341"/>
                <a:gd name="T35" fmla="*/ 252 h 636"/>
                <a:gd name="T36" fmla="*/ 47 w 341"/>
                <a:gd name="T37" fmla="*/ 295 h 636"/>
                <a:gd name="T38" fmla="*/ 53 w 341"/>
                <a:gd name="T39" fmla="*/ 324 h 636"/>
                <a:gd name="T40" fmla="*/ 62 w 341"/>
                <a:gd name="T41" fmla="*/ 347 h 636"/>
                <a:gd name="T42" fmla="*/ 56 w 341"/>
                <a:gd name="T43" fmla="*/ 377 h 636"/>
                <a:gd name="T44" fmla="*/ 32 w 341"/>
                <a:gd name="T45" fmla="*/ 412 h 636"/>
                <a:gd name="T46" fmla="*/ 31 w 341"/>
                <a:gd name="T47" fmla="*/ 428 h 636"/>
                <a:gd name="T48" fmla="*/ 10 w 341"/>
                <a:gd name="T49" fmla="*/ 436 h 636"/>
                <a:gd name="T50" fmla="*/ 0 w 341"/>
                <a:gd name="T51" fmla="*/ 470 h 636"/>
                <a:gd name="T52" fmla="*/ 2 w 341"/>
                <a:gd name="T53" fmla="*/ 504 h 636"/>
                <a:gd name="T54" fmla="*/ 14 w 341"/>
                <a:gd name="T55" fmla="*/ 541 h 636"/>
                <a:gd name="T56" fmla="*/ 14 w 341"/>
                <a:gd name="T57" fmla="*/ 583 h 636"/>
                <a:gd name="T58" fmla="*/ 23 w 341"/>
                <a:gd name="T59" fmla="*/ 608 h 636"/>
                <a:gd name="T60" fmla="*/ 57 w 341"/>
                <a:gd name="T61" fmla="*/ 625 h 636"/>
                <a:gd name="T62" fmla="*/ 81 w 341"/>
                <a:gd name="T63" fmla="*/ 636 h 636"/>
                <a:gd name="T64" fmla="*/ 120 w 341"/>
                <a:gd name="T65" fmla="*/ 617 h 636"/>
                <a:gd name="T66" fmla="*/ 156 w 341"/>
                <a:gd name="T67" fmla="*/ 606 h 636"/>
                <a:gd name="T68" fmla="*/ 181 w 341"/>
                <a:gd name="T69" fmla="*/ 551 h 636"/>
                <a:gd name="T70" fmla="*/ 203 w 341"/>
                <a:gd name="T71" fmla="*/ 485 h 636"/>
                <a:gd name="T72" fmla="*/ 238 w 341"/>
                <a:gd name="T73" fmla="*/ 397 h 636"/>
                <a:gd name="T74" fmla="*/ 264 w 341"/>
                <a:gd name="T75" fmla="*/ 332 h 636"/>
                <a:gd name="T76" fmla="*/ 285 w 341"/>
                <a:gd name="T77" fmla="*/ 277 h 636"/>
                <a:gd name="T78" fmla="*/ 292 w 341"/>
                <a:gd name="T79" fmla="*/ 237 h 636"/>
                <a:gd name="T80" fmla="*/ 304 w 341"/>
                <a:gd name="T81" fmla="*/ 226 h 636"/>
                <a:gd name="T82" fmla="*/ 310 w 341"/>
                <a:gd name="T83" fmla="*/ 207 h 636"/>
                <a:gd name="T84" fmla="*/ 303 w 341"/>
                <a:gd name="T85" fmla="*/ 172 h 636"/>
                <a:gd name="T86" fmla="*/ 313 w 341"/>
                <a:gd name="T87" fmla="*/ 158 h 636"/>
                <a:gd name="T88" fmla="*/ 325 w 341"/>
                <a:gd name="T89" fmla="*/ 186 h 636"/>
                <a:gd name="T90" fmla="*/ 334 w 341"/>
                <a:gd name="T91" fmla="*/ 171 h 636"/>
                <a:gd name="T92" fmla="*/ 341 w 341"/>
                <a:gd name="T93" fmla="*/ 149 h 636"/>
                <a:gd name="T94" fmla="*/ 331 w 341"/>
                <a:gd name="T95" fmla="*/ 127 h 636"/>
                <a:gd name="T96" fmla="*/ 327 w 341"/>
                <a:gd name="T97" fmla="*/ 7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636">
                  <a:moveTo>
                    <a:pt x="327" y="70"/>
                  </a:moveTo>
                  <a:lnTo>
                    <a:pt x="318" y="40"/>
                  </a:lnTo>
                  <a:lnTo>
                    <a:pt x="307" y="19"/>
                  </a:lnTo>
                  <a:lnTo>
                    <a:pt x="292" y="0"/>
                  </a:lnTo>
                  <a:lnTo>
                    <a:pt x="277" y="20"/>
                  </a:lnTo>
                  <a:lnTo>
                    <a:pt x="274" y="49"/>
                  </a:lnTo>
                  <a:lnTo>
                    <a:pt x="249" y="81"/>
                  </a:lnTo>
                  <a:lnTo>
                    <a:pt x="229" y="75"/>
                  </a:lnTo>
                  <a:lnTo>
                    <a:pt x="234" y="96"/>
                  </a:lnTo>
                  <a:lnTo>
                    <a:pt x="219" y="119"/>
                  </a:lnTo>
                  <a:lnTo>
                    <a:pt x="182" y="148"/>
                  </a:lnTo>
                  <a:lnTo>
                    <a:pt x="155" y="175"/>
                  </a:lnTo>
                  <a:lnTo>
                    <a:pt x="135" y="175"/>
                  </a:lnTo>
                  <a:lnTo>
                    <a:pt x="119" y="184"/>
                  </a:lnTo>
                  <a:lnTo>
                    <a:pt x="93" y="193"/>
                  </a:lnTo>
                  <a:lnTo>
                    <a:pt x="71" y="196"/>
                  </a:lnTo>
                  <a:lnTo>
                    <a:pt x="63" y="226"/>
                  </a:lnTo>
                  <a:lnTo>
                    <a:pt x="46" y="252"/>
                  </a:lnTo>
                  <a:lnTo>
                    <a:pt x="47" y="295"/>
                  </a:lnTo>
                  <a:lnTo>
                    <a:pt x="53" y="324"/>
                  </a:lnTo>
                  <a:lnTo>
                    <a:pt x="62" y="347"/>
                  </a:lnTo>
                  <a:lnTo>
                    <a:pt x="56" y="377"/>
                  </a:lnTo>
                  <a:lnTo>
                    <a:pt x="32" y="412"/>
                  </a:lnTo>
                  <a:lnTo>
                    <a:pt x="31" y="428"/>
                  </a:lnTo>
                  <a:lnTo>
                    <a:pt x="10" y="436"/>
                  </a:lnTo>
                  <a:lnTo>
                    <a:pt x="0" y="470"/>
                  </a:lnTo>
                  <a:lnTo>
                    <a:pt x="2" y="504"/>
                  </a:lnTo>
                  <a:lnTo>
                    <a:pt x="14" y="541"/>
                  </a:lnTo>
                  <a:lnTo>
                    <a:pt x="14" y="583"/>
                  </a:lnTo>
                  <a:lnTo>
                    <a:pt x="23" y="608"/>
                  </a:lnTo>
                  <a:lnTo>
                    <a:pt x="57" y="625"/>
                  </a:lnTo>
                  <a:lnTo>
                    <a:pt x="81" y="636"/>
                  </a:lnTo>
                  <a:lnTo>
                    <a:pt x="120" y="617"/>
                  </a:lnTo>
                  <a:lnTo>
                    <a:pt x="156" y="606"/>
                  </a:lnTo>
                  <a:lnTo>
                    <a:pt x="181" y="551"/>
                  </a:lnTo>
                  <a:lnTo>
                    <a:pt x="203" y="485"/>
                  </a:lnTo>
                  <a:lnTo>
                    <a:pt x="238" y="397"/>
                  </a:lnTo>
                  <a:lnTo>
                    <a:pt x="264" y="332"/>
                  </a:lnTo>
                  <a:lnTo>
                    <a:pt x="285" y="277"/>
                  </a:lnTo>
                  <a:lnTo>
                    <a:pt x="292" y="237"/>
                  </a:lnTo>
                  <a:lnTo>
                    <a:pt x="304" y="226"/>
                  </a:lnTo>
                  <a:lnTo>
                    <a:pt x="310" y="207"/>
                  </a:lnTo>
                  <a:lnTo>
                    <a:pt x="303" y="172"/>
                  </a:lnTo>
                  <a:lnTo>
                    <a:pt x="313" y="158"/>
                  </a:lnTo>
                  <a:lnTo>
                    <a:pt x="325" y="186"/>
                  </a:lnTo>
                  <a:lnTo>
                    <a:pt x="334" y="171"/>
                  </a:lnTo>
                  <a:lnTo>
                    <a:pt x="341" y="149"/>
                  </a:lnTo>
                  <a:lnTo>
                    <a:pt x="331" y="127"/>
                  </a:lnTo>
                  <a:lnTo>
                    <a:pt x="327" y="7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9" name="Mali">
              <a:extLst>
                <a:ext uri="{FF2B5EF4-FFF2-40B4-BE49-F238E27FC236}">
                  <a16:creationId xmlns:a16="http://schemas.microsoft.com/office/drawing/2014/main" id="{FCEB9ECD-B510-3C26-C9FC-22E20BFA11F4}"/>
                </a:ext>
              </a:extLst>
            </p:cNvPr>
            <p:cNvSpPr>
              <a:spLocks/>
            </p:cNvSpPr>
            <p:nvPr/>
          </p:nvSpPr>
          <p:spPr bwMode="auto">
            <a:xfrm>
              <a:off x="5236466" y="1701137"/>
              <a:ext cx="1154113" cy="1109663"/>
            </a:xfrm>
            <a:custGeom>
              <a:avLst/>
              <a:gdLst>
                <a:gd name="T0" fmla="*/ 677 w 727"/>
                <a:gd name="T1" fmla="*/ 278 h 699"/>
                <a:gd name="T2" fmla="*/ 657 w 727"/>
                <a:gd name="T3" fmla="*/ 240 h 699"/>
                <a:gd name="T4" fmla="*/ 618 w 727"/>
                <a:gd name="T5" fmla="*/ 206 h 699"/>
                <a:gd name="T6" fmla="*/ 324 w 727"/>
                <a:gd name="T7" fmla="*/ 0 h 699"/>
                <a:gd name="T8" fmla="*/ 277 w 727"/>
                <a:gd name="T9" fmla="*/ 204 h 699"/>
                <a:gd name="T10" fmla="*/ 304 w 727"/>
                <a:gd name="T11" fmla="*/ 413 h 699"/>
                <a:gd name="T12" fmla="*/ 117 w 727"/>
                <a:gd name="T13" fmla="*/ 446 h 699"/>
                <a:gd name="T14" fmla="*/ 93 w 727"/>
                <a:gd name="T15" fmla="*/ 454 h 699"/>
                <a:gd name="T16" fmla="*/ 37 w 727"/>
                <a:gd name="T17" fmla="*/ 449 h 699"/>
                <a:gd name="T18" fmla="*/ 15 w 727"/>
                <a:gd name="T19" fmla="*/ 478 h 699"/>
                <a:gd name="T20" fmla="*/ 2 w 727"/>
                <a:gd name="T21" fmla="*/ 516 h 699"/>
                <a:gd name="T22" fmla="*/ 26 w 727"/>
                <a:gd name="T23" fmla="*/ 556 h 699"/>
                <a:gd name="T24" fmla="*/ 28 w 727"/>
                <a:gd name="T25" fmla="*/ 589 h 699"/>
                <a:gd name="T26" fmla="*/ 37 w 727"/>
                <a:gd name="T27" fmla="*/ 606 h 699"/>
                <a:gd name="T28" fmla="*/ 57 w 727"/>
                <a:gd name="T29" fmla="*/ 601 h 699"/>
                <a:gd name="T30" fmla="*/ 88 w 727"/>
                <a:gd name="T31" fmla="*/ 617 h 699"/>
                <a:gd name="T32" fmla="*/ 114 w 727"/>
                <a:gd name="T33" fmla="*/ 600 h 699"/>
                <a:gd name="T34" fmla="*/ 133 w 727"/>
                <a:gd name="T35" fmla="*/ 595 h 699"/>
                <a:gd name="T36" fmla="*/ 149 w 727"/>
                <a:gd name="T37" fmla="*/ 619 h 699"/>
                <a:gd name="T38" fmla="*/ 158 w 727"/>
                <a:gd name="T39" fmla="*/ 650 h 699"/>
                <a:gd name="T40" fmla="*/ 165 w 727"/>
                <a:gd name="T41" fmla="*/ 662 h 699"/>
                <a:gd name="T42" fmla="*/ 168 w 727"/>
                <a:gd name="T43" fmla="*/ 680 h 699"/>
                <a:gd name="T44" fmla="*/ 187 w 727"/>
                <a:gd name="T45" fmla="*/ 690 h 699"/>
                <a:gd name="T46" fmla="*/ 234 w 727"/>
                <a:gd name="T47" fmla="*/ 697 h 699"/>
                <a:gd name="T48" fmla="*/ 250 w 727"/>
                <a:gd name="T49" fmla="*/ 684 h 699"/>
                <a:gd name="T50" fmla="*/ 269 w 727"/>
                <a:gd name="T51" fmla="*/ 699 h 699"/>
                <a:gd name="T52" fmla="*/ 299 w 727"/>
                <a:gd name="T53" fmla="*/ 686 h 699"/>
                <a:gd name="T54" fmla="*/ 308 w 727"/>
                <a:gd name="T55" fmla="*/ 639 h 699"/>
                <a:gd name="T56" fmla="*/ 342 w 727"/>
                <a:gd name="T57" fmla="*/ 584 h 699"/>
                <a:gd name="T58" fmla="*/ 361 w 727"/>
                <a:gd name="T59" fmla="*/ 541 h 699"/>
                <a:gd name="T60" fmla="*/ 401 w 727"/>
                <a:gd name="T61" fmla="*/ 538 h 699"/>
                <a:gd name="T62" fmla="*/ 441 w 727"/>
                <a:gd name="T63" fmla="*/ 504 h 699"/>
                <a:gd name="T64" fmla="*/ 491 w 727"/>
                <a:gd name="T65" fmla="*/ 470 h 699"/>
                <a:gd name="T66" fmla="*/ 527 w 727"/>
                <a:gd name="T67" fmla="*/ 472 h 699"/>
                <a:gd name="T68" fmla="*/ 583 w 727"/>
                <a:gd name="T69" fmla="*/ 470 h 699"/>
                <a:gd name="T70" fmla="*/ 660 w 727"/>
                <a:gd name="T71" fmla="*/ 449 h 699"/>
                <a:gd name="T72" fmla="*/ 702 w 727"/>
                <a:gd name="T73" fmla="*/ 414 h 699"/>
                <a:gd name="T74" fmla="*/ 726 w 727"/>
                <a:gd name="T75" fmla="*/ 274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7" h="699">
                  <a:moveTo>
                    <a:pt x="726" y="274"/>
                  </a:moveTo>
                  <a:lnTo>
                    <a:pt x="677" y="278"/>
                  </a:lnTo>
                  <a:lnTo>
                    <a:pt x="677" y="248"/>
                  </a:lnTo>
                  <a:lnTo>
                    <a:pt x="657" y="240"/>
                  </a:lnTo>
                  <a:lnTo>
                    <a:pt x="629" y="227"/>
                  </a:lnTo>
                  <a:lnTo>
                    <a:pt x="618" y="206"/>
                  </a:lnTo>
                  <a:lnTo>
                    <a:pt x="470" y="103"/>
                  </a:lnTo>
                  <a:lnTo>
                    <a:pt x="324" y="0"/>
                  </a:lnTo>
                  <a:lnTo>
                    <a:pt x="258" y="1"/>
                  </a:lnTo>
                  <a:lnTo>
                    <a:pt x="277" y="204"/>
                  </a:lnTo>
                  <a:lnTo>
                    <a:pt x="297" y="407"/>
                  </a:lnTo>
                  <a:lnTo>
                    <a:pt x="304" y="413"/>
                  </a:lnTo>
                  <a:lnTo>
                    <a:pt x="294" y="445"/>
                  </a:lnTo>
                  <a:lnTo>
                    <a:pt x="117" y="446"/>
                  </a:lnTo>
                  <a:lnTo>
                    <a:pt x="110" y="456"/>
                  </a:lnTo>
                  <a:lnTo>
                    <a:pt x="93" y="454"/>
                  </a:lnTo>
                  <a:lnTo>
                    <a:pt x="68" y="463"/>
                  </a:lnTo>
                  <a:lnTo>
                    <a:pt x="37" y="449"/>
                  </a:lnTo>
                  <a:lnTo>
                    <a:pt x="23" y="451"/>
                  </a:lnTo>
                  <a:lnTo>
                    <a:pt x="15" y="478"/>
                  </a:lnTo>
                  <a:lnTo>
                    <a:pt x="0" y="487"/>
                  </a:lnTo>
                  <a:lnTo>
                    <a:pt x="2" y="516"/>
                  </a:lnTo>
                  <a:lnTo>
                    <a:pt x="10" y="543"/>
                  </a:lnTo>
                  <a:lnTo>
                    <a:pt x="26" y="556"/>
                  </a:lnTo>
                  <a:lnTo>
                    <a:pt x="30" y="574"/>
                  </a:lnTo>
                  <a:lnTo>
                    <a:pt x="28" y="589"/>
                  </a:lnTo>
                  <a:lnTo>
                    <a:pt x="30" y="606"/>
                  </a:lnTo>
                  <a:lnTo>
                    <a:pt x="37" y="606"/>
                  </a:lnTo>
                  <a:lnTo>
                    <a:pt x="49" y="600"/>
                  </a:lnTo>
                  <a:lnTo>
                    <a:pt x="57" y="601"/>
                  </a:lnTo>
                  <a:lnTo>
                    <a:pt x="68" y="613"/>
                  </a:lnTo>
                  <a:lnTo>
                    <a:pt x="88" y="617"/>
                  </a:lnTo>
                  <a:lnTo>
                    <a:pt x="99" y="607"/>
                  </a:lnTo>
                  <a:lnTo>
                    <a:pt x="114" y="600"/>
                  </a:lnTo>
                  <a:lnTo>
                    <a:pt x="125" y="594"/>
                  </a:lnTo>
                  <a:lnTo>
                    <a:pt x="133" y="595"/>
                  </a:lnTo>
                  <a:lnTo>
                    <a:pt x="143" y="605"/>
                  </a:lnTo>
                  <a:lnTo>
                    <a:pt x="149" y="619"/>
                  </a:lnTo>
                  <a:lnTo>
                    <a:pt x="167" y="639"/>
                  </a:lnTo>
                  <a:lnTo>
                    <a:pt x="158" y="650"/>
                  </a:lnTo>
                  <a:lnTo>
                    <a:pt x="155" y="666"/>
                  </a:lnTo>
                  <a:lnTo>
                    <a:pt x="165" y="662"/>
                  </a:lnTo>
                  <a:lnTo>
                    <a:pt x="171" y="667"/>
                  </a:lnTo>
                  <a:lnTo>
                    <a:pt x="168" y="680"/>
                  </a:lnTo>
                  <a:lnTo>
                    <a:pt x="182" y="694"/>
                  </a:lnTo>
                  <a:lnTo>
                    <a:pt x="187" y="690"/>
                  </a:lnTo>
                  <a:lnTo>
                    <a:pt x="200" y="697"/>
                  </a:lnTo>
                  <a:lnTo>
                    <a:pt x="234" y="697"/>
                  </a:lnTo>
                  <a:lnTo>
                    <a:pt x="242" y="684"/>
                  </a:lnTo>
                  <a:lnTo>
                    <a:pt x="250" y="684"/>
                  </a:lnTo>
                  <a:lnTo>
                    <a:pt x="263" y="679"/>
                  </a:lnTo>
                  <a:lnTo>
                    <a:pt x="269" y="699"/>
                  </a:lnTo>
                  <a:lnTo>
                    <a:pt x="280" y="694"/>
                  </a:lnTo>
                  <a:lnTo>
                    <a:pt x="299" y="686"/>
                  </a:lnTo>
                  <a:lnTo>
                    <a:pt x="295" y="659"/>
                  </a:lnTo>
                  <a:lnTo>
                    <a:pt x="308" y="639"/>
                  </a:lnTo>
                  <a:lnTo>
                    <a:pt x="307" y="623"/>
                  </a:lnTo>
                  <a:lnTo>
                    <a:pt x="342" y="584"/>
                  </a:lnTo>
                  <a:lnTo>
                    <a:pt x="349" y="552"/>
                  </a:lnTo>
                  <a:lnTo>
                    <a:pt x="361" y="541"/>
                  </a:lnTo>
                  <a:lnTo>
                    <a:pt x="383" y="547"/>
                  </a:lnTo>
                  <a:lnTo>
                    <a:pt x="401" y="538"/>
                  </a:lnTo>
                  <a:lnTo>
                    <a:pt x="407" y="526"/>
                  </a:lnTo>
                  <a:lnTo>
                    <a:pt x="441" y="504"/>
                  </a:lnTo>
                  <a:lnTo>
                    <a:pt x="450" y="490"/>
                  </a:lnTo>
                  <a:lnTo>
                    <a:pt x="491" y="470"/>
                  </a:lnTo>
                  <a:lnTo>
                    <a:pt x="516" y="464"/>
                  </a:lnTo>
                  <a:lnTo>
                    <a:pt x="527" y="472"/>
                  </a:lnTo>
                  <a:lnTo>
                    <a:pt x="555" y="472"/>
                  </a:lnTo>
                  <a:lnTo>
                    <a:pt x="583" y="470"/>
                  </a:lnTo>
                  <a:lnTo>
                    <a:pt x="600" y="454"/>
                  </a:lnTo>
                  <a:lnTo>
                    <a:pt x="660" y="449"/>
                  </a:lnTo>
                  <a:lnTo>
                    <a:pt x="699" y="442"/>
                  </a:lnTo>
                  <a:lnTo>
                    <a:pt x="702" y="414"/>
                  </a:lnTo>
                  <a:lnTo>
                    <a:pt x="727" y="382"/>
                  </a:lnTo>
                  <a:lnTo>
                    <a:pt x="726" y="274"/>
                  </a:lnTo>
                  <a:lnTo>
                    <a:pt x="726" y="2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0" name="Mozambique">
              <a:extLst>
                <a:ext uri="{FF2B5EF4-FFF2-40B4-BE49-F238E27FC236}">
                  <a16:creationId xmlns:a16="http://schemas.microsoft.com/office/drawing/2014/main" id="{032CAF15-8A73-1A78-0FEC-569F4FB52D26}"/>
                </a:ext>
              </a:extLst>
            </p:cNvPr>
            <p:cNvSpPr>
              <a:spLocks/>
            </p:cNvSpPr>
            <p:nvPr/>
          </p:nvSpPr>
          <p:spPr bwMode="auto">
            <a:xfrm>
              <a:off x="8209854" y="4333212"/>
              <a:ext cx="742950" cy="1225550"/>
            </a:xfrm>
            <a:custGeom>
              <a:avLst/>
              <a:gdLst>
                <a:gd name="T0" fmla="*/ 457 w 468"/>
                <a:gd name="T1" fmla="*/ 0 h 772"/>
                <a:gd name="T2" fmla="*/ 457 w 468"/>
                <a:gd name="T3" fmla="*/ 0 h 772"/>
                <a:gd name="T4" fmla="*/ 371 w 468"/>
                <a:gd name="T5" fmla="*/ 46 h 772"/>
                <a:gd name="T6" fmla="*/ 328 w 468"/>
                <a:gd name="T7" fmla="*/ 60 h 772"/>
                <a:gd name="T8" fmla="*/ 285 w 468"/>
                <a:gd name="T9" fmla="*/ 66 h 772"/>
                <a:gd name="T10" fmla="*/ 216 w 468"/>
                <a:gd name="T11" fmla="*/ 55 h 772"/>
                <a:gd name="T12" fmla="*/ 208 w 468"/>
                <a:gd name="T13" fmla="*/ 153 h 772"/>
                <a:gd name="T14" fmla="*/ 226 w 468"/>
                <a:gd name="T15" fmla="*/ 168 h 772"/>
                <a:gd name="T16" fmla="*/ 245 w 468"/>
                <a:gd name="T17" fmla="*/ 263 h 772"/>
                <a:gd name="T18" fmla="*/ 210 w 468"/>
                <a:gd name="T19" fmla="*/ 305 h 772"/>
                <a:gd name="T20" fmla="*/ 181 w 468"/>
                <a:gd name="T21" fmla="*/ 243 h 772"/>
                <a:gd name="T22" fmla="*/ 189 w 468"/>
                <a:gd name="T23" fmla="*/ 202 h 772"/>
                <a:gd name="T24" fmla="*/ 160 w 468"/>
                <a:gd name="T25" fmla="*/ 195 h 772"/>
                <a:gd name="T26" fmla="*/ 0 w 468"/>
                <a:gd name="T27" fmla="*/ 211 h 772"/>
                <a:gd name="T28" fmla="*/ 5 w 468"/>
                <a:gd name="T29" fmla="*/ 262 h 772"/>
                <a:gd name="T30" fmla="*/ 61 w 468"/>
                <a:gd name="T31" fmla="*/ 271 h 772"/>
                <a:gd name="T32" fmla="*/ 91 w 468"/>
                <a:gd name="T33" fmla="*/ 285 h 772"/>
                <a:gd name="T34" fmla="*/ 110 w 468"/>
                <a:gd name="T35" fmla="*/ 360 h 772"/>
                <a:gd name="T36" fmla="*/ 97 w 468"/>
                <a:gd name="T37" fmla="*/ 428 h 772"/>
                <a:gd name="T38" fmla="*/ 97 w 468"/>
                <a:gd name="T39" fmla="*/ 470 h 772"/>
                <a:gd name="T40" fmla="*/ 77 w 468"/>
                <a:gd name="T41" fmla="*/ 508 h 772"/>
                <a:gd name="T42" fmla="*/ 45 w 468"/>
                <a:gd name="T43" fmla="*/ 627 h 772"/>
                <a:gd name="T44" fmla="*/ 43 w 468"/>
                <a:gd name="T45" fmla="*/ 713 h 772"/>
                <a:gd name="T46" fmla="*/ 50 w 468"/>
                <a:gd name="T47" fmla="*/ 751 h 772"/>
                <a:gd name="T48" fmla="*/ 86 w 468"/>
                <a:gd name="T49" fmla="*/ 772 h 772"/>
                <a:gd name="T50" fmla="*/ 80 w 468"/>
                <a:gd name="T51" fmla="*/ 744 h 772"/>
                <a:gd name="T52" fmla="*/ 99 w 468"/>
                <a:gd name="T53" fmla="*/ 707 h 772"/>
                <a:gd name="T54" fmla="*/ 189 w 468"/>
                <a:gd name="T55" fmla="*/ 666 h 772"/>
                <a:gd name="T56" fmla="*/ 216 w 468"/>
                <a:gd name="T57" fmla="*/ 629 h 772"/>
                <a:gd name="T58" fmla="*/ 216 w 468"/>
                <a:gd name="T59" fmla="*/ 600 h 772"/>
                <a:gd name="T60" fmla="*/ 211 w 468"/>
                <a:gd name="T61" fmla="*/ 555 h 772"/>
                <a:gd name="T62" fmla="*/ 205 w 468"/>
                <a:gd name="T63" fmla="*/ 515 h 772"/>
                <a:gd name="T64" fmla="*/ 192 w 468"/>
                <a:gd name="T65" fmla="*/ 445 h 772"/>
                <a:gd name="T66" fmla="*/ 243 w 468"/>
                <a:gd name="T67" fmla="*/ 401 h 772"/>
                <a:gd name="T68" fmla="*/ 312 w 468"/>
                <a:gd name="T69" fmla="*/ 341 h 772"/>
                <a:gd name="T70" fmla="*/ 405 w 468"/>
                <a:gd name="T71" fmla="*/ 301 h 772"/>
                <a:gd name="T72" fmla="*/ 453 w 468"/>
                <a:gd name="T73" fmla="*/ 240 h 772"/>
                <a:gd name="T74" fmla="*/ 462 w 468"/>
                <a:gd name="T75" fmla="*/ 183 h 772"/>
                <a:gd name="T76" fmla="*/ 459 w 468"/>
                <a:gd name="T77" fmla="*/ 68 h 772"/>
                <a:gd name="T78" fmla="*/ 463 w 468"/>
                <a:gd name="T79" fmla="*/ 2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8" h="772">
                  <a:moveTo>
                    <a:pt x="463" y="21"/>
                  </a:moveTo>
                  <a:lnTo>
                    <a:pt x="457" y="0"/>
                  </a:lnTo>
                  <a:lnTo>
                    <a:pt x="457" y="0"/>
                  </a:lnTo>
                  <a:lnTo>
                    <a:pt x="457" y="0"/>
                  </a:lnTo>
                  <a:lnTo>
                    <a:pt x="420" y="27"/>
                  </a:lnTo>
                  <a:lnTo>
                    <a:pt x="371" y="46"/>
                  </a:lnTo>
                  <a:lnTo>
                    <a:pt x="344" y="45"/>
                  </a:lnTo>
                  <a:lnTo>
                    <a:pt x="328" y="60"/>
                  </a:lnTo>
                  <a:lnTo>
                    <a:pt x="298" y="60"/>
                  </a:lnTo>
                  <a:lnTo>
                    <a:pt x="285" y="66"/>
                  </a:lnTo>
                  <a:lnTo>
                    <a:pt x="233" y="53"/>
                  </a:lnTo>
                  <a:lnTo>
                    <a:pt x="216" y="55"/>
                  </a:lnTo>
                  <a:lnTo>
                    <a:pt x="204" y="100"/>
                  </a:lnTo>
                  <a:lnTo>
                    <a:pt x="208" y="153"/>
                  </a:lnTo>
                  <a:lnTo>
                    <a:pt x="211" y="153"/>
                  </a:lnTo>
                  <a:lnTo>
                    <a:pt x="226" y="168"/>
                  </a:lnTo>
                  <a:lnTo>
                    <a:pt x="243" y="202"/>
                  </a:lnTo>
                  <a:lnTo>
                    <a:pt x="245" y="263"/>
                  </a:lnTo>
                  <a:lnTo>
                    <a:pt x="225" y="273"/>
                  </a:lnTo>
                  <a:lnTo>
                    <a:pt x="210" y="305"/>
                  </a:lnTo>
                  <a:lnTo>
                    <a:pt x="183" y="276"/>
                  </a:lnTo>
                  <a:lnTo>
                    <a:pt x="181" y="243"/>
                  </a:lnTo>
                  <a:lnTo>
                    <a:pt x="191" y="221"/>
                  </a:lnTo>
                  <a:lnTo>
                    <a:pt x="189" y="202"/>
                  </a:lnTo>
                  <a:lnTo>
                    <a:pt x="172" y="190"/>
                  </a:lnTo>
                  <a:lnTo>
                    <a:pt x="160" y="195"/>
                  </a:lnTo>
                  <a:lnTo>
                    <a:pt x="135" y="172"/>
                  </a:lnTo>
                  <a:lnTo>
                    <a:pt x="0" y="211"/>
                  </a:lnTo>
                  <a:lnTo>
                    <a:pt x="3" y="245"/>
                  </a:lnTo>
                  <a:lnTo>
                    <a:pt x="5" y="262"/>
                  </a:lnTo>
                  <a:lnTo>
                    <a:pt x="41" y="261"/>
                  </a:lnTo>
                  <a:lnTo>
                    <a:pt x="61" y="271"/>
                  </a:lnTo>
                  <a:lnTo>
                    <a:pt x="70" y="282"/>
                  </a:lnTo>
                  <a:lnTo>
                    <a:pt x="91" y="285"/>
                  </a:lnTo>
                  <a:lnTo>
                    <a:pt x="113" y="301"/>
                  </a:lnTo>
                  <a:lnTo>
                    <a:pt x="110" y="360"/>
                  </a:lnTo>
                  <a:lnTo>
                    <a:pt x="100" y="392"/>
                  </a:lnTo>
                  <a:lnTo>
                    <a:pt x="97" y="428"/>
                  </a:lnTo>
                  <a:lnTo>
                    <a:pt x="103" y="442"/>
                  </a:lnTo>
                  <a:lnTo>
                    <a:pt x="97" y="470"/>
                  </a:lnTo>
                  <a:lnTo>
                    <a:pt x="89" y="474"/>
                  </a:lnTo>
                  <a:lnTo>
                    <a:pt x="77" y="508"/>
                  </a:lnTo>
                  <a:lnTo>
                    <a:pt x="27" y="561"/>
                  </a:lnTo>
                  <a:lnTo>
                    <a:pt x="45" y="627"/>
                  </a:lnTo>
                  <a:lnTo>
                    <a:pt x="54" y="661"/>
                  </a:lnTo>
                  <a:lnTo>
                    <a:pt x="43" y="713"/>
                  </a:lnTo>
                  <a:lnTo>
                    <a:pt x="46" y="730"/>
                  </a:lnTo>
                  <a:lnTo>
                    <a:pt x="50" y="751"/>
                  </a:lnTo>
                  <a:lnTo>
                    <a:pt x="53" y="772"/>
                  </a:lnTo>
                  <a:lnTo>
                    <a:pt x="86" y="772"/>
                  </a:lnTo>
                  <a:lnTo>
                    <a:pt x="91" y="747"/>
                  </a:lnTo>
                  <a:lnTo>
                    <a:pt x="80" y="744"/>
                  </a:lnTo>
                  <a:lnTo>
                    <a:pt x="79" y="724"/>
                  </a:lnTo>
                  <a:lnTo>
                    <a:pt x="99" y="707"/>
                  </a:lnTo>
                  <a:lnTo>
                    <a:pt x="153" y="681"/>
                  </a:lnTo>
                  <a:lnTo>
                    <a:pt x="189" y="666"/>
                  </a:lnTo>
                  <a:lnTo>
                    <a:pt x="208" y="649"/>
                  </a:lnTo>
                  <a:lnTo>
                    <a:pt x="216" y="629"/>
                  </a:lnTo>
                  <a:lnTo>
                    <a:pt x="206" y="622"/>
                  </a:lnTo>
                  <a:lnTo>
                    <a:pt x="216" y="600"/>
                  </a:lnTo>
                  <a:lnTo>
                    <a:pt x="219" y="554"/>
                  </a:lnTo>
                  <a:lnTo>
                    <a:pt x="211" y="555"/>
                  </a:lnTo>
                  <a:lnTo>
                    <a:pt x="212" y="542"/>
                  </a:lnTo>
                  <a:lnTo>
                    <a:pt x="205" y="515"/>
                  </a:lnTo>
                  <a:lnTo>
                    <a:pt x="185" y="479"/>
                  </a:lnTo>
                  <a:lnTo>
                    <a:pt x="192" y="445"/>
                  </a:lnTo>
                  <a:lnTo>
                    <a:pt x="210" y="434"/>
                  </a:lnTo>
                  <a:lnTo>
                    <a:pt x="243" y="401"/>
                  </a:lnTo>
                  <a:lnTo>
                    <a:pt x="259" y="392"/>
                  </a:lnTo>
                  <a:lnTo>
                    <a:pt x="312" y="341"/>
                  </a:lnTo>
                  <a:lnTo>
                    <a:pt x="363" y="319"/>
                  </a:lnTo>
                  <a:lnTo>
                    <a:pt x="405" y="301"/>
                  </a:lnTo>
                  <a:lnTo>
                    <a:pt x="435" y="272"/>
                  </a:lnTo>
                  <a:lnTo>
                    <a:pt x="453" y="240"/>
                  </a:lnTo>
                  <a:lnTo>
                    <a:pt x="468" y="206"/>
                  </a:lnTo>
                  <a:lnTo>
                    <a:pt x="462" y="183"/>
                  </a:lnTo>
                  <a:lnTo>
                    <a:pt x="463" y="110"/>
                  </a:lnTo>
                  <a:lnTo>
                    <a:pt x="459" y="68"/>
                  </a:lnTo>
                  <a:lnTo>
                    <a:pt x="463" y="21"/>
                  </a:lnTo>
                  <a:lnTo>
                    <a:pt x="463" y="2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1" name="Mauritania">
              <a:extLst>
                <a:ext uri="{FF2B5EF4-FFF2-40B4-BE49-F238E27FC236}">
                  <a16:creationId xmlns:a16="http://schemas.microsoft.com/office/drawing/2014/main" id="{F5738FE6-7ED3-D977-A20E-A264A2454DDB}"/>
                </a:ext>
              </a:extLst>
            </p:cNvPr>
            <p:cNvSpPr>
              <a:spLocks/>
            </p:cNvSpPr>
            <p:nvPr/>
          </p:nvSpPr>
          <p:spPr bwMode="auto">
            <a:xfrm>
              <a:off x="4906266" y="1520162"/>
              <a:ext cx="844550" cy="954088"/>
            </a:xfrm>
            <a:custGeom>
              <a:avLst/>
              <a:gdLst>
                <a:gd name="T0" fmla="*/ 532 w 532"/>
                <a:gd name="T1" fmla="*/ 114 h 601"/>
                <a:gd name="T2" fmla="*/ 371 w 532"/>
                <a:gd name="T3" fmla="*/ 0 h 601"/>
                <a:gd name="T4" fmla="*/ 370 w 532"/>
                <a:gd name="T5" fmla="*/ 72 h 601"/>
                <a:gd name="T6" fmla="*/ 227 w 532"/>
                <a:gd name="T7" fmla="*/ 69 h 601"/>
                <a:gd name="T8" fmla="*/ 226 w 532"/>
                <a:gd name="T9" fmla="*/ 190 h 601"/>
                <a:gd name="T10" fmla="*/ 185 w 532"/>
                <a:gd name="T11" fmla="*/ 194 h 601"/>
                <a:gd name="T12" fmla="*/ 174 w 532"/>
                <a:gd name="T13" fmla="*/ 218 h 601"/>
                <a:gd name="T14" fmla="*/ 181 w 532"/>
                <a:gd name="T15" fmla="*/ 286 h 601"/>
                <a:gd name="T16" fmla="*/ 10 w 532"/>
                <a:gd name="T17" fmla="*/ 286 h 601"/>
                <a:gd name="T18" fmla="*/ 0 w 532"/>
                <a:gd name="T19" fmla="*/ 301 h 601"/>
                <a:gd name="T20" fmla="*/ 22 w 532"/>
                <a:gd name="T21" fmla="*/ 321 h 601"/>
                <a:gd name="T22" fmla="*/ 33 w 532"/>
                <a:gd name="T23" fmla="*/ 343 h 601"/>
                <a:gd name="T24" fmla="*/ 28 w 532"/>
                <a:gd name="T25" fmla="*/ 367 h 601"/>
                <a:gd name="T26" fmla="*/ 33 w 532"/>
                <a:gd name="T27" fmla="*/ 390 h 601"/>
                <a:gd name="T28" fmla="*/ 36 w 532"/>
                <a:gd name="T29" fmla="*/ 437 h 601"/>
                <a:gd name="T30" fmla="*/ 30 w 532"/>
                <a:gd name="T31" fmla="*/ 481 h 601"/>
                <a:gd name="T32" fmla="*/ 17 w 532"/>
                <a:gd name="T33" fmla="*/ 504 h 601"/>
                <a:gd name="T34" fmla="*/ 20 w 532"/>
                <a:gd name="T35" fmla="*/ 529 h 601"/>
                <a:gd name="T36" fmla="*/ 35 w 532"/>
                <a:gd name="T37" fmla="*/ 514 h 601"/>
                <a:gd name="T38" fmla="*/ 57 w 532"/>
                <a:gd name="T39" fmla="*/ 518 h 601"/>
                <a:gd name="T40" fmla="*/ 79 w 532"/>
                <a:gd name="T41" fmla="*/ 508 h 601"/>
                <a:gd name="T42" fmla="*/ 104 w 532"/>
                <a:gd name="T43" fmla="*/ 508 h 601"/>
                <a:gd name="T44" fmla="*/ 125 w 532"/>
                <a:gd name="T45" fmla="*/ 522 h 601"/>
                <a:gd name="T46" fmla="*/ 153 w 532"/>
                <a:gd name="T47" fmla="*/ 534 h 601"/>
                <a:gd name="T48" fmla="*/ 180 w 532"/>
                <a:gd name="T49" fmla="*/ 568 h 601"/>
                <a:gd name="T50" fmla="*/ 208 w 532"/>
                <a:gd name="T51" fmla="*/ 601 h 601"/>
                <a:gd name="T52" fmla="*/ 223 w 532"/>
                <a:gd name="T53" fmla="*/ 592 h 601"/>
                <a:gd name="T54" fmla="*/ 231 w 532"/>
                <a:gd name="T55" fmla="*/ 565 h 601"/>
                <a:gd name="T56" fmla="*/ 245 w 532"/>
                <a:gd name="T57" fmla="*/ 563 h 601"/>
                <a:gd name="T58" fmla="*/ 276 w 532"/>
                <a:gd name="T59" fmla="*/ 577 h 601"/>
                <a:gd name="T60" fmla="*/ 301 w 532"/>
                <a:gd name="T61" fmla="*/ 568 h 601"/>
                <a:gd name="T62" fmla="*/ 318 w 532"/>
                <a:gd name="T63" fmla="*/ 570 h 601"/>
                <a:gd name="T64" fmla="*/ 325 w 532"/>
                <a:gd name="T65" fmla="*/ 560 h 601"/>
                <a:gd name="T66" fmla="*/ 502 w 532"/>
                <a:gd name="T67" fmla="*/ 559 h 601"/>
                <a:gd name="T68" fmla="*/ 512 w 532"/>
                <a:gd name="T69" fmla="*/ 527 h 601"/>
                <a:gd name="T70" fmla="*/ 505 w 532"/>
                <a:gd name="T71" fmla="*/ 521 h 601"/>
                <a:gd name="T72" fmla="*/ 485 w 532"/>
                <a:gd name="T73" fmla="*/ 318 h 601"/>
                <a:gd name="T74" fmla="*/ 466 w 532"/>
                <a:gd name="T75" fmla="*/ 115 h 601"/>
                <a:gd name="T76" fmla="*/ 532 w 532"/>
                <a:gd name="T77" fmla="*/ 114 h 601"/>
                <a:gd name="T78" fmla="*/ 532 w 532"/>
                <a:gd name="T79" fmla="*/ 11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2" h="601">
                  <a:moveTo>
                    <a:pt x="532" y="114"/>
                  </a:moveTo>
                  <a:lnTo>
                    <a:pt x="371" y="0"/>
                  </a:lnTo>
                  <a:lnTo>
                    <a:pt x="370" y="72"/>
                  </a:lnTo>
                  <a:lnTo>
                    <a:pt x="227" y="69"/>
                  </a:lnTo>
                  <a:lnTo>
                    <a:pt x="226" y="190"/>
                  </a:lnTo>
                  <a:lnTo>
                    <a:pt x="185" y="194"/>
                  </a:lnTo>
                  <a:lnTo>
                    <a:pt x="174" y="218"/>
                  </a:lnTo>
                  <a:lnTo>
                    <a:pt x="181" y="286"/>
                  </a:lnTo>
                  <a:lnTo>
                    <a:pt x="10" y="286"/>
                  </a:lnTo>
                  <a:lnTo>
                    <a:pt x="0" y="301"/>
                  </a:lnTo>
                  <a:lnTo>
                    <a:pt x="22" y="321"/>
                  </a:lnTo>
                  <a:lnTo>
                    <a:pt x="33" y="343"/>
                  </a:lnTo>
                  <a:lnTo>
                    <a:pt x="28" y="367"/>
                  </a:lnTo>
                  <a:lnTo>
                    <a:pt x="33" y="390"/>
                  </a:lnTo>
                  <a:lnTo>
                    <a:pt x="36" y="437"/>
                  </a:lnTo>
                  <a:lnTo>
                    <a:pt x="30" y="481"/>
                  </a:lnTo>
                  <a:lnTo>
                    <a:pt x="17" y="504"/>
                  </a:lnTo>
                  <a:lnTo>
                    <a:pt x="20" y="529"/>
                  </a:lnTo>
                  <a:lnTo>
                    <a:pt x="35" y="514"/>
                  </a:lnTo>
                  <a:lnTo>
                    <a:pt x="57" y="518"/>
                  </a:lnTo>
                  <a:lnTo>
                    <a:pt x="79" y="508"/>
                  </a:lnTo>
                  <a:lnTo>
                    <a:pt x="104" y="508"/>
                  </a:lnTo>
                  <a:lnTo>
                    <a:pt x="125" y="522"/>
                  </a:lnTo>
                  <a:lnTo>
                    <a:pt x="153" y="534"/>
                  </a:lnTo>
                  <a:lnTo>
                    <a:pt x="180" y="568"/>
                  </a:lnTo>
                  <a:lnTo>
                    <a:pt x="208" y="601"/>
                  </a:lnTo>
                  <a:lnTo>
                    <a:pt x="223" y="592"/>
                  </a:lnTo>
                  <a:lnTo>
                    <a:pt x="231" y="565"/>
                  </a:lnTo>
                  <a:lnTo>
                    <a:pt x="245" y="563"/>
                  </a:lnTo>
                  <a:lnTo>
                    <a:pt x="276" y="577"/>
                  </a:lnTo>
                  <a:lnTo>
                    <a:pt x="301" y="568"/>
                  </a:lnTo>
                  <a:lnTo>
                    <a:pt x="318" y="570"/>
                  </a:lnTo>
                  <a:lnTo>
                    <a:pt x="325" y="560"/>
                  </a:lnTo>
                  <a:lnTo>
                    <a:pt x="502" y="559"/>
                  </a:lnTo>
                  <a:lnTo>
                    <a:pt x="512" y="527"/>
                  </a:lnTo>
                  <a:lnTo>
                    <a:pt x="505" y="521"/>
                  </a:lnTo>
                  <a:lnTo>
                    <a:pt x="485" y="318"/>
                  </a:lnTo>
                  <a:lnTo>
                    <a:pt x="466" y="115"/>
                  </a:lnTo>
                  <a:lnTo>
                    <a:pt x="532" y="114"/>
                  </a:lnTo>
                  <a:lnTo>
                    <a:pt x="532" y="11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2" name="Malawi">
              <a:extLst>
                <a:ext uri="{FF2B5EF4-FFF2-40B4-BE49-F238E27FC236}">
                  <a16:creationId xmlns:a16="http://schemas.microsoft.com/office/drawing/2014/main" id="{D5940468-0740-622F-ED05-29F100842149}"/>
                </a:ext>
              </a:extLst>
            </p:cNvPr>
            <p:cNvSpPr>
              <a:spLocks/>
            </p:cNvSpPr>
            <p:nvPr/>
          </p:nvSpPr>
          <p:spPr bwMode="auto">
            <a:xfrm>
              <a:off x="8387654" y="4252250"/>
              <a:ext cx="211138" cy="565150"/>
            </a:xfrm>
            <a:custGeom>
              <a:avLst/>
              <a:gdLst>
                <a:gd name="T0" fmla="*/ 82 w 133"/>
                <a:gd name="T1" fmla="*/ 227 h 356"/>
                <a:gd name="T2" fmla="*/ 83 w 133"/>
                <a:gd name="T3" fmla="*/ 209 h 356"/>
                <a:gd name="T4" fmla="*/ 73 w 133"/>
                <a:gd name="T5" fmla="*/ 196 h 356"/>
                <a:gd name="T6" fmla="*/ 74 w 133"/>
                <a:gd name="T7" fmla="*/ 175 h 356"/>
                <a:gd name="T8" fmla="*/ 62 w 133"/>
                <a:gd name="T9" fmla="*/ 140 h 356"/>
                <a:gd name="T10" fmla="*/ 76 w 133"/>
                <a:gd name="T11" fmla="*/ 114 h 356"/>
                <a:gd name="T12" fmla="*/ 75 w 133"/>
                <a:gd name="T13" fmla="*/ 57 h 356"/>
                <a:gd name="T14" fmla="*/ 61 w 133"/>
                <a:gd name="T15" fmla="*/ 27 h 356"/>
                <a:gd name="T16" fmla="*/ 62 w 133"/>
                <a:gd name="T17" fmla="*/ 22 h 356"/>
                <a:gd name="T18" fmla="*/ 62 w 133"/>
                <a:gd name="T19" fmla="*/ 22 h 356"/>
                <a:gd name="T20" fmla="*/ 53 w 133"/>
                <a:gd name="T21" fmla="*/ 9 h 356"/>
                <a:gd name="T22" fmla="*/ 10 w 133"/>
                <a:gd name="T23" fmla="*/ 0 h 356"/>
                <a:gd name="T24" fmla="*/ 30 w 133"/>
                <a:gd name="T25" fmla="*/ 21 h 356"/>
                <a:gd name="T26" fmla="*/ 41 w 133"/>
                <a:gd name="T27" fmla="*/ 61 h 356"/>
                <a:gd name="T28" fmla="*/ 32 w 133"/>
                <a:gd name="T29" fmla="*/ 74 h 356"/>
                <a:gd name="T30" fmla="*/ 23 w 133"/>
                <a:gd name="T31" fmla="*/ 112 h 356"/>
                <a:gd name="T32" fmla="*/ 30 w 133"/>
                <a:gd name="T33" fmla="*/ 151 h 356"/>
                <a:gd name="T34" fmla="*/ 16 w 133"/>
                <a:gd name="T35" fmla="*/ 168 h 356"/>
                <a:gd name="T36" fmla="*/ 0 w 133"/>
                <a:gd name="T37" fmla="*/ 211 h 356"/>
                <a:gd name="T38" fmla="*/ 23 w 133"/>
                <a:gd name="T39" fmla="*/ 223 h 356"/>
                <a:gd name="T40" fmla="*/ 48 w 133"/>
                <a:gd name="T41" fmla="*/ 246 h 356"/>
                <a:gd name="T42" fmla="*/ 60 w 133"/>
                <a:gd name="T43" fmla="*/ 241 h 356"/>
                <a:gd name="T44" fmla="*/ 77 w 133"/>
                <a:gd name="T45" fmla="*/ 253 h 356"/>
                <a:gd name="T46" fmla="*/ 79 w 133"/>
                <a:gd name="T47" fmla="*/ 272 h 356"/>
                <a:gd name="T48" fmla="*/ 69 w 133"/>
                <a:gd name="T49" fmla="*/ 294 h 356"/>
                <a:gd name="T50" fmla="*/ 71 w 133"/>
                <a:gd name="T51" fmla="*/ 327 h 356"/>
                <a:gd name="T52" fmla="*/ 98 w 133"/>
                <a:gd name="T53" fmla="*/ 356 h 356"/>
                <a:gd name="T54" fmla="*/ 113 w 133"/>
                <a:gd name="T55" fmla="*/ 324 h 356"/>
                <a:gd name="T56" fmla="*/ 133 w 133"/>
                <a:gd name="T57" fmla="*/ 314 h 356"/>
                <a:gd name="T58" fmla="*/ 131 w 133"/>
                <a:gd name="T59" fmla="*/ 253 h 356"/>
                <a:gd name="T60" fmla="*/ 114 w 133"/>
                <a:gd name="T61" fmla="*/ 219 h 356"/>
                <a:gd name="T62" fmla="*/ 99 w 133"/>
                <a:gd name="T63" fmla="*/ 204 h 356"/>
                <a:gd name="T64" fmla="*/ 96 w 133"/>
                <a:gd name="T65" fmla="*/ 204 h 356"/>
                <a:gd name="T66" fmla="*/ 97 w 133"/>
                <a:gd name="T67" fmla="*/ 211 h 356"/>
                <a:gd name="T68" fmla="*/ 105 w 133"/>
                <a:gd name="T69" fmla="*/ 212 h 356"/>
                <a:gd name="T70" fmla="*/ 114 w 133"/>
                <a:gd name="T71" fmla="*/ 237 h 356"/>
                <a:gd name="T72" fmla="*/ 112 w 133"/>
                <a:gd name="T73" fmla="*/ 243 h 356"/>
                <a:gd name="T74" fmla="*/ 97 w 133"/>
                <a:gd name="T75" fmla="*/ 225 h 356"/>
                <a:gd name="T76" fmla="*/ 89 w 133"/>
                <a:gd name="T77" fmla="*/ 236 h 356"/>
                <a:gd name="T78" fmla="*/ 82 w 133"/>
                <a:gd name="T79" fmla="*/ 227 h 356"/>
                <a:gd name="T80" fmla="*/ 82 w 133"/>
                <a:gd name="T81" fmla="*/ 22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356">
                  <a:moveTo>
                    <a:pt x="82" y="227"/>
                  </a:moveTo>
                  <a:lnTo>
                    <a:pt x="83" y="209"/>
                  </a:lnTo>
                  <a:lnTo>
                    <a:pt x="73" y="196"/>
                  </a:lnTo>
                  <a:lnTo>
                    <a:pt x="74" y="175"/>
                  </a:lnTo>
                  <a:lnTo>
                    <a:pt x="62" y="140"/>
                  </a:lnTo>
                  <a:lnTo>
                    <a:pt x="76" y="114"/>
                  </a:lnTo>
                  <a:lnTo>
                    <a:pt x="75" y="57"/>
                  </a:lnTo>
                  <a:lnTo>
                    <a:pt x="61" y="27"/>
                  </a:lnTo>
                  <a:lnTo>
                    <a:pt x="62" y="22"/>
                  </a:lnTo>
                  <a:lnTo>
                    <a:pt x="62" y="22"/>
                  </a:lnTo>
                  <a:lnTo>
                    <a:pt x="53" y="9"/>
                  </a:lnTo>
                  <a:lnTo>
                    <a:pt x="10" y="0"/>
                  </a:lnTo>
                  <a:lnTo>
                    <a:pt x="30" y="21"/>
                  </a:lnTo>
                  <a:lnTo>
                    <a:pt x="41" y="61"/>
                  </a:lnTo>
                  <a:lnTo>
                    <a:pt x="32" y="74"/>
                  </a:lnTo>
                  <a:lnTo>
                    <a:pt x="23" y="112"/>
                  </a:lnTo>
                  <a:lnTo>
                    <a:pt x="30" y="151"/>
                  </a:lnTo>
                  <a:lnTo>
                    <a:pt x="16" y="168"/>
                  </a:lnTo>
                  <a:lnTo>
                    <a:pt x="0" y="211"/>
                  </a:lnTo>
                  <a:lnTo>
                    <a:pt x="23" y="223"/>
                  </a:lnTo>
                  <a:lnTo>
                    <a:pt x="48" y="246"/>
                  </a:lnTo>
                  <a:lnTo>
                    <a:pt x="60" y="241"/>
                  </a:lnTo>
                  <a:lnTo>
                    <a:pt x="77" y="253"/>
                  </a:lnTo>
                  <a:lnTo>
                    <a:pt x="79" y="272"/>
                  </a:lnTo>
                  <a:lnTo>
                    <a:pt x="69" y="294"/>
                  </a:lnTo>
                  <a:lnTo>
                    <a:pt x="71" y="327"/>
                  </a:lnTo>
                  <a:lnTo>
                    <a:pt x="98" y="356"/>
                  </a:lnTo>
                  <a:lnTo>
                    <a:pt x="113" y="324"/>
                  </a:lnTo>
                  <a:lnTo>
                    <a:pt x="133" y="314"/>
                  </a:lnTo>
                  <a:lnTo>
                    <a:pt x="131" y="253"/>
                  </a:lnTo>
                  <a:lnTo>
                    <a:pt x="114" y="219"/>
                  </a:lnTo>
                  <a:lnTo>
                    <a:pt x="99" y="204"/>
                  </a:lnTo>
                  <a:lnTo>
                    <a:pt x="96" y="204"/>
                  </a:lnTo>
                  <a:lnTo>
                    <a:pt x="97" y="211"/>
                  </a:lnTo>
                  <a:lnTo>
                    <a:pt x="105" y="212"/>
                  </a:lnTo>
                  <a:lnTo>
                    <a:pt x="114" y="237"/>
                  </a:lnTo>
                  <a:lnTo>
                    <a:pt x="112" y="243"/>
                  </a:lnTo>
                  <a:lnTo>
                    <a:pt x="97" y="225"/>
                  </a:lnTo>
                  <a:lnTo>
                    <a:pt x="89" y="236"/>
                  </a:lnTo>
                  <a:lnTo>
                    <a:pt x="82" y="227"/>
                  </a:lnTo>
                  <a:lnTo>
                    <a:pt x="82" y="2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3" name="Namibia">
              <a:extLst>
                <a:ext uri="{FF2B5EF4-FFF2-40B4-BE49-F238E27FC236}">
                  <a16:creationId xmlns:a16="http://schemas.microsoft.com/office/drawing/2014/main" id="{1A995781-8FF1-316A-751B-1567F2486D6A}"/>
                </a:ext>
              </a:extLst>
            </p:cNvPr>
            <p:cNvSpPr>
              <a:spLocks/>
            </p:cNvSpPr>
            <p:nvPr/>
          </p:nvSpPr>
          <p:spPr bwMode="auto">
            <a:xfrm>
              <a:off x="6911279" y="4828512"/>
              <a:ext cx="933450" cy="903288"/>
            </a:xfrm>
            <a:custGeom>
              <a:avLst/>
              <a:gdLst>
                <a:gd name="T0" fmla="*/ 506 w 588"/>
                <a:gd name="T1" fmla="*/ 27 h 569"/>
                <a:gd name="T2" fmla="*/ 423 w 588"/>
                <a:gd name="T3" fmla="*/ 46 h 569"/>
                <a:gd name="T4" fmla="*/ 318 w 588"/>
                <a:gd name="T5" fmla="*/ 40 h 569"/>
                <a:gd name="T6" fmla="*/ 287 w 588"/>
                <a:gd name="T7" fmla="*/ 17 h 569"/>
                <a:gd name="T8" fmla="*/ 109 w 588"/>
                <a:gd name="T9" fmla="*/ 19 h 569"/>
                <a:gd name="T10" fmla="*/ 102 w 588"/>
                <a:gd name="T11" fmla="*/ 23 h 569"/>
                <a:gd name="T12" fmla="*/ 76 w 588"/>
                <a:gd name="T13" fmla="*/ 1 h 569"/>
                <a:gd name="T14" fmla="*/ 48 w 588"/>
                <a:gd name="T15" fmla="*/ 0 h 569"/>
                <a:gd name="T16" fmla="*/ 22 w 588"/>
                <a:gd name="T17" fmla="*/ 7 h 569"/>
                <a:gd name="T18" fmla="*/ 0 w 588"/>
                <a:gd name="T19" fmla="*/ 17 h 569"/>
                <a:gd name="T20" fmla="*/ 2 w 588"/>
                <a:gd name="T21" fmla="*/ 52 h 569"/>
                <a:gd name="T22" fmla="*/ 37 w 588"/>
                <a:gd name="T23" fmla="*/ 98 h 569"/>
                <a:gd name="T24" fmla="*/ 46 w 588"/>
                <a:gd name="T25" fmla="*/ 128 h 569"/>
                <a:gd name="T26" fmla="*/ 68 w 588"/>
                <a:gd name="T27" fmla="*/ 184 h 569"/>
                <a:gd name="T28" fmla="*/ 89 w 588"/>
                <a:gd name="T29" fmla="*/ 223 h 569"/>
                <a:gd name="T30" fmla="*/ 107 w 588"/>
                <a:gd name="T31" fmla="*/ 243 h 569"/>
                <a:gd name="T32" fmla="*/ 111 w 588"/>
                <a:gd name="T33" fmla="*/ 268 h 569"/>
                <a:gd name="T34" fmla="*/ 111 w 588"/>
                <a:gd name="T35" fmla="*/ 324 h 569"/>
                <a:gd name="T36" fmla="*/ 123 w 588"/>
                <a:gd name="T37" fmla="*/ 396 h 569"/>
                <a:gd name="T38" fmla="*/ 133 w 588"/>
                <a:gd name="T39" fmla="*/ 431 h 569"/>
                <a:gd name="T40" fmla="*/ 140 w 588"/>
                <a:gd name="T41" fmla="*/ 476 h 569"/>
                <a:gd name="T42" fmla="*/ 157 w 588"/>
                <a:gd name="T43" fmla="*/ 511 h 569"/>
                <a:gd name="T44" fmla="*/ 187 w 588"/>
                <a:gd name="T45" fmla="*/ 547 h 569"/>
                <a:gd name="T46" fmla="*/ 209 w 588"/>
                <a:gd name="T47" fmla="*/ 524 h 569"/>
                <a:gd name="T48" fmla="*/ 225 w 588"/>
                <a:gd name="T49" fmla="*/ 535 h 569"/>
                <a:gd name="T50" fmla="*/ 232 w 588"/>
                <a:gd name="T51" fmla="*/ 556 h 569"/>
                <a:gd name="T52" fmla="*/ 250 w 588"/>
                <a:gd name="T53" fmla="*/ 559 h 569"/>
                <a:gd name="T54" fmla="*/ 277 w 588"/>
                <a:gd name="T55" fmla="*/ 569 h 569"/>
                <a:gd name="T56" fmla="*/ 300 w 588"/>
                <a:gd name="T57" fmla="*/ 565 h 569"/>
                <a:gd name="T58" fmla="*/ 339 w 588"/>
                <a:gd name="T59" fmla="*/ 541 h 569"/>
                <a:gd name="T60" fmla="*/ 348 w 588"/>
                <a:gd name="T61" fmla="*/ 367 h 569"/>
                <a:gd name="T62" fmla="*/ 353 w 588"/>
                <a:gd name="T63" fmla="*/ 230 h 569"/>
                <a:gd name="T64" fmla="*/ 396 w 588"/>
                <a:gd name="T65" fmla="*/ 228 h 569"/>
                <a:gd name="T66" fmla="*/ 403 w 588"/>
                <a:gd name="T67" fmla="*/ 61 h 569"/>
                <a:gd name="T68" fmla="*/ 436 w 588"/>
                <a:gd name="T69" fmla="*/ 60 h 569"/>
                <a:gd name="T70" fmla="*/ 504 w 588"/>
                <a:gd name="T71" fmla="*/ 43 h 569"/>
                <a:gd name="T72" fmla="*/ 520 w 588"/>
                <a:gd name="T73" fmla="*/ 63 h 569"/>
                <a:gd name="T74" fmla="*/ 550 w 588"/>
                <a:gd name="T75" fmla="*/ 44 h 569"/>
                <a:gd name="T76" fmla="*/ 562 w 588"/>
                <a:gd name="T77" fmla="*/ 44 h 569"/>
                <a:gd name="T78" fmla="*/ 588 w 588"/>
                <a:gd name="T79" fmla="*/ 34 h 569"/>
                <a:gd name="T80" fmla="*/ 588 w 588"/>
                <a:gd name="T81" fmla="*/ 29 h 569"/>
                <a:gd name="T82" fmla="*/ 571 w 588"/>
                <a:gd name="T83" fmla="*/ 19 h 569"/>
                <a:gd name="T84" fmla="*/ 542 w 588"/>
                <a:gd name="T85" fmla="*/ 16 h 569"/>
                <a:gd name="T86" fmla="*/ 506 w 588"/>
                <a:gd name="T87" fmla="*/ 27 h 569"/>
                <a:gd name="T88" fmla="*/ 506 w 588"/>
                <a:gd name="T89" fmla="*/ 2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8" h="569">
                  <a:moveTo>
                    <a:pt x="506" y="27"/>
                  </a:moveTo>
                  <a:lnTo>
                    <a:pt x="423" y="46"/>
                  </a:lnTo>
                  <a:lnTo>
                    <a:pt x="318" y="40"/>
                  </a:lnTo>
                  <a:lnTo>
                    <a:pt x="287" y="17"/>
                  </a:lnTo>
                  <a:lnTo>
                    <a:pt x="109" y="19"/>
                  </a:lnTo>
                  <a:lnTo>
                    <a:pt x="102" y="23"/>
                  </a:lnTo>
                  <a:lnTo>
                    <a:pt x="76" y="1"/>
                  </a:lnTo>
                  <a:lnTo>
                    <a:pt x="48" y="0"/>
                  </a:lnTo>
                  <a:lnTo>
                    <a:pt x="22" y="7"/>
                  </a:lnTo>
                  <a:lnTo>
                    <a:pt x="0" y="17"/>
                  </a:lnTo>
                  <a:lnTo>
                    <a:pt x="2" y="52"/>
                  </a:lnTo>
                  <a:lnTo>
                    <a:pt x="37" y="98"/>
                  </a:lnTo>
                  <a:lnTo>
                    <a:pt x="46" y="128"/>
                  </a:lnTo>
                  <a:lnTo>
                    <a:pt x="68" y="184"/>
                  </a:lnTo>
                  <a:lnTo>
                    <a:pt x="89" y="223"/>
                  </a:lnTo>
                  <a:lnTo>
                    <a:pt x="107" y="243"/>
                  </a:lnTo>
                  <a:lnTo>
                    <a:pt x="111" y="268"/>
                  </a:lnTo>
                  <a:lnTo>
                    <a:pt x="111" y="324"/>
                  </a:lnTo>
                  <a:lnTo>
                    <a:pt x="123" y="396"/>
                  </a:lnTo>
                  <a:lnTo>
                    <a:pt x="133" y="431"/>
                  </a:lnTo>
                  <a:lnTo>
                    <a:pt x="140" y="476"/>
                  </a:lnTo>
                  <a:lnTo>
                    <a:pt x="157" y="511"/>
                  </a:lnTo>
                  <a:lnTo>
                    <a:pt x="187" y="547"/>
                  </a:lnTo>
                  <a:lnTo>
                    <a:pt x="209" y="524"/>
                  </a:lnTo>
                  <a:lnTo>
                    <a:pt x="225" y="535"/>
                  </a:lnTo>
                  <a:lnTo>
                    <a:pt x="232" y="556"/>
                  </a:lnTo>
                  <a:lnTo>
                    <a:pt x="250" y="559"/>
                  </a:lnTo>
                  <a:lnTo>
                    <a:pt x="277" y="569"/>
                  </a:lnTo>
                  <a:lnTo>
                    <a:pt x="300" y="565"/>
                  </a:lnTo>
                  <a:lnTo>
                    <a:pt x="339" y="541"/>
                  </a:lnTo>
                  <a:lnTo>
                    <a:pt x="348" y="367"/>
                  </a:lnTo>
                  <a:lnTo>
                    <a:pt x="353" y="230"/>
                  </a:lnTo>
                  <a:lnTo>
                    <a:pt x="396" y="228"/>
                  </a:lnTo>
                  <a:lnTo>
                    <a:pt x="403" y="61"/>
                  </a:lnTo>
                  <a:lnTo>
                    <a:pt x="436" y="60"/>
                  </a:lnTo>
                  <a:lnTo>
                    <a:pt x="504" y="43"/>
                  </a:lnTo>
                  <a:lnTo>
                    <a:pt x="520" y="63"/>
                  </a:lnTo>
                  <a:lnTo>
                    <a:pt x="550" y="44"/>
                  </a:lnTo>
                  <a:lnTo>
                    <a:pt x="562" y="44"/>
                  </a:lnTo>
                  <a:lnTo>
                    <a:pt x="588" y="34"/>
                  </a:lnTo>
                  <a:lnTo>
                    <a:pt x="588" y="29"/>
                  </a:lnTo>
                  <a:lnTo>
                    <a:pt x="571" y="19"/>
                  </a:lnTo>
                  <a:lnTo>
                    <a:pt x="542" y="16"/>
                  </a:lnTo>
                  <a:lnTo>
                    <a:pt x="506" y="27"/>
                  </a:lnTo>
                  <a:lnTo>
                    <a:pt x="50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4" name="Niger">
              <a:extLst>
                <a:ext uri="{FF2B5EF4-FFF2-40B4-BE49-F238E27FC236}">
                  <a16:creationId xmlns:a16="http://schemas.microsoft.com/office/drawing/2014/main" id="{27F2AE5A-7005-420E-A3DE-CC4CDBEBE4B7}"/>
                </a:ext>
              </a:extLst>
            </p:cNvPr>
            <p:cNvSpPr>
              <a:spLocks/>
            </p:cNvSpPr>
            <p:nvPr/>
          </p:nvSpPr>
          <p:spPr bwMode="auto">
            <a:xfrm>
              <a:off x="6112766" y="1813850"/>
              <a:ext cx="1085850" cy="881063"/>
            </a:xfrm>
            <a:custGeom>
              <a:avLst/>
              <a:gdLst>
                <a:gd name="T0" fmla="*/ 579 w 684"/>
                <a:gd name="T1" fmla="*/ 20 h 555"/>
                <a:gd name="T2" fmla="*/ 509 w 684"/>
                <a:gd name="T3" fmla="*/ 0 h 555"/>
                <a:gd name="T4" fmla="*/ 361 w 684"/>
                <a:gd name="T5" fmla="*/ 90 h 555"/>
                <a:gd name="T6" fmla="*/ 235 w 684"/>
                <a:gd name="T7" fmla="*/ 181 h 555"/>
                <a:gd name="T8" fmla="*/ 174 w 684"/>
                <a:gd name="T9" fmla="*/ 203 h 555"/>
                <a:gd name="T10" fmla="*/ 175 w 684"/>
                <a:gd name="T11" fmla="*/ 311 h 555"/>
                <a:gd name="T12" fmla="*/ 150 w 684"/>
                <a:gd name="T13" fmla="*/ 343 h 555"/>
                <a:gd name="T14" fmla="*/ 147 w 684"/>
                <a:gd name="T15" fmla="*/ 371 h 555"/>
                <a:gd name="T16" fmla="*/ 108 w 684"/>
                <a:gd name="T17" fmla="*/ 378 h 555"/>
                <a:gd name="T18" fmla="*/ 48 w 684"/>
                <a:gd name="T19" fmla="*/ 383 h 555"/>
                <a:gd name="T20" fmla="*/ 31 w 684"/>
                <a:gd name="T21" fmla="*/ 399 h 555"/>
                <a:gd name="T22" fmla="*/ 3 w 684"/>
                <a:gd name="T23" fmla="*/ 401 h 555"/>
                <a:gd name="T24" fmla="*/ 0 w 684"/>
                <a:gd name="T25" fmla="*/ 424 h 555"/>
                <a:gd name="T26" fmla="*/ 5 w 684"/>
                <a:gd name="T27" fmla="*/ 445 h 555"/>
                <a:gd name="T28" fmla="*/ 31 w 684"/>
                <a:gd name="T29" fmla="*/ 476 h 555"/>
                <a:gd name="T30" fmla="*/ 31 w 684"/>
                <a:gd name="T31" fmla="*/ 499 h 555"/>
                <a:gd name="T32" fmla="*/ 83 w 684"/>
                <a:gd name="T33" fmla="*/ 509 h 555"/>
                <a:gd name="T34" fmla="*/ 82 w 684"/>
                <a:gd name="T35" fmla="*/ 541 h 555"/>
                <a:gd name="T36" fmla="*/ 97 w 684"/>
                <a:gd name="T37" fmla="*/ 528 h 555"/>
                <a:gd name="T38" fmla="*/ 113 w 684"/>
                <a:gd name="T39" fmla="*/ 528 h 555"/>
                <a:gd name="T40" fmla="*/ 147 w 684"/>
                <a:gd name="T41" fmla="*/ 555 h 555"/>
                <a:gd name="T42" fmla="*/ 149 w 684"/>
                <a:gd name="T43" fmla="*/ 512 h 555"/>
                <a:gd name="T44" fmla="*/ 162 w 684"/>
                <a:gd name="T45" fmla="*/ 494 h 555"/>
                <a:gd name="T46" fmla="*/ 168 w 684"/>
                <a:gd name="T47" fmla="*/ 467 h 555"/>
                <a:gd name="T48" fmla="*/ 179 w 684"/>
                <a:gd name="T49" fmla="*/ 456 h 555"/>
                <a:gd name="T50" fmla="*/ 227 w 684"/>
                <a:gd name="T51" fmla="*/ 451 h 555"/>
                <a:gd name="T52" fmla="*/ 272 w 684"/>
                <a:gd name="T53" fmla="*/ 468 h 555"/>
                <a:gd name="T54" fmla="*/ 289 w 684"/>
                <a:gd name="T55" fmla="*/ 487 h 555"/>
                <a:gd name="T56" fmla="*/ 311 w 684"/>
                <a:gd name="T57" fmla="*/ 487 h 555"/>
                <a:gd name="T58" fmla="*/ 332 w 684"/>
                <a:gd name="T59" fmla="*/ 476 h 555"/>
                <a:gd name="T60" fmla="*/ 386 w 684"/>
                <a:gd name="T61" fmla="*/ 500 h 555"/>
                <a:gd name="T62" fmla="*/ 409 w 684"/>
                <a:gd name="T63" fmla="*/ 499 h 555"/>
                <a:gd name="T64" fmla="*/ 434 w 684"/>
                <a:gd name="T65" fmla="*/ 478 h 555"/>
                <a:gd name="T66" fmla="*/ 461 w 684"/>
                <a:gd name="T67" fmla="*/ 480 h 555"/>
                <a:gd name="T68" fmla="*/ 474 w 684"/>
                <a:gd name="T69" fmla="*/ 473 h 555"/>
                <a:gd name="T70" fmla="*/ 497 w 684"/>
                <a:gd name="T71" fmla="*/ 477 h 555"/>
                <a:gd name="T72" fmla="*/ 531 w 684"/>
                <a:gd name="T73" fmla="*/ 490 h 555"/>
                <a:gd name="T74" fmla="*/ 566 w 684"/>
                <a:gd name="T75" fmla="*/ 464 h 555"/>
                <a:gd name="T76" fmla="*/ 576 w 684"/>
                <a:gd name="T77" fmla="*/ 466 h 555"/>
                <a:gd name="T78" fmla="*/ 607 w 684"/>
                <a:gd name="T79" fmla="*/ 517 h 555"/>
                <a:gd name="T80" fmla="*/ 615 w 684"/>
                <a:gd name="T81" fmla="*/ 516 h 555"/>
                <a:gd name="T82" fmla="*/ 616 w 684"/>
                <a:gd name="T83" fmla="*/ 501 h 555"/>
                <a:gd name="T84" fmla="*/ 629 w 684"/>
                <a:gd name="T85" fmla="*/ 499 h 555"/>
                <a:gd name="T86" fmla="*/ 632 w 684"/>
                <a:gd name="T87" fmla="*/ 477 h 555"/>
                <a:gd name="T88" fmla="*/ 604 w 684"/>
                <a:gd name="T89" fmla="*/ 475 h 555"/>
                <a:gd name="T90" fmla="*/ 604 w 684"/>
                <a:gd name="T91" fmla="*/ 445 h 555"/>
                <a:gd name="T92" fmla="*/ 585 w 684"/>
                <a:gd name="T93" fmla="*/ 428 h 555"/>
                <a:gd name="T94" fmla="*/ 603 w 684"/>
                <a:gd name="T95" fmla="*/ 366 h 555"/>
                <a:gd name="T96" fmla="*/ 659 w 684"/>
                <a:gd name="T97" fmla="*/ 321 h 555"/>
                <a:gd name="T98" fmla="*/ 660 w 684"/>
                <a:gd name="T99" fmla="*/ 260 h 555"/>
                <a:gd name="T100" fmla="*/ 674 w 684"/>
                <a:gd name="T101" fmla="*/ 165 h 555"/>
                <a:gd name="T102" fmla="*/ 684 w 684"/>
                <a:gd name="T103" fmla="*/ 145 h 555"/>
                <a:gd name="T104" fmla="*/ 664 w 684"/>
                <a:gd name="T105" fmla="*/ 129 h 555"/>
                <a:gd name="T106" fmla="*/ 663 w 684"/>
                <a:gd name="T107" fmla="*/ 113 h 555"/>
                <a:gd name="T108" fmla="*/ 647 w 684"/>
                <a:gd name="T109" fmla="*/ 102 h 555"/>
                <a:gd name="T110" fmla="*/ 634 w 684"/>
                <a:gd name="T111" fmla="*/ 28 h 555"/>
                <a:gd name="T112" fmla="*/ 604 w 684"/>
                <a:gd name="T113" fmla="*/ 45 h 555"/>
                <a:gd name="T114" fmla="*/ 579 w 684"/>
                <a:gd name="T115" fmla="*/ 20 h 555"/>
                <a:gd name="T116" fmla="*/ 579 w 684"/>
                <a:gd name="T117" fmla="*/ 2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555">
                  <a:moveTo>
                    <a:pt x="579" y="20"/>
                  </a:moveTo>
                  <a:lnTo>
                    <a:pt x="509" y="0"/>
                  </a:lnTo>
                  <a:lnTo>
                    <a:pt x="361" y="90"/>
                  </a:lnTo>
                  <a:lnTo>
                    <a:pt x="235" y="181"/>
                  </a:lnTo>
                  <a:lnTo>
                    <a:pt x="174" y="203"/>
                  </a:lnTo>
                  <a:lnTo>
                    <a:pt x="175" y="311"/>
                  </a:lnTo>
                  <a:lnTo>
                    <a:pt x="150" y="343"/>
                  </a:lnTo>
                  <a:lnTo>
                    <a:pt x="147" y="371"/>
                  </a:lnTo>
                  <a:lnTo>
                    <a:pt x="108" y="378"/>
                  </a:lnTo>
                  <a:lnTo>
                    <a:pt x="48" y="383"/>
                  </a:lnTo>
                  <a:lnTo>
                    <a:pt x="31" y="399"/>
                  </a:lnTo>
                  <a:lnTo>
                    <a:pt x="3" y="401"/>
                  </a:lnTo>
                  <a:lnTo>
                    <a:pt x="0" y="424"/>
                  </a:lnTo>
                  <a:lnTo>
                    <a:pt x="5" y="445"/>
                  </a:lnTo>
                  <a:lnTo>
                    <a:pt x="31" y="476"/>
                  </a:lnTo>
                  <a:lnTo>
                    <a:pt x="31" y="499"/>
                  </a:lnTo>
                  <a:lnTo>
                    <a:pt x="83" y="509"/>
                  </a:lnTo>
                  <a:lnTo>
                    <a:pt x="82" y="541"/>
                  </a:lnTo>
                  <a:lnTo>
                    <a:pt x="97" y="528"/>
                  </a:lnTo>
                  <a:lnTo>
                    <a:pt x="113" y="528"/>
                  </a:lnTo>
                  <a:lnTo>
                    <a:pt x="147" y="555"/>
                  </a:lnTo>
                  <a:lnTo>
                    <a:pt x="149" y="512"/>
                  </a:lnTo>
                  <a:lnTo>
                    <a:pt x="162" y="494"/>
                  </a:lnTo>
                  <a:lnTo>
                    <a:pt x="168" y="467"/>
                  </a:lnTo>
                  <a:lnTo>
                    <a:pt x="179" y="456"/>
                  </a:lnTo>
                  <a:lnTo>
                    <a:pt x="227" y="451"/>
                  </a:lnTo>
                  <a:lnTo>
                    <a:pt x="272" y="468"/>
                  </a:lnTo>
                  <a:lnTo>
                    <a:pt x="289" y="487"/>
                  </a:lnTo>
                  <a:lnTo>
                    <a:pt x="311" y="487"/>
                  </a:lnTo>
                  <a:lnTo>
                    <a:pt x="332" y="476"/>
                  </a:lnTo>
                  <a:lnTo>
                    <a:pt x="386" y="500"/>
                  </a:lnTo>
                  <a:lnTo>
                    <a:pt x="409" y="499"/>
                  </a:lnTo>
                  <a:lnTo>
                    <a:pt x="434" y="478"/>
                  </a:lnTo>
                  <a:lnTo>
                    <a:pt x="461" y="480"/>
                  </a:lnTo>
                  <a:lnTo>
                    <a:pt x="474" y="473"/>
                  </a:lnTo>
                  <a:lnTo>
                    <a:pt x="497" y="477"/>
                  </a:lnTo>
                  <a:lnTo>
                    <a:pt x="531" y="490"/>
                  </a:lnTo>
                  <a:lnTo>
                    <a:pt x="566" y="464"/>
                  </a:lnTo>
                  <a:lnTo>
                    <a:pt x="576" y="466"/>
                  </a:lnTo>
                  <a:lnTo>
                    <a:pt x="607" y="517"/>
                  </a:lnTo>
                  <a:lnTo>
                    <a:pt x="615" y="516"/>
                  </a:lnTo>
                  <a:lnTo>
                    <a:pt x="616" y="501"/>
                  </a:lnTo>
                  <a:lnTo>
                    <a:pt x="629" y="499"/>
                  </a:lnTo>
                  <a:lnTo>
                    <a:pt x="632" y="477"/>
                  </a:lnTo>
                  <a:lnTo>
                    <a:pt x="604" y="475"/>
                  </a:lnTo>
                  <a:lnTo>
                    <a:pt x="604" y="445"/>
                  </a:lnTo>
                  <a:lnTo>
                    <a:pt x="585" y="428"/>
                  </a:lnTo>
                  <a:lnTo>
                    <a:pt x="603" y="366"/>
                  </a:lnTo>
                  <a:lnTo>
                    <a:pt x="659" y="321"/>
                  </a:lnTo>
                  <a:lnTo>
                    <a:pt x="660" y="260"/>
                  </a:lnTo>
                  <a:lnTo>
                    <a:pt x="674" y="165"/>
                  </a:lnTo>
                  <a:lnTo>
                    <a:pt x="684" y="145"/>
                  </a:lnTo>
                  <a:lnTo>
                    <a:pt x="664" y="129"/>
                  </a:lnTo>
                  <a:lnTo>
                    <a:pt x="663" y="113"/>
                  </a:lnTo>
                  <a:lnTo>
                    <a:pt x="647" y="102"/>
                  </a:lnTo>
                  <a:lnTo>
                    <a:pt x="634" y="28"/>
                  </a:lnTo>
                  <a:lnTo>
                    <a:pt x="604" y="45"/>
                  </a:lnTo>
                  <a:lnTo>
                    <a:pt x="579" y="20"/>
                  </a:lnTo>
                  <a:lnTo>
                    <a:pt x="579" y="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7" name="Nigeria">
              <a:extLst>
                <a:ext uri="{FF2B5EF4-FFF2-40B4-BE49-F238E27FC236}">
                  <a16:creationId xmlns:a16="http://schemas.microsoft.com/office/drawing/2014/main" id="{9BD5A5EE-F1EB-4CB1-967A-42BC1EDD8255}"/>
                </a:ext>
              </a:extLst>
            </p:cNvPr>
            <p:cNvSpPr>
              <a:spLocks/>
            </p:cNvSpPr>
            <p:nvPr/>
          </p:nvSpPr>
          <p:spPr bwMode="auto">
            <a:xfrm>
              <a:off x="6281041" y="2529812"/>
              <a:ext cx="835025" cy="717550"/>
            </a:xfrm>
            <a:custGeom>
              <a:avLst/>
              <a:gdLst>
                <a:gd name="T0" fmla="*/ 509 w 526"/>
                <a:gd name="T1" fmla="*/ 65 h 452"/>
                <a:gd name="T2" fmla="*/ 501 w 526"/>
                <a:gd name="T3" fmla="*/ 66 h 452"/>
                <a:gd name="T4" fmla="*/ 470 w 526"/>
                <a:gd name="T5" fmla="*/ 15 h 452"/>
                <a:gd name="T6" fmla="*/ 460 w 526"/>
                <a:gd name="T7" fmla="*/ 13 h 452"/>
                <a:gd name="T8" fmla="*/ 425 w 526"/>
                <a:gd name="T9" fmla="*/ 39 h 452"/>
                <a:gd name="T10" fmla="*/ 391 w 526"/>
                <a:gd name="T11" fmla="*/ 26 h 452"/>
                <a:gd name="T12" fmla="*/ 368 w 526"/>
                <a:gd name="T13" fmla="*/ 22 h 452"/>
                <a:gd name="T14" fmla="*/ 355 w 526"/>
                <a:gd name="T15" fmla="*/ 29 h 452"/>
                <a:gd name="T16" fmla="*/ 328 w 526"/>
                <a:gd name="T17" fmla="*/ 27 h 452"/>
                <a:gd name="T18" fmla="*/ 303 w 526"/>
                <a:gd name="T19" fmla="*/ 48 h 452"/>
                <a:gd name="T20" fmla="*/ 280 w 526"/>
                <a:gd name="T21" fmla="*/ 49 h 452"/>
                <a:gd name="T22" fmla="*/ 226 w 526"/>
                <a:gd name="T23" fmla="*/ 25 h 452"/>
                <a:gd name="T24" fmla="*/ 205 w 526"/>
                <a:gd name="T25" fmla="*/ 36 h 452"/>
                <a:gd name="T26" fmla="*/ 183 w 526"/>
                <a:gd name="T27" fmla="*/ 36 h 452"/>
                <a:gd name="T28" fmla="*/ 166 w 526"/>
                <a:gd name="T29" fmla="*/ 17 h 452"/>
                <a:gd name="T30" fmla="*/ 121 w 526"/>
                <a:gd name="T31" fmla="*/ 0 h 452"/>
                <a:gd name="T32" fmla="*/ 73 w 526"/>
                <a:gd name="T33" fmla="*/ 5 h 452"/>
                <a:gd name="T34" fmla="*/ 62 w 526"/>
                <a:gd name="T35" fmla="*/ 16 h 452"/>
                <a:gd name="T36" fmla="*/ 56 w 526"/>
                <a:gd name="T37" fmla="*/ 43 h 452"/>
                <a:gd name="T38" fmla="*/ 43 w 526"/>
                <a:gd name="T39" fmla="*/ 61 h 452"/>
                <a:gd name="T40" fmla="*/ 41 w 526"/>
                <a:gd name="T41" fmla="*/ 104 h 452"/>
                <a:gd name="T42" fmla="*/ 39 w 526"/>
                <a:gd name="T43" fmla="*/ 119 h 452"/>
                <a:gd name="T44" fmla="*/ 49 w 526"/>
                <a:gd name="T45" fmla="*/ 147 h 452"/>
                <a:gd name="T46" fmla="*/ 41 w 526"/>
                <a:gd name="T47" fmla="*/ 167 h 452"/>
                <a:gd name="T48" fmla="*/ 45 w 526"/>
                <a:gd name="T49" fmla="*/ 179 h 452"/>
                <a:gd name="T50" fmla="*/ 23 w 526"/>
                <a:gd name="T51" fmla="*/ 207 h 452"/>
                <a:gd name="T52" fmla="*/ 10 w 526"/>
                <a:gd name="T53" fmla="*/ 223 h 452"/>
                <a:gd name="T54" fmla="*/ 1 w 526"/>
                <a:gd name="T55" fmla="*/ 252 h 452"/>
                <a:gd name="T56" fmla="*/ 2 w 526"/>
                <a:gd name="T57" fmla="*/ 282 h 452"/>
                <a:gd name="T58" fmla="*/ 0 w 526"/>
                <a:gd name="T59" fmla="*/ 358 h 452"/>
                <a:gd name="T60" fmla="*/ 40 w 526"/>
                <a:gd name="T61" fmla="*/ 358 h 452"/>
                <a:gd name="T62" fmla="*/ 73 w 526"/>
                <a:gd name="T63" fmla="*/ 357 h 452"/>
                <a:gd name="T64" fmla="*/ 104 w 526"/>
                <a:gd name="T65" fmla="*/ 388 h 452"/>
                <a:gd name="T66" fmla="*/ 119 w 526"/>
                <a:gd name="T67" fmla="*/ 422 h 452"/>
                <a:gd name="T68" fmla="*/ 143 w 526"/>
                <a:gd name="T69" fmla="*/ 451 h 452"/>
                <a:gd name="T70" fmla="*/ 179 w 526"/>
                <a:gd name="T71" fmla="*/ 452 h 452"/>
                <a:gd name="T72" fmla="*/ 196 w 526"/>
                <a:gd name="T73" fmla="*/ 442 h 452"/>
                <a:gd name="T74" fmla="*/ 213 w 526"/>
                <a:gd name="T75" fmla="*/ 444 h 452"/>
                <a:gd name="T76" fmla="*/ 260 w 526"/>
                <a:gd name="T77" fmla="*/ 427 h 452"/>
                <a:gd name="T78" fmla="*/ 271 w 526"/>
                <a:gd name="T79" fmla="*/ 394 h 452"/>
                <a:gd name="T80" fmla="*/ 292 w 526"/>
                <a:gd name="T81" fmla="*/ 348 h 452"/>
                <a:gd name="T82" fmla="*/ 304 w 526"/>
                <a:gd name="T83" fmla="*/ 348 h 452"/>
                <a:gd name="T84" fmla="*/ 331 w 526"/>
                <a:gd name="T85" fmla="*/ 321 h 452"/>
                <a:gd name="T86" fmla="*/ 347 w 526"/>
                <a:gd name="T87" fmla="*/ 320 h 452"/>
                <a:gd name="T88" fmla="*/ 373 w 526"/>
                <a:gd name="T89" fmla="*/ 340 h 452"/>
                <a:gd name="T90" fmla="*/ 403 w 526"/>
                <a:gd name="T91" fmla="*/ 324 h 452"/>
                <a:gd name="T92" fmla="*/ 408 w 526"/>
                <a:gd name="T93" fmla="*/ 304 h 452"/>
                <a:gd name="T94" fmla="*/ 417 w 526"/>
                <a:gd name="T95" fmla="*/ 286 h 452"/>
                <a:gd name="T96" fmla="*/ 424 w 526"/>
                <a:gd name="T97" fmla="*/ 262 h 452"/>
                <a:gd name="T98" fmla="*/ 448 w 526"/>
                <a:gd name="T99" fmla="*/ 242 h 452"/>
                <a:gd name="T100" fmla="*/ 456 w 526"/>
                <a:gd name="T101" fmla="*/ 209 h 452"/>
                <a:gd name="T102" fmla="*/ 466 w 526"/>
                <a:gd name="T103" fmla="*/ 199 h 452"/>
                <a:gd name="T104" fmla="*/ 472 w 526"/>
                <a:gd name="T105" fmla="*/ 174 h 452"/>
                <a:gd name="T106" fmla="*/ 483 w 526"/>
                <a:gd name="T107" fmla="*/ 145 h 452"/>
                <a:gd name="T108" fmla="*/ 520 w 526"/>
                <a:gd name="T109" fmla="*/ 108 h 452"/>
                <a:gd name="T110" fmla="*/ 522 w 526"/>
                <a:gd name="T111" fmla="*/ 92 h 452"/>
                <a:gd name="T112" fmla="*/ 526 w 526"/>
                <a:gd name="T113" fmla="*/ 83 h 452"/>
                <a:gd name="T114" fmla="*/ 509 w 526"/>
                <a:gd name="T115" fmla="*/ 65 h 452"/>
                <a:gd name="T116" fmla="*/ 509 w 526"/>
                <a:gd name="T117" fmla="*/ 6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452">
                  <a:moveTo>
                    <a:pt x="509" y="65"/>
                  </a:moveTo>
                  <a:lnTo>
                    <a:pt x="501" y="66"/>
                  </a:lnTo>
                  <a:lnTo>
                    <a:pt x="470" y="15"/>
                  </a:lnTo>
                  <a:lnTo>
                    <a:pt x="460" y="13"/>
                  </a:lnTo>
                  <a:lnTo>
                    <a:pt x="425" y="39"/>
                  </a:lnTo>
                  <a:lnTo>
                    <a:pt x="391" y="26"/>
                  </a:lnTo>
                  <a:lnTo>
                    <a:pt x="368" y="22"/>
                  </a:lnTo>
                  <a:lnTo>
                    <a:pt x="355" y="29"/>
                  </a:lnTo>
                  <a:lnTo>
                    <a:pt x="328" y="27"/>
                  </a:lnTo>
                  <a:lnTo>
                    <a:pt x="303" y="48"/>
                  </a:lnTo>
                  <a:lnTo>
                    <a:pt x="280" y="49"/>
                  </a:lnTo>
                  <a:lnTo>
                    <a:pt x="226" y="25"/>
                  </a:lnTo>
                  <a:lnTo>
                    <a:pt x="205" y="36"/>
                  </a:lnTo>
                  <a:lnTo>
                    <a:pt x="183" y="36"/>
                  </a:lnTo>
                  <a:lnTo>
                    <a:pt x="166" y="17"/>
                  </a:lnTo>
                  <a:lnTo>
                    <a:pt x="121" y="0"/>
                  </a:lnTo>
                  <a:lnTo>
                    <a:pt x="73" y="5"/>
                  </a:lnTo>
                  <a:lnTo>
                    <a:pt x="62" y="16"/>
                  </a:lnTo>
                  <a:lnTo>
                    <a:pt x="56" y="43"/>
                  </a:lnTo>
                  <a:lnTo>
                    <a:pt x="43" y="61"/>
                  </a:lnTo>
                  <a:lnTo>
                    <a:pt x="41" y="104"/>
                  </a:lnTo>
                  <a:lnTo>
                    <a:pt x="39" y="119"/>
                  </a:lnTo>
                  <a:lnTo>
                    <a:pt x="49" y="147"/>
                  </a:lnTo>
                  <a:lnTo>
                    <a:pt x="41" y="167"/>
                  </a:lnTo>
                  <a:lnTo>
                    <a:pt x="45" y="179"/>
                  </a:lnTo>
                  <a:lnTo>
                    <a:pt x="23" y="207"/>
                  </a:lnTo>
                  <a:lnTo>
                    <a:pt x="10" y="223"/>
                  </a:lnTo>
                  <a:lnTo>
                    <a:pt x="1" y="252"/>
                  </a:lnTo>
                  <a:lnTo>
                    <a:pt x="2" y="282"/>
                  </a:lnTo>
                  <a:lnTo>
                    <a:pt x="0" y="358"/>
                  </a:lnTo>
                  <a:lnTo>
                    <a:pt x="40" y="358"/>
                  </a:lnTo>
                  <a:lnTo>
                    <a:pt x="73" y="357"/>
                  </a:lnTo>
                  <a:lnTo>
                    <a:pt x="104" y="388"/>
                  </a:lnTo>
                  <a:lnTo>
                    <a:pt x="119" y="422"/>
                  </a:lnTo>
                  <a:lnTo>
                    <a:pt x="143" y="451"/>
                  </a:lnTo>
                  <a:lnTo>
                    <a:pt x="179" y="452"/>
                  </a:lnTo>
                  <a:lnTo>
                    <a:pt x="196" y="442"/>
                  </a:lnTo>
                  <a:lnTo>
                    <a:pt x="213" y="444"/>
                  </a:lnTo>
                  <a:lnTo>
                    <a:pt x="260" y="427"/>
                  </a:lnTo>
                  <a:lnTo>
                    <a:pt x="271" y="394"/>
                  </a:lnTo>
                  <a:lnTo>
                    <a:pt x="292" y="348"/>
                  </a:lnTo>
                  <a:lnTo>
                    <a:pt x="304" y="348"/>
                  </a:lnTo>
                  <a:lnTo>
                    <a:pt x="331" y="321"/>
                  </a:lnTo>
                  <a:lnTo>
                    <a:pt x="347" y="320"/>
                  </a:lnTo>
                  <a:lnTo>
                    <a:pt x="373" y="340"/>
                  </a:lnTo>
                  <a:lnTo>
                    <a:pt x="403" y="324"/>
                  </a:lnTo>
                  <a:lnTo>
                    <a:pt x="408" y="304"/>
                  </a:lnTo>
                  <a:lnTo>
                    <a:pt x="417" y="286"/>
                  </a:lnTo>
                  <a:lnTo>
                    <a:pt x="424" y="262"/>
                  </a:lnTo>
                  <a:lnTo>
                    <a:pt x="448" y="242"/>
                  </a:lnTo>
                  <a:lnTo>
                    <a:pt x="456" y="209"/>
                  </a:lnTo>
                  <a:lnTo>
                    <a:pt x="466" y="199"/>
                  </a:lnTo>
                  <a:lnTo>
                    <a:pt x="472" y="174"/>
                  </a:lnTo>
                  <a:lnTo>
                    <a:pt x="483" y="145"/>
                  </a:lnTo>
                  <a:lnTo>
                    <a:pt x="520" y="108"/>
                  </a:lnTo>
                  <a:lnTo>
                    <a:pt x="522" y="92"/>
                  </a:lnTo>
                  <a:lnTo>
                    <a:pt x="526" y="83"/>
                  </a:lnTo>
                  <a:lnTo>
                    <a:pt x="509" y="65"/>
                  </a:lnTo>
                  <a:lnTo>
                    <a:pt x="509" y="6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8" name="Rwanda">
              <a:extLst>
                <a:ext uri="{FF2B5EF4-FFF2-40B4-BE49-F238E27FC236}">
                  <a16:creationId xmlns:a16="http://schemas.microsoft.com/office/drawing/2014/main" id="{BAC210EC-EE86-DD37-EA45-A6BA7EA4E1F1}"/>
                </a:ext>
              </a:extLst>
            </p:cNvPr>
            <p:cNvSpPr>
              <a:spLocks/>
            </p:cNvSpPr>
            <p:nvPr/>
          </p:nvSpPr>
          <p:spPr bwMode="auto">
            <a:xfrm>
              <a:off x="8147941" y="3649000"/>
              <a:ext cx="127000" cy="133350"/>
            </a:xfrm>
            <a:custGeom>
              <a:avLst/>
              <a:gdLst>
                <a:gd name="T0" fmla="*/ 63 w 80"/>
                <a:gd name="T1" fmla="*/ 0 h 84"/>
                <a:gd name="T2" fmla="*/ 35 w 80"/>
                <a:gd name="T3" fmla="*/ 14 h 84"/>
                <a:gd name="T4" fmla="*/ 24 w 80"/>
                <a:gd name="T5" fmla="*/ 10 h 84"/>
                <a:gd name="T6" fmla="*/ 12 w 80"/>
                <a:gd name="T7" fmla="*/ 23 h 84"/>
                <a:gd name="T8" fmla="*/ 10 w 80"/>
                <a:gd name="T9" fmla="*/ 51 h 84"/>
                <a:gd name="T10" fmla="*/ 4 w 80"/>
                <a:gd name="T11" fmla="*/ 54 h 84"/>
                <a:gd name="T12" fmla="*/ 0 w 80"/>
                <a:gd name="T13" fmla="*/ 80 h 84"/>
                <a:gd name="T14" fmla="*/ 26 w 80"/>
                <a:gd name="T15" fmla="*/ 84 h 84"/>
                <a:gd name="T16" fmla="*/ 41 w 80"/>
                <a:gd name="T17" fmla="*/ 57 h 84"/>
                <a:gd name="T18" fmla="*/ 65 w 80"/>
                <a:gd name="T19" fmla="*/ 60 h 84"/>
                <a:gd name="T20" fmla="*/ 65 w 80"/>
                <a:gd name="T21" fmla="*/ 60 h 84"/>
                <a:gd name="T22" fmla="*/ 77 w 80"/>
                <a:gd name="T23" fmla="*/ 54 h 84"/>
                <a:gd name="T24" fmla="*/ 80 w 80"/>
                <a:gd name="T25" fmla="*/ 26 h 84"/>
                <a:gd name="T26" fmla="*/ 63 w 80"/>
                <a:gd name="T27" fmla="*/ 0 h 84"/>
                <a:gd name="T28" fmla="*/ 63 w 80"/>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4">
                  <a:moveTo>
                    <a:pt x="63" y="0"/>
                  </a:moveTo>
                  <a:lnTo>
                    <a:pt x="35" y="14"/>
                  </a:lnTo>
                  <a:lnTo>
                    <a:pt x="24" y="10"/>
                  </a:lnTo>
                  <a:lnTo>
                    <a:pt x="12" y="23"/>
                  </a:lnTo>
                  <a:lnTo>
                    <a:pt x="10" y="51"/>
                  </a:lnTo>
                  <a:lnTo>
                    <a:pt x="4" y="54"/>
                  </a:lnTo>
                  <a:lnTo>
                    <a:pt x="0" y="80"/>
                  </a:lnTo>
                  <a:lnTo>
                    <a:pt x="26" y="84"/>
                  </a:lnTo>
                  <a:lnTo>
                    <a:pt x="41" y="57"/>
                  </a:lnTo>
                  <a:lnTo>
                    <a:pt x="65" y="60"/>
                  </a:lnTo>
                  <a:lnTo>
                    <a:pt x="65" y="60"/>
                  </a:lnTo>
                  <a:lnTo>
                    <a:pt x="77" y="54"/>
                  </a:lnTo>
                  <a:lnTo>
                    <a:pt x="80" y="26"/>
                  </a:lnTo>
                  <a:lnTo>
                    <a:pt x="63" y="0"/>
                  </a:lnTo>
                  <a:lnTo>
                    <a:pt x="63"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9" name="Western Sahara">
              <a:extLst>
                <a:ext uri="{FF2B5EF4-FFF2-40B4-BE49-F238E27FC236}">
                  <a16:creationId xmlns:a16="http://schemas.microsoft.com/office/drawing/2014/main" id="{E97DD66C-B82D-1D1A-DF08-6F9F5F84EC60}"/>
                </a:ext>
              </a:extLst>
            </p:cNvPr>
            <p:cNvSpPr>
              <a:spLocks/>
            </p:cNvSpPr>
            <p:nvPr/>
          </p:nvSpPr>
          <p:spPr bwMode="auto">
            <a:xfrm>
              <a:off x="4906266" y="1501111"/>
              <a:ext cx="590550" cy="496888"/>
            </a:xfrm>
            <a:custGeom>
              <a:avLst/>
              <a:gdLst>
                <a:gd name="T0" fmla="*/ 372 w 372"/>
                <a:gd name="T1" fmla="*/ 0 h 313"/>
                <a:gd name="T2" fmla="*/ 366 w 372"/>
                <a:gd name="T3" fmla="*/ 0 h 313"/>
                <a:gd name="T4" fmla="*/ 366 w 372"/>
                <a:gd name="T5" fmla="*/ 0 h 313"/>
                <a:gd name="T6" fmla="*/ 366 w 372"/>
                <a:gd name="T7" fmla="*/ 25 h 313"/>
                <a:gd name="T8" fmla="*/ 339 w 372"/>
                <a:gd name="T9" fmla="*/ 27 h 313"/>
                <a:gd name="T10" fmla="*/ 326 w 372"/>
                <a:gd name="T11" fmla="*/ 38 h 313"/>
                <a:gd name="T12" fmla="*/ 306 w 372"/>
                <a:gd name="T13" fmla="*/ 38 h 313"/>
                <a:gd name="T14" fmla="*/ 290 w 372"/>
                <a:gd name="T15" fmla="*/ 32 h 313"/>
                <a:gd name="T16" fmla="*/ 254 w 372"/>
                <a:gd name="T17" fmla="*/ 36 h 313"/>
                <a:gd name="T18" fmla="*/ 238 w 372"/>
                <a:gd name="T19" fmla="*/ 73 h 313"/>
                <a:gd name="T20" fmla="*/ 225 w 372"/>
                <a:gd name="T21" fmla="*/ 77 h 313"/>
                <a:gd name="T22" fmla="*/ 203 w 372"/>
                <a:gd name="T23" fmla="*/ 136 h 313"/>
                <a:gd name="T24" fmla="*/ 141 w 372"/>
                <a:gd name="T25" fmla="*/ 186 h 313"/>
                <a:gd name="T26" fmla="*/ 125 w 372"/>
                <a:gd name="T27" fmla="*/ 252 h 313"/>
                <a:gd name="T28" fmla="*/ 107 w 372"/>
                <a:gd name="T29" fmla="*/ 273 h 313"/>
                <a:gd name="T30" fmla="*/ 101 w 372"/>
                <a:gd name="T31" fmla="*/ 290 h 313"/>
                <a:gd name="T32" fmla="*/ 2 w 372"/>
                <a:gd name="T33" fmla="*/ 293 h 313"/>
                <a:gd name="T34" fmla="*/ 2 w 372"/>
                <a:gd name="T35" fmla="*/ 293 h 313"/>
                <a:gd name="T36" fmla="*/ 0 w 372"/>
                <a:gd name="T37" fmla="*/ 313 h 313"/>
                <a:gd name="T38" fmla="*/ 10 w 372"/>
                <a:gd name="T39" fmla="*/ 298 h 313"/>
                <a:gd name="T40" fmla="*/ 181 w 372"/>
                <a:gd name="T41" fmla="*/ 298 h 313"/>
                <a:gd name="T42" fmla="*/ 174 w 372"/>
                <a:gd name="T43" fmla="*/ 230 h 313"/>
                <a:gd name="T44" fmla="*/ 185 w 372"/>
                <a:gd name="T45" fmla="*/ 206 h 313"/>
                <a:gd name="T46" fmla="*/ 226 w 372"/>
                <a:gd name="T47" fmla="*/ 202 h 313"/>
                <a:gd name="T48" fmla="*/ 227 w 372"/>
                <a:gd name="T49" fmla="*/ 81 h 313"/>
                <a:gd name="T50" fmla="*/ 370 w 372"/>
                <a:gd name="T51" fmla="*/ 84 h 313"/>
                <a:gd name="T52" fmla="*/ 371 w 372"/>
                <a:gd name="T53" fmla="*/ 12 h 313"/>
                <a:gd name="T54" fmla="*/ 372 w 372"/>
                <a:gd name="T55" fmla="*/ 3 h 313"/>
                <a:gd name="T56" fmla="*/ 372 w 372"/>
                <a:gd name="T57" fmla="*/ 0 h 313"/>
                <a:gd name="T58" fmla="*/ 372 w 372"/>
                <a:gd name="T5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313">
                  <a:moveTo>
                    <a:pt x="372" y="0"/>
                  </a:moveTo>
                  <a:lnTo>
                    <a:pt x="366" y="0"/>
                  </a:lnTo>
                  <a:lnTo>
                    <a:pt x="366" y="0"/>
                  </a:lnTo>
                  <a:lnTo>
                    <a:pt x="366" y="25"/>
                  </a:lnTo>
                  <a:lnTo>
                    <a:pt x="339" y="27"/>
                  </a:lnTo>
                  <a:lnTo>
                    <a:pt x="326" y="38"/>
                  </a:lnTo>
                  <a:lnTo>
                    <a:pt x="306" y="38"/>
                  </a:lnTo>
                  <a:lnTo>
                    <a:pt x="290" y="32"/>
                  </a:lnTo>
                  <a:lnTo>
                    <a:pt x="254" y="36"/>
                  </a:lnTo>
                  <a:lnTo>
                    <a:pt x="238" y="73"/>
                  </a:lnTo>
                  <a:lnTo>
                    <a:pt x="225" y="77"/>
                  </a:lnTo>
                  <a:lnTo>
                    <a:pt x="203" y="136"/>
                  </a:lnTo>
                  <a:lnTo>
                    <a:pt x="141" y="186"/>
                  </a:lnTo>
                  <a:lnTo>
                    <a:pt x="125" y="252"/>
                  </a:lnTo>
                  <a:lnTo>
                    <a:pt x="107" y="273"/>
                  </a:lnTo>
                  <a:lnTo>
                    <a:pt x="101" y="290"/>
                  </a:lnTo>
                  <a:lnTo>
                    <a:pt x="2" y="293"/>
                  </a:lnTo>
                  <a:lnTo>
                    <a:pt x="2" y="293"/>
                  </a:lnTo>
                  <a:lnTo>
                    <a:pt x="0" y="313"/>
                  </a:lnTo>
                  <a:lnTo>
                    <a:pt x="10" y="298"/>
                  </a:lnTo>
                  <a:lnTo>
                    <a:pt x="181" y="298"/>
                  </a:lnTo>
                  <a:lnTo>
                    <a:pt x="174" y="230"/>
                  </a:lnTo>
                  <a:lnTo>
                    <a:pt x="185" y="206"/>
                  </a:lnTo>
                  <a:lnTo>
                    <a:pt x="226" y="202"/>
                  </a:lnTo>
                  <a:lnTo>
                    <a:pt x="227" y="81"/>
                  </a:lnTo>
                  <a:lnTo>
                    <a:pt x="370" y="84"/>
                  </a:lnTo>
                  <a:lnTo>
                    <a:pt x="371" y="12"/>
                  </a:lnTo>
                  <a:lnTo>
                    <a:pt x="372" y="3"/>
                  </a:lnTo>
                  <a:lnTo>
                    <a:pt x="372" y="0"/>
                  </a:lnTo>
                  <a:lnTo>
                    <a:pt x="372"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0" name="Sudan">
              <a:extLst>
                <a:ext uri="{FF2B5EF4-FFF2-40B4-BE49-F238E27FC236}">
                  <a16:creationId xmlns:a16="http://schemas.microsoft.com/office/drawing/2014/main" id="{9CB3EB4B-53E2-59D9-6AAB-C6D6DA2F9E0A}"/>
                </a:ext>
              </a:extLst>
            </p:cNvPr>
            <p:cNvSpPr>
              <a:spLocks/>
            </p:cNvSpPr>
            <p:nvPr/>
          </p:nvSpPr>
          <p:spPr bwMode="auto">
            <a:xfrm>
              <a:off x="7633591" y="1923387"/>
              <a:ext cx="1139825" cy="996950"/>
            </a:xfrm>
            <a:custGeom>
              <a:avLst/>
              <a:gdLst>
                <a:gd name="T0" fmla="*/ 652 w 718"/>
                <a:gd name="T1" fmla="*/ 237 h 628"/>
                <a:gd name="T2" fmla="*/ 697 w 718"/>
                <a:gd name="T3" fmla="*/ 215 h 628"/>
                <a:gd name="T4" fmla="*/ 694 w 718"/>
                <a:gd name="T5" fmla="*/ 171 h 628"/>
                <a:gd name="T6" fmla="*/ 656 w 718"/>
                <a:gd name="T7" fmla="*/ 103 h 628"/>
                <a:gd name="T8" fmla="*/ 656 w 718"/>
                <a:gd name="T9" fmla="*/ 46 h 628"/>
                <a:gd name="T10" fmla="*/ 466 w 718"/>
                <a:gd name="T11" fmla="*/ 0 h 628"/>
                <a:gd name="T12" fmla="*/ 121 w 718"/>
                <a:gd name="T13" fmla="*/ 0 h 628"/>
                <a:gd name="T14" fmla="*/ 74 w 718"/>
                <a:gd name="T15" fmla="*/ 94 h 628"/>
                <a:gd name="T16" fmla="*/ 84 w 718"/>
                <a:gd name="T17" fmla="*/ 300 h 628"/>
                <a:gd name="T18" fmla="*/ 26 w 718"/>
                <a:gd name="T19" fmla="*/ 331 h 628"/>
                <a:gd name="T20" fmla="*/ 24 w 718"/>
                <a:gd name="T21" fmla="*/ 371 h 628"/>
                <a:gd name="T22" fmla="*/ 16 w 718"/>
                <a:gd name="T23" fmla="*/ 405 h 628"/>
                <a:gd name="T24" fmla="*/ 0 w 718"/>
                <a:gd name="T25" fmla="*/ 442 h 628"/>
                <a:gd name="T26" fmla="*/ 26 w 718"/>
                <a:gd name="T27" fmla="*/ 458 h 628"/>
                <a:gd name="T28" fmla="*/ 43 w 718"/>
                <a:gd name="T29" fmla="*/ 499 h 628"/>
                <a:gd name="T30" fmla="*/ 49 w 718"/>
                <a:gd name="T31" fmla="*/ 530 h 628"/>
                <a:gd name="T32" fmla="*/ 75 w 718"/>
                <a:gd name="T33" fmla="*/ 579 h 628"/>
                <a:gd name="T34" fmla="*/ 72 w 718"/>
                <a:gd name="T35" fmla="*/ 613 h 628"/>
                <a:gd name="T36" fmla="*/ 91 w 718"/>
                <a:gd name="T37" fmla="*/ 628 h 628"/>
                <a:gd name="T38" fmla="*/ 120 w 718"/>
                <a:gd name="T39" fmla="*/ 615 h 628"/>
                <a:gd name="T40" fmla="*/ 142 w 718"/>
                <a:gd name="T41" fmla="*/ 551 h 628"/>
                <a:gd name="T42" fmla="*/ 182 w 718"/>
                <a:gd name="T43" fmla="*/ 557 h 628"/>
                <a:gd name="T44" fmla="*/ 218 w 718"/>
                <a:gd name="T45" fmla="*/ 589 h 628"/>
                <a:gd name="T46" fmla="*/ 265 w 718"/>
                <a:gd name="T47" fmla="*/ 583 h 628"/>
                <a:gd name="T48" fmla="*/ 316 w 718"/>
                <a:gd name="T49" fmla="*/ 592 h 628"/>
                <a:gd name="T50" fmla="*/ 340 w 718"/>
                <a:gd name="T51" fmla="*/ 573 h 628"/>
                <a:gd name="T52" fmla="*/ 361 w 718"/>
                <a:gd name="T53" fmla="*/ 550 h 628"/>
                <a:gd name="T54" fmla="*/ 421 w 718"/>
                <a:gd name="T55" fmla="*/ 572 h 628"/>
                <a:gd name="T56" fmla="*/ 467 w 718"/>
                <a:gd name="T57" fmla="*/ 513 h 628"/>
                <a:gd name="T58" fmla="*/ 451 w 718"/>
                <a:gd name="T59" fmla="*/ 471 h 628"/>
                <a:gd name="T60" fmla="*/ 480 w 718"/>
                <a:gd name="T61" fmla="*/ 459 h 628"/>
                <a:gd name="T62" fmla="*/ 496 w 718"/>
                <a:gd name="T63" fmla="*/ 496 h 628"/>
                <a:gd name="T64" fmla="*/ 526 w 718"/>
                <a:gd name="T65" fmla="*/ 549 h 628"/>
                <a:gd name="T66" fmla="*/ 532 w 718"/>
                <a:gd name="T67" fmla="*/ 588 h 628"/>
                <a:gd name="T68" fmla="*/ 538 w 718"/>
                <a:gd name="T69" fmla="*/ 583 h 628"/>
                <a:gd name="T70" fmla="*/ 570 w 718"/>
                <a:gd name="T71" fmla="*/ 522 h 628"/>
                <a:gd name="T72" fmla="*/ 592 w 718"/>
                <a:gd name="T73" fmla="*/ 465 h 628"/>
                <a:gd name="T74" fmla="*/ 634 w 718"/>
                <a:gd name="T75" fmla="*/ 397 h 628"/>
                <a:gd name="T76" fmla="*/ 634 w 718"/>
                <a:gd name="T77" fmla="*/ 337 h 628"/>
                <a:gd name="T78" fmla="*/ 650 w 718"/>
                <a:gd name="T79" fmla="*/ 2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8" h="628">
                  <a:moveTo>
                    <a:pt x="650" y="269"/>
                  </a:moveTo>
                  <a:lnTo>
                    <a:pt x="652" y="237"/>
                  </a:lnTo>
                  <a:lnTo>
                    <a:pt x="665" y="223"/>
                  </a:lnTo>
                  <a:lnTo>
                    <a:pt x="697" y="215"/>
                  </a:lnTo>
                  <a:lnTo>
                    <a:pt x="718" y="188"/>
                  </a:lnTo>
                  <a:lnTo>
                    <a:pt x="694" y="171"/>
                  </a:lnTo>
                  <a:lnTo>
                    <a:pt x="675" y="159"/>
                  </a:lnTo>
                  <a:lnTo>
                    <a:pt x="656" y="103"/>
                  </a:lnTo>
                  <a:lnTo>
                    <a:pt x="647" y="55"/>
                  </a:lnTo>
                  <a:lnTo>
                    <a:pt x="656" y="46"/>
                  </a:lnTo>
                  <a:lnTo>
                    <a:pt x="639" y="0"/>
                  </a:lnTo>
                  <a:lnTo>
                    <a:pt x="466" y="0"/>
                  </a:lnTo>
                  <a:lnTo>
                    <a:pt x="296" y="0"/>
                  </a:lnTo>
                  <a:lnTo>
                    <a:pt x="121" y="0"/>
                  </a:lnTo>
                  <a:lnTo>
                    <a:pt x="125" y="94"/>
                  </a:lnTo>
                  <a:lnTo>
                    <a:pt x="74" y="94"/>
                  </a:lnTo>
                  <a:lnTo>
                    <a:pt x="74" y="114"/>
                  </a:lnTo>
                  <a:lnTo>
                    <a:pt x="84" y="300"/>
                  </a:lnTo>
                  <a:lnTo>
                    <a:pt x="45" y="297"/>
                  </a:lnTo>
                  <a:lnTo>
                    <a:pt x="26" y="331"/>
                  </a:lnTo>
                  <a:lnTo>
                    <a:pt x="15" y="360"/>
                  </a:lnTo>
                  <a:lnTo>
                    <a:pt x="24" y="371"/>
                  </a:lnTo>
                  <a:lnTo>
                    <a:pt x="10" y="386"/>
                  </a:lnTo>
                  <a:lnTo>
                    <a:pt x="16" y="405"/>
                  </a:lnTo>
                  <a:lnTo>
                    <a:pt x="5" y="425"/>
                  </a:lnTo>
                  <a:lnTo>
                    <a:pt x="0" y="442"/>
                  </a:lnTo>
                  <a:lnTo>
                    <a:pt x="16" y="439"/>
                  </a:lnTo>
                  <a:lnTo>
                    <a:pt x="26" y="458"/>
                  </a:lnTo>
                  <a:lnTo>
                    <a:pt x="27" y="485"/>
                  </a:lnTo>
                  <a:lnTo>
                    <a:pt x="43" y="499"/>
                  </a:lnTo>
                  <a:lnTo>
                    <a:pt x="43" y="510"/>
                  </a:lnTo>
                  <a:lnTo>
                    <a:pt x="49" y="530"/>
                  </a:lnTo>
                  <a:lnTo>
                    <a:pt x="75" y="560"/>
                  </a:lnTo>
                  <a:lnTo>
                    <a:pt x="75" y="579"/>
                  </a:lnTo>
                  <a:lnTo>
                    <a:pt x="69" y="598"/>
                  </a:lnTo>
                  <a:lnTo>
                    <a:pt x="72" y="613"/>
                  </a:lnTo>
                  <a:lnTo>
                    <a:pt x="87" y="627"/>
                  </a:lnTo>
                  <a:lnTo>
                    <a:pt x="91" y="628"/>
                  </a:lnTo>
                  <a:lnTo>
                    <a:pt x="105" y="623"/>
                  </a:lnTo>
                  <a:lnTo>
                    <a:pt x="120" y="615"/>
                  </a:lnTo>
                  <a:lnTo>
                    <a:pt x="130" y="572"/>
                  </a:lnTo>
                  <a:lnTo>
                    <a:pt x="142" y="551"/>
                  </a:lnTo>
                  <a:lnTo>
                    <a:pt x="174" y="544"/>
                  </a:lnTo>
                  <a:lnTo>
                    <a:pt x="182" y="557"/>
                  </a:lnTo>
                  <a:lnTo>
                    <a:pt x="206" y="584"/>
                  </a:lnTo>
                  <a:lnTo>
                    <a:pt x="218" y="589"/>
                  </a:lnTo>
                  <a:lnTo>
                    <a:pt x="233" y="581"/>
                  </a:lnTo>
                  <a:lnTo>
                    <a:pt x="265" y="583"/>
                  </a:lnTo>
                  <a:lnTo>
                    <a:pt x="272" y="592"/>
                  </a:lnTo>
                  <a:lnTo>
                    <a:pt x="316" y="592"/>
                  </a:lnTo>
                  <a:lnTo>
                    <a:pt x="317" y="583"/>
                  </a:lnTo>
                  <a:lnTo>
                    <a:pt x="340" y="573"/>
                  </a:lnTo>
                  <a:lnTo>
                    <a:pt x="345" y="560"/>
                  </a:lnTo>
                  <a:lnTo>
                    <a:pt x="361" y="550"/>
                  </a:lnTo>
                  <a:lnTo>
                    <a:pt x="400" y="578"/>
                  </a:lnTo>
                  <a:lnTo>
                    <a:pt x="421" y="572"/>
                  </a:lnTo>
                  <a:lnTo>
                    <a:pt x="443" y="538"/>
                  </a:lnTo>
                  <a:lnTo>
                    <a:pt x="467" y="513"/>
                  </a:lnTo>
                  <a:lnTo>
                    <a:pt x="462" y="485"/>
                  </a:lnTo>
                  <a:lnTo>
                    <a:pt x="451" y="471"/>
                  </a:lnTo>
                  <a:lnTo>
                    <a:pt x="478" y="469"/>
                  </a:lnTo>
                  <a:lnTo>
                    <a:pt x="480" y="459"/>
                  </a:lnTo>
                  <a:lnTo>
                    <a:pt x="501" y="461"/>
                  </a:lnTo>
                  <a:lnTo>
                    <a:pt x="496" y="496"/>
                  </a:lnTo>
                  <a:lnTo>
                    <a:pt x="503" y="530"/>
                  </a:lnTo>
                  <a:lnTo>
                    <a:pt x="526" y="549"/>
                  </a:lnTo>
                  <a:lnTo>
                    <a:pt x="532" y="565"/>
                  </a:lnTo>
                  <a:lnTo>
                    <a:pt x="532" y="588"/>
                  </a:lnTo>
                  <a:lnTo>
                    <a:pt x="538" y="589"/>
                  </a:lnTo>
                  <a:lnTo>
                    <a:pt x="538" y="583"/>
                  </a:lnTo>
                  <a:lnTo>
                    <a:pt x="550" y="534"/>
                  </a:lnTo>
                  <a:lnTo>
                    <a:pt x="570" y="522"/>
                  </a:lnTo>
                  <a:lnTo>
                    <a:pt x="575" y="502"/>
                  </a:lnTo>
                  <a:lnTo>
                    <a:pt x="592" y="465"/>
                  </a:lnTo>
                  <a:lnTo>
                    <a:pt x="618" y="443"/>
                  </a:lnTo>
                  <a:lnTo>
                    <a:pt x="634" y="397"/>
                  </a:lnTo>
                  <a:lnTo>
                    <a:pt x="640" y="356"/>
                  </a:lnTo>
                  <a:lnTo>
                    <a:pt x="634" y="337"/>
                  </a:lnTo>
                  <a:lnTo>
                    <a:pt x="650" y="269"/>
                  </a:lnTo>
                  <a:lnTo>
                    <a:pt x="650" y="269"/>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1" name="South Sudan">
              <a:extLst>
                <a:ext uri="{FF2B5EF4-FFF2-40B4-BE49-F238E27FC236}">
                  <a16:creationId xmlns:a16="http://schemas.microsoft.com/office/drawing/2014/main" id="{AF4C09BC-278F-6895-BB90-3BDA5587F150}"/>
                </a:ext>
              </a:extLst>
            </p:cNvPr>
            <p:cNvSpPr>
              <a:spLocks/>
            </p:cNvSpPr>
            <p:nvPr/>
          </p:nvSpPr>
          <p:spPr bwMode="auto">
            <a:xfrm>
              <a:off x="7778054" y="2652050"/>
              <a:ext cx="809625" cy="650875"/>
            </a:xfrm>
            <a:custGeom>
              <a:avLst/>
              <a:gdLst>
                <a:gd name="T0" fmla="*/ 435 w 510"/>
                <a:gd name="T1" fmla="*/ 90 h 410"/>
                <a:gd name="T2" fmla="*/ 405 w 510"/>
                <a:gd name="T3" fmla="*/ 37 h 410"/>
                <a:gd name="T4" fmla="*/ 389 w 510"/>
                <a:gd name="T5" fmla="*/ 0 h 410"/>
                <a:gd name="T6" fmla="*/ 360 w 510"/>
                <a:gd name="T7" fmla="*/ 12 h 410"/>
                <a:gd name="T8" fmla="*/ 376 w 510"/>
                <a:gd name="T9" fmla="*/ 54 h 410"/>
                <a:gd name="T10" fmla="*/ 330 w 510"/>
                <a:gd name="T11" fmla="*/ 113 h 410"/>
                <a:gd name="T12" fmla="*/ 270 w 510"/>
                <a:gd name="T13" fmla="*/ 91 h 410"/>
                <a:gd name="T14" fmla="*/ 249 w 510"/>
                <a:gd name="T15" fmla="*/ 114 h 410"/>
                <a:gd name="T16" fmla="*/ 225 w 510"/>
                <a:gd name="T17" fmla="*/ 133 h 410"/>
                <a:gd name="T18" fmla="*/ 174 w 510"/>
                <a:gd name="T19" fmla="*/ 124 h 410"/>
                <a:gd name="T20" fmla="*/ 127 w 510"/>
                <a:gd name="T21" fmla="*/ 130 h 410"/>
                <a:gd name="T22" fmla="*/ 91 w 510"/>
                <a:gd name="T23" fmla="*/ 98 h 410"/>
                <a:gd name="T24" fmla="*/ 51 w 510"/>
                <a:gd name="T25" fmla="*/ 92 h 410"/>
                <a:gd name="T26" fmla="*/ 29 w 510"/>
                <a:gd name="T27" fmla="*/ 156 h 410"/>
                <a:gd name="T28" fmla="*/ 0 w 510"/>
                <a:gd name="T29" fmla="*/ 169 h 410"/>
                <a:gd name="T30" fmla="*/ 56 w 510"/>
                <a:gd name="T31" fmla="*/ 207 h 410"/>
                <a:gd name="T32" fmla="*/ 86 w 510"/>
                <a:gd name="T33" fmla="*/ 247 h 410"/>
                <a:gd name="T34" fmla="*/ 117 w 510"/>
                <a:gd name="T35" fmla="*/ 295 h 410"/>
                <a:gd name="T36" fmla="*/ 158 w 510"/>
                <a:gd name="T37" fmla="*/ 329 h 410"/>
                <a:gd name="T38" fmla="*/ 205 w 510"/>
                <a:gd name="T39" fmla="*/ 373 h 410"/>
                <a:gd name="T40" fmla="*/ 237 w 510"/>
                <a:gd name="T41" fmla="*/ 368 h 410"/>
                <a:gd name="T42" fmla="*/ 273 w 510"/>
                <a:gd name="T43" fmla="*/ 378 h 410"/>
                <a:gd name="T44" fmla="*/ 313 w 510"/>
                <a:gd name="T45" fmla="*/ 410 h 410"/>
                <a:gd name="T46" fmla="*/ 360 w 510"/>
                <a:gd name="T47" fmla="*/ 407 h 410"/>
                <a:gd name="T48" fmla="*/ 427 w 510"/>
                <a:gd name="T49" fmla="*/ 397 h 410"/>
                <a:gd name="T50" fmla="*/ 481 w 510"/>
                <a:gd name="T51" fmla="*/ 347 h 410"/>
                <a:gd name="T52" fmla="*/ 484 w 510"/>
                <a:gd name="T53" fmla="*/ 265 h 410"/>
                <a:gd name="T54" fmla="*/ 455 w 510"/>
                <a:gd name="T55" fmla="*/ 235 h 410"/>
                <a:gd name="T56" fmla="*/ 404 w 510"/>
                <a:gd name="T57" fmla="*/ 209 h 410"/>
                <a:gd name="T58" fmla="*/ 442 w 510"/>
                <a:gd name="T59" fmla="*/ 181 h 410"/>
                <a:gd name="T60" fmla="*/ 447 w 510"/>
                <a:gd name="T61" fmla="*/ 130 h 410"/>
                <a:gd name="T62" fmla="*/ 441 w 510"/>
                <a:gd name="T63" fmla="*/ 1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410">
                  <a:moveTo>
                    <a:pt x="441" y="106"/>
                  </a:moveTo>
                  <a:lnTo>
                    <a:pt x="435" y="90"/>
                  </a:lnTo>
                  <a:lnTo>
                    <a:pt x="412" y="71"/>
                  </a:lnTo>
                  <a:lnTo>
                    <a:pt x="405" y="37"/>
                  </a:lnTo>
                  <a:lnTo>
                    <a:pt x="410" y="2"/>
                  </a:lnTo>
                  <a:lnTo>
                    <a:pt x="389" y="0"/>
                  </a:lnTo>
                  <a:lnTo>
                    <a:pt x="387" y="10"/>
                  </a:lnTo>
                  <a:lnTo>
                    <a:pt x="360" y="12"/>
                  </a:lnTo>
                  <a:lnTo>
                    <a:pt x="371" y="26"/>
                  </a:lnTo>
                  <a:lnTo>
                    <a:pt x="376" y="54"/>
                  </a:lnTo>
                  <a:lnTo>
                    <a:pt x="352" y="79"/>
                  </a:lnTo>
                  <a:lnTo>
                    <a:pt x="330" y="113"/>
                  </a:lnTo>
                  <a:lnTo>
                    <a:pt x="309" y="119"/>
                  </a:lnTo>
                  <a:lnTo>
                    <a:pt x="270" y="91"/>
                  </a:lnTo>
                  <a:lnTo>
                    <a:pt x="254" y="101"/>
                  </a:lnTo>
                  <a:lnTo>
                    <a:pt x="249" y="114"/>
                  </a:lnTo>
                  <a:lnTo>
                    <a:pt x="226" y="124"/>
                  </a:lnTo>
                  <a:lnTo>
                    <a:pt x="225" y="133"/>
                  </a:lnTo>
                  <a:lnTo>
                    <a:pt x="181" y="133"/>
                  </a:lnTo>
                  <a:lnTo>
                    <a:pt x="174" y="124"/>
                  </a:lnTo>
                  <a:lnTo>
                    <a:pt x="142" y="122"/>
                  </a:lnTo>
                  <a:lnTo>
                    <a:pt x="127" y="130"/>
                  </a:lnTo>
                  <a:lnTo>
                    <a:pt x="115" y="125"/>
                  </a:lnTo>
                  <a:lnTo>
                    <a:pt x="91" y="98"/>
                  </a:lnTo>
                  <a:lnTo>
                    <a:pt x="83" y="85"/>
                  </a:lnTo>
                  <a:lnTo>
                    <a:pt x="51" y="92"/>
                  </a:lnTo>
                  <a:lnTo>
                    <a:pt x="39" y="113"/>
                  </a:lnTo>
                  <a:lnTo>
                    <a:pt x="29" y="156"/>
                  </a:lnTo>
                  <a:lnTo>
                    <a:pt x="14" y="164"/>
                  </a:lnTo>
                  <a:lnTo>
                    <a:pt x="0" y="169"/>
                  </a:lnTo>
                  <a:lnTo>
                    <a:pt x="31" y="188"/>
                  </a:lnTo>
                  <a:lnTo>
                    <a:pt x="56" y="207"/>
                  </a:lnTo>
                  <a:lnTo>
                    <a:pt x="56" y="222"/>
                  </a:lnTo>
                  <a:lnTo>
                    <a:pt x="86" y="247"/>
                  </a:lnTo>
                  <a:lnTo>
                    <a:pt x="105" y="267"/>
                  </a:lnTo>
                  <a:lnTo>
                    <a:pt x="117" y="295"/>
                  </a:lnTo>
                  <a:lnTo>
                    <a:pt x="151" y="314"/>
                  </a:lnTo>
                  <a:lnTo>
                    <a:pt x="158" y="329"/>
                  </a:lnTo>
                  <a:lnTo>
                    <a:pt x="185" y="367"/>
                  </a:lnTo>
                  <a:lnTo>
                    <a:pt x="205" y="373"/>
                  </a:lnTo>
                  <a:lnTo>
                    <a:pt x="217" y="366"/>
                  </a:lnTo>
                  <a:lnTo>
                    <a:pt x="237" y="368"/>
                  </a:lnTo>
                  <a:lnTo>
                    <a:pt x="263" y="359"/>
                  </a:lnTo>
                  <a:lnTo>
                    <a:pt x="273" y="378"/>
                  </a:lnTo>
                  <a:lnTo>
                    <a:pt x="313" y="410"/>
                  </a:lnTo>
                  <a:lnTo>
                    <a:pt x="313" y="410"/>
                  </a:lnTo>
                  <a:lnTo>
                    <a:pt x="331" y="397"/>
                  </a:lnTo>
                  <a:lnTo>
                    <a:pt x="360" y="407"/>
                  </a:lnTo>
                  <a:lnTo>
                    <a:pt x="395" y="396"/>
                  </a:lnTo>
                  <a:lnTo>
                    <a:pt x="427" y="397"/>
                  </a:lnTo>
                  <a:lnTo>
                    <a:pt x="454" y="375"/>
                  </a:lnTo>
                  <a:lnTo>
                    <a:pt x="481" y="347"/>
                  </a:lnTo>
                  <a:lnTo>
                    <a:pt x="510" y="316"/>
                  </a:lnTo>
                  <a:lnTo>
                    <a:pt x="484" y="265"/>
                  </a:lnTo>
                  <a:lnTo>
                    <a:pt x="463" y="254"/>
                  </a:lnTo>
                  <a:lnTo>
                    <a:pt x="455" y="235"/>
                  </a:lnTo>
                  <a:lnTo>
                    <a:pt x="432" y="212"/>
                  </a:lnTo>
                  <a:lnTo>
                    <a:pt x="404" y="209"/>
                  </a:lnTo>
                  <a:lnTo>
                    <a:pt x="419" y="182"/>
                  </a:lnTo>
                  <a:lnTo>
                    <a:pt x="442" y="181"/>
                  </a:lnTo>
                  <a:lnTo>
                    <a:pt x="449" y="167"/>
                  </a:lnTo>
                  <a:lnTo>
                    <a:pt x="447" y="130"/>
                  </a:lnTo>
                  <a:lnTo>
                    <a:pt x="441" y="129"/>
                  </a:lnTo>
                  <a:lnTo>
                    <a:pt x="441" y="106"/>
                  </a:lnTo>
                  <a:lnTo>
                    <a:pt x="441" y="106"/>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2" name="Senegal">
              <a:extLst>
                <a:ext uri="{FF2B5EF4-FFF2-40B4-BE49-F238E27FC236}">
                  <a16:creationId xmlns:a16="http://schemas.microsoft.com/office/drawing/2014/main" id="{234E9F15-BCEB-5A8C-3103-A951BC41A2DA}"/>
                </a:ext>
              </a:extLst>
            </p:cNvPr>
            <p:cNvSpPr>
              <a:spLocks/>
            </p:cNvSpPr>
            <p:nvPr/>
          </p:nvSpPr>
          <p:spPr bwMode="auto">
            <a:xfrm>
              <a:off x="4858807" y="2321525"/>
              <a:ext cx="430213" cy="317500"/>
            </a:xfrm>
            <a:custGeom>
              <a:avLst/>
              <a:gdLst>
                <a:gd name="T0" fmla="*/ 241 w 271"/>
                <a:gd name="T1" fmla="*/ 93 h 200"/>
                <a:gd name="T2" fmla="*/ 213 w 271"/>
                <a:gd name="T3" fmla="*/ 60 h 200"/>
                <a:gd name="T4" fmla="*/ 186 w 271"/>
                <a:gd name="T5" fmla="*/ 26 h 200"/>
                <a:gd name="T6" fmla="*/ 158 w 271"/>
                <a:gd name="T7" fmla="*/ 14 h 200"/>
                <a:gd name="T8" fmla="*/ 137 w 271"/>
                <a:gd name="T9" fmla="*/ 0 h 200"/>
                <a:gd name="T10" fmla="*/ 112 w 271"/>
                <a:gd name="T11" fmla="*/ 0 h 200"/>
                <a:gd name="T12" fmla="*/ 90 w 271"/>
                <a:gd name="T13" fmla="*/ 10 h 200"/>
                <a:gd name="T14" fmla="*/ 68 w 271"/>
                <a:gd name="T15" fmla="*/ 6 h 200"/>
                <a:gd name="T16" fmla="*/ 53 w 271"/>
                <a:gd name="T17" fmla="*/ 21 h 200"/>
                <a:gd name="T18" fmla="*/ 42 w 271"/>
                <a:gd name="T19" fmla="*/ 46 h 200"/>
                <a:gd name="T20" fmla="*/ 20 w 271"/>
                <a:gd name="T21" fmla="*/ 79 h 200"/>
                <a:gd name="T22" fmla="*/ 0 w 271"/>
                <a:gd name="T23" fmla="*/ 88 h 200"/>
                <a:gd name="T24" fmla="*/ 22 w 271"/>
                <a:gd name="T25" fmla="*/ 105 h 200"/>
                <a:gd name="T26" fmla="*/ 39 w 271"/>
                <a:gd name="T27" fmla="*/ 141 h 200"/>
                <a:gd name="T28" fmla="*/ 88 w 271"/>
                <a:gd name="T29" fmla="*/ 139 h 200"/>
                <a:gd name="T30" fmla="*/ 98 w 271"/>
                <a:gd name="T31" fmla="*/ 128 h 200"/>
                <a:gd name="T32" fmla="*/ 112 w 271"/>
                <a:gd name="T33" fmla="*/ 127 h 200"/>
                <a:gd name="T34" fmla="*/ 129 w 271"/>
                <a:gd name="T35" fmla="*/ 139 h 200"/>
                <a:gd name="T36" fmla="*/ 143 w 271"/>
                <a:gd name="T37" fmla="*/ 139 h 200"/>
                <a:gd name="T38" fmla="*/ 158 w 271"/>
                <a:gd name="T39" fmla="*/ 132 h 200"/>
                <a:gd name="T40" fmla="*/ 166 w 271"/>
                <a:gd name="T41" fmla="*/ 145 h 200"/>
                <a:gd name="T42" fmla="*/ 147 w 271"/>
                <a:gd name="T43" fmla="*/ 155 h 200"/>
                <a:gd name="T44" fmla="*/ 128 w 271"/>
                <a:gd name="T45" fmla="*/ 155 h 200"/>
                <a:gd name="T46" fmla="*/ 109 w 271"/>
                <a:gd name="T47" fmla="*/ 145 h 200"/>
                <a:gd name="T48" fmla="*/ 92 w 271"/>
                <a:gd name="T49" fmla="*/ 155 h 200"/>
                <a:gd name="T50" fmla="*/ 85 w 271"/>
                <a:gd name="T51" fmla="*/ 156 h 200"/>
                <a:gd name="T52" fmla="*/ 74 w 271"/>
                <a:gd name="T53" fmla="*/ 162 h 200"/>
                <a:gd name="T54" fmla="*/ 34 w 271"/>
                <a:gd name="T55" fmla="*/ 162 h 200"/>
                <a:gd name="T56" fmla="*/ 40 w 271"/>
                <a:gd name="T57" fmla="*/ 198 h 200"/>
                <a:gd name="T58" fmla="*/ 64 w 271"/>
                <a:gd name="T59" fmla="*/ 190 h 200"/>
                <a:gd name="T60" fmla="*/ 78 w 271"/>
                <a:gd name="T61" fmla="*/ 192 h 200"/>
                <a:gd name="T62" fmla="*/ 90 w 271"/>
                <a:gd name="T63" fmla="*/ 186 h 200"/>
                <a:gd name="T64" fmla="*/ 172 w 271"/>
                <a:gd name="T65" fmla="*/ 189 h 200"/>
                <a:gd name="T66" fmla="*/ 193 w 271"/>
                <a:gd name="T67" fmla="*/ 189 h 200"/>
                <a:gd name="T68" fmla="*/ 225 w 271"/>
                <a:gd name="T69" fmla="*/ 200 h 200"/>
                <a:gd name="T70" fmla="*/ 235 w 271"/>
                <a:gd name="T71" fmla="*/ 200 h 200"/>
                <a:gd name="T72" fmla="*/ 238 w 271"/>
                <a:gd name="T73" fmla="*/ 194 h 200"/>
                <a:gd name="T74" fmla="*/ 262 w 271"/>
                <a:gd name="T75" fmla="*/ 198 h 200"/>
                <a:gd name="T76" fmla="*/ 269 w 271"/>
                <a:gd name="T77" fmla="*/ 195 h 200"/>
                <a:gd name="T78" fmla="*/ 271 w 271"/>
                <a:gd name="T79" fmla="*/ 180 h 200"/>
                <a:gd name="T80" fmla="*/ 267 w 271"/>
                <a:gd name="T81" fmla="*/ 162 h 200"/>
                <a:gd name="T82" fmla="*/ 251 w 271"/>
                <a:gd name="T83" fmla="*/ 149 h 200"/>
                <a:gd name="T84" fmla="*/ 243 w 271"/>
                <a:gd name="T85" fmla="*/ 122 h 200"/>
                <a:gd name="T86" fmla="*/ 241 w 271"/>
                <a:gd name="T87" fmla="*/ 93 h 200"/>
                <a:gd name="T88" fmla="*/ 241 w 271"/>
                <a:gd name="T89"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200">
                  <a:moveTo>
                    <a:pt x="241" y="93"/>
                  </a:moveTo>
                  <a:lnTo>
                    <a:pt x="213" y="60"/>
                  </a:lnTo>
                  <a:lnTo>
                    <a:pt x="186" y="26"/>
                  </a:lnTo>
                  <a:lnTo>
                    <a:pt x="158" y="14"/>
                  </a:lnTo>
                  <a:lnTo>
                    <a:pt x="137" y="0"/>
                  </a:lnTo>
                  <a:lnTo>
                    <a:pt x="112" y="0"/>
                  </a:lnTo>
                  <a:lnTo>
                    <a:pt x="90" y="10"/>
                  </a:lnTo>
                  <a:lnTo>
                    <a:pt x="68" y="6"/>
                  </a:lnTo>
                  <a:lnTo>
                    <a:pt x="53" y="21"/>
                  </a:lnTo>
                  <a:lnTo>
                    <a:pt x="42" y="46"/>
                  </a:lnTo>
                  <a:lnTo>
                    <a:pt x="20" y="79"/>
                  </a:lnTo>
                  <a:lnTo>
                    <a:pt x="0" y="88"/>
                  </a:lnTo>
                  <a:lnTo>
                    <a:pt x="22" y="105"/>
                  </a:lnTo>
                  <a:lnTo>
                    <a:pt x="39" y="141"/>
                  </a:lnTo>
                  <a:lnTo>
                    <a:pt x="88" y="139"/>
                  </a:lnTo>
                  <a:lnTo>
                    <a:pt x="98" y="128"/>
                  </a:lnTo>
                  <a:lnTo>
                    <a:pt x="112" y="127"/>
                  </a:lnTo>
                  <a:lnTo>
                    <a:pt x="129" y="139"/>
                  </a:lnTo>
                  <a:lnTo>
                    <a:pt x="143" y="139"/>
                  </a:lnTo>
                  <a:lnTo>
                    <a:pt x="158" y="132"/>
                  </a:lnTo>
                  <a:lnTo>
                    <a:pt x="166" y="145"/>
                  </a:lnTo>
                  <a:lnTo>
                    <a:pt x="147" y="155"/>
                  </a:lnTo>
                  <a:lnTo>
                    <a:pt x="128" y="155"/>
                  </a:lnTo>
                  <a:lnTo>
                    <a:pt x="109" y="145"/>
                  </a:lnTo>
                  <a:lnTo>
                    <a:pt x="92" y="155"/>
                  </a:lnTo>
                  <a:lnTo>
                    <a:pt x="85" y="156"/>
                  </a:lnTo>
                  <a:lnTo>
                    <a:pt x="74" y="162"/>
                  </a:lnTo>
                  <a:lnTo>
                    <a:pt x="34" y="162"/>
                  </a:lnTo>
                  <a:lnTo>
                    <a:pt x="40" y="198"/>
                  </a:lnTo>
                  <a:lnTo>
                    <a:pt x="64" y="190"/>
                  </a:lnTo>
                  <a:lnTo>
                    <a:pt x="78" y="192"/>
                  </a:lnTo>
                  <a:lnTo>
                    <a:pt x="90" y="186"/>
                  </a:lnTo>
                  <a:lnTo>
                    <a:pt x="172" y="189"/>
                  </a:lnTo>
                  <a:lnTo>
                    <a:pt x="193" y="189"/>
                  </a:lnTo>
                  <a:lnTo>
                    <a:pt x="225" y="200"/>
                  </a:lnTo>
                  <a:lnTo>
                    <a:pt x="235" y="200"/>
                  </a:lnTo>
                  <a:lnTo>
                    <a:pt x="238" y="194"/>
                  </a:lnTo>
                  <a:lnTo>
                    <a:pt x="262" y="198"/>
                  </a:lnTo>
                  <a:lnTo>
                    <a:pt x="269" y="195"/>
                  </a:lnTo>
                  <a:lnTo>
                    <a:pt x="271" y="180"/>
                  </a:lnTo>
                  <a:lnTo>
                    <a:pt x="267" y="162"/>
                  </a:lnTo>
                  <a:lnTo>
                    <a:pt x="251" y="149"/>
                  </a:lnTo>
                  <a:lnTo>
                    <a:pt x="243" y="122"/>
                  </a:lnTo>
                  <a:lnTo>
                    <a:pt x="241" y="93"/>
                  </a:lnTo>
                  <a:lnTo>
                    <a:pt x="241" y="9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3" name="Sierra Leone">
              <a:extLst>
                <a:ext uri="{FF2B5EF4-FFF2-40B4-BE49-F238E27FC236}">
                  <a16:creationId xmlns:a16="http://schemas.microsoft.com/office/drawing/2014/main" id="{8BE7EF0F-CC91-A041-AC00-94BC89BA6D10}"/>
                </a:ext>
              </a:extLst>
            </p:cNvPr>
            <p:cNvSpPr>
              <a:spLocks/>
            </p:cNvSpPr>
            <p:nvPr/>
          </p:nvSpPr>
          <p:spPr bwMode="auto">
            <a:xfrm>
              <a:off x="5157091" y="2813975"/>
              <a:ext cx="211138" cy="244475"/>
            </a:xfrm>
            <a:custGeom>
              <a:avLst/>
              <a:gdLst>
                <a:gd name="T0" fmla="*/ 133 w 133"/>
                <a:gd name="T1" fmla="*/ 78 h 154"/>
                <a:gd name="T2" fmla="*/ 121 w 133"/>
                <a:gd name="T3" fmla="*/ 80 h 154"/>
                <a:gd name="T4" fmla="*/ 121 w 133"/>
                <a:gd name="T5" fmla="*/ 63 h 154"/>
                <a:gd name="T6" fmla="*/ 115 w 133"/>
                <a:gd name="T7" fmla="*/ 50 h 154"/>
                <a:gd name="T8" fmla="*/ 116 w 133"/>
                <a:gd name="T9" fmla="*/ 37 h 154"/>
                <a:gd name="T10" fmla="*/ 107 w 133"/>
                <a:gd name="T11" fmla="*/ 17 h 154"/>
                <a:gd name="T12" fmla="*/ 95 w 133"/>
                <a:gd name="T13" fmla="*/ 0 h 154"/>
                <a:gd name="T14" fmla="*/ 59 w 133"/>
                <a:gd name="T15" fmla="*/ 0 h 154"/>
                <a:gd name="T16" fmla="*/ 48 w 133"/>
                <a:gd name="T17" fmla="*/ 10 h 154"/>
                <a:gd name="T18" fmla="*/ 36 w 133"/>
                <a:gd name="T19" fmla="*/ 11 h 154"/>
                <a:gd name="T20" fmla="*/ 29 w 133"/>
                <a:gd name="T21" fmla="*/ 21 h 154"/>
                <a:gd name="T22" fmla="*/ 23 w 133"/>
                <a:gd name="T23" fmla="*/ 34 h 154"/>
                <a:gd name="T24" fmla="*/ 0 w 133"/>
                <a:gd name="T25" fmla="*/ 54 h 154"/>
                <a:gd name="T26" fmla="*/ 4 w 133"/>
                <a:gd name="T27" fmla="*/ 90 h 154"/>
                <a:gd name="T28" fmla="*/ 12 w 133"/>
                <a:gd name="T29" fmla="*/ 107 h 154"/>
                <a:gd name="T30" fmla="*/ 35 w 133"/>
                <a:gd name="T31" fmla="*/ 131 h 154"/>
                <a:gd name="T32" fmla="*/ 67 w 133"/>
                <a:gd name="T33" fmla="*/ 151 h 154"/>
                <a:gd name="T34" fmla="*/ 79 w 133"/>
                <a:gd name="T35" fmla="*/ 154 h 154"/>
                <a:gd name="T36" fmla="*/ 89 w 133"/>
                <a:gd name="T37" fmla="*/ 139 h 154"/>
                <a:gd name="T38" fmla="*/ 92 w 133"/>
                <a:gd name="T39" fmla="*/ 125 h 154"/>
                <a:gd name="T40" fmla="*/ 112 w 133"/>
                <a:gd name="T41" fmla="*/ 100 h 154"/>
                <a:gd name="T42" fmla="*/ 133 w 133"/>
                <a:gd name="T43" fmla="*/ 78 h 154"/>
                <a:gd name="T44" fmla="*/ 133 w 133"/>
                <a:gd name="T4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54">
                  <a:moveTo>
                    <a:pt x="133" y="78"/>
                  </a:moveTo>
                  <a:lnTo>
                    <a:pt x="121" y="80"/>
                  </a:lnTo>
                  <a:lnTo>
                    <a:pt x="121" y="63"/>
                  </a:lnTo>
                  <a:lnTo>
                    <a:pt x="115" y="50"/>
                  </a:lnTo>
                  <a:lnTo>
                    <a:pt x="116" y="37"/>
                  </a:lnTo>
                  <a:lnTo>
                    <a:pt x="107" y="17"/>
                  </a:lnTo>
                  <a:lnTo>
                    <a:pt x="95" y="0"/>
                  </a:lnTo>
                  <a:lnTo>
                    <a:pt x="59" y="0"/>
                  </a:lnTo>
                  <a:lnTo>
                    <a:pt x="48" y="10"/>
                  </a:lnTo>
                  <a:lnTo>
                    <a:pt x="36" y="11"/>
                  </a:lnTo>
                  <a:lnTo>
                    <a:pt x="29" y="21"/>
                  </a:lnTo>
                  <a:lnTo>
                    <a:pt x="23" y="34"/>
                  </a:lnTo>
                  <a:lnTo>
                    <a:pt x="0" y="54"/>
                  </a:lnTo>
                  <a:lnTo>
                    <a:pt x="4" y="90"/>
                  </a:lnTo>
                  <a:lnTo>
                    <a:pt x="12" y="107"/>
                  </a:lnTo>
                  <a:lnTo>
                    <a:pt x="35" y="131"/>
                  </a:lnTo>
                  <a:lnTo>
                    <a:pt x="67" y="151"/>
                  </a:lnTo>
                  <a:lnTo>
                    <a:pt x="79" y="154"/>
                  </a:lnTo>
                  <a:lnTo>
                    <a:pt x="89" y="139"/>
                  </a:lnTo>
                  <a:lnTo>
                    <a:pt x="92" y="125"/>
                  </a:lnTo>
                  <a:lnTo>
                    <a:pt x="112" y="100"/>
                  </a:lnTo>
                  <a:lnTo>
                    <a:pt x="133" y="78"/>
                  </a:lnTo>
                  <a:lnTo>
                    <a:pt x="133" y="7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4" name="Swaziland">
              <a:extLst>
                <a:ext uri="{FF2B5EF4-FFF2-40B4-BE49-F238E27FC236}">
                  <a16:creationId xmlns:a16="http://schemas.microsoft.com/office/drawing/2014/main" id="{BB405303-862D-6E71-8166-10357DE6751A}"/>
                </a:ext>
              </a:extLst>
            </p:cNvPr>
            <p:cNvSpPr>
              <a:spLocks/>
            </p:cNvSpPr>
            <p:nvPr/>
          </p:nvSpPr>
          <p:spPr bwMode="auto">
            <a:xfrm>
              <a:off x="8198741" y="5480079"/>
              <a:ext cx="95250" cy="120650"/>
            </a:xfrm>
            <a:custGeom>
              <a:avLst/>
              <a:gdLst>
                <a:gd name="T0" fmla="*/ 53 w 60"/>
                <a:gd name="T1" fmla="*/ 9 h 76"/>
                <a:gd name="T2" fmla="*/ 32 w 60"/>
                <a:gd name="T3" fmla="*/ 0 h 76"/>
                <a:gd name="T4" fmla="*/ 19 w 60"/>
                <a:gd name="T5" fmla="*/ 3 h 76"/>
                <a:gd name="T6" fmla="*/ 13 w 60"/>
                <a:gd name="T7" fmla="*/ 17 h 76"/>
                <a:gd name="T8" fmla="*/ 1 w 60"/>
                <a:gd name="T9" fmla="*/ 35 h 76"/>
                <a:gd name="T10" fmla="*/ 0 w 60"/>
                <a:gd name="T11" fmla="*/ 51 h 76"/>
                <a:gd name="T12" fmla="*/ 23 w 60"/>
                <a:gd name="T13" fmla="*/ 76 h 76"/>
                <a:gd name="T14" fmla="*/ 49 w 60"/>
                <a:gd name="T15" fmla="*/ 71 h 76"/>
                <a:gd name="T16" fmla="*/ 60 w 60"/>
                <a:gd name="T17" fmla="*/ 51 h 76"/>
                <a:gd name="T18" fmla="*/ 57 w 60"/>
                <a:gd name="T19" fmla="*/ 30 h 76"/>
                <a:gd name="T20" fmla="*/ 53 w 60"/>
                <a:gd name="T21" fmla="*/ 9 h 76"/>
                <a:gd name="T22" fmla="*/ 53 w 60"/>
                <a:gd name="T2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76">
                  <a:moveTo>
                    <a:pt x="53" y="9"/>
                  </a:moveTo>
                  <a:lnTo>
                    <a:pt x="32" y="0"/>
                  </a:lnTo>
                  <a:lnTo>
                    <a:pt x="19" y="3"/>
                  </a:lnTo>
                  <a:lnTo>
                    <a:pt x="13" y="17"/>
                  </a:lnTo>
                  <a:lnTo>
                    <a:pt x="1" y="35"/>
                  </a:lnTo>
                  <a:lnTo>
                    <a:pt x="0" y="51"/>
                  </a:lnTo>
                  <a:lnTo>
                    <a:pt x="23" y="76"/>
                  </a:lnTo>
                  <a:lnTo>
                    <a:pt x="49" y="71"/>
                  </a:lnTo>
                  <a:lnTo>
                    <a:pt x="60" y="51"/>
                  </a:lnTo>
                  <a:lnTo>
                    <a:pt x="57" y="30"/>
                  </a:lnTo>
                  <a:lnTo>
                    <a:pt x="53" y="9"/>
                  </a:lnTo>
                  <a:lnTo>
                    <a:pt x="53" y="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5" name="Chad">
              <a:extLst>
                <a:ext uri="{FF2B5EF4-FFF2-40B4-BE49-F238E27FC236}">
                  <a16:creationId xmlns:a16="http://schemas.microsoft.com/office/drawing/2014/main" id="{ABDB51C9-01B2-3C24-5059-33C908BEE895}"/>
                </a:ext>
              </a:extLst>
            </p:cNvPr>
            <p:cNvSpPr>
              <a:spLocks/>
            </p:cNvSpPr>
            <p:nvPr/>
          </p:nvSpPr>
          <p:spPr bwMode="auto">
            <a:xfrm>
              <a:off x="7041454" y="1818612"/>
              <a:ext cx="725488" cy="1192213"/>
            </a:xfrm>
            <a:custGeom>
              <a:avLst/>
              <a:gdLst>
                <a:gd name="T0" fmla="*/ 447 w 457"/>
                <a:gd name="T1" fmla="*/ 180 h 751"/>
                <a:gd name="T2" fmla="*/ 269 w 457"/>
                <a:gd name="T3" fmla="*/ 90 h 751"/>
                <a:gd name="T4" fmla="*/ 93 w 457"/>
                <a:gd name="T5" fmla="*/ 0 h 751"/>
                <a:gd name="T6" fmla="*/ 49 w 457"/>
                <a:gd name="T7" fmla="*/ 25 h 751"/>
                <a:gd name="T8" fmla="*/ 62 w 457"/>
                <a:gd name="T9" fmla="*/ 99 h 751"/>
                <a:gd name="T10" fmla="*/ 78 w 457"/>
                <a:gd name="T11" fmla="*/ 110 h 751"/>
                <a:gd name="T12" fmla="*/ 79 w 457"/>
                <a:gd name="T13" fmla="*/ 126 h 751"/>
                <a:gd name="T14" fmla="*/ 99 w 457"/>
                <a:gd name="T15" fmla="*/ 142 h 751"/>
                <a:gd name="T16" fmla="*/ 89 w 457"/>
                <a:gd name="T17" fmla="*/ 162 h 751"/>
                <a:gd name="T18" fmla="*/ 75 w 457"/>
                <a:gd name="T19" fmla="*/ 257 h 751"/>
                <a:gd name="T20" fmla="*/ 74 w 457"/>
                <a:gd name="T21" fmla="*/ 318 h 751"/>
                <a:gd name="T22" fmla="*/ 18 w 457"/>
                <a:gd name="T23" fmla="*/ 363 h 751"/>
                <a:gd name="T24" fmla="*/ 0 w 457"/>
                <a:gd name="T25" fmla="*/ 425 h 751"/>
                <a:gd name="T26" fmla="*/ 19 w 457"/>
                <a:gd name="T27" fmla="*/ 442 h 751"/>
                <a:gd name="T28" fmla="*/ 19 w 457"/>
                <a:gd name="T29" fmla="*/ 472 h 751"/>
                <a:gd name="T30" fmla="*/ 47 w 457"/>
                <a:gd name="T31" fmla="*/ 474 h 751"/>
                <a:gd name="T32" fmla="*/ 44 w 457"/>
                <a:gd name="T33" fmla="*/ 496 h 751"/>
                <a:gd name="T34" fmla="*/ 62 w 457"/>
                <a:gd name="T35" fmla="*/ 526 h 751"/>
                <a:gd name="T36" fmla="*/ 66 w 457"/>
                <a:gd name="T37" fmla="*/ 557 h 751"/>
                <a:gd name="T38" fmla="*/ 64 w 457"/>
                <a:gd name="T39" fmla="*/ 588 h 751"/>
                <a:gd name="T40" fmla="*/ 89 w 457"/>
                <a:gd name="T41" fmla="*/ 631 h 751"/>
                <a:gd name="T42" fmla="*/ 64 w 457"/>
                <a:gd name="T43" fmla="*/ 630 h 751"/>
                <a:gd name="T44" fmla="*/ 51 w 457"/>
                <a:gd name="T45" fmla="*/ 633 h 751"/>
                <a:gd name="T46" fmla="*/ 31 w 457"/>
                <a:gd name="T47" fmla="*/ 629 h 751"/>
                <a:gd name="T48" fmla="*/ 22 w 457"/>
                <a:gd name="T49" fmla="*/ 651 h 751"/>
                <a:gd name="T50" fmla="*/ 48 w 457"/>
                <a:gd name="T51" fmla="*/ 678 h 751"/>
                <a:gd name="T52" fmla="*/ 68 w 457"/>
                <a:gd name="T53" fmla="*/ 686 h 751"/>
                <a:gd name="T54" fmla="*/ 74 w 457"/>
                <a:gd name="T55" fmla="*/ 706 h 751"/>
                <a:gd name="T56" fmla="*/ 89 w 457"/>
                <a:gd name="T57" fmla="*/ 739 h 751"/>
                <a:gd name="T58" fmla="*/ 82 w 457"/>
                <a:gd name="T59" fmla="*/ 751 h 751"/>
                <a:gd name="T60" fmla="*/ 119 w 457"/>
                <a:gd name="T61" fmla="*/ 747 h 751"/>
                <a:gd name="T62" fmla="*/ 126 w 457"/>
                <a:gd name="T63" fmla="*/ 735 h 751"/>
                <a:gd name="T64" fmla="*/ 134 w 457"/>
                <a:gd name="T65" fmla="*/ 736 h 751"/>
                <a:gd name="T66" fmla="*/ 145 w 457"/>
                <a:gd name="T67" fmla="*/ 747 h 751"/>
                <a:gd name="T68" fmla="*/ 201 w 457"/>
                <a:gd name="T69" fmla="*/ 728 h 751"/>
                <a:gd name="T70" fmla="*/ 219 w 457"/>
                <a:gd name="T71" fmla="*/ 711 h 751"/>
                <a:gd name="T72" fmla="*/ 243 w 457"/>
                <a:gd name="T73" fmla="*/ 694 h 751"/>
                <a:gd name="T74" fmla="*/ 238 w 457"/>
                <a:gd name="T75" fmla="*/ 677 h 751"/>
                <a:gd name="T76" fmla="*/ 250 w 457"/>
                <a:gd name="T77" fmla="*/ 673 h 751"/>
                <a:gd name="T78" fmla="*/ 294 w 457"/>
                <a:gd name="T79" fmla="*/ 676 h 751"/>
                <a:gd name="T80" fmla="*/ 335 w 457"/>
                <a:gd name="T81" fmla="*/ 655 h 751"/>
                <a:gd name="T82" fmla="*/ 366 w 457"/>
                <a:gd name="T83" fmla="*/ 603 h 751"/>
                <a:gd name="T84" fmla="*/ 388 w 457"/>
                <a:gd name="T85" fmla="*/ 584 h 751"/>
                <a:gd name="T86" fmla="*/ 416 w 457"/>
                <a:gd name="T87" fmla="*/ 576 h 751"/>
                <a:gd name="T88" fmla="*/ 416 w 457"/>
                <a:gd name="T89" fmla="*/ 565 h 751"/>
                <a:gd name="T90" fmla="*/ 400 w 457"/>
                <a:gd name="T91" fmla="*/ 551 h 751"/>
                <a:gd name="T92" fmla="*/ 399 w 457"/>
                <a:gd name="T93" fmla="*/ 524 h 751"/>
                <a:gd name="T94" fmla="*/ 389 w 457"/>
                <a:gd name="T95" fmla="*/ 505 h 751"/>
                <a:gd name="T96" fmla="*/ 373 w 457"/>
                <a:gd name="T97" fmla="*/ 508 h 751"/>
                <a:gd name="T98" fmla="*/ 378 w 457"/>
                <a:gd name="T99" fmla="*/ 491 h 751"/>
                <a:gd name="T100" fmla="*/ 389 w 457"/>
                <a:gd name="T101" fmla="*/ 471 h 751"/>
                <a:gd name="T102" fmla="*/ 383 w 457"/>
                <a:gd name="T103" fmla="*/ 452 h 751"/>
                <a:gd name="T104" fmla="*/ 397 w 457"/>
                <a:gd name="T105" fmla="*/ 437 h 751"/>
                <a:gd name="T106" fmla="*/ 388 w 457"/>
                <a:gd name="T107" fmla="*/ 426 h 751"/>
                <a:gd name="T108" fmla="*/ 399 w 457"/>
                <a:gd name="T109" fmla="*/ 397 h 751"/>
                <a:gd name="T110" fmla="*/ 418 w 457"/>
                <a:gd name="T111" fmla="*/ 363 h 751"/>
                <a:gd name="T112" fmla="*/ 457 w 457"/>
                <a:gd name="T113" fmla="*/ 366 h 751"/>
                <a:gd name="T114" fmla="*/ 447 w 457"/>
                <a:gd name="T115" fmla="*/ 180 h 751"/>
                <a:gd name="T116" fmla="*/ 447 w 457"/>
                <a:gd name="T117" fmla="*/ 18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751">
                  <a:moveTo>
                    <a:pt x="447" y="180"/>
                  </a:moveTo>
                  <a:lnTo>
                    <a:pt x="269" y="90"/>
                  </a:lnTo>
                  <a:lnTo>
                    <a:pt x="93" y="0"/>
                  </a:lnTo>
                  <a:lnTo>
                    <a:pt x="49" y="25"/>
                  </a:lnTo>
                  <a:lnTo>
                    <a:pt x="62" y="99"/>
                  </a:lnTo>
                  <a:lnTo>
                    <a:pt x="78" y="110"/>
                  </a:lnTo>
                  <a:lnTo>
                    <a:pt x="79" y="126"/>
                  </a:lnTo>
                  <a:lnTo>
                    <a:pt x="99" y="142"/>
                  </a:lnTo>
                  <a:lnTo>
                    <a:pt x="89" y="162"/>
                  </a:lnTo>
                  <a:lnTo>
                    <a:pt x="75" y="257"/>
                  </a:lnTo>
                  <a:lnTo>
                    <a:pt x="74" y="318"/>
                  </a:lnTo>
                  <a:lnTo>
                    <a:pt x="18" y="363"/>
                  </a:lnTo>
                  <a:lnTo>
                    <a:pt x="0" y="425"/>
                  </a:lnTo>
                  <a:lnTo>
                    <a:pt x="19" y="442"/>
                  </a:lnTo>
                  <a:lnTo>
                    <a:pt x="19" y="472"/>
                  </a:lnTo>
                  <a:lnTo>
                    <a:pt x="47" y="474"/>
                  </a:lnTo>
                  <a:lnTo>
                    <a:pt x="44" y="496"/>
                  </a:lnTo>
                  <a:lnTo>
                    <a:pt x="62" y="526"/>
                  </a:lnTo>
                  <a:lnTo>
                    <a:pt x="66" y="557"/>
                  </a:lnTo>
                  <a:lnTo>
                    <a:pt x="64" y="588"/>
                  </a:lnTo>
                  <a:lnTo>
                    <a:pt x="89" y="631"/>
                  </a:lnTo>
                  <a:lnTo>
                    <a:pt x="64" y="630"/>
                  </a:lnTo>
                  <a:lnTo>
                    <a:pt x="51" y="633"/>
                  </a:lnTo>
                  <a:lnTo>
                    <a:pt x="31" y="629"/>
                  </a:lnTo>
                  <a:lnTo>
                    <a:pt x="22" y="651"/>
                  </a:lnTo>
                  <a:lnTo>
                    <a:pt x="48" y="678"/>
                  </a:lnTo>
                  <a:lnTo>
                    <a:pt x="68" y="686"/>
                  </a:lnTo>
                  <a:lnTo>
                    <a:pt x="74" y="706"/>
                  </a:lnTo>
                  <a:lnTo>
                    <a:pt x="89" y="739"/>
                  </a:lnTo>
                  <a:lnTo>
                    <a:pt x="82" y="751"/>
                  </a:lnTo>
                  <a:lnTo>
                    <a:pt x="119" y="747"/>
                  </a:lnTo>
                  <a:lnTo>
                    <a:pt x="126" y="735"/>
                  </a:lnTo>
                  <a:lnTo>
                    <a:pt x="134" y="736"/>
                  </a:lnTo>
                  <a:lnTo>
                    <a:pt x="145" y="747"/>
                  </a:lnTo>
                  <a:lnTo>
                    <a:pt x="201" y="728"/>
                  </a:lnTo>
                  <a:lnTo>
                    <a:pt x="219" y="711"/>
                  </a:lnTo>
                  <a:lnTo>
                    <a:pt x="243" y="694"/>
                  </a:lnTo>
                  <a:lnTo>
                    <a:pt x="238" y="677"/>
                  </a:lnTo>
                  <a:lnTo>
                    <a:pt x="250" y="673"/>
                  </a:lnTo>
                  <a:lnTo>
                    <a:pt x="294" y="676"/>
                  </a:lnTo>
                  <a:lnTo>
                    <a:pt x="335" y="655"/>
                  </a:lnTo>
                  <a:lnTo>
                    <a:pt x="366" y="603"/>
                  </a:lnTo>
                  <a:lnTo>
                    <a:pt x="388" y="584"/>
                  </a:lnTo>
                  <a:lnTo>
                    <a:pt x="416" y="576"/>
                  </a:lnTo>
                  <a:lnTo>
                    <a:pt x="416" y="565"/>
                  </a:lnTo>
                  <a:lnTo>
                    <a:pt x="400" y="551"/>
                  </a:lnTo>
                  <a:lnTo>
                    <a:pt x="399" y="524"/>
                  </a:lnTo>
                  <a:lnTo>
                    <a:pt x="389" y="505"/>
                  </a:lnTo>
                  <a:lnTo>
                    <a:pt x="373" y="508"/>
                  </a:lnTo>
                  <a:lnTo>
                    <a:pt x="378" y="491"/>
                  </a:lnTo>
                  <a:lnTo>
                    <a:pt x="389" y="471"/>
                  </a:lnTo>
                  <a:lnTo>
                    <a:pt x="383" y="452"/>
                  </a:lnTo>
                  <a:lnTo>
                    <a:pt x="397" y="437"/>
                  </a:lnTo>
                  <a:lnTo>
                    <a:pt x="388" y="426"/>
                  </a:lnTo>
                  <a:lnTo>
                    <a:pt x="399" y="397"/>
                  </a:lnTo>
                  <a:lnTo>
                    <a:pt x="418" y="363"/>
                  </a:lnTo>
                  <a:lnTo>
                    <a:pt x="457" y="366"/>
                  </a:lnTo>
                  <a:lnTo>
                    <a:pt x="447" y="180"/>
                  </a:lnTo>
                  <a:lnTo>
                    <a:pt x="447" y="18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6" name="Togo">
              <a:extLst>
                <a:ext uri="{FF2B5EF4-FFF2-40B4-BE49-F238E27FC236}">
                  <a16:creationId xmlns:a16="http://schemas.microsoft.com/office/drawing/2014/main" id="{5F3D1709-6887-C64D-F32A-D48C860D1C24}"/>
                </a:ext>
              </a:extLst>
            </p:cNvPr>
            <p:cNvSpPr>
              <a:spLocks/>
            </p:cNvSpPr>
            <p:nvPr/>
          </p:nvSpPr>
          <p:spPr bwMode="auto">
            <a:xfrm>
              <a:off x="6087366" y="2742537"/>
              <a:ext cx="136525" cy="379413"/>
            </a:xfrm>
            <a:custGeom>
              <a:avLst/>
              <a:gdLst>
                <a:gd name="T0" fmla="*/ 42 w 86"/>
                <a:gd name="T1" fmla="*/ 1 h 239"/>
                <a:gd name="T2" fmla="*/ 4 w 86"/>
                <a:gd name="T3" fmla="*/ 0 h 239"/>
                <a:gd name="T4" fmla="*/ 0 w 86"/>
                <a:gd name="T5" fmla="*/ 15 h 239"/>
                <a:gd name="T6" fmla="*/ 18 w 86"/>
                <a:gd name="T7" fmla="*/ 39 h 239"/>
                <a:gd name="T8" fmla="*/ 18 w 86"/>
                <a:gd name="T9" fmla="*/ 73 h 239"/>
                <a:gd name="T10" fmla="*/ 23 w 86"/>
                <a:gd name="T11" fmla="*/ 110 h 239"/>
                <a:gd name="T12" fmla="*/ 34 w 86"/>
                <a:gd name="T13" fmla="*/ 127 h 239"/>
                <a:gd name="T14" fmla="*/ 24 w 86"/>
                <a:gd name="T15" fmla="*/ 169 h 239"/>
                <a:gd name="T16" fmla="*/ 27 w 86"/>
                <a:gd name="T17" fmla="*/ 192 h 239"/>
                <a:gd name="T18" fmla="*/ 39 w 86"/>
                <a:gd name="T19" fmla="*/ 223 h 239"/>
                <a:gd name="T20" fmla="*/ 49 w 86"/>
                <a:gd name="T21" fmla="*/ 239 h 239"/>
                <a:gd name="T22" fmla="*/ 86 w 86"/>
                <a:gd name="T23" fmla="*/ 229 h 239"/>
                <a:gd name="T24" fmla="*/ 75 w 86"/>
                <a:gd name="T25" fmla="*/ 197 h 239"/>
                <a:gd name="T26" fmla="*/ 77 w 86"/>
                <a:gd name="T27" fmla="*/ 89 h 239"/>
                <a:gd name="T28" fmla="*/ 68 w 86"/>
                <a:gd name="T29" fmla="*/ 79 h 239"/>
                <a:gd name="T30" fmla="*/ 66 w 86"/>
                <a:gd name="T31" fmla="*/ 56 h 239"/>
                <a:gd name="T32" fmla="*/ 50 w 86"/>
                <a:gd name="T33" fmla="*/ 39 h 239"/>
                <a:gd name="T34" fmla="*/ 37 w 86"/>
                <a:gd name="T35" fmla="*/ 26 h 239"/>
                <a:gd name="T36" fmla="*/ 42 w 86"/>
                <a:gd name="T37"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239">
                  <a:moveTo>
                    <a:pt x="42" y="1"/>
                  </a:moveTo>
                  <a:lnTo>
                    <a:pt x="4" y="0"/>
                  </a:lnTo>
                  <a:lnTo>
                    <a:pt x="0" y="15"/>
                  </a:lnTo>
                  <a:lnTo>
                    <a:pt x="18" y="39"/>
                  </a:lnTo>
                  <a:lnTo>
                    <a:pt x="18" y="73"/>
                  </a:lnTo>
                  <a:lnTo>
                    <a:pt x="23" y="110"/>
                  </a:lnTo>
                  <a:lnTo>
                    <a:pt x="34" y="127"/>
                  </a:lnTo>
                  <a:lnTo>
                    <a:pt x="24" y="169"/>
                  </a:lnTo>
                  <a:lnTo>
                    <a:pt x="27" y="192"/>
                  </a:lnTo>
                  <a:lnTo>
                    <a:pt x="39" y="223"/>
                  </a:lnTo>
                  <a:lnTo>
                    <a:pt x="49" y="239"/>
                  </a:lnTo>
                  <a:lnTo>
                    <a:pt x="86" y="229"/>
                  </a:lnTo>
                  <a:lnTo>
                    <a:pt x="75" y="197"/>
                  </a:lnTo>
                  <a:lnTo>
                    <a:pt x="77" y="89"/>
                  </a:lnTo>
                  <a:lnTo>
                    <a:pt x="68" y="79"/>
                  </a:lnTo>
                  <a:lnTo>
                    <a:pt x="66" y="56"/>
                  </a:lnTo>
                  <a:lnTo>
                    <a:pt x="50" y="39"/>
                  </a:lnTo>
                  <a:lnTo>
                    <a:pt x="37" y="26"/>
                  </a:lnTo>
                  <a:lnTo>
                    <a:pt x="42"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7" name="Tunisia">
              <a:extLst>
                <a:ext uri="{FF2B5EF4-FFF2-40B4-BE49-F238E27FC236}">
                  <a16:creationId xmlns:a16="http://schemas.microsoft.com/office/drawing/2014/main" id="{FF619E26-60C6-8933-1323-64E563BE4A4C}"/>
                </a:ext>
              </a:extLst>
            </p:cNvPr>
            <p:cNvSpPr>
              <a:spLocks/>
            </p:cNvSpPr>
            <p:nvPr/>
          </p:nvSpPr>
          <p:spPr bwMode="auto">
            <a:xfrm>
              <a:off x="6595366" y="775624"/>
              <a:ext cx="269875" cy="528638"/>
            </a:xfrm>
            <a:custGeom>
              <a:avLst/>
              <a:gdLst>
                <a:gd name="T0" fmla="*/ 170 w 170"/>
                <a:gd name="T1" fmla="*/ 200 h 333"/>
                <a:gd name="T2" fmla="*/ 153 w 170"/>
                <a:gd name="T3" fmla="*/ 193 h 333"/>
                <a:gd name="T4" fmla="*/ 141 w 170"/>
                <a:gd name="T5" fmla="*/ 171 h 333"/>
                <a:gd name="T6" fmla="*/ 119 w 170"/>
                <a:gd name="T7" fmla="*/ 170 h 333"/>
                <a:gd name="T8" fmla="*/ 111 w 170"/>
                <a:gd name="T9" fmla="*/ 144 h 333"/>
                <a:gd name="T10" fmla="*/ 138 w 170"/>
                <a:gd name="T11" fmla="*/ 120 h 333"/>
                <a:gd name="T12" fmla="*/ 141 w 170"/>
                <a:gd name="T13" fmla="*/ 79 h 333"/>
                <a:gd name="T14" fmla="*/ 127 w 170"/>
                <a:gd name="T15" fmla="*/ 67 h 333"/>
                <a:gd name="T16" fmla="*/ 126 w 170"/>
                <a:gd name="T17" fmla="*/ 45 h 333"/>
                <a:gd name="T18" fmla="*/ 146 w 170"/>
                <a:gd name="T19" fmla="*/ 21 h 333"/>
                <a:gd name="T20" fmla="*/ 142 w 170"/>
                <a:gd name="T21" fmla="*/ 12 h 333"/>
                <a:gd name="T22" fmla="*/ 107 w 170"/>
                <a:gd name="T23" fmla="*/ 30 h 333"/>
                <a:gd name="T24" fmla="*/ 108 w 170"/>
                <a:gd name="T25" fmla="*/ 6 h 333"/>
                <a:gd name="T26" fmla="*/ 78 w 170"/>
                <a:gd name="T27" fmla="*/ 0 h 333"/>
                <a:gd name="T28" fmla="*/ 34 w 170"/>
                <a:gd name="T29" fmla="*/ 19 h 333"/>
                <a:gd name="T30" fmla="*/ 26 w 170"/>
                <a:gd name="T31" fmla="*/ 44 h 333"/>
                <a:gd name="T32" fmla="*/ 34 w 170"/>
                <a:gd name="T33" fmla="*/ 89 h 333"/>
                <a:gd name="T34" fmla="*/ 25 w 170"/>
                <a:gd name="T35" fmla="*/ 129 h 333"/>
                <a:gd name="T36" fmla="*/ 0 w 170"/>
                <a:gd name="T37" fmla="*/ 155 h 333"/>
                <a:gd name="T38" fmla="*/ 5 w 170"/>
                <a:gd name="T39" fmla="*/ 190 h 333"/>
                <a:gd name="T40" fmla="*/ 40 w 170"/>
                <a:gd name="T41" fmla="*/ 219 h 333"/>
                <a:gd name="T42" fmla="*/ 41 w 170"/>
                <a:gd name="T43" fmla="*/ 230 h 333"/>
                <a:gd name="T44" fmla="*/ 67 w 170"/>
                <a:gd name="T45" fmla="*/ 249 h 333"/>
                <a:gd name="T46" fmla="*/ 88 w 170"/>
                <a:gd name="T47" fmla="*/ 333 h 333"/>
                <a:gd name="T48" fmla="*/ 109 w 170"/>
                <a:gd name="T49" fmla="*/ 322 h 333"/>
                <a:gd name="T50" fmla="*/ 112 w 170"/>
                <a:gd name="T51" fmla="*/ 302 h 333"/>
                <a:gd name="T52" fmla="*/ 106 w 170"/>
                <a:gd name="T53" fmla="*/ 283 h 333"/>
                <a:gd name="T54" fmla="*/ 136 w 170"/>
                <a:gd name="T55" fmla="*/ 265 h 333"/>
                <a:gd name="T56" fmla="*/ 148 w 170"/>
                <a:gd name="T57" fmla="*/ 250 h 333"/>
                <a:gd name="T58" fmla="*/ 169 w 170"/>
                <a:gd name="T59" fmla="*/ 236 h 333"/>
                <a:gd name="T60" fmla="*/ 170 w 170"/>
                <a:gd name="T61" fmla="*/ 200 h 333"/>
                <a:gd name="T62" fmla="*/ 170 w 170"/>
                <a:gd name="T63" fmla="*/ 20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333">
                  <a:moveTo>
                    <a:pt x="170" y="200"/>
                  </a:moveTo>
                  <a:lnTo>
                    <a:pt x="153" y="193"/>
                  </a:lnTo>
                  <a:lnTo>
                    <a:pt x="141" y="171"/>
                  </a:lnTo>
                  <a:lnTo>
                    <a:pt x="119" y="170"/>
                  </a:lnTo>
                  <a:lnTo>
                    <a:pt x="111" y="144"/>
                  </a:lnTo>
                  <a:lnTo>
                    <a:pt x="138" y="120"/>
                  </a:lnTo>
                  <a:lnTo>
                    <a:pt x="141" y="79"/>
                  </a:lnTo>
                  <a:lnTo>
                    <a:pt x="127" y="67"/>
                  </a:lnTo>
                  <a:lnTo>
                    <a:pt x="126" y="45"/>
                  </a:lnTo>
                  <a:lnTo>
                    <a:pt x="146" y="21"/>
                  </a:lnTo>
                  <a:lnTo>
                    <a:pt x="142" y="12"/>
                  </a:lnTo>
                  <a:lnTo>
                    <a:pt x="107" y="30"/>
                  </a:lnTo>
                  <a:lnTo>
                    <a:pt x="108" y="6"/>
                  </a:lnTo>
                  <a:lnTo>
                    <a:pt x="78" y="0"/>
                  </a:lnTo>
                  <a:lnTo>
                    <a:pt x="34" y="19"/>
                  </a:lnTo>
                  <a:lnTo>
                    <a:pt x="26" y="44"/>
                  </a:lnTo>
                  <a:lnTo>
                    <a:pt x="34" y="89"/>
                  </a:lnTo>
                  <a:lnTo>
                    <a:pt x="25" y="129"/>
                  </a:lnTo>
                  <a:lnTo>
                    <a:pt x="0" y="155"/>
                  </a:lnTo>
                  <a:lnTo>
                    <a:pt x="5" y="190"/>
                  </a:lnTo>
                  <a:lnTo>
                    <a:pt x="40" y="219"/>
                  </a:lnTo>
                  <a:lnTo>
                    <a:pt x="41" y="230"/>
                  </a:lnTo>
                  <a:lnTo>
                    <a:pt x="67" y="249"/>
                  </a:lnTo>
                  <a:lnTo>
                    <a:pt x="88" y="333"/>
                  </a:lnTo>
                  <a:lnTo>
                    <a:pt x="109" y="322"/>
                  </a:lnTo>
                  <a:lnTo>
                    <a:pt x="112" y="302"/>
                  </a:lnTo>
                  <a:lnTo>
                    <a:pt x="106" y="283"/>
                  </a:lnTo>
                  <a:lnTo>
                    <a:pt x="136" y="265"/>
                  </a:lnTo>
                  <a:lnTo>
                    <a:pt x="148" y="250"/>
                  </a:lnTo>
                  <a:lnTo>
                    <a:pt x="169" y="236"/>
                  </a:lnTo>
                  <a:lnTo>
                    <a:pt x="170" y="200"/>
                  </a:lnTo>
                  <a:lnTo>
                    <a:pt x="170" y="20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8" name="United Republic of Tanzania">
              <a:extLst>
                <a:ext uri="{FF2B5EF4-FFF2-40B4-BE49-F238E27FC236}">
                  <a16:creationId xmlns:a16="http://schemas.microsoft.com/office/drawing/2014/main" id="{B30FE247-BE9B-ED0E-7B89-015ECFE42CC0}"/>
                </a:ext>
              </a:extLst>
            </p:cNvPr>
            <p:cNvSpPr>
              <a:spLocks/>
            </p:cNvSpPr>
            <p:nvPr/>
          </p:nvSpPr>
          <p:spPr bwMode="auto">
            <a:xfrm>
              <a:off x="8186041" y="3639475"/>
              <a:ext cx="749300" cy="798513"/>
            </a:xfrm>
            <a:custGeom>
              <a:avLst/>
              <a:gdLst>
                <a:gd name="T0" fmla="*/ 39 w 472"/>
                <a:gd name="T1" fmla="*/ 6 h 503"/>
                <a:gd name="T2" fmla="*/ 53 w 472"/>
                <a:gd name="T3" fmla="*/ 60 h 503"/>
                <a:gd name="T4" fmla="*/ 41 w 472"/>
                <a:gd name="T5" fmla="*/ 66 h 503"/>
                <a:gd name="T6" fmla="*/ 52 w 472"/>
                <a:gd name="T7" fmla="*/ 95 h 503"/>
                <a:gd name="T8" fmla="*/ 41 w 472"/>
                <a:gd name="T9" fmla="*/ 121 h 503"/>
                <a:gd name="T10" fmla="*/ 7 w 472"/>
                <a:gd name="T11" fmla="*/ 162 h 503"/>
                <a:gd name="T12" fmla="*/ 0 w 472"/>
                <a:gd name="T13" fmla="*/ 183 h 503"/>
                <a:gd name="T14" fmla="*/ 7 w 472"/>
                <a:gd name="T15" fmla="*/ 210 h 503"/>
                <a:gd name="T16" fmla="*/ 4 w 472"/>
                <a:gd name="T17" fmla="*/ 246 h 503"/>
                <a:gd name="T18" fmla="*/ 42 w 472"/>
                <a:gd name="T19" fmla="*/ 306 h 503"/>
                <a:gd name="T20" fmla="*/ 64 w 472"/>
                <a:gd name="T21" fmla="*/ 355 h 503"/>
                <a:gd name="T22" fmla="*/ 84 w 472"/>
                <a:gd name="T23" fmla="*/ 364 h 503"/>
                <a:gd name="T24" fmla="*/ 137 w 472"/>
                <a:gd name="T25" fmla="*/ 386 h 503"/>
                <a:gd name="T26" fmla="*/ 189 w 472"/>
                <a:gd name="T27" fmla="*/ 408 h 503"/>
                <a:gd name="T28" fmla="*/ 192 w 472"/>
                <a:gd name="T29" fmla="*/ 399 h 503"/>
                <a:gd name="T30" fmla="*/ 217 w 472"/>
                <a:gd name="T31" fmla="*/ 473 h 503"/>
                <a:gd name="T32" fmla="*/ 231 w 472"/>
                <a:gd name="T33" fmla="*/ 492 h 503"/>
                <a:gd name="T34" fmla="*/ 300 w 472"/>
                <a:gd name="T35" fmla="*/ 503 h 503"/>
                <a:gd name="T36" fmla="*/ 343 w 472"/>
                <a:gd name="T37" fmla="*/ 497 h 503"/>
                <a:gd name="T38" fmla="*/ 386 w 472"/>
                <a:gd name="T39" fmla="*/ 483 h 503"/>
                <a:gd name="T40" fmla="*/ 472 w 472"/>
                <a:gd name="T41" fmla="*/ 437 h 503"/>
                <a:gd name="T42" fmla="*/ 455 w 472"/>
                <a:gd name="T43" fmla="*/ 427 h 503"/>
                <a:gd name="T44" fmla="*/ 424 w 472"/>
                <a:gd name="T45" fmla="*/ 351 h 503"/>
                <a:gd name="T46" fmla="*/ 425 w 472"/>
                <a:gd name="T47" fmla="*/ 315 h 503"/>
                <a:gd name="T48" fmla="*/ 437 w 472"/>
                <a:gd name="T49" fmla="*/ 274 h 503"/>
                <a:gd name="T50" fmla="*/ 407 w 472"/>
                <a:gd name="T51" fmla="*/ 230 h 503"/>
                <a:gd name="T52" fmla="*/ 365 w 472"/>
                <a:gd name="T53" fmla="*/ 126 h 503"/>
                <a:gd name="T54" fmla="*/ 201 w 472"/>
                <a:gd name="T55" fmla="*/ 3 h 503"/>
                <a:gd name="T56" fmla="*/ 179 w 472"/>
                <a:gd name="T57" fmla="*/ 23 h 503"/>
                <a:gd name="T58" fmla="*/ 182 w 472"/>
                <a:gd name="T59" fmla="*/ 60 h 503"/>
                <a:gd name="T60" fmla="*/ 151 w 472"/>
                <a:gd name="T61" fmla="*/ 67 h 503"/>
                <a:gd name="T62" fmla="*/ 104 w 472"/>
                <a:gd name="T63" fmla="*/ 81 h 503"/>
                <a:gd name="T64" fmla="*/ 101 w 472"/>
                <a:gd name="T65" fmla="*/ 29 h 503"/>
                <a:gd name="T66" fmla="*/ 103 w 472"/>
                <a:gd name="T67" fmla="*/ 1 h 503"/>
                <a:gd name="T68" fmla="*/ 54 w 472"/>
                <a:gd name="T69"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2" h="503">
                  <a:moveTo>
                    <a:pt x="54" y="0"/>
                  </a:moveTo>
                  <a:lnTo>
                    <a:pt x="39" y="6"/>
                  </a:lnTo>
                  <a:lnTo>
                    <a:pt x="56" y="32"/>
                  </a:lnTo>
                  <a:lnTo>
                    <a:pt x="53" y="60"/>
                  </a:lnTo>
                  <a:lnTo>
                    <a:pt x="41" y="66"/>
                  </a:lnTo>
                  <a:lnTo>
                    <a:pt x="41" y="66"/>
                  </a:lnTo>
                  <a:lnTo>
                    <a:pt x="42" y="84"/>
                  </a:lnTo>
                  <a:lnTo>
                    <a:pt x="52" y="95"/>
                  </a:lnTo>
                  <a:lnTo>
                    <a:pt x="52" y="110"/>
                  </a:lnTo>
                  <a:lnTo>
                    <a:pt x="41" y="121"/>
                  </a:lnTo>
                  <a:lnTo>
                    <a:pt x="23" y="145"/>
                  </a:lnTo>
                  <a:lnTo>
                    <a:pt x="7" y="162"/>
                  </a:lnTo>
                  <a:lnTo>
                    <a:pt x="2" y="162"/>
                  </a:lnTo>
                  <a:lnTo>
                    <a:pt x="0" y="183"/>
                  </a:lnTo>
                  <a:lnTo>
                    <a:pt x="9" y="189"/>
                  </a:lnTo>
                  <a:lnTo>
                    <a:pt x="7" y="210"/>
                  </a:lnTo>
                  <a:lnTo>
                    <a:pt x="15" y="228"/>
                  </a:lnTo>
                  <a:lnTo>
                    <a:pt x="4" y="246"/>
                  </a:lnTo>
                  <a:lnTo>
                    <a:pt x="40" y="278"/>
                  </a:lnTo>
                  <a:lnTo>
                    <a:pt x="42" y="306"/>
                  </a:lnTo>
                  <a:lnTo>
                    <a:pt x="64" y="355"/>
                  </a:lnTo>
                  <a:lnTo>
                    <a:pt x="64" y="355"/>
                  </a:lnTo>
                  <a:lnTo>
                    <a:pt x="66" y="357"/>
                  </a:lnTo>
                  <a:lnTo>
                    <a:pt x="84" y="364"/>
                  </a:lnTo>
                  <a:lnTo>
                    <a:pt x="112" y="373"/>
                  </a:lnTo>
                  <a:lnTo>
                    <a:pt x="137" y="386"/>
                  </a:lnTo>
                  <a:lnTo>
                    <a:pt x="180" y="395"/>
                  </a:lnTo>
                  <a:lnTo>
                    <a:pt x="189" y="408"/>
                  </a:lnTo>
                  <a:lnTo>
                    <a:pt x="189" y="408"/>
                  </a:lnTo>
                  <a:lnTo>
                    <a:pt x="192" y="399"/>
                  </a:lnTo>
                  <a:lnTo>
                    <a:pt x="214" y="424"/>
                  </a:lnTo>
                  <a:lnTo>
                    <a:pt x="217" y="473"/>
                  </a:lnTo>
                  <a:lnTo>
                    <a:pt x="231" y="492"/>
                  </a:lnTo>
                  <a:lnTo>
                    <a:pt x="231" y="492"/>
                  </a:lnTo>
                  <a:lnTo>
                    <a:pt x="248" y="490"/>
                  </a:lnTo>
                  <a:lnTo>
                    <a:pt x="300" y="503"/>
                  </a:lnTo>
                  <a:lnTo>
                    <a:pt x="313" y="497"/>
                  </a:lnTo>
                  <a:lnTo>
                    <a:pt x="343" y="497"/>
                  </a:lnTo>
                  <a:lnTo>
                    <a:pt x="359" y="482"/>
                  </a:lnTo>
                  <a:lnTo>
                    <a:pt x="386" y="483"/>
                  </a:lnTo>
                  <a:lnTo>
                    <a:pt x="435" y="464"/>
                  </a:lnTo>
                  <a:lnTo>
                    <a:pt x="472" y="437"/>
                  </a:lnTo>
                  <a:lnTo>
                    <a:pt x="472" y="437"/>
                  </a:lnTo>
                  <a:lnTo>
                    <a:pt x="455" y="427"/>
                  </a:lnTo>
                  <a:lnTo>
                    <a:pt x="439" y="381"/>
                  </a:lnTo>
                  <a:lnTo>
                    <a:pt x="424" y="351"/>
                  </a:lnTo>
                  <a:lnTo>
                    <a:pt x="428" y="329"/>
                  </a:lnTo>
                  <a:lnTo>
                    <a:pt x="425" y="315"/>
                  </a:lnTo>
                  <a:lnTo>
                    <a:pt x="438" y="286"/>
                  </a:lnTo>
                  <a:lnTo>
                    <a:pt x="437" y="274"/>
                  </a:lnTo>
                  <a:lnTo>
                    <a:pt x="409" y="257"/>
                  </a:lnTo>
                  <a:lnTo>
                    <a:pt x="407" y="230"/>
                  </a:lnTo>
                  <a:lnTo>
                    <a:pt x="428" y="172"/>
                  </a:lnTo>
                  <a:lnTo>
                    <a:pt x="365" y="126"/>
                  </a:lnTo>
                  <a:lnTo>
                    <a:pt x="362" y="98"/>
                  </a:lnTo>
                  <a:lnTo>
                    <a:pt x="201" y="3"/>
                  </a:lnTo>
                  <a:lnTo>
                    <a:pt x="201" y="3"/>
                  </a:lnTo>
                  <a:lnTo>
                    <a:pt x="179" y="23"/>
                  </a:lnTo>
                  <a:lnTo>
                    <a:pt x="165" y="45"/>
                  </a:lnTo>
                  <a:lnTo>
                    <a:pt x="182" y="60"/>
                  </a:lnTo>
                  <a:lnTo>
                    <a:pt x="157" y="72"/>
                  </a:lnTo>
                  <a:lnTo>
                    <a:pt x="151" y="67"/>
                  </a:lnTo>
                  <a:lnTo>
                    <a:pt x="125" y="70"/>
                  </a:lnTo>
                  <a:lnTo>
                    <a:pt x="104" y="81"/>
                  </a:lnTo>
                  <a:lnTo>
                    <a:pt x="93" y="62"/>
                  </a:lnTo>
                  <a:lnTo>
                    <a:pt x="101" y="29"/>
                  </a:lnTo>
                  <a:lnTo>
                    <a:pt x="103" y="1"/>
                  </a:lnTo>
                  <a:lnTo>
                    <a:pt x="103" y="1"/>
                  </a:lnTo>
                  <a:lnTo>
                    <a:pt x="103" y="1"/>
                  </a:lnTo>
                  <a:lnTo>
                    <a:pt x="54" y="0"/>
                  </a:lnTo>
                  <a:lnTo>
                    <a:pt x="54"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9" name="Uganda">
              <a:extLst>
                <a:ext uri="{FF2B5EF4-FFF2-40B4-BE49-F238E27FC236}">
                  <a16:creationId xmlns:a16="http://schemas.microsoft.com/office/drawing/2014/main" id="{1930665E-1AC6-1383-6997-3BD5A1DC3C8C}"/>
                </a:ext>
              </a:extLst>
            </p:cNvPr>
            <p:cNvSpPr>
              <a:spLocks/>
            </p:cNvSpPr>
            <p:nvPr/>
          </p:nvSpPr>
          <p:spPr bwMode="auto">
            <a:xfrm>
              <a:off x="8186041" y="3247362"/>
              <a:ext cx="387350" cy="423863"/>
            </a:xfrm>
            <a:custGeom>
              <a:avLst/>
              <a:gdLst>
                <a:gd name="T0" fmla="*/ 197 w 244"/>
                <a:gd name="T1" fmla="*/ 0 h 267"/>
                <a:gd name="T2" fmla="*/ 170 w 244"/>
                <a:gd name="T3" fmla="*/ 22 h 267"/>
                <a:gd name="T4" fmla="*/ 138 w 244"/>
                <a:gd name="T5" fmla="*/ 21 h 267"/>
                <a:gd name="T6" fmla="*/ 103 w 244"/>
                <a:gd name="T7" fmla="*/ 32 h 267"/>
                <a:gd name="T8" fmla="*/ 74 w 244"/>
                <a:gd name="T9" fmla="*/ 22 h 267"/>
                <a:gd name="T10" fmla="*/ 56 w 244"/>
                <a:gd name="T11" fmla="*/ 35 h 267"/>
                <a:gd name="T12" fmla="*/ 56 w 244"/>
                <a:gd name="T13" fmla="*/ 35 h 267"/>
                <a:gd name="T14" fmla="*/ 53 w 244"/>
                <a:gd name="T15" fmla="*/ 90 h 267"/>
                <a:gd name="T16" fmla="*/ 72 w 244"/>
                <a:gd name="T17" fmla="*/ 96 h 267"/>
                <a:gd name="T18" fmla="*/ 57 w 244"/>
                <a:gd name="T19" fmla="*/ 113 h 267"/>
                <a:gd name="T20" fmla="*/ 41 w 244"/>
                <a:gd name="T21" fmla="*/ 126 h 267"/>
                <a:gd name="T22" fmla="*/ 23 w 244"/>
                <a:gd name="T23" fmla="*/ 149 h 267"/>
                <a:gd name="T24" fmla="*/ 14 w 244"/>
                <a:gd name="T25" fmla="*/ 171 h 267"/>
                <a:gd name="T26" fmla="*/ 11 w 244"/>
                <a:gd name="T27" fmla="*/ 209 h 267"/>
                <a:gd name="T28" fmla="*/ 1 w 244"/>
                <a:gd name="T29" fmla="*/ 227 h 267"/>
                <a:gd name="T30" fmla="*/ 0 w 244"/>
                <a:gd name="T31" fmla="*/ 263 h 267"/>
                <a:gd name="T32" fmla="*/ 11 w 244"/>
                <a:gd name="T33" fmla="*/ 267 h 267"/>
                <a:gd name="T34" fmla="*/ 39 w 244"/>
                <a:gd name="T35" fmla="*/ 253 h 267"/>
                <a:gd name="T36" fmla="*/ 54 w 244"/>
                <a:gd name="T37" fmla="*/ 247 h 267"/>
                <a:gd name="T38" fmla="*/ 103 w 244"/>
                <a:gd name="T39" fmla="*/ 248 h 267"/>
                <a:gd name="T40" fmla="*/ 103 w 244"/>
                <a:gd name="T41" fmla="*/ 248 h 267"/>
                <a:gd name="T42" fmla="*/ 101 w 244"/>
                <a:gd name="T43" fmla="*/ 230 h 267"/>
                <a:gd name="T44" fmla="*/ 121 w 244"/>
                <a:gd name="T45" fmla="*/ 202 h 267"/>
                <a:gd name="T46" fmla="*/ 149 w 244"/>
                <a:gd name="T47" fmla="*/ 195 h 267"/>
                <a:gd name="T48" fmla="*/ 168 w 244"/>
                <a:gd name="T49" fmla="*/ 184 h 267"/>
                <a:gd name="T50" fmla="*/ 191 w 244"/>
                <a:gd name="T51" fmla="*/ 193 h 267"/>
                <a:gd name="T52" fmla="*/ 194 w 244"/>
                <a:gd name="T53" fmla="*/ 197 h 267"/>
                <a:gd name="T54" fmla="*/ 194 w 244"/>
                <a:gd name="T55" fmla="*/ 194 h 267"/>
                <a:gd name="T56" fmla="*/ 207 w 244"/>
                <a:gd name="T57" fmla="*/ 176 h 267"/>
                <a:gd name="T58" fmla="*/ 228 w 244"/>
                <a:gd name="T59" fmla="*/ 144 h 267"/>
                <a:gd name="T60" fmla="*/ 244 w 244"/>
                <a:gd name="T61" fmla="*/ 110 h 267"/>
                <a:gd name="T62" fmla="*/ 224 w 244"/>
                <a:gd name="T63" fmla="*/ 56 h 267"/>
                <a:gd name="T64" fmla="*/ 219 w 244"/>
                <a:gd name="T65" fmla="*/ 32 h 267"/>
                <a:gd name="T66" fmla="*/ 197 w 244"/>
                <a:gd name="T67" fmla="*/ 0 h 267"/>
                <a:gd name="T68" fmla="*/ 197 w 244"/>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67">
                  <a:moveTo>
                    <a:pt x="197" y="0"/>
                  </a:moveTo>
                  <a:lnTo>
                    <a:pt x="170" y="22"/>
                  </a:lnTo>
                  <a:lnTo>
                    <a:pt x="138" y="21"/>
                  </a:lnTo>
                  <a:lnTo>
                    <a:pt x="103" y="32"/>
                  </a:lnTo>
                  <a:lnTo>
                    <a:pt x="74" y="22"/>
                  </a:lnTo>
                  <a:lnTo>
                    <a:pt x="56" y="35"/>
                  </a:lnTo>
                  <a:lnTo>
                    <a:pt x="56" y="35"/>
                  </a:lnTo>
                  <a:lnTo>
                    <a:pt x="53" y="90"/>
                  </a:lnTo>
                  <a:lnTo>
                    <a:pt x="72" y="96"/>
                  </a:lnTo>
                  <a:lnTo>
                    <a:pt x="57" y="113"/>
                  </a:lnTo>
                  <a:lnTo>
                    <a:pt x="41" y="126"/>
                  </a:lnTo>
                  <a:lnTo>
                    <a:pt x="23" y="149"/>
                  </a:lnTo>
                  <a:lnTo>
                    <a:pt x="14" y="171"/>
                  </a:lnTo>
                  <a:lnTo>
                    <a:pt x="11" y="209"/>
                  </a:lnTo>
                  <a:lnTo>
                    <a:pt x="1" y="227"/>
                  </a:lnTo>
                  <a:lnTo>
                    <a:pt x="0" y="263"/>
                  </a:lnTo>
                  <a:lnTo>
                    <a:pt x="11" y="267"/>
                  </a:lnTo>
                  <a:lnTo>
                    <a:pt x="39" y="253"/>
                  </a:lnTo>
                  <a:lnTo>
                    <a:pt x="54" y="247"/>
                  </a:lnTo>
                  <a:lnTo>
                    <a:pt x="103" y="248"/>
                  </a:lnTo>
                  <a:lnTo>
                    <a:pt x="103" y="248"/>
                  </a:lnTo>
                  <a:lnTo>
                    <a:pt x="101" y="230"/>
                  </a:lnTo>
                  <a:lnTo>
                    <a:pt x="121" y="202"/>
                  </a:lnTo>
                  <a:lnTo>
                    <a:pt x="149" y="195"/>
                  </a:lnTo>
                  <a:lnTo>
                    <a:pt x="168" y="184"/>
                  </a:lnTo>
                  <a:lnTo>
                    <a:pt x="191" y="193"/>
                  </a:lnTo>
                  <a:lnTo>
                    <a:pt x="194" y="197"/>
                  </a:lnTo>
                  <a:lnTo>
                    <a:pt x="194" y="194"/>
                  </a:lnTo>
                  <a:lnTo>
                    <a:pt x="207" y="176"/>
                  </a:lnTo>
                  <a:lnTo>
                    <a:pt x="228" y="144"/>
                  </a:lnTo>
                  <a:lnTo>
                    <a:pt x="244" y="110"/>
                  </a:lnTo>
                  <a:lnTo>
                    <a:pt x="224" y="56"/>
                  </a:lnTo>
                  <a:lnTo>
                    <a:pt x="219" y="32"/>
                  </a:lnTo>
                  <a:lnTo>
                    <a:pt x="197" y="0"/>
                  </a:lnTo>
                  <a:lnTo>
                    <a:pt x="197" y="0"/>
                  </a:lnTo>
                  <a:close/>
                </a:path>
              </a:pathLst>
            </a:custGeom>
            <a:solidFill>
              <a:srgbClr val="EC2129"/>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0" name="South Africa">
              <a:extLst>
                <a:ext uri="{FF2B5EF4-FFF2-40B4-BE49-F238E27FC236}">
                  <a16:creationId xmlns:a16="http://schemas.microsoft.com/office/drawing/2014/main" id="{9214E565-A2CB-7D9F-4339-460944C65507}"/>
                </a:ext>
              </a:extLst>
            </p:cNvPr>
            <p:cNvSpPr>
              <a:spLocks noEditPoints="1"/>
            </p:cNvSpPr>
            <p:nvPr/>
          </p:nvSpPr>
          <p:spPr bwMode="auto">
            <a:xfrm>
              <a:off x="7208141" y="5212687"/>
              <a:ext cx="1138238" cy="947738"/>
            </a:xfrm>
            <a:custGeom>
              <a:avLst/>
              <a:gdLst>
                <a:gd name="T0" fmla="*/ 141 w 717"/>
                <a:gd name="T1" fmla="*/ 597 h 597"/>
                <a:gd name="T2" fmla="*/ 205 w 717"/>
                <a:gd name="T3" fmla="*/ 571 h 597"/>
                <a:gd name="T4" fmla="*/ 268 w 717"/>
                <a:gd name="T5" fmla="*/ 555 h 597"/>
                <a:gd name="T6" fmla="*/ 339 w 717"/>
                <a:gd name="T7" fmla="*/ 558 h 597"/>
                <a:gd name="T8" fmla="*/ 386 w 717"/>
                <a:gd name="T9" fmla="*/ 556 h 597"/>
                <a:gd name="T10" fmla="*/ 415 w 717"/>
                <a:gd name="T11" fmla="*/ 541 h 597"/>
                <a:gd name="T12" fmla="*/ 494 w 717"/>
                <a:gd name="T13" fmla="*/ 501 h 597"/>
                <a:gd name="T14" fmla="*/ 580 w 717"/>
                <a:gd name="T15" fmla="*/ 424 h 597"/>
                <a:gd name="T16" fmla="*/ 621 w 717"/>
                <a:gd name="T17" fmla="*/ 366 h 597"/>
                <a:gd name="T18" fmla="*/ 650 w 717"/>
                <a:gd name="T19" fmla="*/ 336 h 597"/>
                <a:gd name="T20" fmla="*/ 695 w 717"/>
                <a:gd name="T21" fmla="*/ 292 h 597"/>
                <a:gd name="T22" fmla="*/ 717 w 717"/>
                <a:gd name="T23" fmla="*/ 218 h 597"/>
                <a:gd name="T24" fmla="*/ 673 w 717"/>
                <a:gd name="T25" fmla="*/ 238 h 597"/>
                <a:gd name="T26" fmla="*/ 624 w 717"/>
                <a:gd name="T27" fmla="*/ 218 h 597"/>
                <a:gd name="T28" fmla="*/ 637 w 717"/>
                <a:gd name="T29" fmla="*/ 184 h 597"/>
                <a:gd name="T30" fmla="*/ 656 w 717"/>
                <a:gd name="T31" fmla="*/ 167 h 597"/>
                <a:gd name="T32" fmla="*/ 674 w 717"/>
                <a:gd name="T33" fmla="*/ 159 h 597"/>
                <a:gd name="T34" fmla="*/ 676 w 717"/>
                <a:gd name="T35" fmla="*/ 73 h 597"/>
                <a:gd name="T36" fmla="*/ 636 w 717"/>
                <a:gd name="T37" fmla="*/ 2 h 597"/>
                <a:gd name="T38" fmla="*/ 600 w 717"/>
                <a:gd name="T39" fmla="*/ 0 h 597"/>
                <a:gd name="T40" fmla="*/ 519 w 717"/>
                <a:gd name="T41" fmla="*/ 34 h 597"/>
                <a:gd name="T42" fmla="*/ 462 w 717"/>
                <a:gd name="T43" fmla="*/ 101 h 597"/>
                <a:gd name="T44" fmla="*/ 424 w 717"/>
                <a:gd name="T45" fmla="*/ 122 h 597"/>
                <a:gd name="T46" fmla="*/ 410 w 717"/>
                <a:gd name="T47" fmla="*/ 159 h 597"/>
                <a:gd name="T48" fmla="*/ 346 w 717"/>
                <a:gd name="T49" fmla="*/ 168 h 597"/>
                <a:gd name="T50" fmla="*/ 309 w 717"/>
                <a:gd name="T51" fmla="*/ 149 h 597"/>
                <a:gd name="T52" fmla="*/ 275 w 717"/>
                <a:gd name="T53" fmla="*/ 182 h 597"/>
                <a:gd name="T54" fmla="*/ 231 w 717"/>
                <a:gd name="T55" fmla="*/ 217 h 597"/>
                <a:gd name="T56" fmla="*/ 191 w 717"/>
                <a:gd name="T57" fmla="*/ 205 h 597"/>
                <a:gd name="T58" fmla="*/ 173 w 717"/>
                <a:gd name="T59" fmla="*/ 132 h 597"/>
                <a:gd name="T60" fmla="*/ 152 w 717"/>
                <a:gd name="T61" fmla="*/ 299 h 597"/>
                <a:gd name="T62" fmla="*/ 90 w 717"/>
                <a:gd name="T63" fmla="*/ 327 h 597"/>
                <a:gd name="T64" fmla="*/ 45 w 717"/>
                <a:gd name="T65" fmla="*/ 314 h 597"/>
                <a:gd name="T66" fmla="*/ 22 w 717"/>
                <a:gd name="T67" fmla="*/ 282 h 597"/>
                <a:gd name="T68" fmla="*/ 28 w 717"/>
                <a:gd name="T69" fmla="*/ 365 h 597"/>
                <a:gd name="T70" fmla="*/ 47 w 717"/>
                <a:gd name="T71" fmla="*/ 406 h 597"/>
                <a:gd name="T72" fmla="*/ 72 w 717"/>
                <a:gd name="T73" fmla="*/ 484 h 597"/>
                <a:gd name="T74" fmla="*/ 69 w 717"/>
                <a:gd name="T75" fmla="*/ 524 h 597"/>
                <a:gd name="T76" fmla="*/ 72 w 717"/>
                <a:gd name="T77" fmla="*/ 565 h 597"/>
                <a:gd name="T78" fmla="*/ 92 w 717"/>
                <a:gd name="T79" fmla="*/ 580 h 597"/>
                <a:gd name="T80" fmla="*/ 122 w 717"/>
                <a:gd name="T81" fmla="*/ 597 h 597"/>
                <a:gd name="T82" fmla="*/ 499 w 717"/>
                <a:gd name="T83" fmla="*/ 397 h 597"/>
                <a:gd name="T84" fmla="*/ 454 w 717"/>
                <a:gd name="T85" fmla="*/ 365 h 597"/>
                <a:gd name="T86" fmla="*/ 504 w 717"/>
                <a:gd name="T87" fmla="*/ 317 h 597"/>
                <a:gd name="T88" fmla="*/ 542 w 717"/>
                <a:gd name="T89" fmla="*/ 322 h 597"/>
                <a:gd name="T90" fmla="*/ 541 w 717"/>
                <a:gd name="T91" fmla="*/ 359 h 597"/>
                <a:gd name="T92" fmla="*/ 508 w 717"/>
                <a:gd name="T93" fmla="*/ 382 h 597"/>
                <a:gd name="T94" fmla="*/ 499 w 717"/>
                <a:gd name="T95" fmla="*/ 3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7" h="597">
                  <a:moveTo>
                    <a:pt x="122" y="597"/>
                  </a:moveTo>
                  <a:lnTo>
                    <a:pt x="141" y="597"/>
                  </a:lnTo>
                  <a:lnTo>
                    <a:pt x="169" y="579"/>
                  </a:lnTo>
                  <a:lnTo>
                    <a:pt x="205" y="571"/>
                  </a:lnTo>
                  <a:lnTo>
                    <a:pt x="251" y="552"/>
                  </a:lnTo>
                  <a:lnTo>
                    <a:pt x="268" y="555"/>
                  </a:lnTo>
                  <a:lnTo>
                    <a:pt x="294" y="549"/>
                  </a:lnTo>
                  <a:lnTo>
                    <a:pt x="339" y="558"/>
                  </a:lnTo>
                  <a:lnTo>
                    <a:pt x="361" y="549"/>
                  </a:lnTo>
                  <a:lnTo>
                    <a:pt x="386" y="556"/>
                  </a:lnTo>
                  <a:lnTo>
                    <a:pt x="393" y="543"/>
                  </a:lnTo>
                  <a:lnTo>
                    <a:pt x="415" y="541"/>
                  </a:lnTo>
                  <a:lnTo>
                    <a:pt x="460" y="523"/>
                  </a:lnTo>
                  <a:lnTo>
                    <a:pt x="494" y="501"/>
                  </a:lnTo>
                  <a:lnTo>
                    <a:pt x="527" y="473"/>
                  </a:lnTo>
                  <a:lnTo>
                    <a:pt x="580" y="424"/>
                  </a:lnTo>
                  <a:lnTo>
                    <a:pt x="607" y="391"/>
                  </a:lnTo>
                  <a:lnTo>
                    <a:pt x="621" y="366"/>
                  </a:lnTo>
                  <a:lnTo>
                    <a:pt x="641" y="343"/>
                  </a:lnTo>
                  <a:lnTo>
                    <a:pt x="650" y="336"/>
                  </a:lnTo>
                  <a:lnTo>
                    <a:pt x="682" y="312"/>
                  </a:lnTo>
                  <a:lnTo>
                    <a:pt x="695" y="292"/>
                  </a:lnTo>
                  <a:lnTo>
                    <a:pt x="703" y="253"/>
                  </a:lnTo>
                  <a:lnTo>
                    <a:pt x="717" y="218"/>
                  </a:lnTo>
                  <a:lnTo>
                    <a:pt x="684" y="218"/>
                  </a:lnTo>
                  <a:lnTo>
                    <a:pt x="673" y="238"/>
                  </a:lnTo>
                  <a:lnTo>
                    <a:pt x="647" y="243"/>
                  </a:lnTo>
                  <a:lnTo>
                    <a:pt x="624" y="218"/>
                  </a:lnTo>
                  <a:lnTo>
                    <a:pt x="625" y="202"/>
                  </a:lnTo>
                  <a:lnTo>
                    <a:pt x="637" y="184"/>
                  </a:lnTo>
                  <a:lnTo>
                    <a:pt x="643" y="170"/>
                  </a:lnTo>
                  <a:lnTo>
                    <a:pt x="656" y="167"/>
                  </a:lnTo>
                  <a:lnTo>
                    <a:pt x="677" y="176"/>
                  </a:lnTo>
                  <a:lnTo>
                    <a:pt x="674" y="159"/>
                  </a:lnTo>
                  <a:lnTo>
                    <a:pt x="685" y="107"/>
                  </a:lnTo>
                  <a:lnTo>
                    <a:pt x="676" y="73"/>
                  </a:lnTo>
                  <a:lnTo>
                    <a:pt x="658" y="7"/>
                  </a:lnTo>
                  <a:lnTo>
                    <a:pt x="636" y="2"/>
                  </a:lnTo>
                  <a:lnTo>
                    <a:pt x="621" y="8"/>
                  </a:lnTo>
                  <a:lnTo>
                    <a:pt x="600" y="0"/>
                  </a:lnTo>
                  <a:lnTo>
                    <a:pt x="582" y="0"/>
                  </a:lnTo>
                  <a:lnTo>
                    <a:pt x="519" y="34"/>
                  </a:lnTo>
                  <a:lnTo>
                    <a:pt x="478" y="69"/>
                  </a:lnTo>
                  <a:lnTo>
                    <a:pt x="462" y="101"/>
                  </a:lnTo>
                  <a:lnTo>
                    <a:pt x="447" y="119"/>
                  </a:lnTo>
                  <a:lnTo>
                    <a:pt x="424" y="122"/>
                  </a:lnTo>
                  <a:lnTo>
                    <a:pt x="415" y="144"/>
                  </a:lnTo>
                  <a:lnTo>
                    <a:pt x="410" y="159"/>
                  </a:lnTo>
                  <a:lnTo>
                    <a:pt x="382" y="170"/>
                  </a:lnTo>
                  <a:lnTo>
                    <a:pt x="346" y="168"/>
                  </a:lnTo>
                  <a:lnTo>
                    <a:pt x="326" y="154"/>
                  </a:lnTo>
                  <a:lnTo>
                    <a:pt x="309" y="149"/>
                  </a:lnTo>
                  <a:lnTo>
                    <a:pt x="287" y="159"/>
                  </a:lnTo>
                  <a:lnTo>
                    <a:pt x="275" y="182"/>
                  </a:lnTo>
                  <a:lnTo>
                    <a:pt x="254" y="197"/>
                  </a:lnTo>
                  <a:lnTo>
                    <a:pt x="231" y="217"/>
                  </a:lnTo>
                  <a:lnTo>
                    <a:pt x="200" y="222"/>
                  </a:lnTo>
                  <a:lnTo>
                    <a:pt x="191" y="205"/>
                  </a:lnTo>
                  <a:lnTo>
                    <a:pt x="196" y="177"/>
                  </a:lnTo>
                  <a:lnTo>
                    <a:pt x="173" y="132"/>
                  </a:lnTo>
                  <a:lnTo>
                    <a:pt x="161" y="125"/>
                  </a:lnTo>
                  <a:lnTo>
                    <a:pt x="152" y="299"/>
                  </a:lnTo>
                  <a:lnTo>
                    <a:pt x="113" y="323"/>
                  </a:lnTo>
                  <a:lnTo>
                    <a:pt x="90" y="327"/>
                  </a:lnTo>
                  <a:lnTo>
                    <a:pt x="63" y="317"/>
                  </a:lnTo>
                  <a:lnTo>
                    <a:pt x="45" y="314"/>
                  </a:lnTo>
                  <a:lnTo>
                    <a:pt x="38" y="293"/>
                  </a:lnTo>
                  <a:lnTo>
                    <a:pt x="22" y="282"/>
                  </a:lnTo>
                  <a:lnTo>
                    <a:pt x="0" y="305"/>
                  </a:lnTo>
                  <a:lnTo>
                    <a:pt x="28" y="365"/>
                  </a:lnTo>
                  <a:lnTo>
                    <a:pt x="28" y="366"/>
                  </a:lnTo>
                  <a:lnTo>
                    <a:pt x="47" y="406"/>
                  </a:lnTo>
                  <a:lnTo>
                    <a:pt x="73" y="449"/>
                  </a:lnTo>
                  <a:lnTo>
                    <a:pt x="72" y="484"/>
                  </a:lnTo>
                  <a:lnTo>
                    <a:pt x="57" y="493"/>
                  </a:lnTo>
                  <a:lnTo>
                    <a:pt x="69" y="524"/>
                  </a:lnTo>
                  <a:lnTo>
                    <a:pt x="68" y="552"/>
                  </a:lnTo>
                  <a:lnTo>
                    <a:pt x="72" y="565"/>
                  </a:lnTo>
                  <a:lnTo>
                    <a:pt x="75" y="558"/>
                  </a:lnTo>
                  <a:lnTo>
                    <a:pt x="92" y="580"/>
                  </a:lnTo>
                  <a:lnTo>
                    <a:pt x="106" y="580"/>
                  </a:lnTo>
                  <a:lnTo>
                    <a:pt x="122" y="597"/>
                  </a:lnTo>
                  <a:lnTo>
                    <a:pt x="122" y="597"/>
                  </a:lnTo>
                  <a:close/>
                  <a:moveTo>
                    <a:pt x="499" y="397"/>
                  </a:moveTo>
                  <a:lnTo>
                    <a:pt x="483" y="401"/>
                  </a:lnTo>
                  <a:lnTo>
                    <a:pt x="454" y="365"/>
                  </a:lnTo>
                  <a:lnTo>
                    <a:pt x="479" y="336"/>
                  </a:lnTo>
                  <a:lnTo>
                    <a:pt x="504" y="317"/>
                  </a:lnTo>
                  <a:lnTo>
                    <a:pt x="525" y="308"/>
                  </a:lnTo>
                  <a:lnTo>
                    <a:pt x="542" y="322"/>
                  </a:lnTo>
                  <a:lnTo>
                    <a:pt x="556" y="336"/>
                  </a:lnTo>
                  <a:lnTo>
                    <a:pt x="541" y="359"/>
                  </a:lnTo>
                  <a:lnTo>
                    <a:pt x="532" y="374"/>
                  </a:lnTo>
                  <a:lnTo>
                    <a:pt x="508" y="382"/>
                  </a:lnTo>
                  <a:lnTo>
                    <a:pt x="499" y="397"/>
                  </a:lnTo>
                  <a:lnTo>
                    <a:pt x="499" y="39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1" name="Zambia">
              <a:extLst>
                <a:ext uri="{FF2B5EF4-FFF2-40B4-BE49-F238E27FC236}">
                  <a16:creationId xmlns:a16="http://schemas.microsoft.com/office/drawing/2014/main" id="{A60B21D0-E0B9-827C-9EFD-9051B2354DE2}"/>
                </a:ext>
              </a:extLst>
            </p:cNvPr>
            <p:cNvSpPr>
              <a:spLocks/>
            </p:cNvSpPr>
            <p:nvPr/>
          </p:nvSpPr>
          <p:spPr bwMode="auto">
            <a:xfrm>
              <a:off x="7624066" y="4179225"/>
              <a:ext cx="828675" cy="723900"/>
            </a:xfrm>
            <a:custGeom>
              <a:avLst/>
              <a:gdLst>
                <a:gd name="T0" fmla="*/ 390 w 522"/>
                <a:gd name="T1" fmla="*/ 12 h 456"/>
                <a:gd name="T2" fmla="*/ 385 w 522"/>
                <a:gd name="T3" fmla="*/ 0 h 456"/>
                <a:gd name="T4" fmla="*/ 312 w 522"/>
                <a:gd name="T5" fmla="*/ 13 h 456"/>
                <a:gd name="T6" fmla="*/ 309 w 522"/>
                <a:gd name="T7" fmla="*/ 64 h 456"/>
                <a:gd name="T8" fmla="*/ 293 w 522"/>
                <a:gd name="T9" fmla="*/ 167 h 456"/>
                <a:gd name="T10" fmla="*/ 335 w 522"/>
                <a:gd name="T11" fmla="*/ 193 h 456"/>
                <a:gd name="T12" fmla="*/ 350 w 522"/>
                <a:gd name="T13" fmla="*/ 236 h 456"/>
                <a:gd name="T14" fmla="*/ 299 w 522"/>
                <a:gd name="T15" fmla="*/ 209 h 456"/>
                <a:gd name="T16" fmla="*/ 249 w 522"/>
                <a:gd name="T17" fmla="*/ 183 h 456"/>
                <a:gd name="T18" fmla="*/ 212 w 522"/>
                <a:gd name="T19" fmla="*/ 173 h 456"/>
                <a:gd name="T20" fmla="*/ 163 w 522"/>
                <a:gd name="T21" fmla="*/ 145 h 456"/>
                <a:gd name="T22" fmla="*/ 113 w 522"/>
                <a:gd name="T23" fmla="*/ 141 h 456"/>
                <a:gd name="T24" fmla="*/ 96 w 522"/>
                <a:gd name="T25" fmla="*/ 126 h 456"/>
                <a:gd name="T26" fmla="*/ 95 w 522"/>
                <a:gd name="T27" fmla="*/ 163 h 456"/>
                <a:gd name="T28" fmla="*/ 95 w 522"/>
                <a:gd name="T29" fmla="*/ 203 h 456"/>
                <a:gd name="T30" fmla="*/ 6 w 522"/>
                <a:gd name="T31" fmla="*/ 219 h 456"/>
                <a:gd name="T32" fmla="*/ 29 w 522"/>
                <a:gd name="T33" fmla="*/ 406 h 456"/>
                <a:gd name="T34" fmla="*/ 93 w 522"/>
                <a:gd name="T35" fmla="*/ 425 h 456"/>
                <a:gd name="T36" fmla="*/ 139 w 522"/>
                <a:gd name="T37" fmla="*/ 438 h 456"/>
                <a:gd name="T38" fmla="*/ 146 w 522"/>
                <a:gd name="T39" fmla="*/ 446 h 456"/>
                <a:gd name="T40" fmla="*/ 209 w 522"/>
                <a:gd name="T41" fmla="*/ 456 h 456"/>
                <a:gd name="T42" fmla="*/ 250 w 522"/>
                <a:gd name="T43" fmla="*/ 425 h 456"/>
                <a:gd name="T44" fmla="*/ 306 w 522"/>
                <a:gd name="T45" fmla="*/ 382 h 456"/>
                <a:gd name="T46" fmla="*/ 338 w 522"/>
                <a:gd name="T47" fmla="*/ 348 h 456"/>
                <a:gd name="T48" fmla="*/ 369 w 522"/>
                <a:gd name="T49" fmla="*/ 308 h 456"/>
                <a:gd name="T50" fmla="*/ 481 w 522"/>
                <a:gd name="T51" fmla="*/ 257 h 456"/>
                <a:gd name="T52" fmla="*/ 511 w 522"/>
                <a:gd name="T53" fmla="*/ 197 h 456"/>
                <a:gd name="T54" fmla="*/ 513 w 522"/>
                <a:gd name="T55" fmla="*/ 120 h 456"/>
                <a:gd name="T56" fmla="*/ 511 w 522"/>
                <a:gd name="T57" fmla="*/ 67 h 456"/>
                <a:gd name="T58" fmla="*/ 466 w 522"/>
                <a:gd name="T59" fmla="*/ 33 h 456"/>
                <a:gd name="T60" fmla="*/ 420 w 522"/>
                <a:gd name="T61" fmla="*/ 17 h 456"/>
                <a:gd name="T62" fmla="*/ 418 w 522"/>
                <a:gd name="T63" fmla="*/ 15 h 456"/>
                <a:gd name="T64" fmla="*/ 415 w 522"/>
                <a:gd name="T65" fmla="*/ 26 h 456"/>
                <a:gd name="T66" fmla="*/ 405 w 522"/>
                <a:gd name="T67" fmla="*/ 1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56">
                  <a:moveTo>
                    <a:pt x="405" y="16"/>
                  </a:moveTo>
                  <a:lnTo>
                    <a:pt x="390" y="12"/>
                  </a:lnTo>
                  <a:lnTo>
                    <a:pt x="393" y="2"/>
                  </a:lnTo>
                  <a:lnTo>
                    <a:pt x="385" y="0"/>
                  </a:lnTo>
                  <a:lnTo>
                    <a:pt x="325" y="7"/>
                  </a:lnTo>
                  <a:lnTo>
                    <a:pt x="312" y="13"/>
                  </a:lnTo>
                  <a:lnTo>
                    <a:pt x="300" y="43"/>
                  </a:lnTo>
                  <a:lnTo>
                    <a:pt x="309" y="64"/>
                  </a:lnTo>
                  <a:lnTo>
                    <a:pt x="300" y="119"/>
                  </a:lnTo>
                  <a:lnTo>
                    <a:pt x="293" y="167"/>
                  </a:lnTo>
                  <a:lnTo>
                    <a:pt x="305" y="175"/>
                  </a:lnTo>
                  <a:lnTo>
                    <a:pt x="335" y="193"/>
                  </a:lnTo>
                  <a:lnTo>
                    <a:pt x="348" y="185"/>
                  </a:lnTo>
                  <a:lnTo>
                    <a:pt x="350" y="236"/>
                  </a:lnTo>
                  <a:lnTo>
                    <a:pt x="316" y="235"/>
                  </a:lnTo>
                  <a:lnTo>
                    <a:pt x="299" y="209"/>
                  </a:lnTo>
                  <a:lnTo>
                    <a:pt x="283" y="189"/>
                  </a:lnTo>
                  <a:lnTo>
                    <a:pt x="249" y="183"/>
                  </a:lnTo>
                  <a:lnTo>
                    <a:pt x="239" y="158"/>
                  </a:lnTo>
                  <a:lnTo>
                    <a:pt x="212" y="173"/>
                  </a:lnTo>
                  <a:lnTo>
                    <a:pt x="177" y="166"/>
                  </a:lnTo>
                  <a:lnTo>
                    <a:pt x="163" y="145"/>
                  </a:lnTo>
                  <a:lnTo>
                    <a:pt x="134" y="140"/>
                  </a:lnTo>
                  <a:lnTo>
                    <a:pt x="113" y="141"/>
                  </a:lnTo>
                  <a:lnTo>
                    <a:pt x="111" y="127"/>
                  </a:lnTo>
                  <a:lnTo>
                    <a:pt x="96" y="126"/>
                  </a:lnTo>
                  <a:lnTo>
                    <a:pt x="101" y="140"/>
                  </a:lnTo>
                  <a:lnTo>
                    <a:pt x="95" y="163"/>
                  </a:lnTo>
                  <a:lnTo>
                    <a:pt x="102" y="185"/>
                  </a:lnTo>
                  <a:lnTo>
                    <a:pt x="95" y="203"/>
                  </a:lnTo>
                  <a:lnTo>
                    <a:pt x="99" y="219"/>
                  </a:lnTo>
                  <a:lnTo>
                    <a:pt x="6" y="219"/>
                  </a:lnTo>
                  <a:lnTo>
                    <a:pt x="0" y="368"/>
                  </a:lnTo>
                  <a:lnTo>
                    <a:pt x="29" y="406"/>
                  </a:lnTo>
                  <a:lnTo>
                    <a:pt x="57" y="436"/>
                  </a:lnTo>
                  <a:lnTo>
                    <a:pt x="93" y="425"/>
                  </a:lnTo>
                  <a:lnTo>
                    <a:pt x="122" y="428"/>
                  </a:lnTo>
                  <a:lnTo>
                    <a:pt x="139" y="438"/>
                  </a:lnTo>
                  <a:lnTo>
                    <a:pt x="139" y="443"/>
                  </a:lnTo>
                  <a:lnTo>
                    <a:pt x="146" y="446"/>
                  </a:lnTo>
                  <a:lnTo>
                    <a:pt x="195" y="451"/>
                  </a:lnTo>
                  <a:lnTo>
                    <a:pt x="209" y="456"/>
                  </a:lnTo>
                  <a:lnTo>
                    <a:pt x="225" y="455"/>
                  </a:lnTo>
                  <a:lnTo>
                    <a:pt x="250" y="425"/>
                  </a:lnTo>
                  <a:lnTo>
                    <a:pt x="290" y="386"/>
                  </a:lnTo>
                  <a:lnTo>
                    <a:pt x="306" y="382"/>
                  </a:lnTo>
                  <a:lnTo>
                    <a:pt x="312" y="366"/>
                  </a:lnTo>
                  <a:lnTo>
                    <a:pt x="338" y="348"/>
                  </a:lnTo>
                  <a:lnTo>
                    <a:pt x="372" y="342"/>
                  </a:lnTo>
                  <a:lnTo>
                    <a:pt x="369" y="308"/>
                  </a:lnTo>
                  <a:lnTo>
                    <a:pt x="504" y="269"/>
                  </a:lnTo>
                  <a:lnTo>
                    <a:pt x="481" y="257"/>
                  </a:lnTo>
                  <a:lnTo>
                    <a:pt x="497" y="214"/>
                  </a:lnTo>
                  <a:lnTo>
                    <a:pt x="511" y="197"/>
                  </a:lnTo>
                  <a:lnTo>
                    <a:pt x="504" y="158"/>
                  </a:lnTo>
                  <a:lnTo>
                    <a:pt x="513" y="120"/>
                  </a:lnTo>
                  <a:lnTo>
                    <a:pt x="522" y="107"/>
                  </a:lnTo>
                  <a:lnTo>
                    <a:pt x="511" y="67"/>
                  </a:lnTo>
                  <a:lnTo>
                    <a:pt x="491" y="46"/>
                  </a:lnTo>
                  <a:lnTo>
                    <a:pt x="466" y="33"/>
                  </a:lnTo>
                  <a:lnTo>
                    <a:pt x="438" y="24"/>
                  </a:lnTo>
                  <a:lnTo>
                    <a:pt x="420" y="17"/>
                  </a:lnTo>
                  <a:lnTo>
                    <a:pt x="418" y="15"/>
                  </a:lnTo>
                  <a:lnTo>
                    <a:pt x="418" y="15"/>
                  </a:lnTo>
                  <a:lnTo>
                    <a:pt x="422" y="22"/>
                  </a:lnTo>
                  <a:lnTo>
                    <a:pt x="415" y="26"/>
                  </a:lnTo>
                  <a:lnTo>
                    <a:pt x="405" y="16"/>
                  </a:lnTo>
                  <a:lnTo>
                    <a:pt x="405" y="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2" name="Zimbabwe">
              <a:extLst>
                <a:ext uri="{FF2B5EF4-FFF2-40B4-BE49-F238E27FC236}">
                  <a16:creationId xmlns:a16="http://schemas.microsoft.com/office/drawing/2014/main" id="{E4BB101F-F84D-602D-AE3F-AA150AA040E2}"/>
                </a:ext>
              </a:extLst>
            </p:cNvPr>
            <p:cNvSpPr>
              <a:spLocks/>
            </p:cNvSpPr>
            <p:nvPr/>
          </p:nvSpPr>
          <p:spPr bwMode="auto">
            <a:xfrm>
              <a:off x="7855841" y="4722150"/>
              <a:ext cx="533400" cy="503238"/>
            </a:xfrm>
            <a:custGeom>
              <a:avLst/>
              <a:gdLst>
                <a:gd name="T0" fmla="*/ 250 w 336"/>
                <a:gd name="T1" fmla="*/ 316 h 317"/>
                <a:gd name="T2" fmla="*/ 300 w 336"/>
                <a:gd name="T3" fmla="*/ 263 h 317"/>
                <a:gd name="T4" fmla="*/ 312 w 336"/>
                <a:gd name="T5" fmla="*/ 229 h 317"/>
                <a:gd name="T6" fmla="*/ 320 w 336"/>
                <a:gd name="T7" fmla="*/ 225 h 317"/>
                <a:gd name="T8" fmla="*/ 326 w 336"/>
                <a:gd name="T9" fmla="*/ 197 h 317"/>
                <a:gd name="T10" fmla="*/ 320 w 336"/>
                <a:gd name="T11" fmla="*/ 183 h 317"/>
                <a:gd name="T12" fmla="*/ 323 w 336"/>
                <a:gd name="T13" fmla="*/ 147 h 317"/>
                <a:gd name="T14" fmla="*/ 333 w 336"/>
                <a:gd name="T15" fmla="*/ 115 h 317"/>
                <a:gd name="T16" fmla="*/ 336 w 336"/>
                <a:gd name="T17" fmla="*/ 56 h 317"/>
                <a:gd name="T18" fmla="*/ 314 w 336"/>
                <a:gd name="T19" fmla="*/ 40 h 317"/>
                <a:gd name="T20" fmla="*/ 293 w 336"/>
                <a:gd name="T21" fmla="*/ 37 h 317"/>
                <a:gd name="T22" fmla="*/ 284 w 336"/>
                <a:gd name="T23" fmla="*/ 26 h 317"/>
                <a:gd name="T24" fmla="*/ 264 w 336"/>
                <a:gd name="T25" fmla="*/ 16 h 317"/>
                <a:gd name="T26" fmla="*/ 228 w 336"/>
                <a:gd name="T27" fmla="*/ 17 h 317"/>
                <a:gd name="T28" fmla="*/ 226 w 336"/>
                <a:gd name="T29" fmla="*/ 0 h 317"/>
                <a:gd name="T30" fmla="*/ 192 w 336"/>
                <a:gd name="T31" fmla="*/ 6 h 317"/>
                <a:gd name="T32" fmla="*/ 166 w 336"/>
                <a:gd name="T33" fmla="*/ 24 h 317"/>
                <a:gd name="T34" fmla="*/ 160 w 336"/>
                <a:gd name="T35" fmla="*/ 40 h 317"/>
                <a:gd name="T36" fmla="*/ 144 w 336"/>
                <a:gd name="T37" fmla="*/ 44 h 317"/>
                <a:gd name="T38" fmla="*/ 104 w 336"/>
                <a:gd name="T39" fmla="*/ 83 h 317"/>
                <a:gd name="T40" fmla="*/ 79 w 336"/>
                <a:gd name="T41" fmla="*/ 113 h 317"/>
                <a:gd name="T42" fmla="*/ 63 w 336"/>
                <a:gd name="T43" fmla="*/ 114 h 317"/>
                <a:gd name="T44" fmla="*/ 49 w 336"/>
                <a:gd name="T45" fmla="*/ 109 h 317"/>
                <a:gd name="T46" fmla="*/ 0 w 336"/>
                <a:gd name="T47" fmla="*/ 104 h 317"/>
                <a:gd name="T48" fmla="*/ 16 w 336"/>
                <a:gd name="T49" fmla="*/ 141 h 317"/>
                <a:gd name="T50" fmla="*/ 24 w 336"/>
                <a:gd name="T51" fmla="*/ 150 h 317"/>
                <a:gd name="T52" fmla="*/ 37 w 336"/>
                <a:gd name="T53" fmla="*/ 177 h 317"/>
                <a:gd name="T54" fmla="*/ 84 w 336"/>
                <a:gd name="T55" fmla="*/ 229 h 317"/>
                <a:gd name="T56" fmla="*/ 103 w 336"/>
                <a:gd name="T57" fmla="*/ 234 h 317"/>
                <a:gd name="T58" fmla="*/ 102 w 336"/>
                <a:gd name="T59" fmla="*/ 250 h 317"/>
                <a:gd name="T60" fmla="*/ 113 w 336"/>
                <a:gd name="T61" fmla="*/ 280 h 317"/>
                <a:gd name="T62" fmla="*/ 147 w 336"/>
                <a:gd name="T63" fmla="*/ 287 h 317"/>
                <a:gd name="T64" fmla="*/ 174 w 336"/>
                <a:gd name="T65" fmla="*/ 309 h 317"/>
                <a:gd name="T66" fmla="*/ 192 w 336"/>
                <a:gd name="T67" fmla="*/ 309 h 317"/>
                <a:gd name="T68" fmla="*/ 213 w 336"/>
                <a:gd name="T69" fmla="*/ 317 h 317"/>
                <a:gd name="T70" fmla="*/ 228 w 336"/>
                <a:gd name="T71" fmla="*/ 311 h 317"/>
                <a:gd name="T72" fmla="*/ 250 w 336"/>
                <a:gd name="T73" fmla="*/ 316 h 317"/>
                <a:gd name="T74" fmla="*/ 250 w 336"/>
                <a:gd name="T75"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7">
                  <a:moveTo>
                    <a:pt x="250" y="316"/>
                  </a:moveTo>
                  <a:lnTo>
                    <a:pt x="300" y="263"/>
                  </a:lnTo>
                  <a:lnTo>
                    <a:pt x="312" y="229"/>
                  </a:lnTo>
                  <a:lnTo>
                    <a:pt x="320" y="225"/>
                  </a:lnTo>
                  <a:lnTo>
                    <a:pt x="326" y="197"/>
                  </a:lnTo>
                  <a:lnTo>
                    <a:pt x="320" y="183"/>
                  </a:lnTo>
                  <a:lnTo>
                    <a:pt x="323" y="147"/>
                  </a:lnTo>
                  <a:lnTo>
                    <a:pt x="333" y="115"/>
                  </a:lnTo>
                  <a:lnTo>
                    <a:pt x="336" y="56"/>
                  </a:lnTo>
                  <a:lnTo>
                    <a:pt x="314" y="40"/>
                  </a:lnTo>
                  <a:lnTo>
                    <a:pt x="293" y="37"/>
                  </a:lnTo>
                  <a:lnTo>
                    <a:pt x="284" y="26"/>
                  </a:lnTo>
                  <a:lnTo>
                    <a:pt x="264" y="16"/>
                  </a:lnTo>
                  <a:lnTo>
                    <a:pt x="228" y="17"/>
                  </a:lnTo>
                  <a:lnTo>
                    <a:pt x="226" y="0"/>
                  </a:lnTo>
                  <a:lnTo>
                    <a:pt x="192" y="6"/>
                  </a:lnTo>
                  <a:lnTo>
                    <a:pt x="166" y="24"/>
                  </a:lnTo>
                  <a:lnTo>
                    <a:pt x="160" y="40"/>
                  </a:lnTo>
                  <a:lnTo>
                    <a:pt x="144" y="44"/>
                  </a:lnTo>
                  <a:lnTo>
                    <a:pt x="104" y="83"/>
                  </a:lnTo>
                  <a:lnTo>
                    <a:pt x="79" y="113"/>
                  </a:lnTo>
                  <a:lnTo>
                    <a:pt x="63" y="114"/>
                  </a:lnTo>
                  <a:lnTo>
                    <a:pt x="49" y="109"/>
                  </a:lnTo>
                  <a:lnTo>
                    <a:pt x="0" y="104"/>
                  </a:lnTo>
                  <a:lnTo>
                    <a:pt x="16" y="141"/>
                  </a:lnTo>
                  <a:lnTo>
                    <a:pt x="24" y="150"/>
                  </a:lnTo>
                  <a:lnTo>
                    <a:pt x="37" y="177"/>
                  </a:lnTo>
                  <a:lnTo>
                    <a:pt x="84" y="229"/>
                  </a:lnTo>
                  <a:lnTo>
                    <a:pt x="103" y="234"/>
                  </a:lnTo>
                  <a:lnTo>
                    <a:pt x="102" y="250"/>
                  </a:lnTo>
                  <a:lnTo>
                    <a:pt x="113" y="280"/>
                  </a:lnTo>
                  <a:lnTo>
                    <a:pt x="147" y="287"/>
                  </a:lnTo>
                  <a:lnTo>
                    <a:pt x="174" y="309"/>
                  </a:lnTo>
                  <a:lnTo>
                    <a:pt x="192" y="309"/>
                  </a:lnTo>
                  <a:lnTo>
                    <a:pt x="213" y="317"/>
                  </a:lnTo>
                  <a:lnTo>
                    <a:pt x="228" y="311"/>
                  </a:lnTo>
                  <a:lnTo>
                    <a:pt x="250" y="316"/>
                  </a:lnTo>
                  <a:lnTo>
                    <a:pt x="250" y="3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3" name="Somalia">
              <a:extLst>
                <a:ext uri="{FF2B5EF4-FFF2-40B4-BE49-F238E27FC236}">
                  <a16:creationId xmlns:a16="http://schemas.microsoft.com/office/drawing/2014/main" id="{5098A9A4-43A2-9131-7124-745945563236}"/>
                </a:ext>
              </a:extLst>
            </p:cNvPr>
            <p:cNvSpPr>
              <a:spLocks/>
            </p:cNvSpPr>
            <p:nvPr/>
          </p:nvSpPr>
          <p:spPr bwMode="auto">
            <a:xfrm>
              <a:off x="8994079" y="2667925"/>
              <a:ext cx="698500" cy="1020763"/>
            </a:xfrm>
            <a:custGeom>
              <a:avLst/>
              <a:gdLst>
                <a:gd name="T0" fmla="*/ 131 w 440"/>
                <a:gd name="T1" fmla="*/ 74 h 643"/>
                <a:gd name="T2" fmla="*/ 111 w 440"/>
                <a:gd name="T3" fmla="*/ 54 h 643"/>
                <a:gd name="T4" fmla="*/ 101 w 440"/>
                <a:gd name="T5" fmla="*/ 35 h 643"/>
                <a:gd name="T6" fmla="*/ 86 w 440"/>
                <a:gd name="T7" fmla="*/ 26 h 643"/>
                <a:gd name="T8" fmla="*/ 70 w 440"/>
                <a:gd name="T9" fmla="*/ 51 h 643"/>
                <a:gd name="T10" fmla="*/ 61 w 440"/>
                <a:gd name="T11" fmla="*/ 68 h 643"/>
                <a:gd name="T12" fmla="*/ 80 w 440"/>
                <a:gd name="T13" fmla="*/ 94 h 643"/>
                <a:gd name="T14" fmla="*/ 96 w 440"/>
                <a:gd name="T15" fmla="*/ 116 h 643"/>
                <a:gd name="T16" fmla="*/ 113 w 440"/>
                <a:gd name="T17" fmla="*/ 133 h 643"/>
                <a:gd name="T18" fmla="*/ 260 w 440"/>
                <a:gd name="T19" fmla="*/ 189 h 643"/>
                <a:gd name="T20" fmla="*/ 299 w 440"/>
                <a:gd name="T21" fmla="*/ 188 h 643"/>
                <a:gd name="T22" fmla="*/ 176 w 440"/>
                <a:gd name="T23" fmla="*/ 329 h 643"/>
                <a:gd name="T24" fmla="*/ 118 w 440"/>
                <a:gd name="T25" fmla="*/ 332 h 643"/>
                <a:gd name="T26" fmla="*/ 79 w 440"/>
                <a:gd name="T27" fmla="*/ 365 h 643"/>
                <a:gd name="T28" fmla="*/ 50 w 440"/>
                <a:gd name="T29" fmla="*/ 366 h 643"/>
                <a:gd name="T30" fmla="*/ 38 w 440"/>
                <a:gd name="T31" fmla="*/ 380 h 643"/>
                <a:gd name="T32" fmla="*/ 0 w 440"/>
                <a:gd name="T33" fmla="*/ 434 h 643"/>
                <a:gd name="T34" fmla="*/ 1 w 440"/>
                <a:gd name="T35" fmla="*/ 605 h 643"/>
                <a:gd name="T36" fmla="*/ 27 w 440"/>
                <a:gd name="T37" fmla="*/ 643 h 643"/>
                <a:gd name="T38" fmla="*/ 37 w 440"/>
                <a:gd name="T39" fmla="*/ 632 h 643"/>
                <a:gd name="T40" fmla="*/ 48 w 440"/>
                <a:gd name="T41" fmla="*/ 608 h 643"/>
                <a:gd name="T42" fmla="*/ 97 w 440"/>
                <a:gd name="T43" fmla="*/ 551 h 643"/>
                <a:gd name="T44" fmla="*/ 139 w 440"/>
                <a:gd name="T45" fmla="*/ 515 h 643"/>
                <a:gd name="T46" fmla="*/ 205 w 440"/>
                <a:gd name="T47" fmla="*/ 469 h 643"/>
                <a:gd name="T48" fmla="*/ 249 w 440"/>
                <a:gd name="T49" fmla="*/ 430 h 643"/>
                <a:gd name="T50" fmla="*/ 301 w 440"/>
                <a:gd name="T51" fmla="*/ 367 h 643"/>
                <a:gd name="T52" fmla="*/ 337 w 440"/>
                <a:gd name="T53" fmla="*/ 314 h 643"/>
                <a:gd name="T54" fmla="*/ 374 w 440"/>
                <a:gd name="T55" fmla="*/ 245 h 643"/>
                <a:gd name="T56" fmla="*/ 399 w 440"/>
                <a:gd name="T57" fmla="*/ 185 h 643"/>
                <a:gd name="T58" fmla="*/ 419 w 440"/>
                <a:gd name="T59" fmla="*/ 132 h 643"/>
                <a:gd name="T60" fmla="*/ 430 w 440"/>
                <a:gd name="T61" fmla="*/ 81 h 643"/>
                <a:gd name="T62" fmla="*/ 438 w 440"/>
                <a:gd name="T63" fmla="*/ 64 h 643"/>
                <a:gd name="T64" fmla="*/ 437 w 440"/>
                <a:gd name="T65" fmla="*/ 40 h 643"/>
                <a:gd name="T66" fmla="*/ 440 w 440"/>
                <a:gd name="T67" fmla="*/ 13 h 643"/>
                <a:gd name="T68" fmla="*/ 438 w 440"/>
                <a:gd name="T69" fmla="*/ 0 h 643"/>
                <a:gd name="T70" fmla="*/ 421 w 440"/>
                <a:gd name="T71" fmla="*/ 0 h 643"/>
                <a:gd name="T72" fmla="*/ 401 w 440"/>
                <a:gd name="T73" fmla="*/ 16 h 643"/>
                <a:gd name="T74" fmla="*/ 378 w 440"/>
                <a:gd name="T75" fmla="*/ 20 h 643"/>
                <a:gd name="T76" fmla="*/ 358 w 440"/>
                <a:gd name="T77" fmla="*/ 28 h 643"/>
                <a:gd name="T78" fmla="*/ 343 w 440"/>
                <a:gd name="T79" fmla="*/ 29 h 643"/>
                <a:gd name="T80" fmla="*/ 343 w 440"/>
                <a:gd name="T81" fmla="*/ 29 h 643"/>
                <a:gd name="T82" fmla="*/ 319 w 440"/>
                <a:gd name="T83" fmla="*/ 30 h 643"/>
                <a:gd name="T84" fmla="*/ 303 w 440"/>
                <a:gd name="T85" fmla="*/ 39 h 643"/>
                <a:gd name="T86" fmla="*/ 281 w 440"/>
                <a:gd name="T87" fmla="*/ 42 h 643"/>
                <a:gd name="T88" fmla="*/ 243 w 440"/>
                <a:gd name="T89" fmla="*/ 57 h 643"/>
                <a:gd name="T90" fmla="*/ 195 w 440"/>
                <a:gd name="T91" fmla="*/ 62 h 643"/>
                <a:gd name="T92" fmla="*/ 153 w 440"/>
                <a:gd name="T93" fmla="*/ 74 h 643"/>
                <a:gd name="T94" fmla="*/ 131 w 440"/>
                <a:gd name="T95" fmla="*/ 74 h 643"/>
                <a:gd name="T96" fmla="*/ 131 w 440"/>
                <a:gd name="T97" fmla="*/ 7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0" h="643">
                  <a:moveTo>
                    <a:pt x="131" y="74"/>
                  </a:moveTo>
                  <a:lnTo>
                    <a:pt x="111" y="54"/>
                  </a:lnTo>
                  <a:lnTo>
                    <a:pt x="101" y="35"/>
                  </a:lnTo>
                  <a:lnTo>
                    <a:pt x="86" y="26"/>
                  </a:lnTo>
                  <a:lnTo>
                    <a:pt x="70" y="51"/>
                  </a:lnTo>
                  <a:lnTo>
                    <a:pt x="61" y="68"/>
                  </a:lnTo>
                  <a:lnTo>
                    <a:pt x="80" y="94"/>
                  </a:lnTo>
                  <a:lnTo>
                    <a:pt x="96" y="116"/>
                  </a:lnTo>
                  <a:lnTo>
                    <a:pt x="113" y="133"/>
                  </a:lnTo>
                  <a:lnTo>
                    <a:pt x="260" y="189"/>
                  </a:lnTo>
                  <a:lnTo>
                    <a:pt x="299" y="188"/>
                  </a:lnTo>
                  <a:lnTo>
                    <a:pt x="176" y="329"/>
                  </a:lnTo>
                  <a:lnTo>
                    <a:pt x="118" y="332"/>
                  </a:lnTo>
                  <a:lnTo>
                    <a:pt x="79" y="365"/>
                  </a:lnTo>
                  <a:lnTo>
                    <a:pt x="50" y="366"/>
                  </a:lnTo>
                  <a:lnTo>
                    <a:pt x="38" y="380"/>
                  </a:lnTo>
                  <a:lnTo>
                    <a:pt x="0" y="434"/>
                  </a:lnTo>
                  <a:lnTo>
                    <a:pt x="1" y="605"/>
                  </a:lnTo>
                  <a:lnTo>
                    <a:pt x="27" y="643"/>
                  </a:lnTo>
                  <a:lnTo>
                    <a:pt x="37" y="632"/>
                  </a:lnTo>
                  <a:lnTo>
                    <a:pt x="48" y="608"/>
                  </a:lnTo>
                  <a:lnTo>
                    <a:pt x="97" y="551"/>
                  </a:lnTo>
                  <a:lnTo>
                    <a:pt x="139" y="515"/>
                  </a:lnTo>
                  <a:lnTo>
                    <a:pt x="205" y="469"/>
                  </a:lnTo>
                  <a:lnTo>
                    <a:pt x="249" y="430"/>
                  </a:lnTo>
                  <a:lnTo>
                    <a:pt x="301" y="367"/>
                  </a:lnTo>
                  <a:lnTo>
                    <a:pt x="337" y="314"/>
                  </a:lnTo>
                  <a:lnTo>
                    <a:pt x="374" y="245"/>
                  </a:lnTo>
                  <a:lnTo>
                    <a:pt x="399" y="185"/>
                  </a:lnTo>
                  <a:lnTo>
                    <a:pt x="419" y="132"/>
                  </a:lnTo>
                  <a:lnTo>
                    <a:pt x="430" y="81"/>
                  </a:lnTo>
                  <a:lnTo>
                    <a:pt x="438" y="64"/>
                  </a:lnTo>
                  <a:lnTo>
                    <a:pt x="437" y="40"/>
                  </a:lnTo>
                  <a:lnTo>
                    <a:pt x="440" y="13"/>
                  </a:lnTo>
                  <a:lnTo>
                    <a:pt x="438" y="0"/>
                  </a:lnTo>
                  <a:lnTo>
                    <a:pt x="421" y="0"/>
                  </a:lnTo>
                  <a:lnTo>
                    <a:pt x="401" y="16"/>
                  </a:lnTo>
                  <a:lnTo>
                    <a:pt x="378" y="20"/>
                  </a:lnTo>
                  <a:lnTo>
                    <a:pt x="358" y="28"/>
                  </a:lnTo>
                  <a:lnTo>
                    <a:pt x="343" y="29"/>
                  </a:lnTo>
                  <a:lnTo>
                    <a:pt x="343" y="29"/>
                  </a:lnTo>
                  <a:lnTo>
                    <a:pt x="319" y="30"/>
                  </a:lnTo>
                  <a:lnTo>
                    <a:pt x="303" y="39"/>
                  </a:lnTo>
                  <a:lnTo>
                    <a:pt x="281" y="42"/>
                  </a:lnTo>
                  <a:lnTo>
                    <a:pt x="243" y="57"/>
                  </a:lnTo>
                  <a:lnTo>
                    <a:pt x="195" y="62"/>
                  </a:lnTo>
                  <a:lnTo>
                    <a:pt x="153" y="74"/>
                  </a:lnTo>
                  <a:lnTo>
                    <a:pt x="131" y="74"/>
                  </a:lnTo>
                  <a:lnTo>
                    <a:pt x="131" y="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grpSp>
        <p:nvGrpSpPr>
          <p:cNvPr id="94" name="Grupo 93">
            <a:extLst>
              <a:ext uri="{FF2B5EF4-FFF2-40B4-BE49-F238E27FC236}">
                <a16:creationId xmlns:a16="http://schemas.microsoft.com/office/drawing/2014/main" id="{12EF0145-02C1-D272-C9B5-ECE19D509545}"/>
              </a:ext>
            </a:extLst>
          </p:cNvPr>
          <p:cNvGrpSpPr/>
          <p:nvPr/>
        </p:nvGrpSpPr>
        <p:grpSpPr>
          <a:xfrm>
            <a:off x="3664759" y="9331721"/>
            <a:ext cx="2017945" cy="1901556"/>
            <a:chOff x="7291812" y="2223515"/>
            <a:chExt cx="2017945" cy="1901556"/>
          </a:xfrm>
        </p:grpSpPr>
        <p:sp>
          <p:nvSpPr>
            <p:cNvPr id="97" name="Etiquette - United Republic of Tanzania">
              <a:extLst>
                <a:ext uri="{FF2B5EF4-FFF2-40B4-BE49-F238E27FC236}">
                  <a16:creationId xmlns:a16="http://schemas.microsoft.com/office/drawing/2014/main" id="{C6BFB333-BCC3-FED3-B50F-329479A07234}"/>
                </a:ext>
              </a:extLst>
            </p:cNvPr>
            <p:cNvSpPr>
              <a:spLocks noChangeAspect="1" noChangeArrowheads="1"/>
            </p:cNvSpPr>
            <p:nvPr>
              <p:custDataLst>
                <p:tags r:id="rId1"/>
              </p:custDataLst>
            </p:nvPr>
          </p:nvSpPr>
          <p:spPr bwMode="auto">
            <a:xfrm>
              <a:off x="8195781" y="3940404"/>
              <a:ext cx="103605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Tanzani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98" name="Etiquette - Sudan">
              <a:extLst>
                <a:ext uri="{FF2B5EF4-FFF2-40B4-BE49-F238E27FC236}">
                  <a16:creationId xmlns:a16="http://schemas.microsoft.com/office/drawing/2014/main" id="{D6017DDC-C18D-63A1-5B09-86B24D88CDA3}"/>
                </a:ext>
              </a:extLst>
            </p:cNvPr>
            <p:cNvSpPr>
              <a:spLocks noChangeAspect="1" noChangeArrowheads="1"/>
            </p:cNvSpPr>
            <p:nvPr>
              <p:custDataLst>
                <p:tags r:id="rId2"/>
              </p:custDataLst>
            </p:nvPr>
          </p:nvSpPr>
          <p:spPr bwMode="auto">
            <a:xfrm>
              <a:off x="7763418" y="2223515"/>
              <a:ext cx="9433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20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Sudan</a:t>
              </a:r>
            </a:p>
          </p:txBody>
        </p:sp>
        <p:sp>
          <p:nvSpPr>
            <p:cNvPr id="99" name="Etiquette - The Democratic Republic of the Congo">
              <a:extLst>
                <a:ext uri="{FF2B5EF4-FFF2-40B4-BE49-F238E27FC236}">
                  <a16:creationId xmlns:a16="http://schemas.microsoft.com/office/drawing/2014/main" id="{7C16D134-9E90-E485-0E4D-430548EC88D2}"/>
                </a:ext>
              </a:extLst>
            </p:cNvPr>
            <p:cNvSpPr>
              <a:spLocks noChangeArrowheads="1"/>
            </p:cNvSpPr>
            <p:nvPr>
              <p:custDataLst>
                <p:tags r:id="rId3"/>
              </p:custDataLst>
            </p:nvPr>
          </p:nvSpPr>
          <p:spPr bwMode="auto">
            <a:xfrm>
              <a:off x="7291812" y="3561929"/>
              <a:ext cx="10424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6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Congo</a:t>
              </a:r>
              <a:endParaRPr kumimoji="0" lang="en-US" altLang="fr-FR" sz="3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1" name="Etiquette - Kenya">
              <a:extLst>
                <a:ext uri="{FF2B5EF4-FFF2-40B4-BE49-F238E27FC236}">
                  <a16:creationId xmlns:a16="http://schemas.microsoft.com/office/drawing/2014/main" id="{DB1E76EA-1B3C-66D5-DBAA-7645DAC2B9D7}"/>
                </a:ext>
              </a:extLst>
            </p:cNvPr>
            <p:cNvSpPr>
              <a:spLocks noChangeAspect="1" noChangeArrowheads="1"/>
            </p:cNvSpPr>
            <p:nvPr>
              <p:custDataLst>
                <p:tags r:id="rId4"/>
              </p:custDataLst>
            </p:nvPr>
          </p:nvSpPr>
          <p:spPr bwMode="auto">
            <a:xfrm rot="20516297">
              <a:off x="8699399" y="3451747"/>
              <a:ext cx="61035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Keny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4" name="Etiquette - South Sudan">
              <a:extLst>
                <a:ext uri="{FF2B5EF4-FFF2-40B4-BE49-F238E27FC236}">
                  <a16:creationId xmlns:a16="http://schemas.microsoft.com/office/drawing/2014/main" id="{B7847740-0472-B9D3-243F-95BFE8EFEAE7}"/>
                </a:ext>
              </a:extLst>
            </p:cNvPr>
            <p:cNvSpPr>
              <a:spLocks noChangeArrowheads="1"/>
            </p:cNvSpPr>
            <p:nvPr>
              <p:custDataLst>
                <p:tags r:id="rId5"/>
              </p:custDataLst>
            </p:nvPr>
          </p:nvSpPr>
          <p:spPr bwMode="auto">
            <a:xfrm>
              <a:off x="8047962" y="2874601"/>
              <a:ext cx="607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prstClr val="white"/>
                  </a:solidFill>
                  <a:effectLst/>
                  <a:uLnTx/>
                  <a:uFillTx/>
                  <a:latin typeface="Poppins Light" panose="00000400000000000000" pitchFamily="2" charset="0"/>
                  <a:ea typeface="+mn-ea"/>
                  <a:cs typeface="Poppins Light" panose="00000400000000000000" pitchFamily="2" charset="0"/>
                </a:rPr>
                <a:t>South Sudan</a:t>
              </a:r>
              <a:endParaRPr kumimoji="0" lang="en-US" altLang="fr-FR" sz="1400" b="0" i="0" u="none" strike="noStrike" kern="0" cap="none" spc="0" normalizeH="0" baseline="0" noProof="0" dirty="0">
                <a:ln>
                  <a:noFill/>
                </a:ln>
                <a:solidFill>
                  <a:prstClr val="white"/>
                </a:solidFill>
                <a:effectLst/>
                <a:uLnTx/>
                <a:uFillTx/>
                <a:latin typeface="Poppins Light" panose="00000400000000000000" pitchFamily="2" charset="0"/>
                <a:ea typeface="+mn-ea"/>
                <a:cs typeface="Poppins Light" panose="00000400000000000000" pitchFamily="2" charset="0"/>
              </a:endParaRPr>
            </a:p>
          </p:txBody>
        </p:sp>
        <p:sp>
          <p:nvSpPr>
            <p:cNvPr id="105" name="Etiquette - Rwanda">
              <a:extLst>
                <a:ext uri="{FF2B5EF4-FFF2-40B4-BE49-F238E27FC236}">
                  <a16:creationId xmlns:a16="http://schemas.microsoft.com/office/drawing/2014/main" id="{300EE7B1-8652-ED5F-C766-AFF5C65D9C67}"/>
                </a:ext>
              </a:extLst>
            </p:cNvPr>
            <p:cNvSpPr>
              <a:spLocks noChangeAspect="1" noChangeArrowheads="1"/>
            </p:cNvSpPr>
            <p:nvPr>
              <p:custDataLst>
                <p:tags r:id="rId6"/>
              </p:custDataLst>
            </p:nvPr>
          </p:nvSpPr>
          <p:spPr bwMode="auto">
            <a:xfrm rot="19380731">
              <a:off x="8261464" y="3321134"/>
              <a:ext cx="71284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schemeClr val="bg1"/>
                  </a:solidFill>
                  <a:effectLst/>
                  <a:uLnTx/>
                  <a:uFillTx/>
                  <a:latin typeface="Poppins Light" panose="00000400000000000000" pitchFamily="2" charset="0"/>
                  <a:ea typeface="+mn-ea"/>
                  <a:cs typeface="Poppins Light" panose="00000400000000000000" pitchFamily="2" charset="0"/>
                </a:rPr>
                <a:t>Uganda</a:t>
              </a:r>
              <a:endParaRPr kumimoji="0" lang="en-US" altLang="fr-FR" sz="1400" b="0" i="0" u="none" strike="noStrike" kern="0" cap="none" spc="0" normalizeH="0" baseline="0" noProof="0" dirty="0">
                <a:ln>
                  <a:noFill/>
                </a:ln>
                <a:solidFill>
                  <a:schemeClr val="bg1"/>
                </a:solidFill>
                <a:effectLst/>
                <a:uLnTx/>
                <a:uFillTx/>
                <a:latin typeface="Poppins Light" panose="00000400000000000000" pitchFamily="2" charset="0"/>
                <a:ea typeface="+mn-ea"/>
                <a:cs typeface="Poppins Light" panose="00000400000000000000" pitchFamily="2" charset="0"/>
              </a:endParaRPr>
            </a:p>
          </p:txBody>
        </p:sp>
      </p:grpSp>
      <p:pic>
        <p:nvPicPr>
          <p:cNvPr id="107" name="Imagen 106" descr="Un dibujo animado con letras&#10;&#10;Descripción generada automáticamente con confianza baja">
            <a:extLst>
              <a:ext uri="{FF2B5EF4-FFF2-40B4-BE49-F238E27FC236}">
                <a16:creationId xmlns:a16="http://schemas.microsoft.com/office/drawing/2014/main" id="{27BC342F-14A0-9B98-28BA-760B4CC02200}"/>
              </a:ext>
            </a:extLst>
          </p:cNvPr>
          <p:cNvPicPr>
            <a:picLocks noChangeAspect="1"/>
          </p:cNvPicPr>
          <p:nvPr/>
        </p:nvPicPr>
        <p:blipFill>
          <a:blip r:embed="rId8">
            <a:grayscl/>
            <a:alphaModFix amt="5000"/>
            <a:extLst>
              <a:ext uri="{28A0092B-C50C-407E-A947-70E740481C1C}">
                <a14:useLocalDpi xmlns:a14="http://schemas.microsoft.com/office/drawing/2010/main" val="0"/>
              </a:ext>
            </a:extLst>
          </a:blip>
          <a:stretch>
            <a:fillRect/>
          </a:stretch>
        </p:blipFill>
        <p:spPr>
          <a:xfrm>
            <a:off x="8797434" y="9924855"/>
            <a:ext cx="3278067" cy="2780503"/>
          </a:xfrm>
          <a:prstGeom prst="rect">
            <a:avLst/>
          </a:prstGeom>
        </p:spPr>
      </p:pic>
      <p:sp>
        <p:nvSpPr>
          <p:cNvPr id="108" name="CuadroTexto 107">
            <a:extLst>
              <a:ext uri="{FF2B5EF4-FFF2-40B4-BE49-F238E27FC236}">
                <a16:creationId xmlns:a16="http://schemas.microsoft.com/office/drawing/2014/main" id="{3CA36075-990C-2D77-8EDD-A2161D527B5C}"/>
              </a:ext>
            </a:extLst>
          </p:cNvPr>
          <p:cNvSpPr txBox="1"/>
          <p:nvPr/>
        </p:nvSpPr>
        <p:spPr>
          <a:xfrm>
            <a:off x="9359901" y="9461867"/>
            <a:ext cx="2553144" cy="20621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Totals</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Sales </a:t>
            </a:r>
            <a:r>
              <a:rPr lang="en-US" sz="3200" dirty="0">
                <a:solidFill>
                  <a:srgbClr val="EC2129"/>
                </a:solidFill>
                <a:latin typeface="Oswald SemiBold" pitchFamily="2" charset="0"/>
                <a:cs typeface="Poppins Light" panose="00000400000000000000" pitchFamily="2" charset="0"/>
              </a:rPr>
              <a:t>Proje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0F142A"/>
                </a:solidFill>
                <a:latin typeface="Oswald SemiBold" pitchFamily="2" charset="0"/>
                <a:cs typeface="Poppins Light" panose="00000400000000000000" pitchFamily="2" charset="0"/>
              </a:rPr>
              <a:t>FOB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EC2129"/>
                </a:solidFill>
                <a:latin typeface="Oswald SemiBold" pitchFamily="2" charset="0"/>
                <a:cs typeface="Poppins Light" panose="00000400000000000000" pitchFamily="2" charset="0"/>
              </a:rPr>
              <a:t>Prices</a:t>
            </a:r>
          </a:p>
        </p:txBody>
      </p:sp>
      <p:grpSp>
        <p:nvGrpSpPr>
          <p:cNvPr id="109" name="Grupo 108">
            <a:extLst>
              <a:ext uri="{FF2B5EF4-FFF2-40B4-BE49-F238E27FC236}">
                <a16:creationId xmlns:a16="http://schemas.microsoft.com/office/drawing/2014/main" id="{4882AA8B-E1D7-3D88-5EF6-4D748E741C94}"/>
              </a:ext>
            </a:extLst>
          </p:cNvPr>
          <p:cNvGrpSpPr/>
          <p:nvPr/>
        </p:nvGrpSpPr>
        <p:grpSpPr>
          <a:xfrm>
            <a:off x="7310215" y="11422100"/>
            <a:ext cx="1724268" cy="1242388"/>
            <a:chOff x="8461813" y="1714612"/>
            <a:chExt cx="1724268" cy="1242388"/>
          </a:xfrm>
        </p:grpSpPr>
        <p:sp>
          <p:nvSpPr>
            <p:cNvPr id="110" name="Elipse 109">
              <a:extLst>
                <a:ext uri="{FF2B5EF4-FFF2-40B4-BE49-F238E27FC236}">
                  <a16:creationId xmlns:a16="http://schemas.microsoft.com/office/drawing/2014/main" id="{384A537C-1891-A773-9CC9-9AB169747E95}"/>
                </a:ext>
              </a:extLst>
            </p:cNvPr>
            <p:cNvSpPr/>
            <p:nvPr/>
          </p:nvSpPr>
          <p:spPr>
            <a:xfrm>
              <a:off x="8700897" y="1714612"/>
              <a:ext cx="1246100" cy="1242388"/>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CuadroTexto 110">
              <a:extLst>
                <a:ext uri="{FF2B5EF4-FFF2-40B4-BE49-F238E27FC236}">
                  <a16:creationId xmlns:a16="http://schemas.microsoft.com/office/drawing/2014/main" id="{39CBBBC2-7565-5086-3A2B-231982E8FFDB}"/>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a:t>
              </a:r>
            </a:p>
          </p:txBody>
        </p:sp>
        <p:sp>
          <p:nvSpPr>
            <p:cNvPr id="112" name="CuadroTexto 111">
              <a:extLst>
                <a:ext uri="{FF2B5EF4-FFF2-40B4-BE49-F238E27FC236}">
                  <a16:creationId xmlns:a16="http://schemas.microsoft.com/office/drawing/2014/main" id="{07E04D0B-1121-4066-58A4-DFEF1562F92B}"/>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3.9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3" name="Grupo 112">
            <a:extLst>
              <a:ext uri="{FF2B5EF4-FFF2-40B4-BE49-F238E27FC236}">
                <a16:creationId xmlns:a16="http://schemas.microsoft.com/office/drawing/2014/main" id="{E9D9C6BF-7B11-6377-6C5D-A7DBC6182F11}"/>
              </a:ext>
            </a:extLst>
          </p:cNvPr>
          <p:cNvGrpSpPr/>
          <p:nvPr/>
        </p:nvGrpSpPr>
        <p:grpSpPr>
          <a:xfrm>
            <a:off x="7310215" y="9820156"/>
            <a:ext cx="1724268" cy="1463580"/>
            <a:chOff x="8461813" y="1604016"/>
            <a:chExt cx="1724268" cy="1463580"/>
          </a:xfrm>
        </p:grpSpPr>
        <p:sp>
          <p:nvSpPr>
            <p:cNvPr id="114" name="Elipse 113">
              <a:extLst>
                <a:ext uri="{FF2B5EF4-FFF2-40B4-BE49-F238E27FC236}">
                  <a16:creationId xmlns:a16="http://schemas.microsoft.com/office/drawing/2014/main" id="{0C275537-37AE-1095-BE29-9962D5388A2F}"/>
                </a:ext>
              </a:extLst>
            </p:cNvPr>
            <p:cNvSpPr/>
            <p:nvPr/>
          </p:nvSpPr>
          <p:spPr>
            <a:xfrm>
              <a:off x="8589970" y="1604016"/>
              <a:ext cx="1467954" cy="1463580"/>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CuadroTexto 114">
              <a:extLst>
                <a:ext uri="{FF2B5EF4-FFF2-40B4-BE49-F238E27FC236}">
                  <a16:creationId xmlns:a16="http://schemas.microsoft.com/office/drawing/2014/main" id="{26421E34-8A8E-2BC2-C78C-89A2C2E9EF5E}"/>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a:t>
              </a:r>
            </a:p>
          </p:txBody>
        </p:sp>
        <p:sp>
          <p:nvSpPr>
            <p:cNvPr id="116" name="CuadroTexto 115">
              <a:extLst>
                <a:ext uri="{FF2B5EF4-FFF2-40B4-BE49-F238E27FC236}">
                  <a16:creationId xmlns:a16="http://schemas.microsoft.com/office/drawing/2014/main" id="{E4079471-E76C-E429-D3C2-D60F52229DF9}"/>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5.4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7" name="Grupo 116">
            <a:extLst>
              <a:ext uri="{FF2B5EF4-FFF2-40B4-BE49-F238E27FC236}">
                <a16:creationId xmlns:a16="http://schemas.microsoft.com/office/drawing/2014/main" id="{D2B79833-CAEB-0B18-DE83-FD75E5EEDD8A}"/>
              </a:ext>
            </a:extLst>
          </p:cNvPr>
          <p:cNvGrpSpPr/>
          <p:nvPr/>
        </p:nvGrpSpPr>
        <p:grpSpPr>
          <a:xfrm>
            <a:off x="7309286" y="7960808"/>
            <a:ext cx="1726126" cy="1720984"/>
            <a:chOff x="8460884" y="1475314"/>
            <a:chExt cx="1726126" cy="1720984"/>
          </a:xfrm>
        </p:grpSpPr>
        <p:sp>
          <p:nvSpPr>
            <p:cNvPr id="118" name="Elipse 117">
              <a:extLst>
                <a:ext uri="{FF2B5EF4-FFF2-40B4-BE49-F238E27FC236}">
                  <a16:creationId xmlns:a16="http://schemas.microsoft.com/office/drawing/2014/main" id="{77DE927E-3400-20F7-9C87-C3CA547AD68E}"/>
                </a:ext>
              </a:extLst>
            </p:cNvPr>
            <p:cNvSpPr/>
            <p:nvPr/>
          </p:nvSpPr>
          <p:spPr>
            <a:xfrm>
              <a:off x="8460884" y="1475314"/>
              <a:ext cx="1726126" cy="1720984"/>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CuadroTexto 118">
              <a:extLst>
                <a:ext uri="{FF2B5EF4-FFF2-40B4-BE49-F238E27FC236}">
                  <a16:creationId xmlns:a16="http://schemas.microsoft.com/office/drawing/2014/main" id="{2E449AB7-582A-0C8D-8640-9E95C08E7856}"/>
                </a:ext>
              </a:extLst>
            </p:cNvPr>
            <p:cNvSpPr txBox="1"/>
            <p:nvPr/>
          </p:nvSpPr>
          <p:spPr>
            <a:xfrm>
              <a:off x="8658703" y="1953646"/>
              <a:ext cx="133048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I</a:t>
              </a:r>
            </a:p>
          </p:txBody>
        </p:sp>
        <p:sp>
          <p:nvSpPr>
            <p:cNvPr id="120" name="CuadroTexto 119">
              <a:extLst>
                <a:ext uri="{FF2B5EF4-FFF2-40B4-BE49-F238E27FC236}">
                  <a16:creationId xmlns:a16="http://schemas.microsoft.com/office/drawing/2014/main" id="{6F544A42-2555-B439-A59A-763A9BCF6123}"/>
                </a:ext>
              </a:extLst>
            </p:cNvPr>
            <p:cNvSpPr txBox="1"/>
            <p:nvPr/>
          </p:nvSpPr>
          <p:spPr>
            <a:xfrm>
              <a:off x="8461813" y="2226225"/>
              <a:ext cx="1724268"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7.4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sp>
        <p:nvSpPr>
          <p:cNvPr id="121" name="TextBox 120">
            <a:extLst>
              <a:ext uri="{FF2B5EF4-FFF2-40B4-BE49-F238E27FC236}">
                <a16:creationId xmlns:a16="http://schemas.microsoft.com/office/drawing/2014/main" id="{29632D0C-3008-8957-563D-B2ECC41442C5}"/>
              </a:ext>
            </a:extLst>
          </p:cNvPr>
          <p:cNvSpPr txBox="1"/>
          <p:nvPr/>
        </p:nvSpPr>
        <p:spPr>
          <a:xfrm>
            <a:off x="2814541" y="4160187"/>
            <a:ext cx="3986436" cy="1354217"/>
          </a:xfrm>
          <a:prstGeom prst="rect">
            <a:avLst/>
          </a:prstGeom>
          <a:noFill/>
        </p:spPr>
        <p:txBody>
          <a:bodyPr wrap="square" rtlCol="0">
            <a:spAutoFit/>
          </a:bodyPr>
          <a:lstStyle/>
          <a:p>
            <a:r>
              <a:rPr lang="en-US" sz="3200" b="1" dirty="0">
                <a:solidFill>
                  <a:srgbClr val="FF0000"/>
                </a:solidFill>
                <a:latin typeface="Oswald" panose="00000500000000000000" pitchFamily="2" charset="0"/>
              </a:rPr>
              <a:t>12</a:t>
            </a:r>
            <a:r>
              <a:rPr lang="en-US" b="1" dirty="0"/>
              <a:t> </a:t>
            </a:r>
            <a:r>
              <a:rPr lang="en-US" sz="2000" b="1" dirty="0">
                <a:latin typeface="Oswald" panose="00000500000000000000" pitchFamily="2" charset="0"/>
              </a:rPr>
              <a:t>Product group</a:t>
            </a:r>
          </a:p>
          <a:p>
            <a:endParaRPr lang="en-US" b="1" dirty="0"/>
          </a:p>
          <a:p>
            <a:r>
              <a:rPr lang="en-US" b="1" dirty="0"/>
              <a:t>		</a:t>
            </a:r>
            <a:r>
              <a:rPr lang="en-US" sz="3200" b="1" dirty="0">
                <a:solidFill>
                  <a:srgbClr val="FF0000"/>
                </a:solidFill>
                <a:latin typeface="Oswald" panose="00000500000000000000" pitchFamily="2" charset="0"/>
              </a:rPr>
              <a:t>23 </a:t>
            </a:r>
            <a:r>
              <a:rPr lang="en-US" sz="2000" b="1" dirty="0">
                <a:latin typeface="Oswald" panose="00000500000000000000" pitchFamily="2" charset="0"/>
              </a:rPr>
              <a:t>SKUs</a:t>
            </a:r>
            <a:endParaRPr lang="en-US" sz="2400" b="1" dirty="0">
              <a:latin typeface="Oswald" panose="00000500000000000000" pitchFamily="2" charset="0"/>
            </a:endParaRPr>
          </a:p>
        </p:txBody>
      </p:sp>
    </p:spTree>
    <p:extLst>
      <p:ext uri="{BB962C8B-B14F-4D97-AF65-F5344CB8AC3E}">
        <p14:creationId xmlns:p14="http://schemas.microsoft.com/office/powerpoint/2010/main" val="1665162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8">
            <a:grayscl/>
            <a:alphaModFix amt="5000"/>
            <a:extLst>
              <a:ext uri="{28A0092B-C50C-407E-A947-70E740481C1C}">
                <a14:useLocalDpi xmlns:a14="http://schemas.microsoft.com/office/drawing/2010/main" val="0"/>
              </a:ext>
            </a:extLst>
          </a:blip>
          <a:stretch>
            <a:fillRect/>
          </a:stretch>
        </p:blipFill>
        <p:spPr>
          <a:xfrm>
            <a:off x="9349045" y="2904624"/>
            <a:ext cx="3278067" cy="2780503"/>
          </a:xfrm>
          <a:prstGeom prst="rect">
            <a:avLst/>
          </a:prstGeom>
        </p:spPr>
      </p:pic>
      <p:sp>
        <p:nvSpPr>
          <p:cNvPr id="53" name="Rectángulo: esquinas redondeadas 52">
            <a:extLst>
              <a:ext uri="{FF2B5EF4-FFF2-40B4-BE49-F238E27FC236}">
                <a16:creationId xmlns:a16="http://schemas.microsoft.com/office/drawing/2014/main" id="{BCDAF261-0565-E0A7-276B-0055AD9E6FD3}"/>
              </a:ext>
            </a:extLst>
          </p:cNvPr>
          <p:cNvSpPr/>
          <p:nvPr/>
        </p:nvSpPr>
        <p:spPr>
          <a:xfrm flipH="1" flipV="1">
            <a:off x="569236" y="-1621555"/>
            <a:ext cx="10507736" cy="434389"/>
          </a:xfrm>
          <a:prstGeom prst="roundRect">
            <a:avLst>
              <a:gd name="adj" fmla="val 10030"/>
            </a:avLst>
          </a:prstGeom>
          <a:solidFill>
            <a:srgbClr val="0F14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ángulo: esquinas redondeadas 44">
            <a:extLst>
              <a:ext uri="{FF2B5EF4-FFF2-40B4-BE49-F238E27FC236}">
                <a16:creationId xmlns:a16="http://schemas.microsoft.com/office/drawing/2014/main" id="{DE8DC42F-1C1A-2ECC-2231-6E3B5F5F3089}"/>
              </a:ext>
            </a:extLst>
          </p:cNvPr>
          <p:cNvSpPr/>
          <p:nvPr/>
        </p:nvSpPr>
        <p:spPr>
          <a:xfrm flipH="1" flipV="1">
            <a:off x="569236" y="-5691664"/>
            <a:ext cx="10507736" cy="434389"/>
          </a:xfrm>
          <a:prstGeom prst="roundRect">
            <a:avLst>
              <a:gd name="adj" fmla="val 10030"/>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4599972" y="-6541367"/>
            <a:ext cx="299205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The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Figures</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54323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10657080"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9"/>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graphicFrame>
        <p:nvGraphicFramePr>
          <p:cNvPr id="54" name="Content Placeholder 5">
            <a:extLst>
              <a:ext uri="{FF2B5EF4-FFF2-40B4-BE49-F238E27FC236}">
                <a16:creationId xmlns:a16="http://schemas.microsoft.com/office/drawing/2014/main" id="{C2FE36DD-70EE-F4F5-B803-3962A98E633A}"/>
              </a:ext>
            </a:extLst>
          </p:cNvPr>
          <p:cNvGraphicFramePr>
            <a:graphicFrameLocks/>
          </p:cNvGraphicFramePr>
          <p:nvPr/>
        </p:nvGraphicFramePr>
        <p:xfrm>
          <a:off x="948323" y="-1678947"/>
          <a:ext cx="9749562" cy="812003"/>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PROJECTED SALES USD</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algn="ctr" fontAlgn="b"/>
                      <a:r>
                        <a:rPr lang="en-US" sz="1400" b="0" u="none" strike="noStrike" dirty="0">
                          <a:solidFill>
                            <a:srgbClr val="EC2129"/>
                          </a:solidFill>
                          <a:effectLst/>
                          <a:latin typeface="Poppins Medium" panose="00000600000000000000" pitchFamily="2" charset="0"/>
                          <a:cs typeface="Poppins Medium" panose="00000600000000000000" pitchFamily="2" charset="0"/>
                        </a:rPr>
                        <a:t>Grand Total</a:t>
                      </a:r>
                      <a:endParaRPr lang="en-US" sz="1400" b="0" i="0" u="none" strike="noStrike" dirty="0">
                        <a:solidFill>
                          <a:srgbClr val="EC2129"/>
                        </a:solidFill>
                        <a:effectLst/>
                        <a:latin typeface="Poppins Medium" panose="00000600000000000000" pitchFamily="2" charset="0"/>
                        <a:cs typeface="Poppins Medium" panose="000006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u="none" strike="noStrike" dirty="0">
                          <a:solidFill>
                            <a:srgbClr val="EC2129"/>
                          </a:solidFill>
                          <a:effectLst/>
                          <a:latin typeface="Poppins Medium" panose="00000600000000000000" pitchFamily="2" charset="0"/>
                          <a:cs typeface="Poppins Medium" panose="00000600000000000000" pitchFamily="2" charset="0"/>
                        </a:rPr>
                        <a:t>8,312,725 </a:t>
                      </a:r>
                      <a:endParaRPr lang="en-US" sz="1400" b="0" i="0" u="none" strike="noStrike" dirty="0">
                        <a:solidFill>
                          <a:srgbClr val="EC2129"/>
                        </a:solidFill>
                        <a:effectLst/>
                        <a:latin typeface="Poppins Medium" panose="00000600000000000000" pitchFamily="2" charset="0"/>
                        <a:cs typeface="Poppins Medium" panose="000006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u="none" strike="noStrike" dirty="0">
                          <a:solidFill>
                            <a:srgbClr val="EC2129"/>
                          </a:solidFill>
                          <a:effectLst/>
                          <a:latin typeface="Poppins Medium" panose="00000600000000000000" pitchFamily="2" charset="0"/>
                          <a:cs typeface="Poppins Medium" panose="00000600000000000000" pitchFamily="2" charset="0"/>
                        </a:rPr>
                        <a:t>11,599,769 </a:t>
                      </a:r>
                      <a:endParaRPr lang="en-US" sz="1400" b="0" i="0" u="none" strike="noStrike" dirty="0">
                        <a:solidFill>
                          <a:srgbClr val="EC2129"/>
                        </a:solidFill>
                        <a:effectLst/>
                        <a:latin typeface="Poppins Medium" panose="00000600000000000000" pitchFamily="2" charset="0"/>
                        <a:cs typeface="Poppins Medium" panose="000006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u="none" strike="noStrike" dirty="0">
                          <a:solidFill>
                            <a:srgbClr val="EC2129"/>
                          </a:solidFill>
                          <a:effectLst/>
                          <a:latin typeface="Poppins Medium" panose="00000600000000000000" pitchFamily="2" charset="0"/>
                          <a:cs typeface="Poppins Medium" panose="00000600000000000000" pitchFamily="2" charset="0"/>
                        </a:rPr>
                        <a:t>16,224,341 </a:t>
                      </a:r>
                      <a:endParaRPr lang="en-US" sz="1400" b="0" i="0" u="none" strike="noStrike" dirty="0">
                        <a:solidFill>
                          <a:srgbClr val="EC2129"/>
                        </a:solidFill>
                        <a:effectLst/>
                        <a:latin typeface="Poppins Medium" panose="00000600000000000000" pitchFamily="2" charset="0"/>
                        <a:cs typeface="Poppins Medium" panose="000006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9177961"/>
                  </a:ext>
                </a:extLst>
              </a:tr>
            </a:tbl>
          </a:graphicData>
        </a:graphic>
      </p:graphicFrame>
      <p:graphicFrame>
        <p:nvGraphicFramePr>
          <p:cNvPr id="57" name="Content Placeholder 5">
            <a:extLst>
              <a:ext uri="{FF2B5EF4-FFF2-40B4-BE49-F238E27FC236}">
                <a16:creationId xmlns:a16="http://schemas.microsoft.com/office/drawing/2014/main" id="{0F924B9B-4059-AE3B-E9FC-74E3752BAE9D}"/>
              </a:ext>
            </a:extLst>
          </p:cNvPr>
          <p:cNvGraphicFramePr>
            <a:graphicFrameLocks noGrp="1"/>
          </p:cNvGraphicFramePr>
          <p:nvPr>
            <p:ph idx="1"/>
            <p:extLst>
              <p:ext uri="{D42A27DB-BD31-4B8C-83A1-F6EECF244321}">
                <p14:modId xmlns:p14="http://schemas.microsoft.com/office/powerpoint/2010/main" val="1309733662"/>
              </p:ext>
            </p:extLst>
          </p:nvPr>
        </p:nvGraphicFramePr>
        <p:xfrm>
          <a:off x="948323" y="-5747911"/>
          <a:ext cx="9749562" cy="3804036"/>
        </p:xfrm>
        <a:graphic>
          <a:graphicData uri="http://schemas.openxmlformats.org/drawingml/2006/table">
            <a:tbl>
              <a:tblPr>
                <a:tableStyleId>{5940675A-B579-460E-94D1-54222C63F5DA}</a:tableStyleId>
              </a:tblPr>
              <a:tblGrid>
                <a:gridCol w="3256239">
                  <a:extLst>
                    <a:ext uri="{9D8B030D-6E8A-4147-A177-3AD203B41FA5}">
                      <a16:colId xmlns:a16="http://schemas.microsoft.com/office/drawing/2014/main" val="2683528064"/>
                    </a:ext>
                  </a:extLst>
                </a:gridCol>
                <a:gridCol w="2164441">
                  <a:extLst>
                    <a:ext uri="{9D8B030D-6E8A-4147-A177-3AD203B41FA5}">
                      <a16:colId xmlns:a16="http://schemas.microsoft.com/office/drawing/2014/main" val="305657707"/>
                    </a:ext>
                  </a:extLst>
                </a:gridCol>
                <a:gridCol w="2164441">
                  <a:extLst>
                    <a:ext uri="{9D8B030D-6E8A-4147-A177-3AD203B41FA5}">
                      <a16:colId xmlns:a16="http://schemas.microsoft.com/office/drawing/2014/main" val="3017635315"/>
                    </a:ext>
                  </a:extLst>
                </a:gridCol>
                <a:gridCol w="2164441">
                  <a:extLst>
                    <a:ext uri="{9D8B030D-6E8A-4147-A177-3AD203B41FA5}">
                      <a16:colId xmlns:a16="http://schemas.microsoft.com/office/drawing/2014/main" val="1745284112"/>
                    </a:ext>
                  </a:extLst>
                </a:gridCol>
              </a:tblGrid>
              <a:tr h="540000">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THERAPEUTIC GROUP</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ctr"/>
                      <a:r>
                        <a:rPr lang="en-US" sz="1600" b="0" u="none" strike="noStrike" dirty="0">
                          <a:solidFill>
                            <a:schemeClr val="bg1"/>
                          </a:solidFill>
                          <a:effectLst/>
                          <a:latin typeface="Oswald Medium" pitchFamily="2" charset="0"/>
                          <a:cs typeface="Poppins Light" panose="00000400000000000000" pitchFamily="2" charset="0"/>
                        </a:rPr>
                        <a:t>YEAR III</a:t>
                      </a:r>
                      <a:endParaRPr lang="en-US" sz="1600" b="0" i="0" u="none" strike="noStrike" dirty="0">
                        <a:solidFill>
                          <a:schemeClr val="bg1"/>
                        </a:solidFill>
                        <a:effectLst/>
                        <a:latin typeface="Oswald Medium" pitchFamily="2" charset="0"/>
                        <a:cs typeface="Poppins Light" panose="00000400000000000000" pitchFamily="2"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81966310"/>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CNS Product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394,621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952,552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741,53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12700" cmpd="sng">
                      <a:noFill/>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4966199"/>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Cardiovascular</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367,469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911,814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671,937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3023115"/>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Ophthalmic</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256,32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758,830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462,512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19916"/>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Respiratory Line </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178,749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652,61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316,42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8827702"/>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Other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784,615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062,79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461,481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1608651"/>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Muscle &amp; Skeletal System Product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779,331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085,542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522,83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6027389"/>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Antibiotics &amp; Antibacterial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739,754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044,317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462,49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7604582"/>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Analgesics &amp; NSAID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32,827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326,356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456,89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6289987"/>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Systemic Hormone Preparation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85,964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55,89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354,839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4424729"/>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Dermatological</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79,44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52,03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354,577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4898536"/>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Vitamin &amp; Mineral Combination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18,055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63,02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230,48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2010289"/>
                  </a:ext>
                </a:extLst>
              </a:tr>
              <a:tr h="272003">
                <a:tc>
                  <a:txBody>
                    <a:bodyPr/>
                    <a:lstStyle/>
                    <a:p>
                      <a:pPr algn="ctr" fontAlgn="b"/>
                      <a:r>
                        <a:rPr lang="en-US" sz="1200" b="0" u="none" strike="noStrike" dirty="0">
                          <a:solidFill>
                            <a:schemeClr val="bg2">
                              <a:lumMod val="25000"/>
                            </a:schemeClr>
                          </a:solidFill>
                          <a:effectLst/>
                          <a:latin typeface="Poppins" panose="00000500000000000000" pitchFamily="2" charset="0"/>
                          <a:cs typeface="Poppins" panose="00000500000000000000" pitchFamily="2" charset="0"/>
                        </a:rPr>
                        <a:t>G.I.S. Products</a:t>
                      </a:r>
                      <a:endParaRPr lang="en-US" sz="1200" b="0" i="0" u="none" strike="noStrike" dirty="0">
                        <a:solidFill>
                          <a:schemeClr val="bg2">
                            <a:lumMod val="25000"/>
                          </a:schemeClr>
                        </a:solidFill>
                        <a:effectLst/>
                        <a:latin typeface="Poppins" panose="00000500000000000000" pitchFamily="2" charset="0"/>
                        <a:cs typeface="Poppins" panose="000005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95,568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33,983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b"/>
                      <a:r>
                        <a:rPr lang="en-US" sz="1200" b="0" u="none" strike="noStrike" dirty="0">
                          <a:solidFill>
                            <a:schemeClr val="bg2">
                              <a:lumMod val="25000"/>
                            </a:schemeClr>
                          </a:solidFill>
                          <a:effectLst/>
                          <a:latin typeface="Poppins Light" panose="00000400000000000000" pitchFamily="2" charset="0"/>
                          <a:cs typeface="Poppins Light" panose="00000400000000000000" pitchFamily="2" charset="0"/>
                        </a:rPr>
                        <a:t>188,326 </a:t>
                      </a:r>
                      <a:endParaRPr lang="en-US" sz="1200" b="0" i="0" u="none" strike="noStrike" dirty="0">
                        <a:solidFill>
                          <a:schemeClr val="bg2">
                            <a:lumMod val="25000"/>
                          </a:schemeClr>
                        </a:solidFill>
                        <a:effectLst/>
                        <a:latin typeface="Poppins Light" panose="00000400000000000000" pitchFamily="2" charset="0"/>
                        <a:cs typeface="Poppins Light" panose="00000400000000000000" pitchFamily="2" charset="0"/>
                      </a:endParaRPr>
                    </a:p>
                  </a:txBody>
                  <a:tcPr marL="3810" marR="3810" marT="3810" marB="0" anchor="ctr">
                    <a:lnL w="12700" cmpd="sng">
                      <a:noFill/>
                    </a:lnL>
                    <a:lnR w="12700" cmpd="sng">
                      <a:noFill/>
                    </a:lnR>
                    <a:lnT w="6350" cap="flat" cmpd="sng" algn="ctr">
                      <a:solidFill>
                        <a:schemeClr val="bg2">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3183579"/>
                  </a:ext>
                </a:extLst>
              </a:tr>
            </a:tbl>
          </a:graphicData>
        </a:graphic>
      </p:graphicFrame>
      <p:sp>
        <p:nvSpPr>
          <p:cNvPr id="3" name="Flecha: hacia arriba 218">
            <a:extLst>
              <a:ext uri="{FF2B5EF4-FFF2-40B4-BE49-F238E27FC236}">
                <a16:creationId xmlns:a16="http://schemas.microsoft.com/office/drawing/2014/main" id="{A0AD3D51-CB85-5304-A508-4DBF30468653}"/>
              </a:ext>
            </a:extLst>
          </p:cNvPr>
          <p:cNvSpPr/>
          <p:nvPr/>
        </p:nvSpPr>
        <p:spPr>
          <a:xfrm flipH="1">
            <a:off x="6409746" y="283158"/>
            <a:ext cx="2437724" cy="6314602"/>
          </a:xfrm>
          <a:custGeom>
            <a:avLst/>
            <a:gdLst>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643808 w 4043004"/>
              <a:gd name="connsiteY5" fmla="*/ 6290951 h 6290951"/>
              <a:gd name="connsiteX6" fmla="*/ 643808 w 4043004"/>
              <a:gd name="connsiteY6" fmla="*/ 684400 h 6290951"/>
              <a:gd name="connsiteX7" fmla="*/ 0 w 4043004"/>
              <a:gd name="connsiteY7" fmla="*/ 684400 h 6290951"/>
              <a:gd name="connsiteX0" fmla="*/ 0 w 4043004"/>
              <a:gd name="connsiteY0" fmla="*/ 684400 h 6290951"/>
              <a:gd name="connsiteX1" fmla="*/ 2021502 w 4043004"/>
              <a:gd name="connsiteY1" fmla="*/ 0 h 6290951"/>
              <a:gd name="connsiteX2" fmla="*/ 4043004 w 4043004"/>
              <a:gd name="connsiteY2" fmla="*/ 684400 h 6290951"/>
              <a:gd name="connsiteX3" fmla="*/ 3399196 w 4043004"/>
              <a:gd name="connsiteY3" fmla="*/ 684400 h 6290951"/>
              <a:gd name="connsiteX4" fmla="*/ 3399196 w 4043004"/>
              <a:gd name="connsiteY4" fmla="*/ 6290951 h 6290951"/>
              <a:gd name="connsiteX5" fmla="*/ 2001520 w 4043004"/>
              <a:gd name="connsiteY5" fmla="*/ 6281027 h 6290951"/>
              <a:gd name="connsiteX6" fmla="*/ 643808 w 4043004"/>
              <a:gd name="connsiteY6" fmla="*/ 6290951 h 6290951"/>
              <a:gd name="connsiteX7" fmla="*/ 643808 w 4043004"/>
              <a:gd name="connsiteY7" fmla="*/ 684400 h 6290951"/>
              <a:gd name="connsiteX8" fmla="*/ 0 w 4043004"/>
              <a:gd name="connsiteY8" fmla="*/ 684400 h 6290951"/>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290951 h 6728067"/>
              <a:gd name="connsiteX7" fmla="*/ 643808 w 4043004"/>
              <a:gd name="connsiteY7" fmla="*/ 684400 h 6728067"/>
              <a:gd name="connsiteX8" fmla="*/ 0 w 4043004"/>
              <a:gd name="connsiteY8"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3399196 w 4043004"/>
              <a:gd name="connsiteY4" fmla="*/ 6290951 h 6728067"/>
              <a:gd name="connsiteX5" fmla="*/ 1981200 w 4043004"/>
              <a:gd name="connsiteY5" fmla="*/ 6728067 h 6728067"/>
              <a:gd name="connsiteX6" fmla="*/ 643808 w 4043004"/>
              <a:gd name="connsiteY6" fmla="*/ 684400 h 6728067"/>
              <a:gd name="connsiteX7" fmla="*/ 0 w 4043004"/>
              <a:gd name="connsiteY7" fmla="*/ 684400 h 6728067"/>
              <a:gd name="connsiteX0" fmla="*/ 0 w 4043004"/>
              <a:gd name="connsiteY0" fmla="*/ 684400 h 6728067"/>
              <a:gd name="connsiteX1" fmla="*/ 2021502 w 4043004"/>
              <a:gd name="connsiteY1" fmla="*/ 0 h 6728067"/>
              <a:gd name="connsiteX2" fmla="*/ 4043004 w 4043004"/>
              <a:gd name="connsiteY2" fmla="*/ 684400 h 6728067"/>
              <a:gd name="connsiteX3" fmla="*/ 3399196 w 4043004"/>
              <a:gd name="connsiteY3" fmla="*/ 684400 h 6728067"/>
              <a:gd name="connsiteX4" fmla="*/ 1981200 w 4043004"/>
              <a:gd name="connsiteY4" fmla="*/ 6728067 h 6728067"/>
              <a:gd name="connsiteX5" fmla="*/ 643808 w 4043004"/>
              <a:gd name="connsiteY5" fmla="*/ 684400 h 6728067"/>
              <a:gd name="connsiteX6" fmla="*/ 0 w 4043004"/>
              <a:gd name="connsiteY6" fmla="*/ 684400 h 672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3004" h="6728067">
                <a:moveTo>
                  <a:pt x="0" y="684400"/>
                </a:moveTo>
                <a:lnTo>
                  <a:pt x="2021502" y="0"/>
                </a:lnTo>
                <a:lnTo>
                  <a:pt x="4043004" y="684400"/>
                </a:lnTo>
                <a:lnTo>
                  <a:pt x="3399196" y="684400"/>
                </a:lnTo>
                <a:lnTo>
                  <a:pt x="1981200" y="6728067"/>
                </a:lnTo>
                <a:lnTo>
                  <a:pt x="643808" y="684400"/>
                </a:lnTo>
                <a:lnTo>
                  <a:pt x="0" y="684400"/>
                </a:lnTo>
                <a:close/>
              </a:path>
            </a:pathLst>
          </a:cu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Map_Africa">
            <a:extLst>
              <a:ext uri="{FF2B5EF4-FFF2-40B4-BE49-F238E27FC236}">
                <a16:creationId xmlns:a16="http://schemas.microsoft.com/office/drawing/2014/main" id="{FE4431D7-D810-3807-B70B-49E980131F31}"/>
              </a:ext>
            </a:extLst>
          </p:cNvPr>
          <p:cNvGrpSpPr/>
          <p:nvPr/>
        </p:nvGrpSpPr>
        <p:grpSpPr>
          <a:xfrm>
            <a:off x="604587" y="915769"/>
            <a:ext cx="5931540" cy="5576226"/>
            <a:chOff x="4858807" y="775624"/>
            <a:chExt cx="4833772" cy="5384801"/>
          </a:xfrm>
          <a:solidFill>
            <a:sysClr val="window" lastClr="FFFFFF">
              <a:lumMod val="85000"/>
            </a:sysClr>
          </a:solidFill>
        </p:grpSpPr>
        <p:sp>
          <p:nvSpPr>
            <p:cNvPr id="37" name="Angola">
              <a:extLst>
                <a:ext uri="{FF2B5EF4-FFF2-40B4-BE49-F238E27FC236}">
                  <a16:creationId xmlns:a16="http://schemas.microsoft.com/office/drawing/2014/main" id="{148A8E11-46D9-BBB5-1002-F5856DCD40DE}"/>
                </a:ext>
              </a:extLst>
            </p:cNvPr>
            <p:cNvSpPr>
              <a:spLocks noEditPoints="1"/>
            </p:cNvSpPr>
            <p:nvPr/>
          </p:nvSpPr>
          <p:spPr bwMode="auto">
            <a:xfrm>
              <a:off x="6904929" y="3895062"/>
              <a:ext cx="881063" cy="1006475"/>
            </a:xfrm>
            <a:custGeom>
              <a:avLst/>
              <a:gdLst>
                <a:gd name="T0" fmla="*/ 83 w 555"/>
                <a:gd name="T1" fmla="*/ 67 h 634"/>
                <a:gd name="T2" fmla="*/ 55 w 555"/>
                <a:gd name="T3" fmla="*/ 72 h 634"/>
                <a:gd name="T4" fmla="*/ 32 w 555"/>
                <a:gd name="T5" fmla="*/ 88 h 634"/>
                <a:gd name="T6" fmla="*/ 63 w 555"/>
                <a:gd name="T7" fmla="*/ 149 h 634"/>
                <a:gd name="T8" fmla="*/ 62 w 555"/>
                <a:gd name="T9" fmla="*/ 213 h 634"/>
                <a:gd name="T10" fmla="*/ 70 w 555"/>
                <a:gd name="T11" fmla="*/ 251 h 634"/>
                <a:gd name="T12" fmla="*/ 95 w 555"/>
                <a:gd name="T13" fmla="*/ 296 h 634"/>
                <a:gd name="T14" fmla="*/ 92 w 555"/>
                <a:gd name="T15" fmla="*/ 358 h 634"/>
                <a:gd name="T16" fmla="*/ 51 w 555"/>
                <a:gd name="T17" fmla="*/ 409 h 634"/>
                <a:gd name="T18" fmla="*/ 26 w 555"/>
                <a:gd name="T19" fmla="*/ 471 h 634"/>
                <a:gd name="T20" fmla="*/ 7 w 555"/>
                <a:gd name="T21" fmla="*/ 533 h 634"/>
                <a:gd name="T22" fmla="*/ 4 w 555"/>
                <a:gd name="T23" fmla="*/ 605 h 634"/>
                <a:gd name="T24" fmla="*/ 52 w 555"/>
                <a:gd name="T25" fmla="*/ 588 h 634"/>
                <a:gd name="T26" fmla="*/ 106 w 555"/>
                <a:gd name="T27" fmla="*/ 611 h 634"/>
                <a:gd name="T28" fmla="*/ 291 w 555"/>
                <a:gd name="T29" fmla="*/ 605 h 634"/>
                <a:gd name="T30" fmla="*/ 427 w 555"/>
                <a:gd name="T31" fmla="*/ 634 h 634"/>
                <a:gd name="T32" fmla="*/ 482 w 555"/>
                <a:gd name="T33" fmla="*/ 585 h 634"/>
                <a:gd name="T34" fmla="*/ 459 w 555"/>
                <a:gd name="T35" fmla="*/ 398 h 634"/>
                <a:gd name="T36" fmla="*/ 548 w 555"/>
                <a:gd name="T37" fmla="*/ 382 h 634"/>
                <a:gd name="T38" fmla="*/ 548 w 555"/>
                <a:gd name="T39" fmla="*/ 342 h 634"/>
                <a:gd name="T40" fmla="*/ 549 w 555"/>
                <a:gd name="T41" fmla="*/ 305 h 634"/>
                <a:gd name="T42" fmla="*/ 501 w 555"/>
                <a:gd name="T43" fmla="*/ 309 h 634"/>
                <a:gd name="T44" fmla="*/ 471 w 555"/>
                <a:gd name="T45" fmla="*/ 313 h 634"/>
                <a:gd name="T46" fmla="*/ 460 w 555"/>
                <a:gd name="T47" fmla="*/ 239 h 634"/>
                <a:gd name="T48" fmla="*/ 464 w 555"/>
                <a:gd name="T49" fmla="*/ 182 h 634"/>
                <a:gd name="T50" fmla="*/ 455 w 555"/>
                <a:gd name="T51" fmla="*/ 134 h 634"/>
                <a:gd name="T52" fmla="*/ 405 w 555"/>
                <a:gd name="T53" fmla="*/ 117 h 634"/>
                <a:gd name="T54" fmla="*/ 380 w 555"/>
                <a:gd name="T55" fmla="*/ 126 h 634"/>
                <a:gd name="T56" fmla="*/ 341 w 555"/>
                <a:gd name="T57" fmla="*/ 156 h 634"/>
                <a:gd name="T58" fmla="*/ 309 w 555"/>
                <a:gd name="T59" fmla="*/ 161 h 634"/>
                <a:gd name="T60" fmla="*/ 265 w 555"/>
                <a:gd name="T61" fmla="*/ 171 h 634"/>
                <a:gd name="T62" fmla="*/ 238 w 555"/>
                <a:gd name="T63" fmla="*/ 131 h 634"/>
                <a:gd name="T64" fmla="*/ 215 w 555"/>
                <a:gd name="T65" fmla="*/ 67 h 634"/>
                <a:gd name="T66" fmla="*/ 42 w 555"/>
                <a:gd name="T67" fmla="*/ 59 h 634"/>
                <a:gd name="T68" fmla="*/ 50 w 555"/>
                <a:gd name="T69" fmla="*/ 27 h 634"/>
                <a:gd name="T70" fmla="*/ 50 w 555"/>
                <a:gd name="T71" fmla="*/ 0 h 634"/>
                <a:gd name="T72" fmla="*/ 18 w 555"/>
                <a:gd name="T73" fmla="*/ 28 h 634"/>
                <a:gd name="T74" fmla="*/ 42 w 555"/>
                <a:gd name="T75" fmla="*/ 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634">
                  <a:moveTo>
                    <a:pt x="215" y="67"/>
                  </a:moveTo>
                  <a:lnTo>
                    <a:pt x="83" y="67"/>
                  </a:lnTo>
                  <a:lnTo>
                    <a:pt x="68" y="72"/>
                  </a:lnTo>
                  <a:lnTo>
                    <a:pt x="55" y="72"/>
                  </a:lnTo>
                  <a:lnTo>
                    <a:pt x="37" y="78"/>
                  </a:lnTo>
                  <a:lnTo>
                    <a:pt x="32" y="88"/>
                  </a:lnTo>
                  <a:lnTo>
                    <a:pt x="54" y="117"/>
                  </a:lnTo>
                  <a:lnTo>
                    <a:pt x="63" y="149"/>
                  </a:lnTo>
                  <a:lnTo>
                    <a:pt x="76" y="194"/>
                  </a:lnTo>
                  <a:lnTo>
                    <a:pt x="62" y="213"/>
                  </a:lnTo>
                  <a:lnTo>
                    <a:pt x="60" y="222"/>
                  </a:lnTo>
                  <a:lnTo>
                    <a:pt x="70" y="251"/>
                  </a:lnTo>
                  <a:lnTo>
                    <a:pt x="82" y="279"/>
                  </a:lnTo>
                  <a:lnTo>
                    <a:pt x="95" y="296"/>
                  </a:lnTo>
                  <a:lnTo>
                    <a:pt x="97" y="322"/>
                  </a:lnTo>
                  <a:lnTo>
                    <a:pt x="92" y="358"/>
                  </a:lnTo>
                  <a:lnTo>
                    <a:pt x="78" y="378"/>
                  </a:lnTo>
                  <a:lnTo>
                    <a:pt x="51" y="409"/>
                  </a:lnTo>
                  <a:lnTo>
                    <a:pt x="41" y="428"/>
                  </a:lnTo>
                  <a:lnTo>
                    <a:pt x="26" y="471"/>
                  </a:lnTo>
                  <a:lnTo>
                    <a:pt x="23" y="490"/>
                  </a:lnTo>
                  <a:lnTo>
                    <a:pt x="7" y="533"/>
                  </a:lnTo>
                  <a:lnTo>
                    <a:pt x="0" y="575"/>
                  </a:lnTo>
                  <a:lnTo>
                    <a:pt x="4" y="605"/>
                  </a:lnTo>
                  <a:lnTo>
                    <a:pt x="26" y="595"/>
                  </a:lnTo>
                  <a:lnTo>
                    <a:pt x="52" y="588"/>
                  </a:lnTo>
                  <a:lnTo>
                    <a:pt x="80" y="589"/>
                  </a:lnTo>
                  <a:lnTo>
                    <a:pt x="106" y="611"/>
                  </a:lnTo>
                  <a:lnTo>
                    <a:pt x="113" y="607"/>
                  </a:lnTo>
                  <a:lnTo>
                    <a:pt x="291" y="605"/>
                  </a:lnTo>
                  <a:lnTo>
                    <a:pt x="322" y="628"/>
                  </a:lnTo>
                  <a:lnTo>
                    <a:pt x="427" y="634"/>
                  </a:lnTo>
                  <a:lnTo>
                    <a:pt x="510" y="615"/>
                  </a:lnTo>
                  <a:lnTo>
                    <a:pt x="482" y="585"/>
                  </a:lnTo>
                  <a:lnTo>
                    <a:pt x="453" y="547"/>
                  </a:lnTo>
                  <a:lnTo>
                    <a:pt x="459" y="398"/>
                  </a:lnTo>
                  <a:lnTo>
                    <a:pt x="552" y="398"/>
                  </a:lnTo>
                  <a:lnTo>
                    <a:pt x="548" y="382"/>
                  </a:lnTo>
                  <a:lnTo>
                    <a:pt x="555" y="364"/>
                  </a:lnTo>
                  <a:lnTo>
                    <a:pt x="548" y="342"/>
                  </a:lnTo>
                  <a:lnTo>
                    <a:pt x="554" y="319"/>
                  </a:lnTo>
                  <a:lnTo>
                    <a:pt x="549" y="305"/>
                  </a:lnTo>
                  <a:lnTo>
                    <a:pt x="529" y="303"/>
                  </a:lnTo>
                  <a:lnTo>
                    <a:pt x="501" y="309"/>
                  </a:lnTo>
                  <a:lnTo>
                    <a:pt x="482" y="308"/>
                  </a:lnTo>
                  <a:lnTo>
                    <a:pt x="471" y="313"/>
                  </a:lnTo>
                  <a:lnTo>
                    <a:pt x="474" y="257"/>
                  </a:lnTo>
                  <a:lnTo>
                    <a:pt x="460" y="239"/>
                  </a:lnTo>
                  <a:lnTo>
                    <a:pt x="457" y="210"/>
                  </a:lnTo>
                  <a:lnTo>
                    <a:pt x="464" y="182"/>
                  </a:lnTo>
                  <a:lnTo>
                    <a:pt x="455" y="164"/>
                  </a:lnTo>
                  <a:lnTo>
                    <a:pt x="455" y="134"/>
                  </a:lnTo>
                  <a:lnTo>
                    <a:pt x="401" y="134"/>
                  </a:lnTo>
                  <a:lnTo>
                    <a:pt x="405" y="117"/>
                  </a:lnTo>
                  <a:lnTo>
                    <a:pt x="382" y="118"/>
                  </a:lnTo>
                  <a:lnTo>
                    <a:pt x="380" y="126"/>
                  </a:lnTo>
                  <a:lnTo>
                    <a:pt x="352" y="128"/>
                  </a:lnTo>
                  <a:lnTo>
                    <a:pt x="341" y="156"/>
                  </a:lnTo>
                  <a:lnTo>
                    <a:pt x="333" y="167"/>
                  </a:lnTo>
                  <a:lnTo>
                    <a:pt x="309" y="161"/>
                  </a:lnTo>
                  <a:lnTo>
                    <a:pt x="294" y="167"/>
                  </a:lnTo>
                  <a:lnTo>
                    <a:pt x="265" y="171"/>
                  </a:lnTo>
                  <a:lnTo>
                    <a:pt x="248" y="146"/>
                  </a:lnTo>
                  <a:lnTo>
                    <a:pt x="238" y="131"/>
                  </a:lnTo>
                  <a:lnTo>
                    <a:pt x="226" y="103"/>
                  </a:lnTo>
                  <a:lnTo>
                    <a:pt x="215" y="67"/>
                  </a:lnTo>
                  <a:lnTo>
                    <a:pt x="215" y="67"/>
                  </a:lnTo>
                  <a:close/>
                  <a:moveTo>
                    <a:pt x="42" y="59"/>
                  </a:moveTo>
                  <a:lnTo>
                    <a:pt x="43" y="38"/>
                  </a:lnTo>
                  <a:lnTo>
                    <a:pt x="50" y="27"/>
                  </a:lnTo>
                  <a:lnTo>
                    <a:pt x="67" y="16"/>
                  </a:lnTo>
                  <a:lnTo>
                    <a:pt x="50" y="0"/>
                  </a:lnTo>
                  <a:lnTo>
                    <a:pt x="37" y="8"/>
                  </a:lnTo>
                  <a:lnTo>
                    <a:pt x="18" y="28"/>
                  </a:lnTo>
                  <a:lnTo>
                    <a:pt x="30" y="64"/>
                  </a:lnTo>
                  <a:lnTo>
                    <a:pt x="42" y="59"/>
                  </a:lnTo>
                  <a:lnTo>
                    <a:pt x="42" y="5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38" name="Burundi">
              <a:extLst>
                <a:ext uri="{FF2B5EF4-FFF2-40B4-BE49-F238E27FC236}">
                  <a16:creationId xmlns:a16="http://schemas.microsoft.com/office/drawing/2014/main" id="{36AE0995-A13A-6F4B-6978-9BC107EE6089}"/>
                </a:ext>
              </a:extLst>
            </p:cNvPr>
            <p:cNvSpPr>
              <a:spLocks/>
            </p:cNvSpPr>
            <p:nvPr/>
          </p:nvSpPr>
          <p:spPr bwMode="auto">
            <a:xfrm>
              <a:off x="8147941" y="3739487"/>
              <a:ext cx="120650" cy="157163"/>
            </a:xfrm>
            <a:custGeom>
              <a:avLst/>
              <a:gdLst>
                <a:gd name="T0" fmla="*/ 66 w 76"/>
                <a:gd name="T1" fmla="*/ 21 h 99"/>
                <a:gd name="T2" fmla="*/ 65 w 76"/>
                <a:gd name="T3" fmla="*/ 3 h 99"/>
                <a:gd name="T4" fmla="*/ 65 w 76"/>
                <a:gd name="T5" fmla="*/ 3 h 99"/>
                <a:gd name="T6" fmla="*/ 41 w 76"/>
                <a:gd name="T7" fmla="*/ 0 h 99"/>
                <a:gd name="T8" fmla="*/ 26 w 76"/>
                <a:gd name="T9" fmla="*/ 27 h 99"/>
                <a:gd name="T10" fmla="*/ 0 w 76"/>
                <a:gd name="T11" fmla="*/ 23 h 99"/>
                <a:gd name="T12" fmla="*/ 11 w 76"/>
                <a:gd name="T13" fmla="*/ 45 h 99"/>
                <a:gd name="T14" fmla="*/ 11 w 76"/>
                <a:gd name="T15" fmla="*/ 52 h 99"/>
                <a:gd name="T16" fmla="*/ 26 w 76"/>
                <a:gd name="T17" fmla="*/ 97 h 99"/>
                <a:gd name="T18" fmla="*/ 26 w 76"/>
                <a:gd name="T19" fmla="*/ 99 h 99"/>
                <a:gd name="T20" fmla="*/ 31 w 76"/>
                <a:gd name="T21" fmla="*/ 99 h 99"/>
                <a:gd name="T22" fmla="*/ 47 w 76"/>
                <a:gd name="T23" fmla="*/ 82 h 99"/>
                <a:gd name="T24" fmla="*/ 65 w 76"/>
                <a:gd name="T25" fmla="*/ 58 h 99"/>
                <a:gd name="T26" fmla="*/ 76 w 76"/>
                <a:gd name="T27" fmla="*/ 47 h 99"/>
                <a:gd name="T28" fmla="*/ 76 w 76"/>
                <a:gd name="T29" fmla="*/ 32 h 99"/>
                <a:gd name="T30" fmla="*/ 66 w 76"/>
                <a:gd name="T31" fmla="*/ 21 h 99"/>
                <a:gd name="T32" fmla="*/ 66 w 76"/>
                <a:gd name="T33" fmla="*/ 2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99">
                  <a:moveTo>
                    <a:pt x="66" y="21"/>
                  </a:moveTo>
                  <a:lnTo>
                    <a:pt x="65" y="3"/>
                  </a:lnTo>
                  <a:lnTo>
                    <a:pt x="65" y="3"/>
                  </a:lnTo>
                  <a:lnTo>
                    <a:pt x="41" y="0"/>
                  </a:lnTo>
                  <a:lnTo>
                    <a:pt x="26" y="27"/>
                  </a:lnTo>
                  <a:lnTo>
                    <a:pt x="0" y="23"/>
                  </a:lnTo>
                  <a:lnTo>
                    <a:pt x="11" y="45"/>
                  </a:lnTo>
                  <a:lnTo>
                    <a:pt x="11" y="52"/>
                  </a:lnTo>
                  <a:lnTo>
                    <a:pt x="26" y="97"/>
                  </a:lnTo>
                  <a:lnTo>
                    <a:pt x="26" y="99"/>
                  </a:lnTo>
                  <a:lnTo>
                    <a:pt x="31" y="99"/>
                  </a:lnTo>
                  <a:lnTo>
                    <a:pt x="47" y="82"/>
                  </a:lnTo>
                  <a:lnTo>
                    <a:pt x="65" y="58"/>
                  </a:lnTo>
                  <a:lnTo>
                    <a:pt x="76" y="47"/>
                  </a:lnTo>
                  <a:lnTo>
                    <a:pt x="76" y="32"/>
                  </a:lnTo>
                  <a:lnTo>
                    <a:pt x="66" y="21"/>
                  </a:lnTo>
                  <a:lnTo>
                    <a:pt x="66" y="21"/>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0" name="Benin">
              <a:extLst>
                <a:ext uri="{FF2B5EF4-FFF2-40B4-BE49-F238E27FC236}">
                  <a16:creationId xmlns:a16="http://schemas.microsoft.com/office/drawing/2014/main" id="{F5945F07-C191-BB5A-E5B6-D66575C93D15}"/>
                </a:ext>
              </a:extLst>
            </p:cNvPr>
            <p:cNvSpPr>
              <a:spLocks/>
            </p:cNvSpPr>
            <p:nvPr/>
          </p:nvSpPr>
          <p:spPr bwMode="auto">
            <a:xfrm>
              <a:off x="6146104" y="2652050"/>
              <a:ext cx="212725" cy="454025"/>
            </a:xfrm>
            <a:custGeom>
              <a:avLst/>
              <a:gdLst>
                <a:gd name="T0" fmla="*/ 126 w 134"/>
                <a:gd name="T1" fmla="*/ 27 h 286"/>
                <a:gd name="T2" fmla="*/ 92 w 134"/>
                <a:gd name="T3" fmla="*/ 0 h 286"/>
                <a:gd name="T4" fmla="*/ 76 w 134"/>
                <a:gd name="T5" fmla="*/ 0 h 286"/>
                <a:gd name="T6" fmla="*/ 61 w 134"/>
                <a:gd name="T7" fmla="*/ 13 h 286"/>
                <a:gd name="T8" fmla="*/ 52 w 134"/>
                <a:gd name="T9" fmla="*/ 28 h 286"/>
                <a:gd name="T10" fmla="*/ 30 w 134"/>
                <a:gd name="T11" fmla="*/ 32 h 286"/>
                <a:gd name="T12" fmla="*/ 21 w 134"/>
                <a:gd name="T13" fmla="*/ 52 h 286"/>
                <a:gd name="T14" fmla="*/ 5 w 134"/>
                <a:gd name="T15" fmla="*/ 58 h 286"/>
                <a:gd name="T16" fmla="*/ 0 w 134"/>
                <a:gd name="T17" fmla="*/ 83 h 286"/>
                <a:gd name="T18" fmla="*/ 13 w 134"/>
                <a:gd name="T19" fmla="*/ 96 h 286"/>
                <a:gd name="T20" fmla="*/ 29 w 134"/>
                <a:gd name="T21" fmla="*/ 113 h 286"/>
                <a:gd name="T22" fmla="*/ 31 w 134"/>
                <a:gd name="T23" fmla="*/ 136 h 286"/>
                <a:gd name="T24" fmla="*/ 40 w 134"/>
                <a:gd name="T25" fmla="*/ 146 h 286"/>
                <a:gd name="T26" fmla="*/ 38 w 134"/>
                <a:gd name="T27" fmla="*/ 254 h 286"/>
                <a:gd name="T28" fmla="*/ 49 w 134"/>
                <a:gd name="T29" fmla="*/ 286 h 286"/>
                <a:gd name="T30" fmla="*/ 85 w 134"/>
                <a:gd name="T31" fmla="*/ 281 h 286"/>
                <a:gd name="T32" fmla="*/ 87 w 134"/>
                <a:gd name="T33" fmla="*/ 205 h 286"/>
                <a:gd name="T34" fmla="*/ 86 w 134"/>
                <a:gd name="T35" fmla="*/ 175 h 286"/>
                <a:gd name="T36" fmla="*/ 95 w 134"/>
                <a:gd name="T37" fmla="*/ 146 h 286"/>
                <a:gd name="T38" fmla="*/ 108 w 134"/>
                <a:gd name="T39" fmla="*/ 130 h 286"/>
                <a:gd name="T40" fmla="*/ 130 w 134"/>
                <a:gd name="T41" fmla="*/ 102 h 286"/>
                <a:gd name="T42" fmla="*/ 126 w 134"/>
                <a:gd name="T43" fmla="*/ 90 h 286"/>
                <a:gd name="T44" fmla="*/ 134 w 134"/>
                <a:gd name="T45" fmla="*/ 70 h 286"/>
                <a:gd name="T46" fmla="*/ 124 w 134"/>
                <a:gd name="T47" fmla="*/ 42 h 286"/>
                <a:gd name="T48" fmla="*/ 126 w 134"/>
                <a:gd name="T49" fmla="*/ 27 h 286"/>
                <a:gd name="T50" fmla="*/ 126 w 134"/>
                <a:gd name="T51" fmla="*/ 2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286">
                  <a:moveTo>
                    <a:pt x="126" y="27"/>
                  </a:moveTo>
                  <a:lnTo>
                    <a:pt x="92" y="0"/>
                  </a:lnTo>
                  <a:lnTo>
                    <a:pt x="76" y="0"/>
                  </a:lnTo>
                  <a:lnTo>
                    <a:pt x="61" y="13"/>
                  </a:lnTo>
                  <a:lnTo>
                    <a:pt x="52" y="28"/>
                  </a:lnTo>
                  <a:lnTo>
                    <a:pt x="30" y="32"/>
                  </a:lnTo>
                  <a:lnTo>
                    <a:pt x="21" y="52"/>
                  </a:lnTo>
                  <a:lnTo>
                    <a:pt x="5" y="58"/>
                  </a:lnTo>
                  <a:lnTo>
                    <a:pt x="0" y="83"/>
                  </a:lnTo>
                  <a:lnTo>
                    <a:pt x="13" y="96"/>
                  </a:lnTo>
                  <a:lnTo>
                    <a:pt x="29" y="113"/>
                  </a:lnTo>
                  <a:lnTo>
                    <a:pt x="31" y="136"/>
                  </a:lnTo>
                  <a:lnTo>
                    <a:pt x="40" y="146"/>
                  </a:lnTo>
                  <a:lnTo>
                    <a:pt x="38" y="254"/>
                  </a:lnTo>
                  <a:lnTo>
                    <a:pt x="49" y="286"/>
                  </a:lnTo>
                  <a:lnTo>
                    <a:pt x="85" y="281"/>
                  </a:lnTo>
                  <a:lnTo>
                    <a:pt x="87" y="205"/>
                  </a:lnTo>
                  <a:lnTo>
                    <a:pt x="86" y="175"/>
                  </a:lnTo>
                  <a:lnTo>
                    <a:pt x="95" y="146"/>
                  </a:lnTo>
                  <a:lnTo>
                    <a:pt x="108" y="130"/>
                  </a:lnTo>
                  <a:lnTo>
                    <a:pt x="130" y="102"/>
                  </a:lnTo>
                  <a:lnTo>
                    <a:pt x="126" y="90"/>
                  </a:lnTo>
                  <a:lnTo>
                    <a:pt x="134" y="70"/>
                  </a:lnTo>
                  <a:lnTo>
                    <a:pt x="124" y="42"/>
                  </a:lnTo>
                  <a:lnTo>
                    <a:pt x="126" y="27"/>
                  </a:lnTo>
                  <a:lnTo>
                    <a:pt x="12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1" name="Burkina Faso">
              <a:extLst>
                <a:ext uri="{FF2B5EF4-FFF2-40B4-BE49-F238E27FC236}">
                  <a16:creationId xmlns:a16="http://schemas.microsoft.com/office/drawing/2014/main" id="{D9EBE5C3-FBFF-0B73-DB79-7FB858470A03}"/>
                </a:ext>
              </a:extLst>
            </p:cNvPr>
            <p:cNvSpPr>
              <a:spLocks/>
            </p:cNvSpPr>
            <p:nvPr/>
          </p:nvSpPr>
          <p:spPr bwMode="auto">
            <a:xfrm>
              <a:off x="5704779" y="2437737"/>
              <a:ext cx="539750" cy="409575"/>
            </a:xfrm>
            <a:custGeom>
              <a:avLst/>
              <a:gdLst>
                <a:gd name="T0" fmla="*/ 260 w 340"/>
                <a:gd name="T1" fmla="*/ 8 h 258"/>
                <a:gd name="T2" fmla="*/ 232 w 340"/>
                <a:gd name="T3" fmla="*/ 8 h 258"/>
                <a:gd name="T4" fmla="*/ 221 w 340"/>
                <a:gd name="T5" fmla="*/ 0 h 258"/>
                <a:gd name="T6" fmla="*/ 196 w 340"/>
                <a:gd name="T7" fmla="*/ 6 h 258"/>
                <a:gd name="T8" fmla="*/ 155 w 340"/>
                <a:gd name="T9" fmla="*/ 26 h 258"/>
                <a:gd name="T10" fmla="*/ 146 w 340"/>
                <a:gd name="T11" fmla="*/ 40 h 258"/>
                <a:gd name="T12" fmla="*/ 112 w 340"/>
                <a:gd name="T13" fmla="*/ 62 h 258"/>
                <a:gd name="T14" fmla="*/ 106 w 340"/>
                <a:gd name="T15" fmla="*/ 74 h 258"/>
                <a:gd name="T16" fmla="*/ 88 w 340"/>
                <a:gd name="T17" fmla="*/ 83 h 258"/>
                <a:gd name="T18" fmla="*/ 66 w 340"/>
                <a:gd name="T19" fmla="*/ 77 h 258"/>
                <a:gd name="T20" fmla="*/ 54 w 340"/>
                <a:gd name="T21" fmla="*/ 88 h 258"/>
                <a:gd name="T22" fmla="*/ 47 w 340"/>
                <a:gd name="T23" fmla="*/ 120 h 258"/>
                <a:gd name="T24" fmla="*/ 12 w 340"/>
                <a:gd name="T25" fmla="*/ 159 h 258"/>
                <a:gd name="T26" fmla="*/ 13 w 340"/>
                <a:gd name="T27" fmla="*/ 175 h 258"/>
                <a:gd name="T28" fmla="*/ 0 w 340"/>
                <a:gd name="T29" fmla="*/ 195 h 258"/>
                <a:gd name="T30" fmla="*/ 4 w 340"/>
                <a:gd name="T31" fmla="*/ 222 h 258"/>
                <a:gd name="T32" fmla="*/ 24 w 340"/>
                <a:gd name="T33" fmla="*/ 232 h 258"/>
                <a:gd name="T34" fmla="*/ 31 w 340"/>
                <a:gd name="T35" fmla="*/ 248 h 258"/>
                <a:gd name="T36" fmla="*/ 51 w 340"/>
                <a:gd name="T37" fmla="*/ 258 h 258"/>
                <a:gd name="T38" fmla="*/ 67 w 340"/>
                <a:gd name="T39" fmla="*/ 247 h 258"/>
                <a:gd name="T40" fmla="*/ 88 w 340"/>
                <a:gd name="T41" fmla="*/ 244 h 258"/>
                <a:gd name="T42" fmla="*/ 118 w 340"/>
                <a:gd name="T43" fmla="*/ 257 h 258"/>
                <a:gd name="T44" fmla="*/ 111 w 340"/>
                <a:gd name="T45" fmla="*/ 221 h 258"/>
                <a:gd name="T46" fmla="*/ 113 w 340"/>
                <a:gd name="T47" fmla="*/ 194 h 258"/>
                <a:gd name="T48" fmla="*/ 190 w 340"/>
                <a:gd name="T49" fmla="*/ 192 h 258"/>
                <a:gd name="T50" fmla="*/ 210 w 340"/>
                <a:gd name="T51" fmla="*/ 196 h 258"/>
                <a:gd name="T52" fmla="*/ 224 w 340"/>
                <a:gd name="T53" fmla="*/ 188 h 258"/>
                <a:gd name="T54" fmla="*/ 245 w 340"/>
                <a:gd name="T55" fmla="*/ 192 h 258"/>
                <a:gd name="T56" fmla="*/ 283 w 340"/>
                <a:gd name="T57" fmla="*/ 193 h 258"/>
                <a:gd name="T58" fmla="*/ 299 w 340"/>
                <a:gd name="T59" fmla="*/ 187 h 258"/>
                <a:gd name="T60" fmla="*/ 308 w 340"/>
                <a:gd name="T61" fmla="*/ 167 h 258"/>
                <a:gd name="T62" fmla="*/ 330 w 340"/>
                <a:gd name="T63" fmla="*/ 163 h 258"/>
                <a:gd name="T64" fmla="*/ 339 w 340"/>
                <a:gd name="T65" fmla="*/ 148 h 258"/>
                <a:gd name="T66" fmla="*/ 340 w 340"/>
                <a:gd name="T67" fmla="*/ 116 h 258"/>
                <a:gd name="T68" fmla="*/ 288 w 340"/>
                <a:gd name="T69" fmla="*/ 106 h 258"/>
                <a:gd name="T70" fmla="*/ 288 w 340"/>
                <a:gd name="T71" fmla="*/ 83 h 258"/>
                <a:gd name="T72" fmla="*/ 262 w 340"/>
                <a:gd name="T73" fmla="*/ 52 h 258"/>
                <a:gd name="T74" fmla="*/ 257 w 340"/>
                <a:gd name="T75" fmla="*/ 31 h 258"/>
                <a:gd name="T76" fmla="*/ 260 w 340"/>
                <a:gd name="T77" fmla="*/ 8 h 258"/>
                <a:gd name="T78" fmla="*/ 260 w 340"/>
                <a:gd name="T79" fmla="*/ 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258">
                  <a:moveTo>
                    <a:pt x="260" y="8"/>
                  </a:moveTo>
                  <a:lnTo>
                    <a:pt x="232" y="8"/>
                  </a:lnTo>
                  <a:lnTo>
                    <a:pt x="221" y="0"/>
                  </a:lnTo>
                  <a:lnTo>
                    <a:pt x="196" y="6"/>
                  </a:lnTo>
                  <a:lnTo>
                    <a:pt x="155" y="26"/>
                  </a:lnTo>
                  <a:lnTo>
                    <a:pt x="146" y="40"/>
                  </a:lnTo>
                  <a:lnTo>
                    <a:pt x="112" y="62"/>
                  </a:lnTo>
                  <a:lnTo>
                    <a:pt x="106" y="74"/>
                  </a:lnTo>
                  <a:lnTo>
                    <a:pt x="88" y="83"/>
                  </a:lnTo>
                  <a:lnTo>
                    <a:pt x="66" y="77"/>
                  </a:lnTo>
                  <a:lnTo>
                    <a:pt x="54" y="88"/>
                  </a:lnTo>
                  <a:lnTo>
                    <a:pt x="47" y="120"/>
                  </a:lnTo>
                  <a:lnTo>
                    <a:pt x="12" y="159"/>
                  </a:lnTo>
                  <a:lnTo>
                    <a:pt x="13" y="175"/>
                  </a:lnTo>
                  <a:lnTo>
                    <a:pt x="0" y="195"/>
                  </a:lnTo>
                  <a:lnTo>
                    <a:pt x="4" y="222"/>
                  </a:lnTo>
                  <a:lnTo>
                    <a:pt x="24" y="232"/>
                  </a:lnTo>
                  <a:lnTo>
                    <a:pt x="31" y="248"/>
                  </a:lnTo>
                  <a:lnTo>
                    <a:pt x="51" y="258"/>
                  </a:lnTo>
                  <a:lnTo>
                    <a:pt x="67" y="247"/>
                  </a:lnTo>
                  <a:lnTo>
                    <a:pt x="88" y="244"/>
                  </a:lnTo>
                  <a:lnTo>
                    <a:pt x="118" y="257"/>
                  </a:lnTo>
                  <a:lnTo>
                    <a:pt x="111" y="221"/>
                  </a:lnTo>
                  <a:lnTo>
                    <a:pt x="113" y="194"/>
                  </a:lnTo>
                  <a:lnTo>
                    <a:pt x="190" y="192"/>
                  </a:lnTo>
                  <a:lnTo>
                    <a:pt x="210" y="196"/>
                  </a:lnTo>
                  <a:lnTo>
                    <a:pt x="224" y="188"/>
                  </a:lnTo>
                  <a:lnTo>
                    <a:pt x="245" y="192"/>
                  </a:lnTo>
                  <a:lnTo>
                    <a:pt x="283" y="193"/>
                  </a:lnTo>
                  <a:lnTo>
                    <a:pt x="299" y="187"/>
                  </a:lnTo>
                  <a:lnTo>
                    <a:pt x="308" y="167"/>
                  </a:lnTo>
                  <a:lnTo>
                    <a:pt x="330" y="163"/>
                  </a:lnTo>
                  <a:lnTo>
                    <a:pt x="339" y="148"/>
                  </a:lnTo>
                  <a:lnTo>
                    <a:pt x="340" y="116"/>
                  </a:lnTo>
                  <a:lnTo>
                    <a:pt x="288" y="106"/>
                  </a:lnTo>
                  <a:lnTo>
                    <a:pt x="288" y="83"/>
                  </a:lnTo>
                  <a:lnTo>
                    <a:pt x="262" y="52"/>
                  </a:lnTo>
                  <a:lnTo>
                    <a:pt x="257" y="31"/>
                  </a:lnTo>
                  <a:lnTo>
                    <a:pt x="260" y="8"/>
                  </a:lnTo>
                  <a:lnTo>
                    <a:pt x="260"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2" name="Botswana">
              <a:extLst>
                <a:ext uri="{FF2B5EF4-FFF2-40B4-BE49-F238E27FC236}">
                  <a16:creationId xmlns:a16="http://schemas.microsoft.com/office/drawing/2014/main" id="{E6FFAAFC-CA91-94C7-CBA7-B81644F55F1C}"/>
                </a:ext>
              </a:extLst>
            </p:cNvPr>
            <p:cNvSpPr>
              <a:spLocks/>
            </p:cNvSpPr>
            <p:nvPr/>
          </p:nvSpPr>
          <p:spPr bwMode="auto">
            <a:xfrm>
              <a:off x="7463729" y="4882487"/>
              <a:ext cx="668338" cy="682625"/>
            </a:xfrm>
            <a:custGeom>
              <a:avLst/>
              <a:gdLst>
                <a:gd name="T0" fmla="*/ 247 w 421"/>
                <a:gd name="T1" fmla="*/ 3 h 430"/>
                <a:gd name="T2" fmla="*/ 240 w 421"/>
                <a:gd name="T3" fmla="*/ 0 h 430"/>
                <a:gd name="T4" fmla="*/ 214 w 421"/>
                <a:gd name="T5" fmla="*/ 10 h 430"/>
                <a:gd name="T6" fmla="*/ 202 w 421"/>
                <a:gd name="T7" fmla="*/ 10 h 430"/>
                <a:gd name="T8" fmla="*/ 172 w 421"/>
                <a:gd name="T9" fmla="*/ 29 h 430"/>
                <a:gd name="T10" fmla="*/ 156 w 421"/>
                <a:gd name="T11" fmla="*/ 9 h 430"/>
                <a:gd name="T12" fmla="*/ 88 w 421"/>
                <a:gd name="T13" fmla="*/ 26 h 430"/>
                <a:gd name="T14" fmla="*/ 55 w 421"/>
                <a:gd name="T15" fmla="*/ 27 h 430"/>
                <a:gd name="T16" fmla="*/ 48 w 421"/>
                <a:gd name="T17" fmla="*/ 194 h 430"/>
                <a:gd name="T18" fmla="*/ 5 w 421"/>
                <a:gd name="T19" fmla="*/ 196 h 430"/>
                <a:gd name="T20" fmla="*/ 0 w 421"/>
                <a:gd name="T21" fmla="*/ 333 h 430"/>
                <a:gd name="T22" fmla="*/ 12 w 421"/>
                <a:gd name="T23" fmla="*/ 340 h 430"/>
                <a:gd name="T24" fmla="*/ 35 w 421"/>
                <a:gd name="T25" fmla="*/ 385 h 430"/>
                <a:gd name="T26" fmla="*/ 30 w 421"/>
                <a:gd name="T27" fmla="*/ 413 h 430"/>
                <a:gd name="T28" fmla="*/ 39 w 421"/>
                <a:gd name="T29" fmla="*/ 430 h 430"/>
                <a:gd name="T30" fmla="*/ 70 w 421"/>
                <a:gd name="T31" fmla="*/ 425 h 430"/>
                <a:gd name="T32" fmla="*/ 93 w 421"/>
                <a:gd name="T33" fmla="*/ 405 h 430"/>
                <a:gd name="T34" fmla="*/ 114 w 421"/>
                <a:gd name="T35" fmla="*/ 390 h 430"/>
                <a:gd name="T36" fmla="*/ 126 w 421"/>
                <a:gd name="T37" fmla="*/ 367 h 430"/>
                <a:gd name="T38" fmla="*/ 148 w 421"/>
                <a:gd name="T39" fmla="*/ 357 h 430"/>
                <a:gd name="T40" fmla="*/ 165 w 421"/>
                <a:gd name="T41" fmla="*/ 362 h 430"/>
                <a:gd name="T42" fmla="*/ 185 w 421"/>
                <a:gd name="T43" fmla="*/ 376 h 430"/>
                <a:gd name="T44" fmla="*/ 221 w 421"/>
                <a:gd name="T45" fmla="*/ 378 h 430"/>
                <a:gd name="T46" fmla="*/ 249 w 421"/>
                <a:gd name="T47" fmla="*/ 367 h 430"/>
                <a:gd name="T48" fmla="*/ 254 w 421"/>
                <a:gd name="T49" fmla="*/ 352 h 430"/>
                <a:gd name="T50" fmla="*/ 263 w 421"/>
                <a:gd name="T51" fmla="*/ 330 h 430"/>
                <a:gd name="T52" fmla="*/ 286 w 421"/>
                <a:gd name="T53" fmla="*/ 327 h 430"/>
                <a:gd name="T54" fmla="*/ 301 w 421"/>
                <a:gd name="T55" fmla="*/ 309 h 430"/>
                <a:gd name="T56" fmla="*/ 317 w 421"/>
                <a:gd name="T57" fmla="*/ 277 h 430"/>
                <a:gd name="T58" fmla="*/ 358 w 421"/>
                <a:gd name="T59" fmla="*/ 242 h 430"/>
                <a:gd name="T60" fmla="*/ 421 w 421"/>
                <a:gd name="T61" fmla="*/ 208 h 430"/>
                <a:gd name="T62" fmla="*/ 394 w 421"/>
                <a:gd name="T63" fmla="*/ 186 h 430"/>
                <a:gd name="T64" fmla="*/ 360 w 421"/>
                <a:gd name="T65" fmla="*/ 179 h 430"/>
                <a:gd name="T66" fmla="*/ 349 w 421"/>
                <a:gd name="T67" fmla="*/ 149 h 430"/>
                <a:gd name="T68" fmla="*/ 350 w 421"/>
                <a:gd name="T69" fmla="*/ 133 h 430"/>
                <a:gd name="T70" fmla="*/ 331 w 421"/>
                <a:gd name="T71" fmla="*/ 128 h 430"/>
                <a:gd name="T72" fmla="*/ 284 w 421"/>
                <a:gd name="T73" fmla="*/ 76 h 430"/>
                <a:gd name="T74" fmla="*/ 271 w 421"/>
                <a:gd name="T75" fmla="*/ 49 h 430"/>
                <a:gd name="T76" fmla="*/ 263 w 421"/>
                <a:gd name="T77" fmla="*/ 40 h 430"/>
                <a:gd name="T78" fmla="*/ 247 w 421"/>
                <a:gd name="T79" fmla="*/ 3 h 430"/>
                <a:gd name="T80" fmla="*/ 247 w 421"/>
                <a:gd name="T81"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30">
                  <a:moveTo>
                    <a:pt x="247" y="3"/>
                  </a:moveTo>
                  <a:lnTo>
                    <a:pt x="240" y="0"/>
                  </a:lnTo>
                  <a:lnTo>
                    <a:pt x="214" y="10"/>
                  </a:lnTo>
                  <a:lnTo>
                    <a:pt x="202" y="10"/>
                  </a:lnTo>
                  <a:lnTo>
                    <a:pt x="172" y="29"/>
                  </a:lnTo>
                  <a:lnTo>
                    <a:pt x="156" y="9"/>
                  </a:lnTo>
                  <a:lnTo>
                    <a:pt x="88" y="26"/>
                  </a:lnTo>
                  <a:lnTo>
                    <a:pt x="55" y="27"/>
                  </a:lnTo>
                  <a:lnTo>
                    <a:pt x="48" y="194"/>
                  </a:lnTo>
                  <a:lnTo>
                    <a:pt x="5" y="196"/>
                  </a:lnTo>
                  <a:lnTo>
                    <a:pt x="0" y="333"/>
                  </a:lnTo>
                  <a:lnTo>
                    <a:pt x="12" y="340"/>
                  </a:lnTo>
                  <a:lnTo>
                    <a:pt x="35" y="385"/>
                  </a:lnTo>
                  <a:lnTo>
                    <a:pt x="30" y="413"/>
                  </a:lnTo>
                  <a:lnTo>
                    <a:pt x="39" y="430"/>
                  </a:lnTo>
                  <a:lnTo>
                    <a:pt x="70" y="425"/>
                  </a:lnTo>
                  <a:lnTo>
                    <a:pt x="93" y="405"/>
                  </a:lnTo>
                  <a:lnTo>
                    <a:pt x="114" y="390"/>
                  </a:lnTo>
                  <a:lnTo>
                    <a:pt x="126" y="367"/>
                  </a:lnTo>
                  <a:lnTo>
                    <a:pt x="148" y="357"/>
                  </a:lnTo>
                  <a:lnTo>
                    <a:pt x="165" y="362"/>
                  </a:lnTo>
                  <a:lnTo>
                    <a:pt x="185" y="376"/>
                  </a:lnTo>
                  <a:lnTo>
                    <a:pt x="221" y="378"/>
                  </a:lnTo>
                  <a:lnTo>
                    <a:pt x="249" y="367"/>
                  </a:lnTo>
                  <a:lnTo>
                    <a:pt x="254" y="352"/>
                  </a:lnTo>
                  <a:lnTo>
                    <a:pt x="263" y="330"/>
                  </a:lnTo>
                  <a:lnTo>
                    <a:pt x="286" y="327"/>
                  </a:lnTo>
                  <a:lnTo>
                    <a:pt x="301" y="309"/>
                  </a:lnTo>
                  <a:lnTo>
                    <a:pt x="317" y="277"/>
                  </a:lnTo>
                  <a:lnTo>
                    <a:pt x="358" y="242"/>
                  </a:lnTo>
                  <a:lnTo>
                    <a:pt x="421" y="208"/>
                  </a:lnTo>
                  <a:lnTo>
                    <a:pt x="394" y="186"/>
                  </a:lnTo>
                  <a:lnTo>
                    <a:pt x="360" y="179"/>
                  </a:lnTo>
                  <a:lnTo>
                    <a:pt x="349" y="149"/>
                  </a:lnTo>
                  <a:lnTo>
                    <a:pt x="350" y="133"/>
                  </a:lnTo>
                  <a:lnTo>
                    <a:pt x="331" y="128"/>
                  </a:lnTo>
                  <a:lnTo>
                    <a:pt x="284" y="76"/>
                  </a:lnTo>
                  <a:lnTo>
                    <a:pt x="271" y="49"/>
                  </a:lnTo>
                  <a:lnTo>
                    <a:pt x="263" y="40"/>
                  </a:lnTo>
                  <a:lnTo>
                    <a:pt x="247" y="3"/>
                  </a:lnTo>
                  <a:lnTo>
                    <a:pt x="247"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3" name="Central African Rep.">
              <a:extLst>
                <a:ext uri="{FF2B5EF4-FFF2-40B4-BE49-F238E27FC236}">
                  <a16:creationId xmlns:a16="http://schemas.microsoft.com/office/drawing/2014/main" id="{1848A359-DB4D-0185-88DA-10D070392AF3}"/>
                </a:ext>
              </a:extLst>
            </p:cNvPr>
            <p:cNvSpPr>
              <a:spLocks/>
            </p:cNvSpPr>
            <p:nvPr/>
          </p:nvSpPr>
          <p:spPr bwMode="auto">
            <a:xfrm>
              <a:off x="7114479" y="2733012"/>
              <a:ext cx="914400" cy="661988"/>
            </a:xfrm>
            <a:custGeom>
              <a:avLst/>
              <a:gdLst>
                <a:gd name="T0" fmla="*/ 418 w 576"/>
                <a:gd name="T1" fmla="*/ 118 h 417"/>
                <a:gd name="T2" fmla="*/ 414 w 576"/>
                <a:gd name="T3" fmla="*/ 117 h 417"/>
                <a:gd name="T4" fmla="*/ 399 w 576"/>
                <a:gd name="T5" fmla="*/ 103 h 417"/>
                <a:gd name="T6" fmla="*/ 396 w 576"/>
                <a:gd name="T7" fmla="*/ 88 h 417"/>
                <a:gd name="T8" fmla="*/ 402 w 576"/>
                <a:gd name="T9" fmla="*/ 69 h 417"/>
                <a:gd name="T10" fmla="*/ 402 w 576"/>
                <a:gd name="T11" fmla="*/ 50 h 417"/>
                <a:gd name="T12" fmla="*/ 376 w 576"/>
                <a:gd name="T13" fmla="*/ 20 h 417"/>
                <a:gd name="T14" fmla="*/ 370 w 576"/>
                <a:gd name="T15" fmla="*/ 0 h 417"/>
                <a:gd name="T16" fmla="*/ 342 w 576"/>
                <a:gd name="T17" fmla="*/ 8 h 417"/>
                <a:gd name="T18" fmla="*/ 320 w 576"/>
                <a:gd name="T19" fmla="*/ 27 h 417"/>
                <a:gd name="T20" fmla="*/ 289 w 576"/>
                <a:gd name="T21" fmla="*/ 79 h 417"/>
                <a:gd name="T22" fmla="*/ 248 w 576"/>
                <a:gd name="T23" fmla="*/ 100 h 417"/>
                <a:gd name="T24" fmla="*/ 204 w 576"/>
                <a:gd name="T25" fmla="*/ 97 h 417"/>
                <a:gd name="T26" fmla="*/ 192 w 576"/>
                <a:gd name="T27" fmla="*/ 101 h 417"/>
                <a:gd name="T28" fmla="*/ 197 w 576"/>
                <a:gd name="T29" fmla="*/ 118 h 417"/>
                <a:gd name="T30" fmla="*/ 173 w 576"/>
                <a:gd name="T31" fmla="*/ 135 h 417"/>
                <a:gd name="T32" fmla="*/ 155 w 576"/>
                <a:gd name="T33" fmla="*/ 152 h 417"/>
                <a:gd name="T34" fmla="*/ 99 w 576"/>
                <a:gd name="T35" fmla="*/ 171 h 417"/>
                <a:gd name="T36" fmla="*/ 88 w 576"/>
                <a:gd name="T37" fmla="*/ 160 h 417"/>
                <a:gd name="T38" fmla="*/ 80 w 576"/>
                <a:gd name="T39" fmla="*/ 159 h 417"/>
                <a:gd name="T40" fmla="*/ 73 w 576"/>
                <a:gd name="T41" fmla="*/ 171 h 417"/>
                <a:gd name="T42" fmla="*/ 36 w 576"/>
                <a:gd name="T43" fmla="*/ 175 h 417"/>
                <a:gd name="T44" fmla="*/ 13 w 576"/>
                <a:gd name="T45" fmla="*/ 222 h 417"/>
                <a:gd name="T46" fmla="*/ 3 w 576"/>
                <a:gd name="T47" fmla="*/ 231 h 417"/>
                <a:gd name="T48" fmla="*/ 0 w 576"/>
                <a:gd name="T49" fmla="*/ 268 h 417"/>
                <a:gd name="T50" fmla="*/ 4 w 576"/>
                <a:gd name="T51" fmla="*/ 287 h 417"/>
                <a:gd name="T52" fmla="*/ 1 w 576"/>
                <a:gd name="T53" fmla="*/ 301 h 417"/>
                <a:gd name="T54" fmla="*/ 22 w 576"/>
                <a:gd name="T55" fmla="*/ 326 h 417"/>
                <a:gd name="T56" fmla="*/ 26 w 576"/>
                <a:gd name="T57" fmla="*/ 343 h 417"/>
                <a:gd name="T58" fmla="*/ 43 w 576"/>
                <a:gd name="T59" fmla="*/ 367 h 417"/>
                <a:gd name="T60" fmla="*/ 64 w 576"/>
                <a:gd name="T61" fmla="*/ 382 h 417"/>
                <a:gd name="T62" fmla="*/ 65 w 576"/>
                <a:gd name="T63" fmla="*/ 404 h 417"/>
                <a:gd name="T64" fmla="*/ 70 w 576"/>
                <a:gd name="T65" fmla="*/ 417 h 417"/>
                <a:gd name="T66" fmla="*/ 93 w 576"/>
                <a:gd name="T67" fmla="*/ 373 h 417"/>
                <a:gd name="T68" fmla="*/ 120 w 576"/>
                <a:gd name="T69" fmla="*/ 349 h 417"/>
                <a:gd name="T70" fmla="*/ 149 w 576"/>
                <a:gd name="T71" fmla="*/ 356 h 417"/>
                <a:gd name="T72" fmla="*/ 179 w 576"/>
                <a:gd name="T73" fmla="*/ 359 h 417"/>
                <a:gd name="T74" fmla="*/ 182 w 576"/>
                <a:gd name="T75" fmla="*/ 326 h 417"/>
                <a:gd name="T76" fmla="*/ 200 w 576"/>
                <a:gd name="T77" fmla="*/ 302 h 417"/>
                <a:gd name="T78" fmla="*/ 223 w 576"/>
                <a:gd name="T79" fmla="*/ 287 h 417"/>
                <a:gd name="T80" fmla="*/ 260 w 576"/>
                <a:gd name="T81" fmla="*/ 304 h 417"/>
                <a:gd name="T82" fmla="*/ 288 w 576"/>
                <a:gd name="T83" fmla="*/ 321 h 417"/>
                <a:gd name="T84" fmla="*/ 321 w 576"/>
                <a:gd name="T85" fmla="*/ 326 h 417"/>
                <a:gd name="T86" fmla="*/ 355 w 576"/>
                <a:gd name="T87" fmla="*/ 334 h 417"/>
                <a:gd name="T88" fmla="*/ 368 w 576"/>
                <a:gd name="T89" fmla="*/ 306 h 417"/>
                <a:gd name="T90" fmla="*/ 374 w 576"/>
                <a:gd name="T91" fmla="*/ 302 h 417"/>
                <a:gd name="T92" fmla="*/ 394 w 576"/>
                <a:gd name="T93" fmla="*/ 307 h 417"/>
                <a:gd name="T94" fmla="*/ 443 w 576"/>
                <a:gd name="T95" fmla="*/ 283 h 417"/>
                <a:gd name="T96" fmla="*/ 462 w 576"/>
                <a:gd name="T97" fmla="*/ 293 h 417"/>
                <a:gd name="T98" fmla="*/ 475 w 576"/>
                <a:gd name="T99" fmla="*/ 292 h 417"/>
                <a:gd name="T100" fmla="*/ 482 w 576"/>
                <a:gd name="T101" fmla="*/ 281 h 417"/>
                <a:gd name="T102" fmla="*/ 498 w 576"/>
                <a:gd name="T103" fmla="*/ 276 h 417"/>
                <a:gd name="T104" fmla="*/ 532 w 576"/>
                <a:gd name="T105" fmla="*/ 281 h 417"/>
                <a:gd name="T106" fmla="*/ 561 w 576"/>
                <a:gd name="T107" fmla="*/ 283 h 417"/>
                <a:gd name="T108" fmla="*/ 576 w 576"/>
                <a:gd name="T109" fmla="*/ 278 h 417"/>
                <a:gd name="T110" fmla="*/ 569 w 576"/>
                <a:gd name="T111" fmla="*/ 263 h 417"/>
                <a:gd name="T112" fmla="*/ 535 w 576"/>
                <a:gd name="T113" fmla="*/ 244 h 417"/>
                <a:gd name="T114" fmla="*/ 523 w 576"/>
                <a:gd name="T115" fmla="*/ 216 h 417"/>
                <a:gd name="T116" fmla="*/ 504 w 576"/>
                <a:gd name="T117" fmla="*/ 196 h 417"/>
                <a:gd name="T118" fmla="*/ 474 w 576"/>
                <a:gd name="T119" fmla="*/ 171 h 417"/>
                <a:gd name="T120" fmla="*/ 474 w 576"/>
                <a:gd name="T121" fmla="*/ 156 h 417"/>
                <a:gd name="T122" fmla="*/ 449 w 576"/>
                <a:gd name="T123" fmla="*/ 137 h 417"/>
                <a:gd name="T124" fmla="*/ 418 w 576"/>
                <a:gd name="T125" fmla="*/ 1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417">
                  <a:moveTo>
                    <a:pt x="418" y="118"/>
                  </a:moveTo>
                  <a:lnTo>
                    <a:pt x="414" y="117"/>
                  </a:lnTo>
                  <a:lnTo>
                    <a:pt x="399" y="103"/>
                  </a:lnTo>
                  <a:lnTo>
                    <a:pt x="396" y="88"/>
                  </a:lnTo>
                  <a:lnTo>
                    <a:pt x="402" y="69"/>
                  </a:lnTo>
                  <a:lnTo>
                    <a:pt x="402" y="50"/>
                  </a:lnTo>
                  <a:lnTo>
                    <a:pt x="376" y="20"/>
                  </a:lnTo>
                  <a:lnTo>
                    <a:pt x="370" y="0"/>
                  </a:lnTo>
                  <a:lnTo>
                    <a:pt x="342" y="8"/>
                  </a:lnTo>
                  <a:lnTo>
                    <a:pt x="320" y="27"/>
                  </a:lnTo>
                  <a:lnTo>
                    <a:pt x="289" y="79"/>
                  </a:lnTo>
                  <a:lnTo>
                    <a:pt x="248" y="100"/>
                  </a:lnTo>
                  <a:lnTo>
                    <a:pt x="204" y="97"/>
                  </a:lnTo>
                  <a:lnTo>
                    <a:pt x="192" y="101"/>
                  </a:lnTo>
                  <a:lnTo>
                    <a:pt x="197" y="118"/>
                  </a:lnTo>
                  <a:lnTo>
                    <a:pt x="173" y="135"/>
                  </a:lnTo>
                  <a:lnTo>
                    <a:pt x="155" y="152"/>
                  </a:lnTo>
                  <a:lnTo>
                    <a:pt x="99" y="171"/>
                  </a:lnTo>
                  <a:lnTo>
                    <a:pt x="88" y="160"/>
                  </a:lnTo>
                  <a:lnTo>
                    <a:pt x="80" y="159"/>
                  </a:lnTo>
                  <a:lnTo>
                    <a:pt x="73" y="171"/>
                  </a:lnTo>
                  <a:lnTo>
                    <a:pt x="36" y="175"/>
                  </a:lnTo>
                  <a:lnTo>
                    <a:pt x="13" y="222"/>
                  </a:lnTo>
                  <a:lnTo>
                    <a:pt x="3" y="231"/>
                  </a:lnTo>
                  <a:lnTo>
                    <a:pt x="0" y="268"/>
                  </a:lnTo>
                  <a:lnTo>
                    <a:pt x="4" y="287"/>
                  </a:lnTo>
                  <a:lnTo>
                    <a:pt x="1" y="301"/>
                  </a:lnTo>
                  <a:lnTo>
                    <a:pt x="22" y="326"/>
                  </a:lnTo>
                  <a:lnTo>
                    <a:pt x="26" y="343"/>
                  </a:lnTo>
                  <a:lnTo>
                    <a:pt x="43" y="367"/>
                  </a:lnTo>
                  <a:lnTo>
                    <a:pt x="64" y="382"/>
                  </a:lnTo>
                  <a:lnTo>
                    <a:pt x="65" y="404"/>
                  </a:lnTo>
                  <a:lnTo>
                    <a:pt x="70" y="417"/>
                  </a:lnTo>
                  <a:lnTo>
                    <a:pt x="93" y="373"/>
                  </a:lnTo>
                  <a:lnTo>
                    <a:pt x="120" y="349"/>
                  </a:lnTo>
                  <a:lnTo>
                    <a:pt x="149" y="356"/>
                  </a:lnTo>
                  <a:lnTo>
                    <a:pt x="179" y="359"/>
                  </a:lnTo>
                  <a:lnTo>
                    <a:pt x="182" y="326"/>
                  </a:lnTo>
                  <a:lnTo>
                    <a:pt x="200" y="302"/>
                  </a:lnTo>
                  <a:lnTo>
                    <a:pt x="223" y="287"/>
                  </a:lnTo>
                  <a:lnTo>
                    <a:pt x="260" y="304"/>
                  </a:lnTo>
                  <a:lnTo>
                    <a:pt x="288" y="321"/>
                  </a:lnTo>
                  <a:lnTo>
                    <a:pt x="321" y="326"/>
                  </a:lnTo>
                  <a:lnTo>
                    <a:pt x="355" y="334"/>
                  </a:lnTo>
                  <a:lnTo>
                    <a:pt x="368" y="306"/>
                  </a:lnTo>
                  <a:lnTo>
                    <a:pt x="374" y="302"/>
                  </a:lnTo>
                  <a:lnTo>
                    <a:pt x="394" y="307"/>
                  </a:lnTo>
                  <a:lnTo>
                    <a:pt x="443" y="283"/>
                  </a:lnTo>
                  <a:lnTo>
                    <a:pt x="462" y="293"/>
                  </a:lnTo>
                  <a:lnTo>
                    <a:pt x="475" y="292"/>
                  </a:lnTo>
                  <a:lnTo>
                    <a:pt x="482" y="281"/>
                  </a:lnTo>
                  <a:lnTo>
                    <a:pt x="498" y="276"/>
                  </a:lnTo>
                  <a:lnTo>
                    <a:pt x="532" y="281"/>
                  </a:lnTo>
                  <a:lnTo>
                    <a:pt x="561" y="283"/>
                  </a:lnTo>
                  <a:lnTo>
                    <a:pt x="576" y="278"/>
                  </a:lnTo>
                  <a:lnTo>
                    <a:pt x="569" y="263"/>
                  </a:lnTo>
                  <a:lnTo>
                    <a:pt x="535" y="244"/>
                  </a:lnTo>
                  <a:lnTo>
                    <a:pt x="523" y="216"/>
                  </a:lnTo>
                  <a:lnTo>
                    <a:pt x="504" y="196"/>
                  </a:lnTo>
                  <a:lnTo>
                    <a:pt x="474" y="171"/>
                  </a:lnTo>
                  <a:lnTo>
                    <a:pt x="474" y="156"/>
                  </a:lnTo>
                  <a:lnTo>
                    <a:pt x="449" y="137"/>
                  </a:lnTo>
                  <a:lnTo>
                    <a:pt x="418" y="11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4" name="Côte d'Ivoire">
              <a:extLst>
                <a:ext uri="{FF2B5EF4-FFF2-40B4-BE49-F238E27FC236}">
                  <a16:creationId xmlns:a16="http://schemas.microsoft.com/office/drawing/2014/main" id="{FC4EA0FA-171D-8156-E232-435E50EC5863}"/>
                </a:ext>
              </a:extLst>
            </p:cNvPr>
            <p:cNvSpPr>
              <a:spLocks/>
            </p:cNvSpPr>
            <p:nvPr/>
          </p:nvSpPr>
          <p:spPr bwMode="auto">
            <a:xfrm>
              <a:off x="5482529" y="2779050"/>
              <a:ext cx="428625" cy="461963"/>
            </a:xfrm>
            <a:custGeom>
              <a:avLst/>
              <a:gdLst>
                <a:gd name="T0" fmla="*/ 144 w 270"/>
                <a:gd name="T1" fmla="*/ 7 h 291"/>
                <a:gd name="T2" fmla="*/ 125 w 270"/>
                <a:gd name="T3" fmla="*/ 15 h 291"/>
                <a:gd name="T4" fmla="*/ 114 w 270"/>
                <a:gd name="T5" fmla="*/ 20 h 291"/>
                <a:gd name="T6" fmla="*/ 108 w 270"/>
                <a:gd name="T7" fmla="*/ 0 h 291"/>
                <a:gd name="T8" fmla="*/ 95 w 270"/>
                <a:gd name="T9" fmla="*/ 5 h 291"/>
                <a:gd name="T10" fmla="*/ 87 w 270"/>
                <a:gd name="T11" fmla="*/ 5 h 291"/>
                <a:gd name="T12" fmla="*/ 79 w 270"/>
                <a:gd name="T13" fmla="*/ 18 h 291"/>
                <a:gd name="T14" fmla="*/ 45 w 270"/>
                <a:gd name="T15" fmla="*/ 18 h 291"/>
                <a:gd name="T16" fmla="*/ 32 w 270"/>
                <a:gd name="T17" fmla="*/ 11 h 291"/>
                <a:gd name="T18" fmla="*/ 27 w 270"/>
                <a:gd name="T19" fmla="*/ 15 h 291"/>
                <a:gd name="T20" fmla="*/ 18 w 270"/>
                <a:gd name="T21" fmla="*/ 19 h 291"/>
                <a:gd name="T22" fmla="*/ 14 w 270"/>
                <a:gd name="T23" fmla="*/ 35 h 291"/>
                <a:gd name="T24" fmla="*/ 24 w 270"/>
                <a:gd name="T25" fmla="*/ 54 h 291"/>
                <a:gd name="T26" fmla="*/ 35 w 270"/>
                <a:gd name="T27" fmla="*/ 92 h 291"/>
                <a:gd name="T28" fmla="*/ 18 w 270"/>
                <a:gd name="T29" fmla="*/ 97 h 291"/>
                <a:gd name="T30" fmla="*/ 14 w 270"/>
                <a:gd name="T31" fmla="*/ 104 h 291"/>
                <a:gd name="T32" fmla="*/ 18 w 270"/>
                <a:gd name="T33" fmla="*/ 113 h 291"/>
                <a:gd name="T34" fmla="*/ 15 w 270"/>
                <a:gd name="T35" fmla="*/ 134 h 291"/>
                <a:gd name="T36" fmla="*/ 7 w 270"/>
                <a:gd name="T37" fmla="*/ 134 h 291"/>
                <a:gd name="T38" fmla="*/ 6 w 270"/>
                <a:gd name="T39" fmla="*/ 147 h 291"/>
                <a:gd name="T40" fmla="*/ 10 w 270"/>
                <a:gd name="T41" fmla="*/ 170 h 291"/>
                <a:gd name="T42" fmla="*/ 0 w 270"/>
                <a:gd name="T43" fmla="*/ 191 h 291"/>
                <a:gd name="T44" fmla="*/ 13 w 270"/>
                <a:gd name="T45" fmla="*/ 203 h 291"/>
                <a:gd name="T46" fmla="*/ 27 w 270"/>
                <a:gd name="T47" fmla="*/ 207 h 291"/>
                <a:gd name="T48" fmla="*/ 46 w 270"/>
                <a:gd name="T49" fmla="*/ 226 h 291"/>
                <a:gd name="T50" fmla="*/ 47 w 270"/>
                <a:gd name="T51" fmla="*/ 245 h 291"/>
                <a:gd name="T52" fmla="*/ 43 w 270"/>
                <a:gd name="T53" fmla="*/ 251 h 291"/>
                <a:gd name="T54" fmla="*/ 39 w 270"/>
                <a:gd name="T55" fmla="*/ 290 h 291"/>
                <a:gd name="T56" fmla="*/ 48 w 270"/>
                <a:gd name="T57" fmla="*/ 291 h 291"/>
                <a:gd name="T58" fmla="*/ 92 w 270"/>
                <a:gd name="T59" fmla="*/ 274 h 291"/>
                <a:gd name="T60" fmla="*/ 123 w 270"/>
                <a:gd name="T61" fmla="*/ 260 h 291"/>
                <a:gd name="T62" fmla="*/ 176 w 270"/>
                <a:gd name="T63" fmla="*/ 252 h 291"/>
                <a:gd name="T64" fmla="*/ 205 w 270"/>
                <a:gd name="T65" fmla="*/ 251 h 291"/>
                <a:gd name="T66" fmla="*/ 236 w 270"/>
                <a:gd name="T67" fmla="*/ 260 h 291"/>
                <a:gd name="T68" fmla="*/ 256 w 270"/>
                <a:gd name="T69" fmla="*/ 260 h 291"/>
                <a:gd name="T70" fmla="*/ 258 w 270"/>
                <a:gd name="T71" fmla="*/ 241 h 291"/>
                <a:gd name="T72" fmla="*/ 239 w 270"/>
                <a:gd name="T73" fmla="*/ 201 h 291"/>
                <a:gd name="T74" fmla="*/ 250 w 270"/>
                <a:gd name="T75" fmla="*/ 148 h 291"/>
                <a:gd name="T76" fmla="*/ 270 w 270"/>
                <a:gd name="T77" fmla="*/ 108 h 291"/>
                <a:gd name="T78" fmla="*/ 258 w 270"/>
                <a:gd name="T79" fmla="*/ 42 h 291"/>
                <a:gd name="T80" fmla="*/ 228 w 270"/>
                <a:gd name="T81" fmla="*/ 29 h 291"/>
                <a:gd name="T82" fmla="*/ 207 w 270"/>
                <a:gd name="T83" fmla="*/ 32 h 291"/>
                <a:gd name="T84" fmla="*/ 191 w 270"/>
                <a:gd name="T85" fmla="*/ 43 h 291"/>
                <a:gd name="T86" fmla="*/ 171 w 270"/>
                <a:gd name="T87" fmla="*/ 33 h 291"/>
                <a:gd name="T88" fmla="*/ 164 w 270"/>
                <a:gd name="T89" fmla="*/ 17 h 291"/>
                <a:gd name="T90" fmla="*/ 144 w 270"/>
                <a:gd name="T91" fmla="*/ 7 h 291"/>
                <a:gd name="T92" fmla="*/ 144 w 270"/>
                <a:gd name="T93" fmla="*/ 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91">
                  <a:moveTo>
                    <a:pt x="144" y="7"/>
                  </a:moveTo>
                  <a:lnTo>
                    <a:pt x="125" y="15"/>
                  </a:lnTo>
                  <a:lnTo>
                    <a:pt x="114" y="20"/>
                  </a:lnTo>
                  <a:lnTo>
                    <a:pt x="108" y="0"/>
                  </a:lnTo>
                  <a:lnTo>
                    <a:pt x="95" y="5"/>
                  </a:lnTo>
                  <a:lnTo>
                    <a:pt x="87" y="5"/>
                  </a:lnTo>
                  <a:lnTo>
                    <a:pt x="79" y="18"/>
                  </a:lnTo>
                  <a:lnTo>
                    <a:pt x="45" y="18"/>
                  </a:lnTo>
                  <a:lnTo>
                    <a:pt x="32" y="11"/>
                  </a:lnTo>
                  <a:lnTo>
                    <a:pt x="27" y="15"/>
                  </a:lnTo>
                  <a:lnTo>
                    <a:pt x="18" y="19"/>
                  </a:lnTo>
                  <a:lnTo>
                    <a:pt x="14" y="35"/>
                  </a:lnTo>
                  <a:lnTo>
                    <a:pt x="24" y="54"/>
                  </a:lnTo>
                  <a:lnTo>
                    <a:pt x="35" y="92"/>
                  </a:lnTo>
                  <a:lnTo>
                    <a:pt x="18" y="97"/>
                  </a:lnTo>
                  <a:lnTo>
                    <a:pt x="14" y="104"/>
                  </a:lnTo>
                  <a:lnTo>
                    <a:pt x="18" y="113"/>
                  </a:lnTo>
                  <a:lnTo>
                    <a:pt x="15" y="134"/>
                  </a:lnTo>
                  <a:lnTo>
                    <a:pt x="7" y="134"/>
                  </a:lnTo>
                  <a:lnTo>
                    <a:pt x="6" y="147"/>
                  </a:lnTo>
                  <a:lnTo>
                    <a:pt x="10" y="170"/>
                  </a:lnTo>
                  <a:lnTo>
                    <a:pt x="0" y="191"/>
                  </a:lnTo>
                  <a:lnTo>
                    <a:pt x="13" y="203"/>
                  </a:lnTo>
                  <a:lnTo>
                    <a:pt x="27" y="207"/>
                  </a:lnTo>
                  <a:lnTo>
                    <a:pt x="46" y="226"/>
                  </a:lnTo>
                  <a:lnTo>
                    <a:pt x="47" y="245"/>
                  </a:lnTo>
                  <a:lnTo>
                    <a:pt x="43" y="251"/>
                  </a:lnTo>
                  <a:lnTo>
                    <a:pt x="39" y="290"/>
                  </a:lnTo>
                  <a:lnTo>
                    <a:pt x="48" y="291"/>
                  </a:lnTo>
                  <a:lnTo>
                    <a:pt x="92" y="274"/>
                  </a:lnTo>
                  <a:lnTo>
                    <a:pt x="123" y="260"/>
                  </a:lnTo>
                  <a:lnTo>
                    <a:pt x="176" y="252"/>
                  </a:lnTo>
                  <a:lnTo>
                    <a:pt x="205" y="251"/>
                  </a:lnTo>
                  <a:lnTo>
                    <a:pt x="236" y="260"/>
                  </a:lnTo>
                  <a:lnTo>
                    <a:pt x="256" y="260"/>
                  </a:lnTo>
                  <a:lnTo>
                    <a:pt x="258" y="241"/>
                  </a:lnTo>
                  <a:lnTo>
                    <a:pt x="239" y="201"/>
                  </a:lnTo>
                  <a:lnTo>
                    <a:pt x="250" y="148"/>
                  </a:lnTo>
                  <a:lnTo>
                    <a:pt x="270" y="108"/>
                  </a:lnTo>
                  <a:lnTo>
                    <a:pt x="258" y="42"/>
                  </a:lnTo>
                  <a:lnTo>
                    <a:pt x="228" y="29"/>
                  </a:lnTo>
                  <a:lnTo>
                    <a:pt x="207" y="32"/>
                  </a:lnTo>
                  <a:lnTo>
                    <a:pt x="191" y="43"/>
                  </a:lnTo>
                  <a:lnTo>
                    <a:pt x="171" y="33"/>
                  </a:lnTo>
                  <a:lnTo>
                    <a:pt x="164" y="17"/>
                  </a:lnTo>
                  <a:lnTo>
                    <a:pt x="144" y="7"/>
                  </a:lnTo>
                  <a:lnTo>
                    <a:pt x="144" y="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6" name="Cameroon">
              <a:extLst>
                <a:ext uri="{FF2B5EF4-FFF2-40B4-BE49-F238E27FC236}">
                  <a16:creationId xmlns:a16="http://schemas.microsoft.com/office/drawing/2014/main" id="{5180F1A7-0F54-73E1-B7D4-D3ADE7EB2767}"/>
                </a:ext>
              </a:extLst>
            </p:cNvPr>
            <p:cNvSpPr>
              <a:spLocks/>
            </p:cNvSpPr>
            <p:nvPr/>
          </p:nvSpPr>
          <p:spPr bwMode="auto">
            <a:xfrm>
              <a:off x="6692204" y="2606012"/>
              <a:ext cx="533400" cy="830263"/>
            </a:xfrm>
            <a:custGeom>
              <a:avLst/>
              <a:gdLst>
                <a:gd name="T0" fmla="*/ 284 w 336"/>
                <a:gd name="T1" fmla="*/ 92 h 523"/>
                <a:gd name="T2" fmla="*/ 286 w 336"/>
                <a:gd name="T3" fmla="*/ 61 h 523"/>
                <a:gd name="T4" fmla="*/ 282 w 336"/>
                <a:gd name="T5" fmla="*/ 30 h 523"/>
                <a:gd name="T6" fmla="*/ 264 w 336"/>
                <a:gd name="T7" fmla="*/ 0 h 523"/>
                <a:gd name="T8" fmla="*/ 251 w 336"/>
                <a:gd name="T9" fmla="*/ 2 h 523"/>
                <a:gd name="T10" fmla="*/ 250 w 336"/>
                <a:gd name="T11" fmla="*/ 17 h 523"/>
                <a:gd name="T12" fmla="*/ 267 w 336"/>
                <a:gd name="T13" fmla="*/ 35 h 523"/>
                <a:gd name="T14" fmla="*/ 263 w 336"/>
                <a:gd name="T15" fmla="*/ 44 h 523"/>
                <a:gd name="T16" fmla="*/ 261 w 336"/>
                <a:gd name="T17" fmla="*/ 60 h 523"/>
                <a:gd name="T18" fmla="*/ 224 w 336"/>
                <a:gd name="T19" fmla="*/ 97 h 523"/>
                <a:gd name="T20" fmla="*/ 213 w 336"/>
                <a:gd name="T21" fmla="*/ 126 h 523"/>
                <a:gd name="T22" fmla="*/ 207 w 336"/>
                <a:gd name="T23" fmla="*/ 151 h 523"/>
                <a:gd name="T24" fmla="*/ 197 w 336"/>
                <a:gd name="T25" fmla="*/ 161 h 523"/>
                <a:gd name="T26" fmla="*/ 189 w 336"/>
                <a:gd name="T27" fmla="*/ 194 h 523"/>
                <a:gd name="T28" fmla="*/ 165 w 336"/>
                <a:gd name="T29" fmla="*/ 214 h 523"/>
                <a:gd name="T30" fmla="*/ 158 w 336"/>
                <a:gd name="T31" fmla="*/ 238 h 523"/>
                <a:gd name="T32" fmla="*/ 149 w 336"/>
                <a:gd name="T33" fmla="*/ 256 h 523"/>
                <a:gd name="T34" fmla="*/ 144 w 336"/>
                <a:gd name="T35" fmla="*/ 276 h 523"/>
                <a:gd name="T36" fmla="*/ 114 w 336"/>
                <a:gd name="T37" fmla="*/ 292 h 523"/>
                <a:gd name="T38" fmla="*/ 88 w 336"/>
                <a:gd name="T39" fmla="*/ 272 h 523"/>
                <a:gd name="T40" fmla="*/ 72 w 336"/>
                <a:gd name="T41" fmla="*/ 273 h 523"/>
                <a:gd name="T42" fmla="*/ 45 w 336"/>
                <a:gd name="T43" fmla="*/ 300 h 523"/>
                <a:gd name="T44" fmla="*/ 33 w 336"/>
                <a:gd name="T45" fmla="*/ 300 h 523"/>
                <a:gd name="T46" fmla="*/ 12 w 336"/>
                <a:gd name="T47" fmla="*/ 346 h 523"/>
                <a:gd name="T48" fmla="*/ 1 w 336"/>
                <a:gd name="T49" fmla="*/ 379 h 523"/>
                <a:gd name="T50" fmla="*/ 0 w 336"/>
                <a:gd name="T51" fmla="*/ 392 h 523"/>
                <a:gd name="T52" fmla="*/ 12 w 336"/>
                <a:gd name="T53" fmla="*/ 399 h 523"/>
                <a:gd name="T54" fmla="*/ 21 w 336"/>
                <a:gd name="T55" fmla="*/ 420 h 523"/>
                <a:gd name="T56" fmla="*/ 41 w 336"/>
                <a:gd name="T57" fmla="*/ 428 h 523"/>
                <a:gd name="T58" fmla="*/ 58 w 336"/>
                <a:gd name="T59" fmla="*/ 459 h 523"/>
                <a:gd name="T60" fmla="*/ 52 w 336"/>
                <a:gd name="T61" fmla="*/ 496 h 523"/>
                <a:gd name="T62" fmla="*/ 125 w 336"/>
                <a:gd name="T63" fmla="*/ 497 h 523"/>
                <a:gd name="T64" fmla="*/ 146 w 336"/>
                <a:gd name="T65" fmla="*/ 494 h 523"/>
                <a:gd name="T66" fmla="*/ 172 w 336"/>
                <a:gd name="T67" fmla="*/ 501 h 523"/>
                <a:gd name="T68" fmla="*/ 200 w 336"/>
                <a:gd name="T69" fmla="*/ 495 h 523"/>
                <a:gd name="T70" fmla="*/ 205 w 336"/>
                <a:gd name="T71" fmla="*/ 497 h 523"/>
                <a:gd name="T72" fmla="*/ 261 w 336"/>
                <a:gd name="T73" fmla="*/ 499 h 523"/>
                <a:gd name="T74" fmla="*/ 298 w 336"/>
                <a:gd name="T75" fmla="*/ 511 h 523"/>
                <a:gd name="T76" fmla="*/ 333 w 336"/>
                <a:gd name="T77" fmla="*/ 523 h 523"/>
                <a:gd name="T78" fmla="*/ 336 w 336"/>
                <a:gd name="T79" fmla="*/ 497 h 523"/>
                <a:gd name="T80" fmla="*/ 331 w 336"/>
                <a:gd name="T81" fmla="*/ 484 h 523"/>
                <a:gd name="T82" fmla="*/ 330 w 336"/>
                <a:gd name="T83" fmla="*/ 462 h 523"/>
                <a:gd name="T84" fmla="*/ 309 w 336"/>
                <a:gd name="T85" fmla="*/ 447 h 523"/>
                <a:gd name="T86" fmla="*/ 292 w 336"/>
                <a:gd name="T87" fmla="*/ 423 h 523"/>
                <a:gd name="T88" fmla="*/ 288 w 336"/>
                <a:gd name="T89" fmla="*/ 406 h 523"/>
                <a:gd name="T90" fmla="*/ 267 w 336"/>
                <a:gd name="T91" fmla="*/ 381 h 523"/>
                <a:gd name="T92" fmla="*/ 270 w 336"/>
                <a:gd name="T93" fmla="*/ 367 h 523"/>
                <a:gd name="T94" fmla="*/ 266 w 336"/>
                <a:gd name="T95" fmla="*/ 348 h 523"/>
                <a:gd name="T96" fmla="*/ 269 w 336"/>
                <a:gd name="T97" fmla="*/ 311 h 523"/>
                <a:gd name="T98" fmla="*/ 279 w 336"/>
                <a:gd name="T99" fmla="*/ 302 h 523"/>
                <a:gd name="T100" fmla="*/ 302 w 336"/>
                <a:gd name="T101" fmla="*/ 255 h 523"/>
                <a:gd name="T102" fmla="*/ 309 w 336"/>
                <a:gd name="T103" fmla="*/ 243 h 523"/>
                <a:gd name="T104" fmla="*/ 294 w 336"/>
                <a:gd name="T105" fmla="*/ 210 h 523"/>
                <a:gd name="T106" fmla="*/ 288 w 336"/>
                <a:gd name="T107" fmla="*/ 190 h 523"/>
                <a:gd name="T108" fmla="*/ 268 w 336"/>
                <a:gd name="T109" fmla="*/ 182 h 523"/>
                <a:gd name="T110" fmla="*/ 242 w 336"/>
                <a:gd name="T111" fmla="*/ 155 h 523"/>
                <a:gd name="T112" fmla="*/ 251 w 336"/>
                <a:gd name="T113" fmla="*/ 133 h 523"/>
                <a:gd name="T114" fmla="*/ 271 w 336"/>
                <a:gd name="T115" fmla="*/ 137 h 523"/>
                <a:gd name="T116" fmla="*/ 284 w 336"/>
                <a:gd name="T117" fmla="*/ 134 h 523"/>
                <a:gd name="T118" fmla="*/ 309 w 336"/>
                <a:gd name="T119" fmla="*/ 135 h 523"/>
                <a:gd name="T120" fmla="*/ 284 w 336"/>
                <a:gd name="T121" fmla="*/ 92 h 523"/>
                <a:gd name="T122" fmla="*/ 284 w 336"/>
                <a:gd name="T123"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523">
                  <a:moveTo>
                    <a:pt x="284" y="92"/>
                  </a:moveTo>
                  <a:lnTo>
                    <a:pt x="286" y="61"/>
                  </a:lnTo>
                  <a:lnTo>
                    <a:pt x="282" y="30"/>
                  </a:lnTo>
                  <a:lnTo>
                    <a:pt x="264" y="0"/>
                  </a:lnTo>
                  <a:lnTo>
                    <a:pt x="251" y="2"/>
                  </a:lnTo>
                  <a:lnTo>
                    <a:pt x="250" y="17"/>
                  </a:lnTo>
                  <a:lnTo>
                    <a:pt x="267" y="35"/>
                  </a:lnTo>
                  <a:lnTo>
                    <a:pt x="263" y="44"/>
                  </a:lnTo>
                  <a:lnTo>
                    <a:pt x="261" y="60"/>
                  </a:lnTo>
                  <a:lnTo>
                    <a:pt x="224" y="97"/>
                  </a:lnTo>
                  <a:lnTo>
                    <a:pt x="213" y="126"/>
                  </a:lnTo>
                  <a:lnTo>
                    <a:pt x="207" y="151"/>
                  </a:lnTo>
                  <a:lnTo>
                    <a:pt x="197" y="161"/>
                  </a:lnTo>
                  <a:lnTo>
                    <a:pt x="189" y="194"/>
                  </a:lnTo>
                  <a:lnTo>
                    <a:pt x="165" y="214"/>
                  </a:lnTo>
                  <a:lnTo>
                    <a:pt x="158" y="238"/>
                  </a:lnTo>
                  <a:lnTo>
                    <a:pt x="149" y="256"/>
                  </a:lnTo>
                  <a:lnTo>
                    <a:pt x="144" y="276"/>
                  </a:lnTo>
                  <a:lnTo>
                    <a:pt x="114" y="292"/>
                  </a:lnTo>
                  <a:lnTo>
                    <a:pt x="88" y="272"/>
                  </a:lnTo>
                  <a:lnTo>
                    <a:pt x="72" y="273"/>
                  </a:lnTo>
                  <a:lnTo>
                    <a:pt x="45" y="300"/>
                  </a:lnTo>
                  <a:lnTo>
                    <a:pt x="33" y="300"/>
                  </a:lnTo>
                  <a:lnTo>
                    <a:pt x="12" y="346"/>
                  </a:lnTo>
                  <a:lnTo>
                    <a:pt x="1" y="379"/>
                  </a:lnTo>
                  <a:lnTo>
                    <a:pt x="0" y="392"/>
                  </a:lnTo>
                  <a:lnTo>
                    <a:pt x="12" y="399"/>
                  </a:lnTo>
                  <a:lnTo>
                    <a:pt x="21" y="420"/>
                  </a:lnTo>
                  <a:lnTo>
                    <a:pt x="41" y="428"/>
                  </a:lnTo>
                  <a:lnTo>
                    <a:pt x="58" y="459"/>
                  </a:lnTo>
                  <a:lnTo>
                    <a:pt x="52" y="496"/>
                  </a:lnTo>
                  <a:lnTo>
                    <a:pt x="125" y="497"/>
                  </a:lnTo>
                  <a:lnTo>
                    <a:pt x="146" y="494"/>
                  </a:lnTo>
                  <a:lnTo>
                    <a:pt x="172" y="501"/>
                  </a:lnTo>
                  <a:lnTo>
                    <a:pt x="200" y="495"/>
                  </a:lnTo>
                  <a:lnTo>
                    <a:pt x="205" y="497"/>
                  </a:lnTo>
                  <a:lnTo>
                    <a:pt x="261" y="499"/>
                  </a:lnTo>
                  <a:lnTo>
                    <a:pt x="298" y="511"/>
                  </a:lnTo>
                  <a:lnTo>
                    <a:pt x="333" y="523"/>
                  </a:lnTo>
                  <a:lnTo>
                    <a:pt x="336" y="497"/>
                  </a:lnTo>
                  <a:lnTo>
                    <a:pt x="331" y="484"/>
                  </a:lnTo>
                  <a:lnTo>
                    <a:pt x="330" y="462"/>
                  </a:lnTo>
                  <a:lnTo>
                    <a:pt x="309" y="447"/>
                  </a:lnTo>
                  <a:lnTo>
                    <a:pt x="292" y="423"/>
                  </a:lnTo>
                  <a:lnTo>
                    <a:pt x="288" y="406"/>
                  </a:lnTo>
                  <a:lnTo>
                    <a:pt x="267" y="381"/>
                  </a:lnTo>
                  <a:lnTo>
                    <a:pt x="270" y="367"/>
                  </a:lnTo>
                  <a:lnTo>
                    <a:pt x="266" y="348"/>
                  </a:lnTo>
                  <a:lnTo>
                    <a:pt x="269" y="311"/>
                  </a:lnTo>
                  <a:lnTo>
                    <a:pt x="279" y="302"/>
                  </a:lnTo>
                  <a:lnTo>
                    <a:pt x="302" y="255"/>
                  </a:lnTo>
                  <a:lnTo>
                    <a:pt x="309" y="243"/>
                  </a:lnTo>
                  <a:lnTo>
                    <a:pt x="294" y="210"/>
                  </a:lnTo>
                  <a:lnTo>
                    <a:pt x="288" y="190"/>
                  </a:lnTo>
                  <a:lnTo>
                    <a:pt x="268" y="182"/>
                  </a:lnTo>
                  <a:lnTo>
                    <a:pt x="242" y="155"/>
                  </a:lnTo>
                  <a:lnTo>
                    <a:pt x="251" y="133"/>
                  </a:lnTo>
                  <a:lnTo>
                    <a:pt x="271" y="137"/>
                  </a:lnTo>
                  <a:lnTo>
                    <a:pt x="284" y="134"/>
                  </a:lnTo>
                  <a:lnTo>
                    <a:pt x="309" y="135"/>
                  </a:lnTo>
                  <a:lnTo>
                    <a:pt x="284" y="92"/>
                  </a:lnTo>
                  <a:lnTo>
                    <a:pt x="284" y="92"/>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7" name="The Democratic Republic of the Congo">
              <a:extLst>
                <a:ext uri="{FF2B5EF4-FFF2-40B4-BE49-F238E27FC236}">
                  <a16:creationId xmlns:a16="http://schemas.microsoft.com/office/drawing/2014/main" id="{553905AE-FB56-F453-DA56-93CA1E24D4FA}"/>
                </a:ext>
              </a:extLst>
            </p:cNvPr>
            <p:cNvSpPr>
              <a:spLocks/>
            </p:cNvSpPr>
            <p:nvPr/>
          </p:nvSpPr>
          <p:spPr bwMode="auto">
            <a:xfrm>
              <a:off x="6952554" y="3171162"/>
              <a:ext cx="1347788" cy="1382713"/>
            </a:xfrm>
            <a:custGeom>
              <a:avLst/>
              <a:gdLst>
                <a:gd name="T0" fmla="*/ 584 w 849"/>
                <a:gd name="T1" fmla="*/ 5 h 871"/>
                <a:gd name="T2" fmla="*/ 545 w 849"/>
                <a:gd name="T3" fmla="*/ 7 h 871"/>
                <a:gd name="T4" fmla="*/ 470 w 849"/>
                <a:gd name="T5" fmla="*/ 30 h 871"/>
                <a:gd name="T6" fmla="*/ 390 w 849"/>
                <a:gd name="T7" fmla="*/ 45 h 871"/>
                <a:gd name="T8" fmla="*/ 302 w 849"/>
                <a:gd name="T9" fmla="*/ 26 h 871"/>
                <a:gd name="T10" fmla="*/ 278 w 849"/>
                <a:gd name="T11" fmla="*/ 112 h 871"/>
                <a:gd name="T12" fmla="*/ 250 w 849"/>
                <a:gd name="T13" fmla="*/ 208 h 871"/>
                <a:gd name="T14" fmla="*/ 245 w 849"/>
                <a:gd name="T15" fmla="*/ 268 h 871"/>
                <a:gd name="T16" fmla="*/ 189 w 849"/>
                <a:gd name="T17" fmla="*/ 330 h 871"/>
                <a:gd name="T18" fmla="*/ 160 w 849"/>
                <a:gd name="T19" fmla="*/ 428 h 871"/>
                <a:gd name="T20" fmla="*/ 91 w 849"/>
                <a:gd name="T21" fmla="*/ 472 h 871"/>
                <a:gd name="T22" fmla="*/ 49 w 849"/>
                <a:gd name="T23" fmla="*/ 478 h 871"/>
                <a:gd name="T24" fmla="*/ 13 w 849"/>
                <a:gd name="T25" fmla="*/ 494 h 871"/>
                <a:gd name="T26" fmla="*/ 7 w 849"/>
                <a:gd name="T27" fmla="*/ 534 h 871"/>
                <a:gd name="T28" fmla="*/ 53 w 849"/>
                <a:gd name="T29" fmla="*/ 523 h 871"/>
                <a:gd name="T30" fmla="*/ 208 w 849"/>
                <a:gd name="T31" fmla="*/ 587 h 871"/>
                <a:gd name="T32" fmla="*/ 264 w 849"/>
                <a:gd name="T33" fmla="*/ 623 h 871"/>
                <a:gd name="T34" fmla="*/ 311 w 849"/>
                <a:gd name="T35" fmla="*/ 612 h 871"/>
                <a:gd name="T36" fmla="*/ 352 w 849"/>
                <a:gd name="T37" fmla="*/ 574 h 871"/>
                <a:gd name="T38" fmla="*/ 425 w 849"/>
                <a:gd name="T39" fmla="*/ 590 h 871"/>
                <a:gd name="T40" fmla="*/ 427 w 849"/>
                <a:gd name="T41" fmla="*/ 666 h 871"/>
                <a:gd name="T42" fmla="*/ 441 w 849"/>
                <a:gd name="T43" fmla="*/ 769 h 871"/>
                <a:gd name="T44" fmla="*/ 499 w 849"/>
                <a:gd name="T45" fmla="*/ 759 h 871"/>
                <a:gd name="T46" fmla="*/ 536 w 849"/>
                <a:gd name="T47" fmla="*/ 776 h 871"/>
                <a:gd name="T48" fmla="*/ 600 w 849"/>
                <a:gd name="T49" fmla="*/ 801 h 871"/>
                <a:gd name="T50" fmla="*/ 672 w 849"/>
                <a:gd name="T51" fmla="*/ 818 h 871"/>
                <a:gd name="T52" fmla="*/ 739 w 849"/>
                <a:gd name="T53" fmla="*/ 870 h 871"/>
                <a:gd name="T54" fmla="*/ 758 w 849"/>
                <a:gd name="T55" fmla="*/ 828 h 871"/>
                <a:gd name="T56" fmla="*/ 723 w 849"/>
                <a:gd name="T57" fmla="*/ 754 h 871"/>
                <a:gd name="T58" fmla="*/ 735 w 849"/>
                <a:gd name="T59" fmla="*/ 648 h 871"/>
                <a:gd name="T60" fmla="*/ 816 w 849"/>
                <a:gd name="T61" fmla="*/ 637 h 871"/>
                <a:gd name="T62" fmla="*/ 799 w 849"/>
                <a:gd name="T63" fmla="*/ 590 h 871"/>
                <a:gd name="T64" fmla="*/ 766 w 849"/>
                <a:gd name="T65" fmla="*/ 511 h 871"/>
                <a:gd name="T66" fmla="*/ 764 w 849"/>
                <a:gd name="T67" fmla="*/ 410 h 871"/>
                <a:gd name="T68" fmla="*/ 757 w 849"/>
                <a:gd name="T69" fmla="*/ 355 h 871"/>
                <a:gd name="T70" fmla="*/ 777 w 849"/>
                <a:gd name="T71" fmla="*/ 311 h 871"/>
                <a:gd name="T72" fmla="*/ 791 w 849"/>
                <a:gd name="T73" fmla="*/ 219 h 871"/>
                <a:gd name="T74" fmla="*/ 834 w 849"/>
                <a:gd name="T75" fmla="*/ 161 h 871"/>
                <a:gd name="T76" fmla="*/ 833 w 849"/>
                <a:gd name="T77" fmla="*/ 83 h 871"/>
                <a:gd name="T78" fmla="*/ 783 w 849"/>
                <a:gd name="T79" fmla="*/ 32 h 871"/>
                <a:gd name="T80" fmla="*/ 725 w 849"/>
                <a:gd name="T81" fmla="*/ 46 h 871"/>
                <a:gd name="T82" fmla="*/ 663 w 849"/>
                <a:gd name="T83" fmla="*/ 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9" h="871">
                  <a:moveTo>
                    <a:pt x="634" y="5"/>
                  </a:moveTo>
                  <a:lnTo>
                    <a:pt x="600" y="0"/>
                  </a:lnTo>
                  <a:lnTo>
                    <a:pt x="584" y="5"/>
                  </a:lnTo>
                  <a:lnTo>
                    <a:pt x="577" y="16"/>
                  </a:lnTo>
                  <a:lnTo>
                    <a:pt x="564" y="17"/>
                  </a:lnTo>
                  <a:lnTo>
                    <a:pt x="545" y="7"/>
                  </a:lnTo>
                  <a:lnTo>
                    <a:pt x="496" y="31"/>
                  </a:lnTo>
                  <a:lnTo>
                    <a:pt x="476" y="26"/>
                  </a:lnTo>
                  <a:lnTo>
                    <a:pt x="470" y="30"/>
                  </a:lnTo>
                  <a:lnTo>
                    <a:pt x="457" y="58"/>
                  </a:lnTo>
                  <a:lnTo>
                    <a:pt x="423" y="50"/>
                  </a:lnTo>
                  <a:lnTo>
                    <a:pt x="390" y="45"/>
                  </a:lnTo>
                  <a:lnTo>
                    <a:pt x="362" y="28"/>
                  </a:lnTo>
                  <a:lnTo>
                    <a:pt x="325" y="11"/>
                  </a:lnTo>
                  <a:lnTo>
                    <a:pt x="302" y="26"/>
                  </a:lnTo>
                  <a:lnTo>
                    <a:pt x="284" y="50"/>
                  </a:lnTo>
                  <a:lnTo>
                    <a:pt x="281" y="83"/>
                  </a:lnTo>
                  <a:lnTo>
                    <a:pt x="278" y="112"/>
                  </a:lnTo>
                  <a:lnTo>
                    <a:pt x="265" y="136"/>
                  </a:lnTo>
                  <a:lnTo>
                    <a:pt x="256" y="166"/>
                  </a:lnTo>
                  <a:lnTo>
                    <a:pt x="250" y="208"/>
                  </a:lnTo>
                  <a:lnTo>
                    <a:pt x="253" y="234"/>
                  </a:lnTo>
                  <a:lnTo>
                    <a:pt x="246" y="250"/>
                  </a:lnTo>
                  <a:lnTo>
                    <a:pt x="245" y="268"/>
                  </a:lnTo>
                  <a:lnTo>
                    <a:pt x="239" y="282"/>
                  </a:lnTo>
                  <a:lnTo>
                    <a:pt x="210" y="305"/>
                  </a:lnTo>
                  <a:lnTo>
                    <a:pt x="189" y="330"/>
                  </a:lnTo>
                  <a:lnTo>
                    <a:pt x="170" y="375"/>
                  </a:lnTo>
                  <a:lnTo>
                    <a:pt x="171" y="414"/>
                  </a:lnTo>
                  <a:lnTo>
                    <a:pt x="160" y="428"/>
                  </a:lnTo>
                  <a:lnTo>
                    <a:pt x="134" y="452"/>
                  </a:lnTo>
                  <a:lnTo>
                    <a:pt x="107" y="481"/>
                  </a:lnTo>
                  <a:lnTo>
                    <a:pt x="91" y="472"/>
                  </a:lnTo>
                  <a:lnTo>
                    <a:pt x="88" y="460"/>
                  </a:lnTo>
                  <a:lnTo>
                    <a:pt x="64" y="459"/>
                  </a:lnTo>
                  <a:lnTo>
                    <a:pt x="49" y="478"/>
                  </a:lnTo>
                  <a:lnTo>
                    <a:pt x="37" y="472"/>
                  </a:lnTo>
                  <a:lnTo>
                    <a:pt x="20" y="483"/>
                  </a:lnTo>
                  <a:lnTo>
                    <a:pt x="13" y="494"/>
                  </a:lnTo>
                  <a:lnTo>
                    <a:pt x="12" y="515"/>
                  </a:lnTo>
                  <a:lnTo>
                    <a:pt x="0" y="520"/>
                  </a:lnTo>
                  <a:lnTo>
                    <a:pt x="7" y="534"/>
                  </a:lnTo>
                  <a:lnTo>
                    <a:pt x="25" y="528"/>
                  </a:lnTo>
                  <a:lnTo>
                    <a:pt x="38" y="528"/>
                  </a:lnTo>
                  <a:lnTo>
                    <a:pt x="53" y="523"/>
                  </a:lnTo>
                  <a:lnTo>
                    <a:pt x="185" y="523"/>
                  </a:lnTo>
                  <a:lnTo>
                    <a:pt x="196" y="559"/>
                  </a:lnTo>
                  <a:lnTo>
                    <a:pt x="208" y="587"/>
                  </a:lnTo>
                  <a:lnTo>
                    <a:pt x="218" y="602"/>
                  </a:lnTo>
                  <a:lnTo>
                    <a:pt x="235" y="627"/>
                  </a:lnTo>
                  <a:lnTo>
                    <a:pt x="264" y="623"/>
                  </a:lnTo>
                  <a:lnTo>
                    <a:pt x="279" y="617"/>
                  </a:lnTo>
                  <a:lnTo>
                    <a:pt x="303" y="623"/>
                  </a:lnTo>
                  <a:lnTo>
                    <a:pt x="311" y="612"/>
                  </a:lnTo>
                  <a:lnTo>
                    <a:pt x="322" y="584"/>
                  </a:lnTo>
                  <a:lnTo>
                    <a:pt x="350" y="582"/>
                  </a:lnTo>
                  <a:lnTo>
                    <a:pt x="352" y="574"/>
                  </a:lnTo>
                  <a:lnTo>
                    <a:pt x="375" y="573"/>
                  </a:lnTo>
                  <a:lnTo>
                    <a:pt x="371" y="590"/>
                  </a:lnTo>
                  <a:lnTo>
                    <a:pt x="425" y="590"/>
                  </a:lnTo>
                  <a:lnTo>
                    <a:pt x="425" y="620"/>
                  </a:lnTo>
                  <a:lnTo>
                    <a:pt x="434" y="638"/>
                  </a:lnTo>
                  <a:lnTo>
                    <a:pt x="427" y="666"/>
                  </a:lnTo>
                  <a:lnTo>
                    <a:pt x="430" y="695"/>
                  </a:lnTo>
                  <a:lnTo>
                    <a:pt x="444" y="713"/>
                  </a:lnTo>
                  <a:lnTo>
                    <a:pt x="441" y="769"/>
                  </a:lnTo>
                  <a:lnTo>
                    <a:pt x="452" y="764"/>
                  </a:lnTo>
                  <a:lnTo>
                    <a:pt x="471" y="765"/>
                  </a:lnTo>
                  <a:lnTo>
                    <a:pt x="499" y="759"/>
                  </a:lnTo>
                  <a:lnTo>
                    <a:pt x="519" y="761"/>
                  </a:lnTo>
                  <a:lnTo>
                    <a:pt x="534" y="762"/>
                  </a:lnTo>
                  <a:lnTo>
                    <a:pt x="536" y="776"/>
                  </a:lnTo>
                  <a:lnTo>
                    <a:pt x="557" y="775"/>
                  </a:lnTo>
                  <a:lnTo>
                    <a:pt x="586" y="780"/>
                  </a:lnTo>
                  <a:lnTo>
                    <a:pt x="600" y="801"/>
                  </a:lnTo>
                  <a:lnTo>
                    <a:pt x="635" y="808"/>
                  </a:lnTo>
                  <a:lnTo>
                    <a:pt x="662" y="793"/>
                  </a:lnTo>
                  <a:lnTo>
                    <a:pt x="672" y="818"/>
                  </a:lnTo>
                  <a:lnTo>
                    <a:pt x="706" y="824"/>
                  </a:lnTo>
                  <a:lnTo>
                    <a:pt x="722" y="844"/>
                  </a:lnTo>
                  <a:lnTo>
                    <a:pt x="739" y="870"/>
                  </a:lnTo>
                  <a:lnTo>
                    <a:pt x="773" y="871"/>
                  </a:lnTo>
                  <a:lnTo>
                    <a:pt x="771" y="820"/>
                  </a:lnTo>
                  <a:lnTo>
                    <a:pt x="758" y="828"/>
                  </a:lnTo>
                  <a:lnTo>
                    <a:pt x="728" y="810"/>
                  </a:lnTo>
                  <a:lnTo>
                    <a:pt x="716" y="802"/>
                  </a:lnTo>
                  <a:lnTo>
                    <a:pt x="723" y="754"/>
                  </a:lnTo>
                  <a:lnTo>
                    <a:pt x="732" y="699"/>
                  </a:lnTo>
                  <a:lnTo>
                    <a:pt x="723" y="678"/>
                  </a:lnTo>
                  <a:lnTo>
                    <a:pt x="735" y="648"/>
                  </a:lnTo>
                  <a:lnTo>
                    <a:pt x="748" y="642"/>
                  </a:lnTo>
                  <a:lnTo>
                    <a:pt x="808" y="635"/>
                  </a:lnTo>
                  <a:lnTo>
                    <a:pt x="816" y="637"/>
                  </a:lnTo>
                  <a:lnTo>
                    <a:pt x="818" y="629"/>
                  </a:lnTo>
                  <a:lnTo>
                    <a:pt x="805" y="617"/>
                  </a:lnTo>
                  <a:lnTo>
                    <a:pt x="799" y="590"/>
                  </a:lnTo>
                  <a:lnTo>
                    <a:pt x="773" y="565"/>
                  </a:lnTo>
                  <a:lnTo>
                    <a:pt x="758" y="531"/>
                  </a:lnTo>
                  <a:lnTo>
                    <a:pt x="766" y="511"/>
                  </a:lnTo>
                  <a:lnTo>
                    <a:pt x="755" y="485"/>
                  </a:lnTo>
                  <a:lnTo>
                    <a:pt x="764" y="410"/>
                  </a:lnTo>
                  <a:lnTo>
                    <a:pt x="764" y="410"/>
                  </a:lnTo>
                  <a:lnTo>
                    <a:pt x="764" y="403"/>
                  </a:lnTo>
                  <a:lnTo>
                    <a:pt x="753" y="381"/>
                  </a:lnTo>
                  <a:lnTo>
                    <a:pt x="757" y="355"/>
                  </a:lnTo>
                  <a:lnTo>
                    <a:pt x="763" y="352"/>
                  </a:lnTo>
                  <a:lnTo>
                    <a:pt x="765" y="324"/>
                  </a:lnTo>
                  <a:lnTo>
                    <a:pt x="777" y="311"/>
                  </a:lnTo>
                  <a:lnTo>
                    <a:pt x="778" y="275"/>
                  </a:lnTo>
                  <a:lnTo>
                    <a:pt x="788" y="257"/>
                  </a:lnTo>
                  <a:lnTo>
                    <a:pt x="791" y="219"/>
                  </a:lnTo>
                  <a:lnTo>
                    <a:pt x="800" y="197"/>
                  </a:lnTo>
                  <a:lnTo>
                    <a:pt x="818" y="174"/>
                  </a:lnTo>
                  <a:lnTo>
                    <a:pt x="834" y="161"/>
                  </a:lnTo>
                  <a:lnTo>
                    <a:pt x="849" y="144"/>
                  </a:lnTo>
                  <a:lnTo>
                    <a:pt x="830" y="138"/>
                  </a:lnTo>
                  <a:lnTo>
                    <a:pt x="833" y="83"/>
                  </a:lnTo>
                  <a:lnTo>
                    <a:pt x="833" y="83"/>
                  </a:lnTo>
                  <a:lnTo>
                    <a:pt x="793" y="51"/>
                  </a:lnTo>
                  <a:lnTo>
                    <a:pt x="783" y="32"/>
                  </a:lnTo>
                  <a:lnTo>
                    <a:pt x="757" y="41"/>
                  </a:lnTo>
                  <a:lnTo>
                    <a:pt x="737" y="39"/>
                  </a:lnTo>
                  <a:lnTo>
                    <a:pt x="725" y="46"/>
                  </a:lnTo>
                  <a:lnTo>
                    <a:pt x="705" y="40"/>
                  </a:lnTo>
                  <a:lnTo>
                    <a:pt x="678" y="2"/>
                  </a:lnTo>
                  <a:lnTo>
                    <a:pt x="663" y="7"/>
                  </a:lnTo>
                  <a:lnTo>
                    <a:pt x="634" y="5"/>
                  </a:lnTo>
                  <a:lnTo>
                    <a:pt x="634" y="5"/>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8" name="Congo">
              <a:extLst>
                <a:ext uri="{FF2B5EF4-FFF2-40B4-BE49-F238E27FC236}">
                  <a16:creationId xmlns:a16="http://schemas.microsoft.com/office/drawing/2014/main" id="{F89C3008-B972-DB45-5E44-247200C794A6}"/>
                </a:ext>
              </a:extLst>
            </p:cNvPr>
            <p:cNvSpPr>
              <a:spLocks/>
            </p:cNvSpPr>
            <p:nvPr/>
          </p:nvSpPr>
          <p:spPr bwMode="auto">
            <a:xfrm>
              <a:off x="6876354" y="3287050"/>
              <a:ext cx="522288" cy="652463"/>
            </a:xfrm>
            <a:custGeom>
              <a:avLst/>
              <a:gdLst>
                <a:gd name="T0" fmla="*/ 329 w 329"/>
                <a:gd name="T1" fmla="*/ 10 h 411"/>
                <a:gd name="T2" fmla="*/ 299 w 329"/>
                <a:gd name="T3" fmla="*/ 7 h 411"/>
                <a:gd name="T4" fmla="*/ 270 w 329"/>
                <a:gd name="T5" fmla="*/ 0 h 411"/>
                <a:gd name="T6" fmla="*/ 243 w 329"/>
                <a:gd name="T7" fmla="*/ 24 h 411"/>
                <a:gd name="T8" fmla="*/ 220 w 329"/>
                <a:gd name="T9" fmla="*/ 68 h 411"/>
                <a:gd name="T10" fmla="*/ 217 w 329"/>
                <a:gd name="T11" fmla="*/ 94 h 411"/>
                <a:gd name="T12" fmla="*/ 182 w 329"/>
                <a:gd name="T13" fmla="*/ 82 h 411"/>
                <a:gd name="T14" fmla="*/ 145 w 329"/>
                <a:gd name="T15" fmla="*/ 70 h 411"/>
                <a:gd name="T16" fmla="*/ 89 w 329"/>
                <a:gd name="T17" fmla="*/ 68 h 411"/>
                <a:gd name="T18" fmla="*/ 86 w 329"/>
                <a:gd name="T19" fmla="*/ 89 h 411"/>
                <a:gd name="T20" fmla="*/ 98 w 329"/>
                <a:gd name="T21" fmla="*/ 112 h 411"/>
                <a:gd name="T22" fmla="*/ 131 w 329"/>
                <a:gd name="T23" fmla="*/ 109 h 411"/>
                <a:gd name="T24" fmla="*/ 142 w 329"/>
                <a:gd name="T25" fmla="*/ 118 h 411"/>
                <a:gd name="T26" fmla="*/ 123 w 329"/>
                <a:gd name="T27" fmla="*/ 173 h 411"/>
                <a:gd name="T28" fmla="*/ 144 w 329"/>
                <a:gd name="T29" fmla="*/ 201 h 411"/>
                <a:gd name="T30" fmla="*/ 150 w 329"/>
                <a:gd name="T31" fmla="*/ 237 h 411"/>
                <a:gd name="T32" fmla="*/ 143 w 329"/>
                <a:gd name="T33" fmla="*/ 269 h 411"/>
                <a:gd name="T34" fmla="*/ 129 w 329"/>
                <a:gd name="T35" fmla="*/ 291 h 411"/>
                <a:gd name="T36" fmla="*/ 90 w 329"/>
                <a:gd name="T37" fmla="*/ 289 h 411"/>
                <a:gd name="T38" fmla="*/ 66 w 329"/>
                <a:gd name="T39" fmla="*/ 266 h 411"/>
                <a:gd name="T40" fmla="*/ 63 w 329"/>
                <a:gd name="T41" fmla="*/ 287 h 411"/>
                <a:gd name="T42" fmla="*/ 33 w 329"/>
                <a:gd name="T43" fmla="*/ 292 h 411"/>
                <a:gd name="T44" fmla="*/ 17 w 329"/>
                <a:gd name="T45" fmla="*/ 304 h 411"/>
                <a:gd name="T46" fmla="*/ 35 w 329"/>
                <a:gd name="T47" fmla="*/ 336 h 411"/>
                <a:gd name="T48" fmla="*/ 0 w 329"/>
                <a:gd name="T49" fmla="*/ 362 h 411"/>
                <a:gd name="T50" fmla="*/ 36 w 329"/>
                <a:gd name="T51" fmla="*/ 411 h 411"/>
                <a:gd name="T52" fmla="*/ 55 w 329"/>
                <a:gd name="T53" fmla="*/ 391 h 411"/>
                <a:gd name="T54" fmla="*/ 68 w 329"/>
                <a:gd name="T55" fmla="*/ 383 h 411"/>
                <a:gd name="T56" fmla="*/ 85 w 329"/>
                <a:gd name="T57" fmla="*/ 399 h 411"/>
                <a:gd name="T58" fmla="*/ 97 w 329"/>
                <a:gd name="T59" fmla="*/ 405 h 411"/>
                <a:gd name="T60" fmla="*/ 112 w 329"/>
                <a:gd name="T61" fmla="*/ 386 h 411"/>
                <a:gd name="T62" fmla="*/ 136 w 329"/>
                <a:gd name="T63" fmla="*/ 387 h 411"/>
                <a:gd name="T64" fmla="*/ 139 w 329"/>
                <a:gd name="T65" fmla="*/ 399 h 411"/>
                <a:gd name="T66" fmla="*/ 155 w 329"/>
                <a:gd name="T67" fmla="*/ 408 h 411"/>
                <a:gd name="T68" fmla="*/ 182 w 329"/>
                <a:gd name="T69" fmla="*/ 379 h 411"/>
                <a:gd name="T70" fmla="*/ 208 w 329"/>
                <a:gd name="T71" fmla="*/ 355 h 411"/>
                <a:gd name="T72" fmla="*/ 219 w 329"/>
                <a:gd name="T73" fmla="*/ 341 h 411"/>
                <a:gd name="T74" fmla="*/ 218 w 329"/>
                <a:gd name="T75" fmla="*/ 302 h 411"/>
                <a:gd name="T76" fmla="*/ 237 w 329"/>
                <a:gd name="T77" fmla="*/ 257 h 411"/>
                <a:gd name="T78" fmla="*/ 258 w 329"/>
                <a:gd name="T79" fmla="*/ 232 h 411"/>
                <a:gd name="T80" fmla="*/ 287 w 329"/>
                <a:gd name="T81" fmla="*/ 209 h 411"/>
                <a:gd name="T82" fmla="*/ 293 w 329"/>
                <a:gd name="T83" fmla="*/ 195 h 411"/>
                <a:gd name="T84" fmla="*/ 294 w 329"/>
                <a:gd name="T85" fmla="*/ 177 h 411"/>
                <a:gd name="T86" fmla="*/ 301 w 329"/>
                <a:gd name="T87" fmla="*/ 161 h 411"/>
                <a:gd name="T88" fmla="*/ 298 w 329"/>
                <a:gd name="T89" fmla="*/ 135 h 411"/>
                <a:gd name="T90" fmla="*/ 304 w 329"/>
                <a:gd name="T91" fmla="*/ 93 h 411"/>
                <a:gd name="T92" fmla="*/ 313 w 329"/>
                <a:gd name="T93" fmla="*/ 63 h 411"/>
                <a:gd name="T94" fmla="*/ 326 w 329"/>
                <a:gd name="T95" fmla="*/ 39 h 411"/>
                <a:gd name="T96" fmla="*/ 329 w 329"/>
                <a:gd name="T97" fmla="*/ 10 h 411"/>
                <a:gd name="T98" fmla="*/ 329 w 329"/>
                <a:gd name="T99" fmla="*/ 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411">
                  <a:moveTo>
                    <a:pt x="329" y="10"/>
                  </a:moveTo>
                  <a:lnTo>
                    <a:pt x="299" y="7"/>
                  </a:lnTo>
                  <a:lnTo>
                    <a:pt x="270" y="0"/>
                  </a:lnTo>
                  <a:lnTo>
                    <a:pt x="243" y="24"/>
                  </a:lnTo>
                  <a:lnTo>
                    <a:pt x="220" y="68"/>
                  </a:lnTo>
                  <a:lnTo>
                    <a:pt x="217" y="94"/>
                  </a:lnTo>
                  <a:lnTo>
                    <a:pt x="182" y="82"/>
                  </a:lnTo>
                  <a:lnTo>
                    <a:pt x="145" y="70"/>
                  </a:lnTo>
                  <a:lnTo>
                    <a:pt x="89" y="68"/>
                  </a:lnTo>
                  <a:lnTo>
                    <a:pt x="86" y="89"/>
                  </a:lnTo>
                  <a:lnTo>
                    <a:pt x="98" y="112"/>
                  </a:lnTo>
                  <a:lnTo>
                    <a:pt x="131" y="109"/>
                  </a:lnTo>
                  <a:lnTo>
                    <a:pt x="142" y="118"/>
                  </a:lnTo>
                  <a:lnTo>
                    <a:pt x="123" y="173"/>
                  </a:lnTo>
                  <a:lnTo>
                    <a:pt x="144" y="201"/>
                  </a:lnTo>
                  <a:lnTo>
                    <a:pt x="150" y="237"/>
                  </a:lnTo>
                  <a:lnTo>
                    <a:pt x="143" y="269"/>
                  </a:lnTo>
                  <a:lnTo>
                    <a:pt x="129" y="291"/>
                  </a:lnTo>
                  <a:lnTo>
                    <a:pt x="90" y="289"/>
                  </a:lnTo>
                  <a:lnTo>
                    <a:pt x="66" y="266"/>
                  </a:lnTo>
                  <a:lnTo>
                    <a:pt x="63" y="287"/>
                  </a:lnTo>
                  <a:lnTo>
                    <a:pt x="33" y="292"/>
                  </a:lnTo>
                  <a:lnTo>
                    <a:pt x="17" y="304"/>
                  </a:lnTo>
                  <a:lnTo>
                    <a:pt x="35" y="336"/>
                  </a:lnTo>
                  <a:lnTo>
                    <a:pt x="0" y="362"/>
                  </a:lnTo>
                  <a:lnTo>
                    <a:pt x="36" y="411"/>
                  </a:lnTo>
                  <a:lnTo>
                    <a:pt x="55" y="391"/>
                  </a:lnTo>
                  <a:lnTo>
                    <a:pt x="68" y="383"/>
                  </a:lnTo>
                  <a:lnTo>
                    <a:pt x="85" y="399"/>
                  </a:lnTo>
                  <a:lnTo>
                    <a:pt x="97" y="405"/>
                  </a:lnTo>
                  <a:lnTo>
                    <a:pt x="112" y="386"/>
                  </a:lnTo>
                  <a:lnTo>
                    <a:pt x="136" y="387"/>
                  </a:lnTo>
                  <a:lnTo>
                    <a:pt x="139" y="399"/>
                  </a:lnTo>
                  <a:lnTo>
                    <a:pt x="155" y="408"/>
                  </a:lnTo>
                  <a:lnTo>
                    <a:pt x="182" y="379"/>
                  </a:lnTo>
                  <a:lnTo>
                    <a:pt x="208" y="355"/>
                  </a:lnTo>
                  <a:lnTo>
                    <a:pt x="219" y="341"/>
                  </a:lnTo>
                  <a:lnTo>
                    <a:pt x="218" y="302"/>
                  </a:lnTo>
                  <a:lnTo>
                    <a:pt x="237" y="257"/>
                  </a:lnTo>
                  <a:lnTo>
                    <a:pt x="258" y="232"/>
                  </a:lnTo>
                  <a:lnTo>
                    <a:pt x="287" y="209"/>
                  </a:lnTo>
                  <a:lnTo>
                    <a:pt x="293" y="195"/>
                  </a:lnTo>
                  <a:lnTo>
                    <a:pt x="294" y="177"/>
                  </a:lnTo>
                  <a:lnTo>
                    <a:pt x="301" y="161"/>
                  </a:lnTo>
                  <a:lnTo>
                    <a:pt x="298" y="135"/>
                  </a:lnTo>
                  <a:lnTo>
                    <a:pt x="304" y="93"/>
                  </a:lnTo>
                  <a:lnTo>
                    <a:pt x="313" y="63"/>
                  </a:lnTo>
                  <a:lnTo>
                    <a:pt x="326" y="39"/>
                  </a:lnTo>
                  <a:lnTo>
                    <a:pt x="329" y="10"/>
                  </a:lnTo>
                  <a:lnTo>
                    <a:pt x="329" y="1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9" name="Djibouti">
              <a:extLst>
                <a:ext uri="{FF2B5EF4-FFF2-40B4-BE49-F238E27FC236}">
                  <a16:creationId xmlns:a16="http://schemas.microsoft.com/office/drawing/2014/main" id="{AF11EEB1-16D2-AF2B-3FD4-2E25C055CB54}"/>
                </a:ext>
              </a:extLst>
            </p:cNvPr>
            <p:cNvSpPr>
              <a:spLocks/>
            </p:cNvSpPr>
            <p:nvPr/>
          </p:nvSpPr>
          <p:spPr bwMode="auto">
            <a:xfrm>
              <a:off x="9025829" y="2617125"/>
              <a:ext cx="114300" cy="131763"/>
            </a:xfrm>
            <a:custGeom>
              <a:avLst/>
              <a:gdLst>
                <a:gd name="T0" fmla="*/ 66 w 72"/>
                <a:gd name="T1" fmla="*/ 58 h 83"/>
                <a:gd name="T2" fmla="*/ 47 w 72"/>
                <a:gd name="T3" fmla="*/ 45 h 83"/>
                <a:gd name="T4" fmla="*/ 71 w 72"/>
                <a:gd name="T5" fmla="*/ 34 h 83"/>
                <a:gd name="T6" fmla="*/ 72 w 72"/>
                <a:gd name="T7" fmla="*/ 15 h 83"/>
                <a:gd name="T8" fmla="*/ 61 w 72"/>
                <a:gd name="T9" fmla="*/ 0 h 83"/>
                <a:gd name="T10" fmla="*/ 48 w 72"/>
                <a:gd name="T11" fmla="*/ 11 h 83"/>
                <a:gd name="T12" fmla="*/ 28 w 72"/>
                <a:gd name="T13" fmla="*/ 7 h 83"/>
                <a:gd name="T14" fmla="*/ 14 w 72"/>
                <a:gd name="T15" fmla="*/ 28 h 83"/>
                <a:gd name="T16" fmla="*/ 0 w 72"/>
                <a:gd name="T17" fmla="*/ 51 h 83"/>
                <a:gd name="T18" fmla="*/ 4 w 72"/>
                <a:gd name="T19" fmla="*/ 63 h 83"/>
                <a:gd name="T20" fmla="*/ 5 w 72"/>
                <a:gd name="T21" fmla="*/ 78 h 83"/>
                <a:gd name="T22" fmla="*/ 30 w 72"/>
                <a:gd name="T23" fmla="*/ 78 h 83"/>
                <a:gd name="T24" fmla="*/ 40 w 72"/>
                <a:gd name="T25" fmla="*/ 75 h 83"/>
                <a:gd name="T26" fmla="*/ 50 w 72"/>
                <a:gd name="T27" fmla="*/ 83 h 83"/>
                <a:gd name="T28" fmla="*/ 66 w 72"/>
                <a:gd name="T29" fmla="*/ 58 h 83"/>
                <a:gd name="T30" fmla="*/ 66 w 72"/>
                <a:gd name="T31" fmla="*/ 5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3">
                  <a:moveTo>
                    <a:pt x="66" y="58"/>
                  </a:moveTo>
                  <a:lnTo>
                    <a:pt x="47" y="45"/>
                  </a:lnTo>
                  <a:lnTo>
                    <a:pt x="71" y="34"/>
                  </a:lnTo>
                  <a:lnTo>
                    <a:pt x="72" y="15"/>
                  </a:lnTo>
                  <a:lnTo>
                    <a:pt x="61" y="0"/>
                  </a:lnTo>
                  <a:lnTo>
                    <a:pt x="48" y="11"/>
                  </a:lnTo>
                  <a:lnTo>
                    <a:pt x="28" y="7"/>
                  </a:lnTo>
                  <a:lnTo>
                    <a:pt x="14" y="28"/>
                  </a:lnTo>
                  <a:lnTo>
                    <a:pt x="0" y="51"/>
                  </a:lnTo>
                  <a:lnTo>
                    <a:pt x="4" y="63"/>
                  </a:lnTo>
                  <a:lnTo>
                    <a:pt x="5" y="78"/>
                  </a:lnTo>
                  <a:lnTo>
                    <a:pt x="30" y="78"/>
                  </a:lnTo>
                  <a:lnTo>
                    <a:pt x="40" y="75"/>
                  </a:lnTo>
                  <a:lnTo>
                    <a:pt x="50" y="83"/>
                  </a:lnTo>
                  <a:lnTo>
                    <a:pt x="66" y="58"/>
                  </a:lnTo>
                  <a:lnTo>
                    <a:pt x="66" y="5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0" name="Algeria">
              <a:extLst>
                <a:ext uri="{FF2B5EF4-FFF2-40B4-BE49-F238E27FC236}">
                  <a16:creationId xmlns:a16="http://schemas.microsoft.com/office/drawing/2014/main" id="{CA91C669-F1FD-5D00-DC7E-338DD8093DE2}"/>
                </a:ext>
              </a:extLst>
            </p:cNvPr>
            <p:cNvSpPr>
              <a:spLocks/>
            </p:cNvSpPr>
            <p:nvPr/>
          </p:nvSpPr>
          <p:spPr bwMode="auto">
            <a:xfrm>
              <a:off x="5495229" y="793087"/>
              <a:ext cx="1425575" cy="1349375"/>
            </a:xfrm>
            <a:custGeom>
              <a:avLst/>
              <a:gdLst>
                <a:gd name="T0" fmla="*/ 727 w 898"/>
                <a:gd name="T1" fmla="*/ 8 h 850"/>
                <a:gd name="T2" fmla="*/ 698 w 898"/>
                <a:gd name="T3" fmla="*/ 11 h 850"/>
                <a:gd name="T4" fmla="*/ 681 w 898"/>
                <a:gd name="T5" fmla="*/ 0 h 850"/>
                <a:gd name="T6" fmla="*/ 636 w 898"/>
                <a:gd name="T7" fmla="*/ 1 h 850"/>
                <a:gd name="T8" fmla="*/ 598 w 898"/>
                <a:gd name="T9" fmla="*/ 19 h 850"/>
                <a:gd name="T10" fmla="*/ 577 w 898"/>
                <a:gd name="T11" fmla="*/ 12 h 850"/>
                <a:gd name="T12" fmla="*/ 507 w 898"/>
                <a:gd name="T13" fmla="*/ 16 h 850"/>
                <a:gd name="T14" fmla="*/ 437 w 898"/>
                <a:gd name="T15" fmla="*/ 25 h 850"/>
                <a:gd name="T16" fmla="*/ 397 w 898"/>
                <a:gd name="T17" fmla="*/ 39 h 850"/>
                <a:gd name="T18" fmla="*/ 370 w 898"/>
                <a:gd name="T19" fmla="*/ 59 h 850"/>
                <a:gd name="T20" fmla="*/ 325 w 898"/>
                <a:gd name="T21" fmla="*/ 67 h 850"/>
                <a:gd name="T22" fmla="*/ 284 w 898"/>
                <a:gd name="T23" fmla="*/ 93 h 850"/>
                <a:gd name="T24" fmla="*/ 300 w 898"/>
                <a:gd name="T25" fmla="*/ 124 h 850"/>
                <a:gd name="T26" fmla="*/ 302 w 898"/>
                <a:gd name="T27" fmla="*/ 152 h 850"/>
                <a:gd name="T28" fmla="*/ 316 w 898"/>
                <a:gd name="T29" fmla="*/ 202 h 850"/>
                <a:gd name="T30" fmla="*/ 327 w 898"/>
                <a:gd name="T31" fmla="*/ 212 h 850"/>
                <a:gd name="T32" fmla="*/ 320 w 898"/>
                <a:gd name="T33" fmla="*/ 230 h 850"/>
                <a:gd name="T34" fmla="*/ 264 w 898"/>
                <a:gd name="T35" fmla="*/ 239 h 850"/>
                <a:gd name="T36" fmla="*/ 244 w 898"/>
                <a:gd name="T37" fmla="*/ 255 h 850"/>
                <a:gd name="T38" fmla="*/ 220 w 898"/>
                <a:gd name="T39" fmla="*/ 260 h 850"/>
                <a:gd name="T40" fmla="*/ 218 w 898"/>
                <a:gd name="T41" fmla="*/ 295 h 850"/>
                <a:gd name="T42" fmla="*/ 168 w 898"/>
                <a:gd name="T43" fmla="*/ 312 h 850"/>
                <a:gd name="T44" fmla="*/ 150 w 898"/>
                <a:gd name="T45" fmla="*/ 336 h 850"/>
                <a:gd name="T46" fmla="*/ 115 w 898"/>
                <a:gd name="T47" fmla="*/ 349 h 850"/>
                <a:gd name="T48" fmla="*/ 73 w 898"/>
                <a:gd name="T49" fmla="*/ 356 h 850"/>
                <a:gd name="T50" fmla="*/ 2 w 898"/>
                <a:gd name="T51" fmla="*/ 390 h 850"/>
                <a:gd name="T52" fmla="*/ 1 w 898"/>
                <a:gd name="T53" fmla="*/ 446 h 850"/>
                <a:gd name="T54" fmla="*/ 1 w 898"/>
                <a:gd name="T55" fmla="*/ 449 h 850"/>
                <a:gd name="T56" fmla="*/ 0 w 898"/>
                <a:gd name="T57" fmla="*/ 458 h 850"/>
                <a:gd name="T58" fmla="*/ 161 w 898"/>
                <a:gd name="T59" fmla="*/ 572 h 850"/>
                <a:gd name="T60" fmla="*/ 307 w 898"/>
                <a:gd name="T61" fmla="*/ 675 h 850"/>
                <a:gd name="T62" fmla="*/ 455 w 898"/>
                <a:gd name="T63" fmla="*/ 778 h 850"/>
                <a:gd name="T64" fmla="*/ 466 w 898"/>
                <a:gd name="T65" fmla="*/ 799 h 850"/>
                <a:gd name="T66" fmla="*/ 494 w 898"/>
                <a:gd name="T67" fmla="*/ 812 h 850"/>
                <a:gd name="T68" fmla="*/ 514 w 898"/>
                <a:gd name="T69" fmla="*/ 820 h 850"/>
                <a:gd name="T70" fmla="*/ 514 w 898"/>
                <a:gd name="T71" fmla="*/ 850 h 850"/>
                <a:gd name="T72" fmla="*/ 563 w 898"/>
                <a:gd name="T73" fmla="*/ 846 h 850"/>
                <a:gd name="T74" fmla="*/ 624 w 898"/>
                <a:gd name="T75" fmla="*/ 824 h 850"/>
                <a:gd name="T76" fmla="*/ 750 w 898"/>
                <a:gd name="T77" fmla="*/ 733 h 850"/>
                <a:gd name="T78" fmla="*/ 898 w 898"/>
                <a:gd name="T79" fmla="*/ 643 h 850"/>
                <a:gd name="T80" fmla="*/ 879 w 898"/>
                <a:gd name="T81" fmla="*/ 614 h 850"/>
                <a:gd name="T82" fmla="*/ 843 w 898"/>
                <a:gd name="T83" fmla="*/ 592 h 850"/>
                <a:gd name="T84" fmla="*/ 823 w 898"/>
                <a:gd name="T85" fmla="*/ 600 h 850"/>
                <a:gd name="T86" fmla="*/ 808 w 898"/>
                <a:gd name="T87" fmla="*/ 574 h 850"/>
                <a:gd name="T88" fmla="*/ 806 w 898"/>
                <a:gd name="T89" fmla="*/ 554 h 850"/>
                <a:gd name="T90" fmla="*/ 779 w 898"/>
                <a:gd name="T91" fmla="*/ 520 h 850"/>
                <a:gd name="T92" fmla="*/ 796 w 898"/>
                <a:gd name="T93" fmla="*/ 500 h 850"/>
                <a:gd name="T94" fmla="*/ 791 w 898"/>
                <a:gd name="T95" fmla="*/ 470 h 850"/>
                <a:gd name="T96" fmla="*/ 797 w 898"/>
                <a:gd name="T97" fmla="*/ 445 h 850"/>
                <a:gd name="T98" fmla="*/ 793 w 898"/>
                <a:gd name="T99" fmla="*/ 424 h 850"/>
                <a:gd name="T100" fmla="*/ 799 w 898"/>
                <a:gd name="T101" fmla="*/ 385 h 850"/>
                <a:gd name="T102" fmla="*/ 797 w 898"/>
                <a:gd name="T103" fmla="*/ 363 h 850"/>
                <a:gd name="T104" fmla="*/ 781 w 898"/>
                <a:gd name="T105" fmla="*/ 322 h 850"/>
                <a:gd name="T106" fmla="*/ 760 w 898"/>
                <a:gd name="T107" fmla="*/ 238 h 850"/>
                <a:gd name="T108" fmla="*/ 734 w 898"/>
                <a:gd name="T109" fmla="*/ 219 h 850"/>
                <a:gd name="T110" fmla="*/ 733 w 898"/>
                <a:gd name="T111" fmla="*/ 208 h 850"/>
                <a:gd name="T112" fmla="*/ 698 w 898"/>
                <a:gd name="T113" fmla="*/ 179 h 850"/>
                <a:gd name="T114" fmla="*/ 693 w 898"/>
                <a:gd name="T115" fmla="*/ 144 h 850"/>
                <a:gd name="T116" fmla="*/ 718 w 898"/>
                <a:gd name="T117" fmla="*/ 118 h 850"/>
                <a:gd name="T118" fmla="*/ 727 w 898"/>
                <a:gd name="T119" fmla="*/ 78 h 850"/>
                <a:gd name="T120" fmla="*/ 719 w 898"/>
                <a:gd name="T121" fmla="*/ 33 h 850"/>
                <a:gd name="T122" fmla="*/ 727 w 898"/>
                <a:gd name="T123" fmla="*/ 8 h 850"/>
                <a:gd name="T124" fmla="*/ 727 w 898"/>
                <a:gd name="T125" fmla="*/ 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850">
                  <a:moveTo>
                    <a:pt x="727" y="8"/>
                  </a:moveTo>
                  <a:lnTo>
                    <a:pt x="698" y="11"/>
                  </a:lnTo>
                  <a:lnTo>
                    <a:pt x="681" y="0"/>
                  </a:lnTo>
                  <a:lnTo>
                    <a:pt x="636" y="1"/>
                  </a:lnTo>
                  <a:lnTo>
                    <a:pt x="598" y="19"/>
                  </a:lnTo>
                  <a:lnTo>
                    <a:pt x="577" y="12"/>
                  </a:lnTo>
                  <a:lnTo>
                    <a:pt x="507" y="16"/>
                  </a:lnTo>
                  <a:lnTo>
                    <a:pt x="437" y="25"/>
                  </a:lnTo>
                  <a:lnTo>
                    <a:pt x="397" y="39"/>
                  </a:lnTo>
                  <a:lnTo>
                    <a:pt x="370" y="59"/>
                  </a:lnTo>
                  <a:lnTo>
                    <a:pt x="325" y="67"/>
                  </a:lnTo>
                  <a:lnTo>
                    <a:pt x="284" y="93"/>
                  </a:lnTo>
                  <a:lnTo>
                    <a:pt x="300" y="124"/>
                  </a:lnTo>
                  <a:lnTo>
                    <a:pt x="302" y="152"/>
                  </a:lnTo>
                  <a:lnTo>
                    <a:pt x="316" y="202"/>
                  </a:lnTo>
                  <a:lnTo>
                    <a:pt x="327" y="212"/>
                  </a:lnTo>
                  <a:lnTo>
                    <a:pt x="320" y="230"/>
                  </a:lnTo>
                  <a:lnTo>
                    <a:pt x="264" y="239"/>
                  </a:lnTo>
                  <a:lnTo>
                    <a:pt x="244" y="255"/>
                  </a:lnTo>
                  <a:lnTo>
                    <a:pt x="220" y="260"/>
                  </a:lnTo>
                  <a:lnTo>
                    <a:pt x="218" y="295"/>
                  </a:lnTo>
                  <a:lnTo>
                    <a:pt x="168" y="312"/>
                  </a:lnTo>
                  <a:lnTo>
                    <a:pt x="150" y="336"/>
                  </a:lnTo>
                  <a:lnTo>
                    <a:pt x="115" y="349"/>
                  </a:lnTo>
                  <a:lnTo>
                    <a:pt x="73" y="356"/>
                  </a:lnTo>
                  <a:lnTo>
                    <a:pt x="2" y="390"/>
                  </a:lnTo>
                  <a:lnTo>
                    <a:pt x="1" y="446"/>
                  </a:lnTo>
                  <a:lnTo>
                    <a:pt x="1" y="449"/>
                  </a:lnTo>
                  <a:lnTo>
                    <a:pt x="0" y="458"/>
                  </a:lnTo>
                  <a:lnTo>
                    <a:pt x="161" y="572"/>
                  </a:lnTo>
                  <a:lnTo>
                    <a:pt x="307" y="675"/>
                  </a:lnTo>
                  <a:lnTo>
                    <a:pt x="455" y="778"/>
                  </a:lnTo>
                  <a:lnTo>
                    <a:pt x="466" y="799"/>
                  </a:lnTo>
                  <a:lnTo>
                    <a:pt x="494" y="812"/>
                  </a:lnTo>
                  <a:lnTo>
                    <a:pt x="514" y="820"/>
                  </a:lnTo>
                  <a:lnTo>
                    <a:pt x="514" y="850"/>
                  </a:lnTo>
                  <a:lnTo>
                    <a:pt x="563" y="846"/>
                  </a:lnTo>
                  <a:lnTo>
                    <a:pt x="624" y="824"/>
                  </a:lnTo>
                  <a:lnTo>
                    <a:pt x="750" y="733"/>
                  </a:lnTo>
                  <a:lnTo>
                    <a:pt x="898" y="643"/>
                  </a:lnTo>
                  <a:lnTo>
                    <a:pt x="879" y="614"/>
                  </a:lnTo>
                  <a:lnTo>
                    <a:pt x="843" y="592"/>
                  </a:lnTo>
                  <a:lnTo>
                    <a:pt x="823" y="600"/>
                  </a:lnTo>
                  <a:lnTo>
                    <a:pt x="808" y="574"/>
                  </a:lnTo>
                  <a:lnTo>
                    <a:pt x="806" y="554"/>
                  </a:lnTo>
                  <a:lnTo>
                    <a:pt x="779" y="520"/>
                  </a:lnTo>
                  <a:lnTo>
                    <a:pt x="796" y="500"/>
                  </a:lnTo>
                  <a:lnTo>
                    <a:pt x="791" y="470"/>
                  </a:lnTo>
                  <a:lnTo>
                    <a:pt x="797" y="445"/>
                  </a:lnTo>
                  <a:lnTo>
                    <a:pt x="793" y="424"/>
                  </a:lnTo>
                  <a:lnTo>
                    <a:pt x="799" y="385"/>
                  </a:lnTo>
                  <a:lnTo>
                    <a:pt x="797" y="363"/>
                  </a:lnTo>
                  <a:lnTo>
                    <a:pt x="781" y="322"/>
                  </a:lnTo>
                  <a:lnTo>
                    <a:pt x="760" y="238"/>
                  </a:lnTo>
                  <a:lnTo>
                    <a:pt x="734" y="219"/>
                  </a:lnTo>
                  <a:lnTo>
                    <a:pt x="733" y="208"/>
                  </a:lnTo>
                  <a:lnTo>
                    <a:pt x="698" y="179"/>
                  </a:lnTo>
                  <a:lnTo>
                    <a:pt x="693" y="144"/>
                  </a:lnTo>
                  <a:lnTo>
                    <a:pt x="718" y="118"/>
                  </a:lnTo>
                  <a:lnTo>
                    <a:pt x="727" y="78"/>
                  </a:lnTo>
                  <a:lnTo>
                    <a:pt x="719" y="33"/>
                  </a:lnTo>
                  <a:lnTo>
                    <a:pt x="727" y="8"/>
                  </a:lnTo>
                  <a:lnTo>
                    <a:pt x="727" y="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1" name="Egypt">
              <a:extLst>
                <a:ext uri="{FF2B5EF4-FFF2-40B4-BE49-F238E27FC236}">
                  <a16:creationId xmlns:a16="http://schemas.microsoft.com/office/drawing/2014/main" id="{FD6A9FE5-42A6-89A0-47A3-3FA3903E8476}"/>
                </a:ext>
              </a:extLst>
            </p:cNvPr>
            <p:cNvSpPr>
              <a:spLocks/>
            </p:cNvSpPr>
            <p:nvPr/>
          </p:nvSpPr>
          <p:spPr bwMode="auto">
            <a:xfrm>
              <a:off x="7771704" y="1209012"/>
              <a:ext cx="876300" cy="714375"/>
            </a:xfrm>
            <a:custGeom>
              <a:avLst/>
              <a:gdLst>
                <a:gd name="T0" fmla="*/ 156 w 552"/>
                <a:gd name="T1" fmla="*/ 26 h 450"/>
                <a:gd name="T2" fmla="*/ 113 w 552"/>
                <a:gd name="T3" fmla="*/ 12 h 450"/>
                <a:gd name="T4" fmla="*/ 71 w 552"/>
                <a:gd name="T5" fmla="*/ 0 h 450"/>
                <a:gd name="T6" fmla="*/ 14 w 552"/>
                <a:gd name="T7" fmla="*/ 0 h 450"/>
                <a:gd name="T8" fmla="*/ 0 w 552"/>
                <a:gd name="T9" fmla="*/ 23 h 450"/>
                <a:gd name="T10" fmla="*/ 8 w 552"/>
                <a:gd name="T11" fmla="*/ 43 h 450"/>
                <a:gd name="T12" fmla="*/ 0 w 552"/>
                <a:gd name="T13" fmla="*/ 72 h 450"/>
                <a:gd name="T14" fmla="*/ 15 w 552"/>
                <a:gd name="T15" fmla="*/ 110 h 450"/>
                <a:gd name="T16" fmla="*/ 26 w 552"/>
                <a:gd name="T17" fmla="*/ 277 h 450"/>
                <a:gd name="T18" fmla="*/ 34 w 552"/>
                <a:gd name="T19" fmla="*/ 450 h 450"/>
                <a:gd name="T20" fmla="*/ 209 w 552"/>
                <a:gd name="T21" fmla="*/ 450 h 450"/>
                <a:gd name="T22" fmla="*/ 379 w 552"/>
                <a:gd name="T23" fmla="*/ 450 h 450"/>
                <a:gd name="T24" fmla="*/ 552 w 552"/>
                <a:gd name="T25" fmla="*/ 450 h 450"/>
                <a:gd name="T26" fmla="*/ 544 w 552"/>
                <a:gd name="T27" fmla="*/ 440 h 450"/>
                <a:gd name="T28" fmla="*/ 491 w 552"/>
                <a:gd name="T29" fmla="*/ 398 h 450"/>
                <a:gd name="T30" fmla="*/ 487 w 552"/>
                <a:gd name="T31" fmla="*/ 368 h 450"/>
                <a:gd name="T32" fmla="*/ 495 w 552"/>
                <a:gd name="T33" fmla="*/ 359 h 450"/>
                <a:gd name="T34" fmla="*/ 453 w 552"/>
                <a:gd name="T35" fmla="*/ 308 h 450"/>
                <a:gd name="T36" fmla="*/ 437 w 552"/>
                <a:gd name="T37" fmla="*/ 280 h 450"/>
                <a:gd name="T38" fmla="*/ 418 w 552"/>
                <a:gd name="T39" fmla="*/ 255 h 450"/>
                <a:gd name="T40" fmla="*/ 380 w 552"/>
                <a:gd name="T41" fmla="*/ 182 h 450"/>
                <a:gd name="T42" fmla="*/ 350 w 552"/>
                <a:gd name="T43" fmla="*/ 134 h 450"/>
                <a:gd name="T44" fmla="*/ 327 w 552"/>
                <a:gd name="T45" fmla="*/ 85 h 450"/>
                <a:gd name="T46" fmla="*/ 332 w 552"/>
                <a:gd name="T47" fmla="*/ 81 h 450"/>
                <a:gd name="T48" fmla="*/ 368 w 552"/>
                <a:gd name="T49" fmla="*/ 148 h 450"/>
                <a:gd name="T50" fmla="*/ 389 w 552"/>
                <a:gd name="T51" fmla="*/ 169 h 450"/>
                <a:gd name="T52" fmla="*/ 406 w 552"/>
                <a:gd name="T53" fmla="*/ 185 h 450"/>
                <a:gd name="T54" fmla="*/ 415 w 552"/>
                <a:gd name="T55" fmla="*/ 176 h 450"/>
                <a:gd name="T56" fmla="*/ 424 w 552"/>
                <a:gd name="T57" fmla="*/ 151 h 450"/>
                <a:gd name="T58" fmla="*/ 430 w 552"/>
                <a:gd name="T59" fmla="*/ 117 h 450"/>
                <a:gd name="T60" fmla="*/ 440 w 552"/>
                <a:gd name="T61" fmla="*/ 97 h 450"/>
                <a:gd name="T62" fmla="*/ 435 w 552"/>
                <a:gd name="T63" fmla="*/ 85 h 450"/>
                <a:gd name="T64" fmla="*/ 404 w 552"/>
                <a:gd name="T65" fmla="*/ 17 h 450"/>
                <a:gd name="T66" fmla="*/ 404 w 552"/>
                <a:gd name="T67" fmla="*/ 17 h 450"/>
                <a:gd name="T68" fmla="*/ 384 w 552"/>
                <a:gd name="T69" fmla="*/ 29 h 450"/>
                <a:gd name="T70" fmla="*/ 351 w 552"/>
                <a:gd name="T71" fmla="*/ 26 h 450"/>
                <a:gd name="T72" fmla="*/ 315 w 552"/>
                <a:gd name="T73" fmla="*/ 16 h 450"/>
                <a:gd name="T74" fmla="*/ 307 w 552"/>
                <a:gd name="T75" fmla="*/ 31 h 450"/>
                <a:gd name="T76" fmla="*/ 293 w 552"/>
                <a:gd name="T77" fmla="*/ 7 h 450"/>
                <a:gd name="T78" fmla="*/ 262 w 552"/>
                <a:gd name="T79" fmla="*/ 1 h 450"/>
                <a:gd name="T80" fmla="*/ 225 w 552"/>
                <a:gd name="T81" fmla="*/ 5 h 450"/>
                <a:gd name="T82" fmla="*/ 208 w 552"/>
                <a:gd name="T83" fmla="*/ 19 h 450"/>
                <a:gd name="T84" fmla="*/ 177 w 552"/>
                <a:gd name="T85" fmla="*/ 33 h 450"/>
                <a:gd name="T86" fmla="*/ 156 w 552"/>
                <a:gd name="T87" fmla="*/ 26 h 450"/>
                <a:gd name="T88" fmla="*/ 156 w 552"/>
                <a:gd name="T89" fmla="*/ 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450">
                  <a:moveTo>
                    <a:pt x="156" y="26"/>
                  </a:moveTo>
                  <a:lnTo>
                    <a:pt x="113" y="12"/>
                  </a:lnTo>
                  <a:lnTo>
                    <a:pt x="71" y="0"/>
                  </a:lnTo>
                  <a:lnTo>
                    <a:pt x="14" y="0"/>
                  </a:lnTo>
                  <a:lnTo>
                    <a:pt x="0" y="23"/>
                  </a:lnTo>
                  <a:lnTo>
                    <a:pt x="8" y="43"/>
                  </a:lnTo>
                  <a:lnTo>
                    <a:pt x="0" y="72"/>
                  </a:lnTo>
                  <a:lnTo>
                    <a:pt x="15" y="110"/>
                  </a:lnTo>
                  <a:lnTo>
                    <a:pt x="26" y="277"/>
                  </a:lnTo>
                  <a:lnTo>
                    <a:pt x="34" y="450"/>
                  </a:lnTo>
                  <a:lnTo>
                    <a:pt x="209" y="450"/>
                  </a:lnTo>
                  <a:lnTo>
                    <a:pt x="379" y="450"/>
                  </a:lnTo>
                  <a:lnTo>
                    <a:pt x="552" y="450"/>
                  </a:lnTo>
                  <a:lnTo>
                    <a:pt x="544" y="440"/>
                  </a:lnTo>
                  <a:lnTo>
                    <a:pt x="491" y="398"/>
                  </a:lnTo>
                  <a:lnTo>
                    <a:pt x="487" y="368"/>
                  </a:lnTo>
                  <a:lnTo>
                    <a:pt x="495" y="359"/>
                  </a:lnTo>
                  <a:lnTo>
                    <a:pt x="453" y="308"/>
                  </a:lnTo>
                  <a:lnTo>
                    <a:pt x="437" y="280"/>
                  </a:lnTo>
                  <a:lnTo>
                    <a:pt x="418" y="255"/>
                  </a:lnTo>
                  <a:lnTo>
                    <a:pt x="380" y="182"/>
                  </a:lnTo>
                  <a:lnTo>
                    <a:pt x="350" y="134"/>
                  </a:lnTo>
                  <a:lnTo>
                    <a:pt x="327" y="85"/>
                  </a:lnTo>
                  <a:lnTo>
                    <a:pt x="332" y="81"/>
                  </a:lnTo>
                  <a:lnTo>
                    <a:pt x="368" y="148"/>
                  </a:lnTo>
                  <a:lnTo>
                    <a:pt x="389" y="169"/>
                  </a:lnTo>
                  <a:lnTo>
                    <a:pt x="406" y="185"/>
                  </a:lnTo>
                  <a:lnTo>
                    <a:pt x="415" y="176"/>
                  </a:lnTo>
                  <a:lnTo>
                    <a:pt x="424" y="151"/>
                  </a:lnTo>
                  <a:lnTo>
                    <a:pt x="430" y="117"/>
                  </a:lnTo>
                  <a:lnTo>
                    <a:pt x="440" y="97"/>
                  </a:lnTo>
                  <a:lnTo>
                    <a:pt x="435" y="85"/>
                  </a:lnTo>
                  <a:lnTo>
                    <a:pt x="404" y="17"/>
                  </a:lnTo>
                  <a:lnTo>
                    <a:pt x="404" y="17"/>
                  </a:lnTo>
                  <a:lnTo>
                    <a:pt x="384" y="29"/>
                  </a:lnTo>
                  <a:lnTo>
                    <a:pt x="351" y="26"/>
                  </a:lnTo>
                  <a:lnTo>
                    <a:pt x="315" y="16"/>
                  </a:lnTo>
                  <a:lnTo>
                    <a:pt x="307" y="31"/>
                  </a:lnTo>
                  <a:lnTo>
                    <a:pt x="293" y="7"/>
                  </a:lnTo>
                  <a:lnTo>
                    <a:pt x="262" y="1"/>
                  </a:lnTo>
                  <a:lnTo>
                    <a:pt x="225" y="5"/>
                  </a:lnTo>
                  <a:lnTo>
                    <a:pt x="208" y="19"/>
                  </a:lnTo>
                  <a:lnTo>
                    <a:pt x="177" y="33"/>
                  </a:lnTo>
                  <a:lnTo>
                    <a:pt x="156" y="26"/>
                  </a:lnTo>
                  <a:lnTo>
                    <a:pt x="156" y="2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2" name="Eritrea">
              <a:extLst>
                <a:ext uri="{FF2B5EF4-FFF2-40B4-BE49-F238E27FC236}">
                  <a16:creationId xmlns:a16="http://schemas.microsoft.com/office/drawing/2014/main" id="{85E78981-F47A-F158-A7E1-5372E38ED7EB}"/>
                </a:ext>
              </a:extLst>
            </p:cNvPr>
            <p:cNvSpPr>
              <a:spLocks/>
            </p:cNvSpPr>
            <p:nvPr/>
          </p:nvSpPr>
          <p:spPr bwMode="auto">
            <a:xfrm>
              <a:off x="8640066" y="2221837"/>
              <a:ext cx="482600" cy="412750"/>
            </a:xfrm>
            <a:custGeom>
              <a:avLst/>
              <a:gdLst>
                <a:gd name="T0" fmla="*/ 153 w 304"/>
                <a:gd name="T1" fmla="*/ 120 h 260"/>
                <a:gd name="T2" fmla="*/ 127 w 304"/>
                <a:gd name="T3" fmla="*/ 97 h 260"/>
                <a:gd name="T4" fmla="*/ 113 w 304"/>
                <a:gd name="T5" fmla="*/ 54 h 260"/>
                <a:gd name="T6" fmla="*/ 84 w 304"/>
                <a:gd name="T7" fmla="*/ 0 h 260"/>
                <a:gd name="T8" fmla="*/ 63 w 304"/>
                <a:gd name="T9" fmla="*/ 27 h 260"/>
                <a:gd name="T10" fmla="*/ 31 w 304"/>
                <a:gd name="T11" fmla="*/ 35 h 260"/>
                <a:gd name="T12" fmla="*/ 18 w 304"/>
                <a:gd name="T13" fmla="*/ 49 h 260"/>
                <a:gd name="T14" fmla="*/ 16 w 304"/>
                <a:gd name="T15" fmla="*/ 81 h 260"/>
                <a:gd name="T16" fmla="*/ 0 w 304"/>
                <a:gd name="T17" fmla="*/ 149 h 260"/>
                <a:gd name="T18" fmla="*/ 6 w 304"/>
                <a:gd name="T19" fmla="*/ 168 h 260"/>
                <a:gd name="T20" fmla="*/ 58 w 304"/>
                <a:gd name="T21" fmla="*/ 178 h 260"/>
                <a:gd name="T22" fmla="*/ 70 w 304"/>
                <a:gd name="T23" fmla="*/ 142 h 260"/>
                <a:gd name="T24" fmla="*/ 98 w 304"/>
                <a:gd name="T25" fmla="*/ 164 h 260"/>
                <a:gd name="T26" fmla="*/ 124 w 304"/>
                <a:gd name="T27" fmla="*/ 154 h 260"/>
                <a:gd name="T28" fmla="*/ 134 w 304"/>
                <a:gd name="T29" fmla="*/ 163 h 260"/>
                <a:gd name="T30" fmla="*/ 165 w 304"/>
                <a:gd name="T31" fmla="*/ 164 h 260"/>
                <a:gd name="T32" fmla="*/ 204 w 304"/>
                <a:gd name="T33" fmla="*/ 182 h 260"/>
                <a:gd name="T34" fmla="*/ 217 w 304"/>
                <a:gd name="T35" fmla="*/ 199 h 260"/>
                <a:gd name="T36" fmla="*/ 237 w 304"/>
                <a:gd name="T37" fmla="*/ 214 h 260"/>
                <a:gd name="T38" fmla="*/ 256 w 304"/>
                <a:gd name="T39" fmla="*/ 241 h 260"/>
                <a:gd name="T40" fmla="*/ 271 w 304"/>
                <a:gd name="T41" fmla="*/ 256 h 260"/>
                <a:gd name="T42" fmla="*/ 291 w 304"/>
                <a:gd name="T43" fmla="*/ 260 h 260"/>
                <a:gd name="T44" fmla="*/ 304 w 304"/>
                <a:gd name="T45" fmla="*/ 249 h 260"/>
                <a:gd name="T46" fmla="*/ 282 w 304"/>
                <a:gd name="T47" fmla="*/ 235 h 260"/>
                <a:gd name="T48" fmla="*/ 267 w 304"/>
                <a:gd name="T49" fmla="*/ 219 h 260"/>
                <a:gd name="T50" fmla="*/ 241 w 304"/>
                <a:gd name="T51" fmla="*/ 192 h 260"/>
                <a:gd name="T52" fmla="*/ 216 w 304"/>
                <a:gd name="T53" fmla="*/ 165 h 260"/>
                <a:gd name="T54" fmla="*/ 153 w 304"/>
                <a:gd name="T55" fmla="*/ 120 h 260"/>
                <a:gd name="T56" fmla="*/ 153 w 304"/>
                <a:gd name="T57" fmla="*/ 12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4" h="260">
                  <a:moveTo>
                    <a:pt x="153" y="120"/>
                  </a:moveTo>
                  <a:lnTo>
                    <a:pt x="127" y="97"/>
                  </a:lnTo>
                  <a:lnTo>
                    <a:pt x="113" y="54"/>
                  </a:lnTo>
                  <a:lnTo>
                    <a:pt x="84" y="0"/>
                  </a:lnTo>
                  <a:lnTo>
                    <a:pt x="63" y="27"/>
                  </a:lnTo>
                  <a:lnTo>
                    <a:pt x="31" y="35"/>
                  </a:lnTo>
                  <a:lnTo>
                    <a:pt x="18" y="49"/>
                  </a:lnTo>
                  <a:lnTo>
                    <a:pt x="16" y="81"/>
                  </a:lnTo>
                  <a:lnTo>
                    <a:pt x="0" y="149"/>
                  </a:lnTo>
                  <a:lnTo>
                    <a:pt x="6" y="168"/>
                  </a:lnTo>
                  <a:lnTo>
                    <a:pt x="58" y="178"/>
                  </a:lnTo>
                  <a:lnTo>
                    <a:pt x="70" y="142"/>
                  </a:lnTo>
                  <a:lnTo>
                    <a:pt x="98" y="164"/>
                  </a:lnTo>
                  <a:lnTo>
                    <a:pt x="124" y="154"/>
                  </a:lnTo>
                  <a:lnTo>
                    <a:pt x="134" y="163"/>
                  </a:lnTo>
                  <a:lnTo>
                    <a:pt x="165" y="164"/>
                  </a:lnTo>
                  <a:lnTo>
                    <a:pt x="204" y="182"/>
                  </a:lnTo>
                  <a:lnTo>
                    <a:pt x="217" y="199"/>
                  </a:lnTo>
                  <a:lnTo>
                    <a:pt x="237" y="214"/>
                  </a:lnTo>
                  <a:lnTo>
                    <a:pt x="256" y="241"/>
                  </a:lnTo>
                  <a:lnTo>
                    <a:pt x="271" y="256"/>
                  </a:lnTo>
                  <a:lnTo>
                    <a:pt x="291" y="260"/>
                  </a:lnTo>
                  <a:lnTo>
                    <a:pt x="304" y="249"/>
                  </a:lnTo>
                  <a:lnTo>
                    <a:pt x="282" y="235"/>
                  </a:lnTo>
                  <a:lnTo>
                    <a:pt x="267" y="219"/>
                  </a:lnTo>
                  <a:lnTo>
                    <a:pt x="241" y="192"/>
                  </a:lnTo>
                  <a:lnTo>
                    <a:pt x="216" y="165"/>
                  </a:lnTo>
                  <a:lnTo>
                    <a:pt x="153" y="120"/>
                  </a:lnTo>
                  <a:lnTo>
                    <a:pt x="153" y="1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5" name="Ethiopia">
              <a:extLst>
                <a:ext uri="{FF2B5EF4-FFF2-40B4-BE49-F238E27FC236}">
                  <a16:creationId xmlns:a16="http://schemas.microsoft.com/office/drawing/2014/main" id="{76D2B884-2404-0E2C-592A-0B080AA4E97F}"/>
                </a:ext>
              </a:extLst>
            </p:cNvPr>
            <p:cNvSpPr>
              <a:spLocks/>
            </p:cNvSpPr>
            <p:nvPr/>
          </p:nvSpPr>
          <p:spPr bwMode="auto">
            <a:xfrm>
              <a:off x="8419746" y="2446808"/>
              <a:ext cx="1049338" cy="862013"/>
            </a:xfrm>
            <a:custGeom>
              <a:avLst/>
              <a:gdLst>
                <a:gd name="T0" fmla="*/ 209 w 661"/>
                <a:gd name="T1" fmla="*/ 0 h 543"/>
                <a:gd name="T2" fmla="*/ 197 w 661"/>
                <a:gd name="T3" fmla="*/ 36 h 543"/>
                <a:gd name="T4" fmla="*/ 145 w 661"/>
                <a:gd name="T5" fmla="*/ 26 h 543"/>
                <a:gd name="T6" fmla="*/ 139 w 661"/>
                <a:gd name="T7" fmla="*/ 67 h 543"/>
                <a:gd name="T8" fmla="*/ 123 w 661"/>
                <a:gd name="T9" fmla="*/ 113 h 543"/>
                <a:gd name="T10" fmla="*/ 97 w 661"/>
                <a:gd name="T11" fmla="*/ 135 h 543"/>
                <a:gd name="T12" fmla="*/ 80 w 661"/>
                <a:gd name="T13" fmla="*/ 172 h 543"/>
                <a:gd name="T14" fmla="*/ 75 w 661"/>
                <a:gd name="T15" fmla="*/ 192 h 543"/>
                <a:gd name="T16" fmla="*/ 55 w 661"/>
                <a:gd name="T17" fmla="*/ 204 h 543"/>
                <a:gd name="T18" fmla="*/ 43 w 661"/>
                <a:gd name="T19" fmla="*/ 253 h 543"/>
                <a:gd name="T20" fmla="*/ 43 w 661"/>
                <a:gd name="T21" fmla="*/ 259 h 543"/>
                <a:gd name="T22" fmla="*/ 45 w 661"/>
                <a:gd name="T23" fmla="*/ 296 h 543"/>
                <a:gd name="T24" fmla="*/ 38 w 661"/>
                <a:gd name="T25" fmla="*/ 310 h 543"/>
                <a:gd name="T26" fmla="*/ 15 w 661"/>
                <a:gd name="T27" fmla="*/ 311 h 543"/>
                <a:gd name="T28" fmla="*/ 0 w 661"/>
                <a:gd name="T29" fmla="*/ 338 h 543"/>
                <a:gd name="T30" fmla="*/ 28 w 661"/>
                <a:gd name="T31" fmla="*/ 341 h 543"/>
                <a:gd name="T32" fmla="*/ 51 w 661"/>
                <a:gd name="T33" fmla="*/ 364 h 543"/>
                <a:gd name="T34" fmla="*/ 59 w 661"/>
                <a:gd name="T35" fmla="*/ 383 h 543"/>
                <a:gd name="T36" fmla="*/ 80 w 661"/>
                <a:gd name="T37" fmla="*/ 394 h 543"/>
                <a:gd name="T38" fmla="*/ 106 w 661"/>
                <a:gd name="T39" fmla="*/ 445 h 543"/>
                <a:gd name="T40" fmla="*/ 130 w 661"/>
                <a:gd name="T41" fmla="*/ 453 h 543"/>
                <a:gd name="T42" fmla="*/ 130 w 661"/>
                <a:gd name="T43" fmla="*/ 479 h 543"/>
                <a:gd name="T44" fmla="*/ 146 w 661"/>
                <a:gd name="T45" fmla="*/ 495 h 543"/>
                <a:gd name="T46" fmla="*/ 177 w 661"/>
                <a:gd name="T47" fmla="*/ 495 h 543"/>
                <a:gd name="T48" fmla="*/ 234 w 661"/>
                <a:gd name="T49" fmla="*/ 534 h 543"/>
                <a:gd name="T50" fmla="*/ 248 w 661"/>
                <a:gd name="T51" fmla="*/ 535 h 543"/>
                <a:gd name="T52" fmla="*/ 259 w 661"/>
                <a:gd name="T53" fmla="*/ 534 h 543"/>
                <a:gd name="T54" fmla="*/ 268 w 661"/>
                <a:gd name="T55" fmla="*/ 540 h 543"/>
                <a:gd name="T56" fmla="*/ 298 w 661"/>
                <a:gd name="T57" fmla="*/ 543 h 543"/>
                <a:gd name="T58" fmla="*/ 311 w 661"/>
                <a:gd name="T59" fmla="*/ 523 h 543"/>
                <a:gd name="T60" fmla="*/ 352 w 661"/>
                <a:gd name="T61" fmla="*/ 504 h 543"/>
                <a:gd name="T62" fmla="*/ 369 w 661"/>
                <a:gd name="T63" fmla="*/ 519 h 543"/>
                <a:gd name="T64" fmla="*/ 400 w 661"/>
                <a:gd name="T65" fmla="*/ 519 h 543"/>
                <a:gd name="T66" fmla="*/ 412 w 661"/>
                <a:gd name="T67" fmla="*/ 505 h 543"/>
                <a:gd name="T68" fmla="*/ 441 w 661"/>
                <a:gd name="T69" fmla="*/ 504 h 543"/>
                <a:gd name="T70" fmla="*/ 480 w 661"/>
                <a:gd name="T71" fmla="*/ 471 h 543"/>
                <a:gd name="T72" fmla="*/ 538 w 661"/>
                <a:gd name="T73" fmla="*/ 468 h 543"/>
                <a:gd name="T74" fmla="*/ 661 w 661"/>
                <a:gd name="T75" fmla="*/ 327 h 543"/>
                <a:gd name="T76" fmla="*/ 622 w 661"/>
                <a:gd name="T77" fmla="*/ 328 h 543"/>
                <a:gd name="T78" fmla="*/ 475 w 661"/>
                <a:gd name="T79" fmla="*/ 272 h 543"/>
                <a:gd name="T80" fmla="*/ 458 w 661"/>
                <a:gd name="T81" fmla="*/ 255 h 543"/>
                <a:gd name="T82" fmla="*/ 442 w 661"/>
                <a:gd name="T83" fmla="*/ 233 h 543"/>
                <a:gd name="T84" fmla="*/ 423 w 661"/>
                <a:gd name="T85" fmla="*/ 207 h 543"/>
                <a:gd name="T86" fmla="*/ 432 w 661"/>
                <a:gd name="T87" fmla="*/ 190 h 543"/>
                <a:gd name="T88" fmla="*/ 422 w 661"/>
                <a:gd name="T89" fmla="*/ 182 h 543"/>
                <a:gd name="T90" fmla="*/ 412 w 661"/>
                <a:gd name="T91" fmla="*/ 185 h 543"/>
                <a:gd name="T92" fmla="*/ 387 w 661"/>
                <a:gd name="T93" fmla="*/ 185 h 543"/>
                <a:gd name="T94" fmla="*/ 386 w 661"/>
                <a:gd name="T95" fmla="*/ 170 h 543"/>
                <a:gd name="T96" fmla="*/ 382 w 661"/>
                <a:gd name="T97" fmla="*/ 158 h 543"/>
                <a:gd name="T98" fmla="*/ 396 w 661"/>
                <a:gd name="T99" fmla="*/ 135 h 543"/>
                <a:gd name="T100" fmla="*/ 410 w 661"/>
                <a:gd name="T101" fmla="*/ 114 h 543"/>
                <a:gd name="T102" fmla="*/ 395 w 661"/>
                <a:gd name="T103" fmla="*/ 99 h 543"/>
                <a:gd name="T104" fmla="*/ 376 w 661"/>
                <a:gd name="T105" fmla="*/ 72 h 543"/>
                <a:gd name="T106" fmla="*/ 356 w 661"/>
                <a:gd name="T107" fmla="*/ 57 h 543"/>
                <a:gd name="T108" fmla="*/ 343 w 661"/>
                <a:gd name="T109" fmla="*/ 40 h 543"/>
                <a:gd name="T110" fmla="*/ 304 w 661"/>
                <a:gd name="T111" fmla="*/ 22 h 543"/>
                <a:gd name="T112" fmla="*/ 273 w 661"/>
                <a:gd name="T113" fmla="*/ 21 h 543"/>
                <a:gd name="T114" fmla="*/ 263 w 661"/>
                <a:gd name="T115" fmla="*/ 12 h 543"/>
                <a:gd name="T116" fmla="*/ 237 w 661"/>
                <a:gd name="T117" fmla="*/ 22 h 543"/>
                <a:gd name="T118" fmla="*/ 209 w 661"/>
                <a:gd name="T119" fmla="*/ 0 h 543"/>
                <a:gd name="T120" fmla="*/ 209 w 661"/>
                <a:gd name="T1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1" h="543">
                  <a:moveTo>
                    <a:pt x="209" y="0"/>
                  </a:moveTo>
                  <a:lnTo>
                    <a:pt x="197" y="36"/>
                  </a:lnTo>
                  <a:lnTo>
                    <a:pt x="145" y="26"/>
                  </a:lnTo>
                  <a:lnTo>
                    <a:pt x="139" y="67"/>
                  </a:lnTo>
                  <a:lnTo>
                    <a:pt x="123" y="113"/>
                  </a:lnTo>
                  <a:lnTo>
                    <a:pt x="97" y="135"/>
                  </a:lnTo>
                  <a:lnTo>
                    <a:pt x="80" y="172"/>
                  </a:lnTo>
                  <a:lnTo>
                    <a:pt x="75" y="192"/>
                  </a:lnTo>
                  <a:lnTo>
                    <a:pt x="55" y="204"/>
                  </a:lnTo>
                  <a:lnTo>
                    <a:pt x="43" y="253"/>
                  </a:lnTo>
                  <a:lnTo>
                    <a:pt x="43" y="259"/>
                  </a:lnTo>
                  <a:lnTo>
                    <a:pt x="45" y="296"/>
                  </a:lnTo>
                  <a:lnTo>
                    <a:pt x="38" y="310"/>
                  </a:lnTo>
                  <a:lnTo>
                    <a:pt x="15" y="311"/>
                  </a:lnTo>
                  <a:lnTo>
                    <a:pt x="0" y="338"/>
                  </a:lnTo>
                  <a:lnTo>
                    <a:pt x="28" y="341"/>
                  </a:lnTo>
                  <a:lnTo>
                    <a:pt x="51" y="364"/>
                  </a:lnTo>
                  <a:lnTo>
                    <a:pt x="59" y="383"/>
                  </a:lnTo>
                  <a:lnTo>
                    <a:pt x="80" y="394"/>
                  </a:lnTo>
                  <a:lnTo>
                    <a:pt x="106" y="445"/>
                  </a:lnTo>
                  <a:lnTo>
                    <a:pt x="130" y="453"/>
                  </a:lnTo>
                  <a:lnTo>
                    <a:pt x="130" y="479"/>
                  </a:lnTo>
                  <a:lnTo>
                    <a:pt x="146" y="495"/>
                  </a:lnTo>
                  <a:lnTo>
                    <a:pt x="177" y="495"/>
                  </a:lnTo>
                  <a:lnTo>
                    <a:pt x="234" y="534"/>
                  </a:lnTo>
                  <a:lnTo>
                    <a:pt x="248" y="535"/>
                  </a:lnTo>
                  <a:lnTo>
                    <a:pt x="259" y="534"/>
                  </a:lnTo>
                  <a:lnTo>
                    <a:pt x="268" y="540"/>
                  </a:lnTo>
                  <a:lnTo>
                    <a:pt x="298" y="543"/>
                  </a:lnTo>
                  <a:lnTo>
                    <a:pt x="311" y="523"/>
                  </a:lnTo>
                  <a:lnTo>
                    <a:pt x="352" y="504"/>
                  </a:lnTo>
                  <a:lnTo>
                    <a:pt x="369" y="519"/>
                  </a:lnTo>
                  <a:lnTo>
                    <a:pt x="400" y="519"/>
                  </a:lnTo>
                  <a:lnTo>
                    <a:pt x="412" y="505"/>
                  </a:lnTo>
                  <a:lnTo>
                    <a:pt x="441" y="504"/>
                  </a:lnTo>
                  <a:lnTo>
                    <a:pt x="480" y="471"/>
                  </a:lnTo>
                  <a:lnTo>
                    <a:pt x="538" y="468"/>
                  </a:lnTo>
                  <a:lnTo>
                    <a:pt x="661" y="327"/>
                  </a:lnTo>
                  <a:lnTo>
                    <a:pt x="622" y="328"/>
                  </a:lnTo>
                  <a:lnTo>
                    <a:pt x="475" y="272"/>
                  </a:lnTo>
                  <a:lnTo>
                    <a:pt x="458" y="255"/>
                  </a:lnTo>
                  <a:lnTo>
                    <a:pt x="442" y="233"/>
                  </a:lnTo>
                  <a:lnTo>
                    <a:pt x="423" y="207"/>
                  </a:lnTo>
                  <a:lnTo>
                    <a:pt x="432" y="190"/>
                  </a:lnTo>
                  <a:lnTo>
                    <a:pt x="422" y="182"/>
                  </a:lnTo>
                  <a:lnTo>
                    <a:pt x="412" y="185"/>
                  </a:lnTo>
                  <a:lnTo>
                    <a:pt x="387" y="185"/>
                  </a:lnTo>
                  <a:lnTo>
                    <a:pt x="386" y="170"/>
                  </a:lnTo>
                  <a:lnTo>
                    <a:pt x="382" y="158"/>
                  </a:lnTo>
                  <a:lnTo>
                    <a:pt x="396" y="135"/>
                  </a:lnTo>
                  <a:lnTo>
                    <a:pt x="410" y="114"/>
                  </a:lnTo>
                  <a:lnTo>
                    <a:pt x="395" y="99"/>
                  </a:lnTo>
                  <a:lnTo>
                    <a:pt x="376" y="72"/>
                  </a:lnTo>
                  <a:lnTo>
                    <a:pt x="356" y="57"/>
                  </a:lnTo>
                  <a:lnTo>
                    <a:pt x="343" y="40"/>
                  </a:lnTo>
                  <a:lnTo>
                    <a:pt x="304" y="22"/>
                  </a:lnTo>
                  <a:lnTo>
                    <a:pt x="273" y="21"/>
                  </a:lnTo>
                  <a:lnTo>
                    <a:pt x="263" y="12"/>
                  </a:lnTo>
                  <a:lnTo>
                    <a:pt x="237" y="22"/>
                  </a:lnTo>
                  <a:lnTo>
                    <a:pt x="209" y="0"/>
                  </a:lnTo>
                  <a:lnTo>
                    <a:pt x="209"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6" name="Gabon">
              <a:extLst>
                <a:ext uri="{FF2B5EF4-FFF2-40B4-BE49-F238E27FC236}">
                  <a16:creationId xmlns:a16="http://schemas.microsoft.com/office/drawing/2014/main" id="{E4149308-2D18-7CC4-A127-F4B665C093F0}"/>
                </a:ext>
              </a:extLst>
            </p:cNvPr>
            <p:cNvSpPr>
              <a:spLocks/>
            </p:cNvSpPr>
            <p:nvPr/>
          </p:nvSpPr>
          <p:spPr bwMode="auto">
            <a:xfrm>
              <a:off x="6714429" y="3390237"/>
              <a:ext cx="400050" cy="471488"/>
            </a:xfrm>
            <a:custGeom>
              <a:avLst/>
              <a:gdLst>
                <a:gd name="T0" fmla="*/ 191 w 252"/>
                <a:gd name="T1" fmla="*/ 3 h 297"/>
                <a:gd name="T2" fmla="*/ 186 w 252"/>
                <a:gd name="T3" fmla="*/ 1 h 297"/>
                <a:gd name="T4" fmla="*/ 158 w 252"/>
                <a:gd name="T5" fmla="*/ 7 h 297"/>
                <a:gd name="T6" fmla="*/ 132 w 252"/>
                <a:gd name="T7" fmla="*/ 0 h 297"/>
                <a:gd name="T8" fmla="*/ 111 w 252"/>
                <a:gd name="T9" fmla="*/ 3 h 297"/>
                <a:gd name="T10" fmla="*/ 111 w 252"/>
                <a:gd name="T11" fmla="*/ 60 h 297"/>
                <a:gd name="T12" fmla="*/ 46 w 252"/>
                <a:gd name="T13" fmla="*/ 59 h 297"/>
                <a:gd name="T14" fmla="*/ 31 w 252"/>
                <a:gd name="T15" fmla="*/ 62 h 297"/>
                <a:gd name="T16" fmla="*/ 22 w 252"/>
                <a:gd name="T17" fmla="*/ 97 h 297"/>
                <a:gd name="T18" fmla="*/ 11 w 252"/>
                <a:gd name="T19" fmla="*/ 132 h 297"/>
                <a:gd name="T20" fmla="*/ 1 w 252"/>
                <a:gd name="T21" fmla="*/ 146 h 297"/>
                <a:gd name="T22" fmla="*/ 0 w 252"/>
                <a:gd name="T23" fmla="*/ 162 h 297"/>
                <a:gd name="T24" fmla="*/ 27 w 252"/>
                <a:gd name="T25" fmla="*/ 210 h 297"/>
                <a:gd name="T26" fmla="*/ 56 w 252"/>
                <a:gd name="T27" fmla="*/ 250 h 297"/>
                <a:gd name="T28" fmla="*/ 102 w 252"/>
                <a:gd name="T29" fmla="*/ 297 h 297"/>
                <a:gd name="T30" fmla="*/ 137 w 252"/>
                <a:gd name="T31" fmla="*/ 271 h 297"/>
                <a:gd name="T32" fmla="*/ 119 w 252"/>
                <a:gd name="T33" fmla="*/ 239 h 297"/>
                <a:gd name="T34" fmla="*/ 135 w 252"/>
                <a:gd name="T35" fmla="*/ 227 h 297"/>
                <a:gd name="T36" fmla="*/ 165 w 252"/>
                <a:gd name="T37" fmla="*/ 222 h 297"/>
                <a:gd name="T38" fmla="*/ 168 w 252"/>
                <a:gd name="T39" fmla="*/ 201 h 297"/>
                <a:gd name="T40" fmla="*/ 192 w 252"/>
                <a:gd name="T41" fmla="*/ 224 h 297"/>
                <a:gd name="T42" fmla="*/ 231 w 252"/>
                <a:gd name="T43" fmla="*/ 226 h 297"/>
                <a:gd name="T44" fmla="*/ 245 w 252"/>
                <a:gd name="T45" fmla="*/ 204 h 297"/>
                <a:gd name="T46" fmla="*/ 252 w 252"/>
                <a:gd name="T47" fmla="*/ 172 h 297"/>
                <a:gd name="T48" fmla="*/ 246 w 252"/>
                <a:gd name="T49" fmla="*/ 136 h 297"/>
                <a:gd name="T50" fmla="*/ 225 w 252"/>
                <a:gd name="T51" fmla="*/ 108 h 297"/>
                <a:gd name="T52" fmla="*/ 244 w 252"/>
                <a:gd name="T53" fmla="*/ 53 h 297"/>
                <a:gd name="T54" fmla="*/ 233 w 252"/>
                <a:gd name="T55" fmla="*/ 44 h 297"/>
                <a:gd name="T56" fmla="*/ 200 w 252"/>
                <a:gd name="T57" fmla="*/ 47 h 297"/>
                <a:gd name="T58" fmla="*/ 188 w 252"/>
                <a:gd name="T59" fmla="*/ 24 h 297"/>
                <a:gd name="T60" fmla="*/ 191 w 252"/>
                <a:gd name="T61" fmla="*/ 3 h 297"/>
                <a:gd name="T62" fmla="*/ 191 w 252"/>
                <a:gd name="T6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97">
                  <a:moveTo>
                    <a:pt x="191" y="3"/>
                  </a:moveTo>
                  <a:lnTo>
                    <a:pt x="186" y="1"/>
                  </a:lnTo>
                  <a:lnTo>
                    <a:pt x="158" y="7"/>
                  </a:lnTo>
                  <a:lnTo>
                    <a:pt x="132" y="0"/>
                  </a:lnTo>
                  <a:lnTo>
                    <a:pt x="111" y="3"/>
                  </a:lnTo>
                  <a:lnTo>
                    <a:pt x="111" y="60"/>
                  </a:lnTo>
                  <a:lnTo>
                    <a:pt x="46" y="59"/>
                  </a:lnTo>
                  <a:lnTo>
                    <a:pt x="31" y="62"/>
                  </a:lnTo>
                  <a:lnTo>
                    <a:pt x="22" y="97"/>
                  </a:lnTo>
                  <a:lnTo>
                    <a:pt x="11" y="132"/>
                  </a:lnTo>
                  <a:lnTo>
                    <a:pt x="1" y="146"/>
                  </a:lnTo>
                  <a:lnTo>
                    <a:pt x="0" y="162"/>
                  </a:lnTo>
                  <a:lnTo>
                    <a:pt x="27" y="210"/>
                  </a:lnTo>
                  <a:lnTo>
                    <a:pt x="56" y="250"/>
                  </a:lnTo>
                  <a:lnTo>
                    <a:pt x="102" y="297"/>
                  </a:lnTo>
                  <a:lnTo>
                    <a:pt x="137" y="271"/>
                  </a:lnTo>
                  <a:lnTo>
                    <a:pt x="119" y="239"/>
                  </a:lnTo>
                  <a:lnTo>
                    <a:pt x="135" y="227"/>
                  </a:lnTo>
                  <a:lnTo>
                    <a:pt x="165" y="222"/>
                  </a:lnTo>
                  <a:lnTo>
                    <a:pt x="168" y="201"/>
                  </a:lnTo>
                  <a:lnTo>
                    <a:pt x="192" y="224"/>
                  </a:lnTo>
                  <a:lnTo>
                    <a:pt x="231" y="226"/>
                  </a:lnTo>
                  <a:lnTo>
                    <a:pt x="245" y="204"/>
                  </a:lnTo>
                  <a:lnTo>
                    <a:pt x="252" y="172"/>
                  </a:lnTo>
                  <a:lnTo>
                    <a:pt x="246" y="136"/>
                  </a:lnTo>
                  <a:lnTo>
                    <a:pt x="225" y="108"/>
                  </a:lnTo>
                  <a:lnTo>
                    <a:pt x="244" y="53"/>
                  </a:lnTo>
                  <a:lnTo>
                    <a:pt x="233" y="44"/>
                  </a:lnTo>
                  <a:lnTo>
                    <a:pt x="200" y="47"/>
                  </a:lnTo>
                  <a:lnTo>
                    <a:pt x="188" y="24"/>
                  </a:lnTo>
                  <a:lnTo>
                    <a:pt x="191" y="3"/>
                  </a:lnTo>
                  <a:lnTo>
                    <a:pt x="191"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8" name="Ghana">
              <a:extLst>
                <a:ext uri="{FF2B5EF4-FFF2-40B4-BE49-F238E27FC236}">
                  <a16:creationId xmlns:a16="http://schemas.microsoft.com/office/drawing/2014/main" id="{D7EB8632-380C-B281-40D8-B854F593D9E6}"/>
                </a:ext>
              </a:extLst>
            </p:cNvPr>
            <p:cNvSpPr>
              <a:spLocks/>
            </p:cNvSpPr>
            <p:nvPr/>
          </p:nvSpPr>
          <p:spPr bwMode="auto">
            <a:xfrm>
              <a:off x="5861941" y="2736187"/>
              <a:ext cx="303213" cy="476250"/>
            </a:xfrm>
            <a:custGeom>
              <a:avLst/>
              <a:gdLst>
                <a:gd name="T0" fmla="*/ 146 w 191"/>
                <a:gd name="T1" fmla="*/ 4 h 300"/>
                <a:gd name="T2" fmla="*/ 125 w 191"/>
                <a:gd name="T3" fmla="*/ 0 h 300"/>
                <a:gd name="T4" fmla="*/ 111 w 191"/>
                <a:gd name="T5" fmla="*/ 8 h 300"/>
                <a:gd name="T6" fmla="*/ 91 w 191"/>
                <a:gd name="T7" fmla="*/ 4 h 300"/>
                <a:gd name="T8" fmla="*/ 14 w 191"/>
                <a:gd name="T9" fmla="*/ 6 h 300"/>
                <a:gd name="T10" fmla="*/ 12 w 191"/>
                <a:gd name="T11" fmla="*/ 33 h 300"/>
                <a:gd name="T12" fmla="*/ 19 w 191"/>
                <a:gd name="T13" fmla="*/ 69 h 300"/>
                <a:gd name="T14" fmla="*/ 31 w 191"/>
                <a:gd name="T15" fmla="*/ 135 h 300"/>
                <a:gd name="T16" fmla="*/ 11 w 191"/>
                <a:gd name="T17" fmla="*/ 175 h 300"/>
                <a:gd name="T18" fmla="*/ 0 w 191"/>
                <a:gd name="T19" fmla="*/ 228 h 300"/>
                <a:gd name="T20" fmla="*/ 19 w 191"/>
                <a:gd name="T21" fmla="*/ 268 h 300"/>
                <a:gd name="T22" fmla="*/ 17 w 191"/>
                <a:gd name="T23" fmla="*/ 287 h 300"/>
                <a:gd name="T24" fmla="*/ 57 w 191"/>
                <a:gd name="T25" fmla="*/ 300 h 300"/>
                <a:gd name="T26" fmla="*/ 97 w 191"/>
                <a:gd name="T27" fmla="*/ 286 h 300"/>
                <a:gd name="T28" fmla="*/ 122 w 191"/>
                <a:gd name="T29" fmla="*/ 271 h 300"/>
                <a:gd name="T30" fmla="*/ 191 w 191"/>
                <a:gd name="T31" fmla="*/ 243 h 300"/>
                <a:gd name="T32" fmla="*/ 181 w 191"/>
                <a:gd name="T33" fmla="*/ 227 h 300"/>
                <a:gd name="T34" fmla="*/ 169 w 191"/>
                <a:gd name="T35" fmla="*/ 196 h 300"/>
                <a:gd name="T36" fmla="*/ 166 w 191"/>
                <a:gd name="T37" fmla="*/ 173 h 300"/>
                <a:gd name="T38" fmla="*/ 176 w 191"/>
                <a:gd name="T39" fmla="*/ 131 h 300"/>
                <a:gd name="T40" fmla="*/ 165 w 191"/>
                <a:gd name="T41" fmla="*/ 114 h 300"/>
                <a:gd name="T42" fmla="*/ 160 w 191"/>
                <a:gd name="T43" fmla="*/ 77 h 300"/>
                <a:gd name="T44" fmla="*/ 160 w 191"/>
                <a:gd name="T45" fmla="*/ 43 h 300"/>
                <a:gd name="T46" fmla="*/ 142 w 191"/>
                <a:gd name="T47" fmla="*/ 19 h 300"/>
                <a:gd name="T48" fmla="*/ 146 w 191"/>
                <a:gd name="T49" fmla="*/ 4 h 300"/>
                <a:gd name="T50" fmla="*/ 146 w 191"/>
                <a:gd name="T5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00">
                  <a:moveTo>
                    <a:pt x="146" y="4"/>
                  </a:moveTo>
                  <a:lnTo>
                    <a:pt x="125" y="0"/>
                  </a:lnTo>
                  <a:lnTo>
                    <a:pt x="111" y="8"/>
                  </a:lnTo>
                  <a:lnTo>
                    <a:pt x="91" y="4"/>
                  </a:lnTo>
                  <a:lnTo>
                    <a:pt x="14" y="6"/>
                  </a:lnTo>
                  <a:lnTo>
                    <a:pt x="12" y="33"/>
                  </a:lnTo>
                  <a:lnTo>
                    <a:pt x="19" y="69"/>
                  </a:lnTo>
                  <a:lnTo>
                    <a:pt x="31" y="135"/>
                  </a:lnTo>
                  <a:lnTo>
                    <a:pt x="11" y="175"/>
                  </a:lnTo>
                  <a:lnTo>
                    <a:pt x="0" y="228"/>
                  </a:lnTo>
                  <a:lnTo>
                    <a:pt x="19" y="268"/>
                  </a:lnTo>
                  <a:lnTo>
                    <a:pt x="17" y="287"/>
                  </a:lnTo>
                  <a:lnTo>
                    <a:pt x="57" y="300"/>
                  </a:lnTo>
                  <a:lnTo>
                    <a:pt x="97" y="286"/>
                  </a:lnTo>
                  <a:lnTo>
                    <a:pt x="122" y="271"/>
                  </a:lnTo>
                  <a:lnTo>
                    <a:pt x="191" y="243"/>
                  </a:lnTo>
                  <a:lnTo>
                    <a:pt x="181" y="227"/>
                  </a:lnTo>
                  <a:lnTo>
                    <a:pt x="169" y="196"/>
                  </a:lnTo>
                  <a:lnTo>
                    <a:pt x="166" y="173"/>
                  </a:lnTo>
                  <a:lnTo>
                    <a:pt x="176" y="131"/>
                  </a:lnTo>
                  <a:lnTo>
                    <a:pt x="165" y="114"/>
                  </a:lnTo>
                  <a:lnTo>
                    <a:pt x="160" y="77"/>
                  </a:lnTo>
                  <a:lnTo>
                    <a:pt x="160" y="43"/>
                  </a:lnTo>
                  <a:lnTo>
                    <a:pt x="142" y="19"/>
                  </a:lnTo>
                  <a:lnTo>
                    <a:pt x="146" y="4"/>
                  </a:lnTo>
                  <a:lnTo>
                    <a:pt x="146" y="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9" name="Guinea">
              <a:extLst>
                <a:ext uri="{FF2B5EF4-FFF2-40B4-BE49-F238E27FC236}">
                  <a16:creationId xmlns:a16="http://schemas.microsoft.com/office/drawing/2014/main" id="{E602F6B7-58B5-F78F-C07A-589F1A18994E}"/>
                </a:ext>
              </a:extLst>
            </p:cNvPr>
            <p:cNvSpPr>
              <a:spLocks/>
            </p:cNvSpPr>
            <p:nvPr/>
          </p:nvSpPr>
          <p:spPr bwMode="auto">
            <a:xfrm>
              <a:off x="5025329" y="2626650"/>
              <a:ext cx="512763" cy="392113"/>
            </a:xfrm>
            <a:custGeom>
              <a:avLst/>
              <a:gdLst>
                <a:gd name="T0" fmla="*/ 154 w 323"/>
                <a:gd name="T1" fmla="*/ 9 h 247"/>
                <a:gd name="T2" fmla="*/ 127 w 323"/>
                <a:gd name="T3" fmla="*/ 11 h 247"/>
                <a:gd name="T4" fmla="*/ 85 w 323"/>
                <a:gd name="T5" fmla="*/ 0 h 247"/>
                <a:gd name="T6" fmla="*/ 63 w 323"/>
                <a:gd name="T7" fmla="*/ 16 h 247"/>
                <a:gd name="T8" fmla="*/ 62 w 323"/>
                <a:gd name="T9" fmla="*/ 36 h 247"/>
                <a:gd name="T10" fmla="*/ 44 w 323"/>
                <a:gd name="T11" fmla="*/ 42 h 247"/>
                <a:gd name="T12" fmla="*/ 20 w 323"/>
                <a:gd name="T13" fmla="*/ 49 h 247"/>
                <a:gd name="T14" fmla="*/ 12 w 323"/>
                <a:gd name="T15" fmla="*/ 79 h 247"/>
                <a:gd name="T16" fmla="*/ 23 w 323"/>
                <a:gd name="T17" fmla="*/ 111 h 247"/>
                <a:gd name="T18" fmla="*/ 46 w 323"/>
                <a:gd name="T19" fmla="*/ 126 h 247"/>
                <a:gd name="T20" fmla="*/ 83 w 323"/>
                <a:gd name="T21" fmla="*/ 172 h 247"/>
                <a:gd name="T22" fmla="*/ 112 w 323"/>
                <a:gd name="T23" fmla="*/ 139 h 247"/>
                <a:gd name="T24" fmla="*/ 131 w 323"/>
                <a:gd name="T25" fmla="*/ 128 h 247"/>
                <a:gd name="T26" fmla="*/ 178 w 323"/>
                <a:gd name="T27" fmla="*/ 118 h 247"/>
                <a:gd name="T28" fmla="*/ 199 w 323"/>
                <a:gd name="T29" fmla="*/ 155 h 247"/>
                <a:gd name="T30" fmla="*/ 204 w 323"/>
                <a:gd name="T31" fmla="*/ 181 h 247"/>
                <a:gd name="T32" fmla="*/ 216 w 323"/>
                <a:gd name="T33" fmla="*/ 196 h 247"/>
                <a:gd name="T34" fmla="*/ 237 w 323"/>
                <a:gd name="T35" fmla="*/ 189 h 247"/>
                <a:gd name="T36" fmla="*/ 253 w 323"/>
                <a:gd name="T37" fmla="*/ 237 h 247"/>
                <a:gd name="T38" fmla="*/ 274 w 323"/>
                <a:gd name="T39" fmla="*/ 247 h 247"/>
                <a:gd name="T40" fmla="*/ 295 w 323"/>
                <a:gd name="T41" fmla="*/ 230 h 247"/>
                <a:gd name="T42" fmla="*/ 306 w 323"/>
                <a:gd name="T43" fmla="*/ 209 h 247"/>
                <a:gd name="T44" fmla="*/ 306 w 323"/>
                <a:gd name="T45" fmla="*/ 193 h 247"/>
                <a:gd name="T46" fmla="*/ 312 w 323"/>
                <a:gd name="T47" fmla="*/ 150 h 247"/>
                <a:gd name="T48" fmla="*/ 306 w 323"/>
                <a:gd name="T49" fmla="*/ 115 h 247"/>
                <a:gd name="T50" fmla="*/ 301 w 323"/>
                <a:gd name="T51" fmla="*/ 97 h 247"/>
                <a:gd name="T52" fmla="*/ 298 w 323"/>
                <a:gd name="T53" fmla="*/ 79 h 247"/>
                <a:gd name="T54" fmla="*/ 291 w 323"/>
                <a:gd name="T55" fmla="*/ 67 h 247"/>
                <a:gd name="T56" fmla="*/ 282 w 323"/>
                <a:gd name="T57" fmla="*/ 36 h 247"/>
                <a:gd name="T58" fmla="*/ 266 w 323"/>
                <a:gd name="T59" fmla="*/ 12 h 247"/>
                <a:gd name="T60" fmla="*/ 247 w 323"/>
                <a:gd name="T61" fmla="*/ 17 h 247"/>
                <a:gd name="T62" fmla="*/ 221 w 323"/>
                <a:gd name="T63" fmla="*/ 34 h 247"/>
                <a:gd name="T64" fmla="*/ 190 w 323"/>
                <a:gd name="T65" fmla="*/ 18 h 247"/>
                <a:gd name="T66" fmla="*/ 170 w 323"/>
                <a:gd name="T67" fmla="*/ 23 h 247"/>
                <a:gd name="T68" fmla="*/ 161 w 323"/>
                <a:gd name="T69"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47">
                  <a:moveTo>
                    <a:pt x="161" y="6"/>
                  </a:moveTo>
                  <a:lnTo>
                    <a:pt x="154" y="9"/>
                  </a:lnTo>
                  <a:lnTo>
                    <a:pt x="130" y="5"/>
                  </a:lnTo>
                  <a:lnTo>
                    <a:pt x="127" y="11"/>
                  </a:lnTo>
                  <a:lnTo>
                    <a:pt x="117" y="11"/>
                  </a:lnTo>
                  <a:lnTo>
                    <a:pt x="85" y="0"/>
                  </a:lnTo>
                  <a:lnTo>
                    <a:pt x="64" y="0"/>
                  </a:lnTo>
                  <a:lnTo>
                    <a:pt x="63" y="16"/>
                  </a:lnTo>
                  <a:lnTo>
                    <a:pt x="58" y="20"/>
                  </a:lnTo>
                  <a:lnTo>
                    <a:pt x="62" y="36"/>
                  </a:lnTo>
                  <a:lnTo>
                    <a:pt x="54" y="42"/>
                  </a:lnTo>
                  <a:lnTo>
                    <a:pt x="44" y="42"/>
                  </a:lnTo>
                  <a:lnTo>
                    <a:pt x="33" y="50"/>
                  </a:lnTo>
                  <a:lnTo>
                    <a:pt x="20" y="49"/>
                  </a:lnTo>
                  <a:lnTo>
                    <a:pt x="0" y="72"/>
                  </a:lnTo>
                  <a:lnTo>
                    <a:pt x="12" y="79"/>
                  </a:lnTo>
                  <a:lnTo>
                    <a:pt x="19" y="90"/>
                  </a:lnTo>
                  <a:lnTo>
                    <a:pt x="23" y="111"/>
                  </a:lnTo>
                  <a:lnTo>
                    <a:pt x="34" y="120"/>
                  </a:lnTo>
                  <a:lnTo>
                    <a:pt x="46" y="126"/>
                  </a:lnTo>
                  <a:lnTo>
                    <a:pt x="63" y="145"/>
                  </a:lnTo>
                  <a:lnTo>
                    <a:pt x="83" y="172"/>
                  </a:lnTo>
                  <a:lnTo>
                    <a:pt x="106" y="152"/>
                  </a:lnTo>
                  <a:lnTo>
                    <a:pt x="112" y="139"/>
                  </a:lnTo>
                  <a:lnTo>
                    <a:pt x="119" y="129"/>
                  </a:lnTo>
                  <a:lnTo>
                    <a:pt x="131" y="128"/>
                  </a:lnTo>
                  <a:lnTo>
                    <a:pt x="142" y="118"/>
                  </a:lnTo>
                  <a:lnTo>
                    <a:pt x="178" y="118"/>
                  </a:lnTo>
                  <a:lnTo>
                    <a:pt x="190" y="135"/>
                  </a:lnTo>
                  <a:lnTo>
                    <a:pt x="199" y="155"/>
                  </a:lnTo>
                  <a:lnTo>
                    <a:pt x="198" y="168"/>
                  </a:lnTo>
                  <a:lnTo>
                    <a:pt x="204" y="181"/>
                  </a:lnTo>
                  <a:lnTo>
                    <a:pt x="204" y="198"/>
                  </a:lnTo>
                  <a:lnTo>
                    <a:pt x="216" y="196"/>
                  </a:lnTo>
                  <a:lnTo>
                    <a:pt x="225" y="195"/>
                  </a:lnTo>
                  <a:lnTo>
                    <a:pt x="237" y="189"/>
                  </a:lnTo>
                  <a:lnTo>
                    <a:pt x="256" y="218"/>
                  </a:lnTo>
                  <a:lnTo>
                    <a:pt x="253" y="237"/>
                  </a:lnTo>
                  <a:lnTo>
                    <a:pt x="262" y="247"/>
                  </a:lnTo>
                  <a:lnTo>
                    <a:pt x="274" y="247"/>
                  </a:lnTo>
                  <a:lnTo>
                    <a:pt x="284" y="228"/>
                  </a:lnTo>
                  <a:lnTo>
                    <a:pt x="295" y="230"/>
                  </a:lnTo>
                  <a:lnTo>
                    <a:pt x="303" y="230"/>
                  </a:lnTo>
                  <a:lnTo>
                    <a:pt x="306" y="209"/>
                  </a:lnTo>
                  <a:lnTo>
                    <a:pt x="302" y="200"/>
                  </a:lnTo>
                  <a:lnTo>
                    <a:pt x="306" y="193"/>
                  </a:lnTo>
                  <a:lnTo>
                    <a:pt x="323" y="188"/>
                  </a:lnTo>
                  <a:lnTo>
                    <a:pt x="312" y="150"/>
                  </a:lnTo>
                  <a:lnTo>
                    <a:pt x="302" y="131"/>
                  </a:lnTo>
                  <a:lnTo>
                    <a:pt x="306" y="115"/>
                  </a:lnTo>
                  <a:lnTo>
                    <a:pt x="315" y="111"/>
                  </a:lnTo>
                  <a:lnTo>
                    <a:pt x="301" y="97"/>
                  </a:lnTo>
                  <a:lnTo>
                    <a:pt x="304" y="84"/>
                  </a:lnTo>
                  <a:lnTo>
                    <a:pt x="298" y="79"/>
                  </a:lnTo>
                  <a:lnTo>
                    <a:pt x="288" y="83"/>
                  </a:lnTo>
                  <a:lnTo>
                    <a:pt x="291" y="67"/>
                  </a:lnTo>
                  <a:lnTo>
                    <a:pt x="300" y="56"/>
                  </a:lnTo>
                  <a:lnTo>
                    <a:pt x="282" y="36"/>
                  </a:lnTo>
                  <a:lnTo>
                    <a:pt x="276" y="22"/>
                  </a:lnTo>
                  <a:lnTo>
                    <a:pt x="266" y="12"/>
                  </a:lnTo>
                  <a:lnTo>
                    <a:pt x="258" y="11"/>
                  </a:lnTo>
                  <a:lnTo>
                    <a:pt x="247" y="17"/>
                  </a:lnTo>
                  <a:lnTo>
                    <a:pt x="232" y="24"/>
                  </a:lnTo>
                  <a:lnTo>
                    <a:pt x="221" y="34"/>
                  </a:lnTo>
                  <a:lnTo>
                    <a:pt x="201" y="30"/>
                  </a:lnTo>
                  <a:lnTo>
                    <a:pt x="190" y="18"/>
                  </a:lnTo>
                  <a:lnTo>
                    <a:pt x="182" y="17"/>
                  </a:lnTo>
                  <a:lnTo>
                    <a:pt x="170" y="23"/>
                  </a:lnTo>
                  <a:lnTo>
                    <a:pt x="163" y="23"/>
                  </a:lnTo>
                  <a:lnTo>
                    <a:pt x="161" y="6"/>
                  </a:lnTo>
                  <a:lnTo>
                    <a:pt x="161" y="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0" name="Gambia">
              <a:extLst>
                <a:ext uri="{FF2B5EF4-FFF2-40B4-BE49-F238E27FC236}">
                  <a16:creationId xmlns:a16="http://schemas.microsoft.com/office/drawing/2014/main" id="{A2E5A8A5-73B2-0496-D1DD-58A66403DC04}"/>
                </a:ext>
              </a:extLst>
            </p:cNvPr>
            <p:cNvSpPr>
              <a:spLocks/>
            </p:cNvSpPr>
            <p:nvPr/>
          </p:nvSpPr>
          <p:spPr bwMode="auto">
            <a:xfrm>
              <a:off x="4909407" y="2522706"/>
              <a:ext cx="209550" cy="55563"/>
            </a:xfrm>
            <a:custGeom>
              <a:avLst/>
              <a:gdLst>
                <a:gd name="T0" fmla="*/ 0 w 132"/>
                <a:gd name="T1" fmla="*/ 35 h 35"/>
                <a:gd name="T2" fmla="*/ 40 w 132"/>
                <a:gd name="T3" fmla="*/ 35 h 35"/>
                <a:gd name="T4" fmla="*/ 51 w 132"/>
                <a:gd name="T5" fmla="*/ 29 h 35"/>
                <a:gd name="T6" fmla="*/ 58 w 132"/>
                <a:gd name="T7" fmla="*/ 28 h 35"/>
                <a:gd name="T8" fmla="*/ 75 w 132"/>
                <a:gd name="T9" fmla="*/ 18 h 35"/>
                <a:gd name="T10" fmla="*/ 94 w 132"/>
                <a:gd name="T11" fmla="*/ 28 h 35"/>
                <a:gd name="T12" fmla="*/ 113 w 132"/>
                <a:gd name="T13" fmla="*/ 28 h 35"/>
                <a:gd name="T14" fmla="*/ 132 w 132"/>
                <a:gd name="T15" fmla="*/ 18 h 35"/>
                <a:gd name="T16" fmla="*/ 124 w 132"/>
                <a:gd name="T17" fmla="*/ 5 h 35"/>
                <a:gd name="T18" fmla="*/ 109 w 132"/>
                <a:gd name="T19" fmla="*/ 12 h 35"/>
                <a:gd name="T20" fmla="*/ 95 w 132"/>
                <a:gd name="T21" fmla="*/ 12 h 35"/>
                <a:gd name="T22" fmla="*/ 78 w 132"/>
                <a:gd name="T23" fmla="*/ 0 h 35"/>
                <a:gd name="T24" fmla="*/ 64 w 132"/>
                <a:gd name="T25" fmla="*/ 1 h 35"/>
                <a:gd name="T26" fmla="*/ 54 w 132"/>
                <a:gd name="T27" fmla="*/ 12 h 35"/>
                <a:gd name="T28" fmla="*/ 5 w 132"/>
                <a:gd name="T29" fmla="*/ 14 h 35"/>
                <a:gd name="T30" fmla="*/ 0 w 132"/>
                <a:gd name="T31" fmla="*/ 35 h 35"/>
                <a:gd name="T32" fmla="*/ 0 w 1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35">
                  <a:moveTo>
                    <a:pt x="0" y="35"/>
                  </a:moveTo>
                  <a:lnTo>
                    <a:pt x="40" y="35"/>
                  </a:lnTo>
                  <a:lnTo>
                    <a:pt x="51" y="29"/>
                  </a:lnTo>
                  <a:lnTo>
                    <a:pt x="58" y="28"/>
                  </a:lnTo>
                  <a:lnTo>
                    <a:pt x="75" y="18"/>
                  </a:lnTo>
                  <a:lnTo>
                    <a:pt x="94" y="28"/>
                  </a:lnTo>
                  <a:lnTo>
                    <a:pt x="113" y="28"/>
                  </a:lnTo>
                  <a:lnTo>
                    <a:pt x="132" y="18"/>
                  </a:lnTo>
                  <a:lnTo>
                    <a:pt x="124" y="5"/>
                  </a:lnTo>
                  <a:lnTo>
                    <a:pt x="109" y="12"/>
                  </a:lnTo>
                  <a:lnTo>
                    <a:pt x="95" y="12"/>
                  </a:lnTo>
                  <a:lnTo>
                    <a:pt x="78" y="0"/>
                  </a:lnTo>
                  <a:lnTo>
                    <a:pt x="64" y="1"/>
                  </a:lnTo>
                  <a:lnTo>
                    <a:pt x="54" y="12"/>
                  </a:lnTo>
                  <a:lnTo>
                    <a:pt x="5" y="14"/>
                  </a:lnTo>
                  <a:lnTo>
                    <a:pt x="0" y="35"/>
                  </a:lnTo>
                  <a:lnTo>
                    <a:pt x="0" y="3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1" name="Guinea-Bissau">
              <a:extLst>
                <a:ext uri="{FF2B5EF4-FFF2-40B4-BE49-F238E27FC236}">
                  <a16:creationId xmlns:a16="http://schemas.microsoft.com/office/drawing/2014/main" id="{E2C640F2-9D92-122E-EF31-5EBBC4A4FEB2}"/>
                </a:ext>
              </a:extLst>
            </p:cNvPr>
            <p:cNvSpPr>
              <a:spLocks/>
            </p:cNvSpPr>
            <p:nvPr/>
          </p:nvSpPr>
          <p:spPr bwMode="auto">
            <a:xfrm>
              <a:off x="4917379" y="2621887"/>
              <a:ext cx="209550" cy="119063"/>
            </a:xfrm>
            <a:custGeom>
              <a:avLst/>
              <a:gdLst>
                <a:gd name="T0" fmla="*/ 132 w 132"/>
                <a:gd name="T1" fmla="*/ 3 h 75"/>
                <a:gd name="T2" fmla="*/ 50 w 132"/>
                <a:gd name="T3" fmla="*/ 0 h 75"/>
                <a:gd name="T4" fmla="*/ 38 w 132"/>
                <a:gd name="T5" fmla="*/ 6 h 75"/>
                <a:gd name="T6" fmla="*/ 24 w 132"/>
                <a:gd name="T7" fmla="*/ 4 h 75"/>
                <a:gd name="T8" fmla="*/ 0 w 132"/>
                <a:gd name="T9" fmla="*/ 12 h 75"/>
                <a:gd name="T10" fmla="*/ 3 w 132"/>
                <a:gd name="T11" fmla="*/ 22 h 75"/>
                <a:gd name="T12" fmla="*/ 16 w 132"/>
                <a:gd name="T13" fmla="*/ 32 h 75"/>
                <a:gd name="T14" fmla="*/ 16 w 132"/>
                <a:gd name="T15" fmla="*/ 39 h 75"/>
                <a:gd name="T16" fmla="*/ 26 w 132"/>
                <a:gd name="T17" fmla="*/ 53 h 75"/>
                <a:gd name="T18" fmla="*/ 44 w 132"/>
                <a:gd name="T19" fmla="*/ 55 h 75"/>
                <a:gd name="T20" fmla="*/ 68 w 132"/>
                <a:gd name="T21" fmla="*/ 75 h 75"/>
                <a:gd name="T22" fmla="*/ 88 w 132"/>
                <a:gd name="T23" fmla="*/ 52 h 75"/>
                <a:gd name="T24" fmla="*/ 101 w 132"/>
                <a:gd name="T25" fmla="*/ 53 h 75"/>
                <a:gd name="T26" fmla="*/ 112 w 132"/>
                <a:gd name="T27" fmla="*/ 45 h 75"/>
                <a:gd name="T28" fmla="*/ 122 w 132"/>
                <a:gd name="T29" fmla="*/ 45 h 75"/>
                <a:gd name="T30" fmla="*/ 130 w 132"/>
                <a:gd name="T31" fmla="*/ 39 h 75"/>
                <a:gd name="T32" fmla="*/ 126 w 132"/>
                <a:gd name="T33" fmla="*/ 23 h 75"/>
                <a:gd name="T34" fmla="*/ 131 w 132"/>
                <a:gd name="T35" fmla="*/ 19 h 75"/>
                <a:gd name="T36" fmla="*/ 132 w 132"/>
                <a:gd name="T37" fmla="*/ 3 h 75"/>
                <a:gd name="T38" fmla="*/ 132 w 132"/>
                <a:gd name="T39"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75">
                  <a:moveTo>
                    <a:pt x="132" y="3"/>
                  </a:moveTo>
                  <a:lnTo>
                    <a:pt x="50" y="0"/>
                  </a:lnTo>
                  <a:lnTo>
                    <a:pt x="38" y="6"/>
                  </a:lnTo>
                  <a:lnTo>
                    <a:pt x="24" y="4"/>
                  </a:lnTo>
                  <a:lnTo>
                    <a:pt x="0" y="12"/>
                  </a:lnTo>
                  <a:lnTo>
                    <a:pt x="3" y="22"/>
                  </a:lnTo>
                  <a:lnTo>
                    <a:pt x="16" y="32"/>
                  </a:lnTo>
                  <a:lnTo>
                    <a:pt x="16" y="39"/>
                  </a:lnTo>
                  <a:lnTo>
                    <a:pt x="26" y="53"/>
                  </a:lnTo>
                  <a:lnTo>
                    <a:pt x="44" y="55"/>
                  </a:lnTo>
                  <a:lnTo>
                    <a:pt x="68" y="75"/>
                  </a:lnTo>
                  <a:lnTo>
                    <a:pt x="88" y="52"/>
                  </a:lnTo>
                  <a:lnTo>
                    <a:pt x="101" y="53"/>
                  </a:lnTo>
                  <a:lnTo>
                    <a:pt x="112" y="45"/>
                  </a:lnTo>
                  <a:lnTo>
                    <a:pt x="122" y="45"/>
                  </a:lnTo>
                  <a:lnTo>
                    <a:pt x="130" y="39"/>
                  </a:lnTo>
                  <a:lnTo>
                    <a:pt x="126" y="23"/>
                  </a:lnTo>
                  <a:lnTo>
                    <a:pt x="131" y="19"/>
                  </a:lnTo>
                  <a:lnTo>
                    <a:pt x="132" y="3"/>
                  </a:lnTo>
                  <a:lnTo>
                    <a:pt x="132" y="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2" name="Equatorial Guinea">
              <a:extLst>
                <a:ext uri="{FF2B5EF4-FFF2-40B4-BE49-F238E27FC236}">
                  <a16:creationId xmlns:a16="http://schemas.microsoft.com/office/drawing/2014/main" id="{F32E32F7-957C-5F05-0896-62270BDD9A77}"/>
                </a:ext>
              </a:extLst>
            </p:cNvPr>
            <p:cNvSpPr>
              <a:spLocks/>
            </p:cNvSpPr>
            <p:nvPr/>
          </p:nvSpPr>
          <p:spPr bwMode="auto">
            <a:xfrm>
              <a:off x="6750941" y="3393412"/>
              <a:ext cx="139700" cy="95250"/>
            </a:xfrm>
            <a:custGeom>
              <a:avLst/>
              <a:gdLst>
                <a:gd name="T0" fmla="*/ 88 w 88"/>
                <a:gd name="T1" fmla="*/ 1 h 60"/>
                <a:gd name="T2" fmla="*/ 15 w 88"/>
                <a:gd name="T3" fmla="*/ 0 h 60"/>
                <a:gd name="T4" fmla="*/ 0 w 88"/>
                <a:gd name="T5" fmla="*/ 53 h 60"/>
                <a:gd name="T6" fmla="*/ 8 w 88"/>
                <a:gd name="T7" fmla="*/ 60 h 60"/>
                <a:gd name="T8" fmla="*/ 23 w 88"/>
                <a:gd name="T9" fmla="*/ 57 h 60"/>
                <a:gd name="T10" fmla="*/ 88 w 88"/>
                <a:gd name="T11" fmla="*/ 58 h 60"/>
                <a:gd name="T12" fmla="*/ 88 w 88"/>
                <a:gd name="T13" fmla="*/ 1 h 60"/>
                <a:gd name="T14" fmla="*/ 88 w 88"/>
                <a:gd name="T15" fmla="*/ 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0">
                  <a:moveTo>
                    <a:pt x="88" y="1"/>
                  </a:moveTo>
                  <a:lnTo>
                    <a:pt x="15" y="0"/>
                  </a:lnTo>
                  <a:lnTo>
                    <a:pt x="0" y="53"/>
                  </a:lnTo>
                  <a:lnTo>
                    <a:pt x="8" y="60"/>
                  </a:lnTo>
                  <a:lnTo>
                    <a:pt x="23" y="57"/>
                  </a:lnTo>
                  <a:lnTo>
                    <a:pt x="88" y="58"/>
                  </a:lnTo>
                  <a:lnTo>
                    <a:pt x="88" y="1"/>
                  </a:lnTo>
                  <a:lnTo>
                    <a:pt x="88"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3" name="Kenya">
              <a:extLst>
                <a:ext uri="{FF2B5EF4-FFF2-40B4-BE49-F238E27FC236}">
                  <a16:creationId xmlns:a16="http://schemas.microsoft.com/office/drawing/2014/main" id="{C906EB48-CB39-AED7-5B90-AA7324505FBA}"/>
                </a:ext>
              </a:extLst>
            </p:cNvPr>
            <p:cNvSpPr>
              <a:spLocks/>
            </p:cNvSpPr>
            <p:nvPr/>
          </p:nvSpPr>
          <p:spPr bwMode="auto">
            <a:xfrm>
              <a:off x="8494016" y="3153700"/>
              <a:ext cx="560388" cy="758825"/>
            </a:xfrm>
            <a:custGeom>
              <a:avLst/>
              <a:gdLst>
                <a:gd name="T0" fmla="*/ 353 w 353"/>
                <a:gd name="T1" fmla="*/ 74 h 478"/>
                <a:gd name="T2" fmla="*/ 322 w 353"/>
                <a:gd name="T3" fmla="*/ 74 h 478"/>
                <a:gd name="T4" fmla="*/ 305 w 353"/>
                <a:gd name="T5" fmla="*/ 59 h 478"/>
                <a:gd name="T6" fmla="*/ 264 w 353"/>
                <a:gd name="T7" fmla="*/ 78 h 478"/>
                <a:gd name="T8" fmla="*/ 251 w 353"/>
                <a:gd name="T9" fmla="*/ 98 h 478"/>
                <a:gd name="T10" fmla="*/ 221 w 353"/>
                <a:gd name="T11" fmla="*/ 95 h 478"/>
                <a:gd name="T12" fmla="*/ 212 w 353"/>
                <a:gd name="T13" fmla="*/ 89 h 478"/>
                <a:gd name="T14" fmla="*/ 201 w 353"/>
                <a:gd name="T15" fmla="*/ 90 h 478"/>
                <a:gd name="T16" fmla="*/ 187 w 353"/>
                <a:gd name="T17" fmla="*/ 89 h 478"/>
                <a:gd name="T18" fmla="*/ 130 w 353"/>
                <a:gd name="T19" fmla="*/ 50 h 478"/>
                <a:gd name="T20" fmla="*/ 99 w 353"/>
                <a:gd name="T21" fmla="*/ 50 h 478"/>
                <a:gd name="T22" fmla="*/ 83 w 353"/>
                <a:gd name="T23" fmla="*/ 34 h 478"/>
                <a:gd name="T24" fmla="*/ 83 w 353"/>
                <a:gd name="T25" fmla="*/ 8 h 478"/>
                <a:gd name="T26" fmla="*/ 59 w 353"/>
                <a:gd name="T27" fmla="*/ 0 h 478"/>
                <a:gd name="T28" fmla="*/ 30 w 353"/>
                <a:gd name="T29" fmla="*/ 31 h 478"/>
                <a:gd name="T30" fmla="*/ 3 w 353"/>
                <a:gd name="T31" fmla="*/ 59 h 478"/>
                <a:gd name="T32" fmla="*/ 25 w 353"/>
                <a:gd name="T33" fmla="*/ 91 h 478"/>
                <a:gd name="T34" fmla="*/ 30 w 353"/>
                <a:gd name="T35" fmla="*/ 115 h 478"/>
                <a:gd name="T36" fmla="*/ 50 w 353"/>
                <a:gd name="T37" fmla="*/ 169 h 478"/>
                <a:gd name="T38" fmla="*/ 34 w 353"/>
                <a:gd name="T39" fmla="*/ 203 h 478"/>
                <a:gd name="T40" fmla="*/ 13 w 353"/>
                <a:gd name="T41" fmla="*/ 235 h 478"/>
                <a:gd name="T42" fmla="*/ 0 w 353"/>
                <a:gd name="T43" fmla="*/ 253 h 478"/>
                <a:gd name="T44" fmla="*/ 0 w 353"/>
                <a:gd name="T45" fmla="*/ 256 h 478"/>
                <a:gd name="T46" fmla="*/ 10 w 353"/>
                <a:gd name="T47" fmla="*/ 274 h 478"/>
                <a:gd name="T48" fmla="*/ 7 w 353"/>
                <a:gd name="T49" fmla="*/ 309 h 478"/>
                <a:gd name="T50" fmla="*/ 168 w 353"/>
                <a:gd name="T51" fmla="*/ 404 h 478"/>
                <a:gd name="T52" fmla="*/ 171 w 353"/>
                <a:gd name="T53" fmla="*/ 432 h 478"/>
                <a:gd name="T54" fmla="*/ 234 w 353"/>
                <a:gd name="T55" fmla="*/ 478 h 478"/>
                <a:gd name="T56" fmla="*/ 252 w 353"/>
                <a:gd name="T57" fmla="*/ 463 h 478"/>
                <a:gd name="T58" fmla="*/ 261 w 353"/>
                <a:gd name="T59" fmla="*/ 432 h 478"/>
                <a:gd name="T60" fmla="*/ 276 w 353"/>
                <a:gd name="T61" fmla="*/ 413 h 478"/>
                <a:gd name="T62" fmla="*/ 283 w 353"/>
                <a:gd name="T63" fmla="*/ 380 h 478"/>
                <a:gd name="T64" fmla="*/ 300 w 353"/>
                <a:gd name="T65" fmla="*/ 376 h 478"/>
                <a:gd name="T66" fmla="*/ 311 w 353"/>
                <a:gd name="T67" fmla="*/ 356 h 478"/>
                <a:gd name="T68" fmla="*/ 342 w 353"/>
                <a:gd name="T69" fmla="*/ 337 h 478"/>
                <a:gd name="T70" fmla="*/ 316 w 353"/>
                <a:gd name="T71" fmla="*/ 299 h 478"/>
                <a:gd name="T72" fmla="*/ 315 w 353"/>
                <a:gd name="T73" fmla="*/ 128 h 478"/>
                <a:gd name="T74" fmla="*/ 353 w 353"/>
                <a:gd name="T75" fmla="*/ 74 h 478"/>
                <a:gd name="T76" fmla="*/ 353 w 353"/>
                <a:gd name="T77"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3" h="478">
                  <a:moveTo>
                    <a:pt x="353" y="74"/>
                  </a:moveTo>
                  <a:lnTo>
                    <a:pt x="322" y="74"/>
                  </a:lnTo>
                  <a:lnTo>
                    <a:pt x="305" y="59"/>
                  </a:lnTo>
                  <a:lnTo>
                    <a:pt x="264" y="78"/>
                  </a:lnTo>
                  <a:lnTo>
                    <a:pt x="251" y="98"/>
                  </a:lnTo>
                  <a:lnTo>
                    <a:pt x="221" y="95"/>
                  </a:lnTo>
                  <a:lnTo>
                    <a:pt x="212" y="89"/>
                  </a:lnTo>
                  <a:lnTo>
                    <a:pt x="201" y="90"/>
                  </a:lnTo>
                  <a:lnTo>
                    <a:pt x="187" y="89"/>
                  </a:lnTo>
                  <a:lnTo>
                    <a:pt x="130" y="50"/>
                  </a:lnTo>
                  <a:lnTo>
                    <a:pt x="99" y="50"/>
                  </a:lnTo>
                  <a:lnTo>
                    <a:pt x="83" y="34"/>
                  </a:lnTo>
                  <a:lnTo>
                    <a:pt x="83" y="8"/>
                  </a:lnTo>
                  <a:lnTo>
                    <a:pt x="59" y="0"/>
                  </a:lnTo>
                  <a:lnTo>
                    <a:pt x="30" y="31"/>
                  </a:lnTo>
                  <a:lnTo>
                    <a:pt x="3" y="59"/>
                  </a:lnTo>
                  <a:lnTo>
                    <a:pt x="25" y="91"/>
                  </a:lnTo>
                  <a:lnTo>
                    <a:pt x="30" y="115"/>
                  </a:lnTo>
                  <a:lnTo>
                    <a:pt x="50" y="169"/>
                  </a:lnTo>
                  <a:lnTo>
                    <a:pt x="34" y="203"/>
                  </a:lnTo>
                  <a:lnTo>
                    <a:pt x="13" y="235"/>
                  </a:lnTo>
                  <a:lnTo>
                    <a:pt x="0" y="253"/>
                  </a:lnTo>
                  <a:lnTo>
                    <a:pt x="0" y="256"/>
                  </a:lnTo>
                  <a:lnTo>
                    <a:pt x="10" y="274"/>
                  </a:lnTo>
                  <a:lnTo>
                    <a:pt x="7" y="309"/>
                  </a:lnTo>
                  <a:lnTo>
                    <a:pt x="168" y="404"/>
                  </a:lnTo>
                  <a:lnTo>
                    <a:pt x="171" y="432"/>
                  </a:lnTo>
                  <a:lnTo>
                    <a:pt x="234" y="478"/>
                  </a:lnTo>
                  <a:lnTo>
                    <a:pt x="252" y="463"/>
                  </a:lnTo>
                  <a:lnTo>
                    <a:pt x="261" y="432"/>
                  </a:lnTo>
                  <a:lnTo>
                    <a:pt x="276" y="413"/>
                  </a:lnTo>
                  <a:lnTo>
                    <a:pt x="283" y="380"/>
                  </a:lnTo>
                  <a:lnTo>
                    <a:pt x="300" y="376"/>
                  </a:lnTo>
                  <a:lnTo>
                    <a:pt x="311" y="356"/>
                  </a:lnTo>
                  <a:lnTo>
                    <a:pt x="342" y="337"/>
                  </a:lnTo>
                  <a:lnTo>
                    <a:pt x="316" y="299"/>
                  </a:lnTo>
                  <a:lnTo>
                    <a:pt x="315" y="128"/>
                  </a:lnTo>
                  <a:lnTo>
                    <a:pt x="353" y="74"/>
                  </a:lnTo>
                  <a:lnTo>
                    <a:pt x="353" y="74"/>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4" name="Liberia">
              <a:extLst>
                <a:ext uri="{FF2B5EF4-FFF2-40B4-BE49-F238E27FC236}">
                  <a16:creationId xmlns:a16="http://schemas.microsoft.com/office/drawing/2014/main" id="{FFD3F307-B2C5-AE18-8DB1-CAFF47A7EDAA}"/>
                </a:ext>
              </a:extLst>
            </p:cNvPr>
            <p:cNvSpPr>
              <a:spLocks/>
            </p:cNvSpPr>
            <p:nvPr/>
          </p:nvSpPr>
          <p:spPr bwMode="auto">
            <a:xfrm>
              <a:off x="5282504" y="2926687"/>
              <a:ext cx="274638" cy="312738"/>
            </a:xfrm>
            <a:custGeom>
              <a:avLst/>
              <a:gdLst>
                <a:gd name="T0" fmla="*/ 133 w 173"/>
                <a:gd name="T1" fmla="*/ 41 h 197"/>
                <a:gd name="T2" fmla="*/ 122 w 173"/>
                <a:gd name="T3" fmla="*/ 39 h 197"/>
                <a:gd name="T4" fmla="*/ 112 w 173"/>
                <a:gd name="T5" fmla="*/ 58 h 197"/>
                <a:gd name="T6" fmla="*/ 100 w 173"/>
                <a:gd name="T7" fmla="*/ 58 h 197"/>
                <a:gd name="T8" fmla="*/ 91 w 173"/>
                <a:gd name="T9" fmla="*/ 48 h 197"/>
                <a:gd name="T10" fmla="*/ 94 w 173"/>
                <a:gd name="T11" fmla="*/ 29 h 197"/>
                <a:gd name="T12" fmla="*/ 75 w 173"/>
                <a:gd name="T13" fmla="*/ 0 h 197"/>
                <a:gd name="T14" fmla="*/ 63 w 173"/>
                <a:gd name="T15" fmla="*/ 6 h 197"/>
                <a:gd name="T16" fmla="*/ 54 w 173"/>
                <a:gd name="T17" fmla="*/ 7 h 197"/>
                <a:gd name="T18" fmla="*/ 33 w 173"/>
                <a:gd name="T19" fmla="*/ 29 h 197"/>
                <a:gd name="T20" fmla="*/ 13 w 173"/>
                <a:gd name="T21" fmla="*/ 54 h 197"/>
                <a:gd name="T22" fmla="*/ 10 w 173"/>
                <a:gd name="T23" fmla="*/ 68 h 197"/>
                <a:gd name="T24" fmla="*/ 0 w 173"/>
                <a:gd name="T25" fmla="*/ 83 h 197"/>
                <a:gd name="T26" fmla="*/ 29 w 173"/>
                <a:gd name="T27" fmla="*/ 113 h 197"/>
                <a:gd name="T28" fmla="*/ 68 w 173"/>
                <a:gd name="T29" fmla="*/ 139 h 197"/>
                <a:gd name="T30" fmla="*/ 108 w 173"/>
                <a:gd name="T31" fmla="*/ 175 h 197"/>
                <a:gd name="T32" fmla="*/ 154 w 173"/>
                <a:gd name="T33" fmla="*/ 197 h 197"/>
                <a:gd name="T34" fmla="*/ 165 w 173"/>
                <a:gd name="T35" fmla="*/ 197 h 197"/>
                <a:gd name="T36" fmla="*/ 169 w 173"/>
                <a:gd name="T37" fmla="*/ 158 h 197"/>
                <a:gd name="T38" fmla="*/ 173 w 173"/>
                <a:gd name="T39" fmla="*/ 152 h 197"/>
                <a:gd name="T40" fmla="*/ 172 w 173"/>
                <a:gd name="T41" fmla="*/ 133 h 197"/>
                <a:gd name="T42" fmla="*/ 153 w 173"/>
                <a:gd name="T43" fmla="*/ 114 h 197"/>
                <a:gd name="T44" fmla="*/ 139 w 173"/>
                <a:gd name="T45" fmla="*/ 110 h 197"/>
                <a:gd name="T46" fmla="*/ 126 w 173"/>
                <a:gd name="T47" fmla="*/ 98 h 197"/>
                <a:gd name="T48" fmla="*/ 136 w 173"/>
                <a:gd name="T49" fmla="*/ 77 h 197"/>
                <a:gd name="T50" fmla="*/ 132 w 173"/>
                <a:gd name="T51" fmla="*/ 54 h 197"/>
                <a:gd name="T52" fmla="*/ 133 w 173"/>
                <a:gd name="T53" fmla="*/ 41 h 197"/>
                <a:gd name="T54" fmla="*/ 133 w 173"/>
                <a:gd name="T55" fmla="*/ 4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97">
                  <a:moveTo>
                    <a:pt x="133" y="41"/>
                  </a:moveTo>
                  <a:lnTo>
                    <a:pt x="122" y="39"/>
                  </a:lnTo>
                  <a:lnTo>
                    <a:pt x="112" y="58"/>
                  </a:lnTo>
                  <a:lnTo>
                    <a:pt x="100" y="58"/>
                  </a:lnTo>
                  <a:lnTo>
                    <a:pt x="91" y="48"/>
                  </a:lnTo>
                  <a:lnTo>
                    <a:pt x="94" y="29"/>
                  </a:lnTo>
                  <a:lnTo>
                    <a:pt x="75" y="0"/>
                  </a:lnTo>
                  <a:lnTo>
                    <a:pt x="63" y="6"/>
                  </a:lnTo>
                  <a:lnTo>
                    <a:pt x="54" y="7"/>
                  </a:lnTo>
                  <a:lnTo>
                    <a:pt x="33" y="29"/>
                  </a:lnTo>
                  <a:lnTo>
                    <a:pt x="13" y="54"/>
                  </a:lnTo>
                  <a:lnTo>
                    <a:pt x="10" y="68"/>
                  </a:lnTo>
                  <a:lnTo>
                    <a:pt x="0" y="83"/>
                  </a:lnTo>
                  <a:lnTo>
                    <a:pt x="29" y="113"/>
                  </a:lnTo>
                  <a:lnTo>
                    <a:pt x="68" y="139"/>
                  </a:lnTo>
                  <a:lnTo>
                    <a:pt x="108" y="175"/>
                  </a:lnTo>
                  <a:lnTo>
                    <a:pt x="154" y="197"/>
                  </a:lnTo>
                  <a:lnTo>
                    <a:pt x="165" y="197"/>
                  </a:lnTo>
                  <a:lnTo>
                    <a:pt x="169" y="158"/>
                  </a:lnTo>
                  <a:lnTo>
                    <a:pt x="173" y="152"/>
                  </a:lnTo>
                  <a:lnTo>
                    <a:pt x="172" y="133"/>
                  </a:lnTo>
                  <a:lnTo>
                    <a:pt x="153" y="114"/>
                  </a:lnTo>
                  <a:lnTo>
                    <a:pt x="139" y="110"/>
                  </a:lnTo>
                  <a:lnTo>
                    <a:pt x="126" y="98"/>
                  </a:lnTo>
                  <a:lnTo>
                    <a:pt x="136" y="77"/>
                  </a:lnTo>
                  <a:lnTo>
                    <a:pt x="132" y="54"/>
                  </a:lnTo>
                  <a:lnTo>
                    <a:pt x="133" y="41"/>
                  </a:lnTo>
                  <a:lnTo>
                    <a:pt x="133" y="4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5" name="Libya">
              <a:extLst>
                <a:ext uri="{FF2B5EF4-FFF2-40B4-BE49-F238E27FC236}">
                  <a16:creationId xmlns:a16="http://schemas.microsoft.com/office/drawing/2014/main" id="{1BA59976-4BC5-34D7-E148-A981E8DA8505}"/>
                </a:ext>
              </a:extLst>
            </p:cNvPr>
            <p:cNvSpPr>
              <a:spLocks/>
            </p:cNvSpPr>
            <p:nvPr/>
          </p:nvSpPr>
          <p:spPr bwMode="auto">
            <a:xfrm>
              <a:off x="6731891" y="1093125"/>
              <a:ext cx="1100138" cy="1011238"/>
            </a:xfrm>
            <a:custGeom>
              <a:avLst/>
              <a:gdLst>
                <a:gd name="T0" fmla="*/ 669 w 693"/>
                <a:gd name="T1" fmla="*/ 73 h 637"/>
                <a:gd name="T2" fmla="*/ 658 w 693"/>
                <a:gd name="T3" fmla="*/ 58 h 637"/>
                <a:gd name="T4" fmla="*/ 615 w 693"/>
                <a:gd name="T5" fmla="*/ 53 h 637"/>
                <a:gd name="T6" fmla="*/ 600 w 693"/>
                <a:gd name="T7" fmla="*/ 44 h 637"/>
                <a:gd name="T8" fmla="*/ 585 w 693"/>
                <a:gd name="T9" fmla="*/ 44 h 637"/>
                <a:gd name="T10" fmla="*/ 568 w 693"/>
                <a:gd name="T11" fmla="*/ 24 h 637"/>
                <a:gd name="T12" fmla="*/ 511 w 693"/>
                <a:gd name="T13" fmla="*/ 14 h 637"/>
                <a:gd name="T14" fmla="*/ 482 w 693"/>
                <a:gd name="T15" fmla="*/ 21 h 637"/>
                <a:gd name="T16" fmla="*/ 452 w 693"/>
                <a:gd name="T17" fmla="*/ 43 h 637"/>
                <a:gd name="T18" fmla="*/ 441 w 693"/>
                <a:gd name="T19" fmla="*/ 65 h 637"/>
                <a:gd name="T20" fmla="*/ 453 w 693"/>
                <a:gd name="T21" fmla="*/ 101 h 637"/>
                <a:gd name="T22" fmla="*/ 434 w 693"/>
                <a:gd name="T23" fmla="*/ 123 h 637"/>
                <a:gd name="T24" fmla="*/ 414 w 693"/>
                <a:gd name="T25" fmla="*/ 134 h 637"/>
                <a:gd name="T26" fmla="*/ 367 w 693"/>
                <a:gd name="T27" fmla="*/ 111 h 637"/>
                <a:gd name="T28" fmla="*/ 305 w 693"/>
                <a:gd name="T29" fmla="*/ 92 h 637"/>
                <a:gd name="T30" fmla="*/ 267 w 693"/>
                <a:gd name="T31" fmla="*/ 83 h 637"/>
                <a:gd name="T32" fmla="*/ 244 w 693"/>
                <a:gd name="T33" fmla="*/ 41 h 637"/>
                <a:gd name="T34" fmla="*/ 188 w 693"/>
                <a:gd name="T35" fmla="*/ 21 h 637"/>
                <a:gd name="T36" fmla="*/ 151 w 693"/>
                <a:gd name="T37" fmla="*/ 12 h 637"/>
                <a:gd name="T38" fmla="*/ 134 w 693"/>
                <a:gd name="T39" fmla="*/ 16 h 637"/>
                <a:gd name="T40" fmla="*/ 84 w 693"/>
                <a:gd name="T41" fmla="*/ 0 h 637"/>
                <a:gd name="T42" fmla="*/ 83 w 693"/>
                <a:gd name="T43" fmla="*/ 36 h 637"/>
                <a:gd name="T44" fmla="*/ 62 w 693"/>
                <a:gd name="T45" fmla="*/ 50 h 637"/>
                <a:gd name="T46" fmla="*/ 50 w 693"/>
                <a:gd name="T47" fmla="*/ 65 h 637"/>
                <a:gd name="T48" fmla="*/ 20 w 693"/>
                <a:gd name="T49" fmla="*/ 83 h 637"/>
                <a:gd name="T50" fmla="*/ 26 w 693"/>
                <a:gd name="T51" fmla="*/ 102 h 637"/>
                <a:gd name="T52" fmla="*/ 23 w 693"/>
                <a:gd name="T53" fmla="*/ 122 h 637"/>
                <a:gd name="T54" fmla="*/ 2 w 693"/>
                <a:gd name="T55" fmla="*/ 133 h 637"/>
                <a:gd name="T56" fmla="*/ 18 w 693"/>
                <a:gd name="T57" fmla="*/ 174 h 637"/>
                <a:gd name="T58" fmla="*/ 20 w 693"/>
                <a:gd name="T59" fmla="*/ 196 h 637"/>
                <a:gd name="T60" fmla="*/ 14 w 693"/>
                <a:gd name="T61" fmla="*/ 235 h 637"/>
                <a:gd name="T62" fmla="*/ 18 w 693"/>
                <a:gd name="T63" fmla="*/ 256 h 637"/>
                <a:gd name="T64" fmla="*/ 12 w 693"/>
                <a:gd name="T65" fmla="*/ 281 h 637"/>
                <a:gd name="T66" fmla="*/ 17 w 693"/>
                <a:gd name="T67" fmla="*/ 311 h 637"/>
                <a:gd name="T68" fmla="*/ 0 w 693"/>
                <a:gd name="T69" fmla="*/ 331 h 637"/>
                <a:gd name="T70" fmla="*/ 27 w 693"/>
                <a:gd name="T71" fmla="*/ 365 h 637"/>
                <a:gd name="T72" fmla="*/ 29 w 693"/>
                <a:gd name="T73" fmla="*/ 385 h 637"/>
                <a:gd name="T74" fmla="*/ 44 w 693"/>
                <a:gd name="T75" fmla="*/ 411 h 637"/>
                <a:gd name="T76" fmla="*/ 64 w 693"/>
                <a:gd name="T77" fmla="*/ 403 h 637"/>
                <a:gd name="T78" fmla="*/ 100 w 693"/>
                <a:gd name="T79" fmla="*/ 425 h 637"/>
                <a:gd name="T80" fmla="*/ 119 w 693"/>
                <a:gd name="T81" fmla="*/ 454 h 637"/>
                <a:gd name="T82" fmla="*/ 189 w 693"/>
                <a:gd name="T83" fmla="*/ 474 h 637"/>
                <a:gd name="T84" fmla="*/ 214 w 693"/>
                <a:gd name="T85" fmla="*/ 499 h 637"/>
                <a:gd name="T86" fmla="*/ 244 w 693"/>
                <a:gd name="T87" fmla="*/ 482 h 637"/>
                <a:gd name="T88" fmla="*/ 288 w 693"/>
                <a:gd name="T89" fmla="*/ 457 h 637"/>
                <a:gd name="T90" fmla="*/ 464 w 693"/>
                <a:gd name="T91" fmla="*/ 547 h 637"/>
                <a:gd name="T92" fmla="*/ 642 w 693"/>
                <a:gd name="T93" fmla="*/ 637 h 637"/>
                <a:gd name="T94" fmla="*/ 642 w 693"/>
                <a:gd name="T95" fmla="*/ 617 h 637"/>
                <a:gd name="T96" fmla="*/ 693 w 693"/>
                <a:gd name="T97" fmla="*/ 617 h 637"/>
                <a:gd name="T98" fmla="*/ 689 w 693"/>
                <a:gd name="T99" fmla="*/ 523 h 637"/>
                <a:gd name="T100" fmla="*/ 681 w 693"/>
                <a:gd name="T101" fmla="*/ 350 h 637"/>
                <a:gd name="T102" fmla="*/ 670 w 693"/>
                <a:gd name="T103" fmla="*/ 183 h 637"/>
                <a:gd name="T104" fmla="*/ 655 w 693"/>
                <a:gd name="T105" fmla="*/ 145 h 637"/>
                <a:gd name="T106" fmla="*/ 663 w 693"/>
                <a:gd name="T107" fmla="*/ 116 h 637"/>
                <a:gd name="T108" fmla="*/ 655 w 693"/>
                <a:gd name="T109" fmla="*/ 96 h 637"/>
                <a:gd name="T110" fmla="*/ 669 w 693"/>
                <a:gd name="T111" fmla="*/ 73 h 637"/>
                <a:gd name="T112" fmla="*/ 669 w 693"/>
                <a:gd name="T113" fmla="*/ 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 h="637">
                  <a:moveTo>
                    <a:pt x="669" y="73"/>
                  </a:moveTo>
                  <a:lnTo>
                    <a:pt x="658" y="58"/>
                  </a:lnTo>
                  <a:lnTo>
                    <a:pt x="615" y="53"/>
                  </a:lnTo>
                  <a:lnTo>
                    <a:pt x="600" y="44"/>
                  </a:lnTo>
                  <a:lnTo>
                    <a:pt x="585" y="44"/>
                  </a:lnTo>
                  <a:lnTo>
                    <a:pt x="568" y="24"/>
                  </a:lnTo>
                  <a:lnTo>
                    <a:pt x="511" y="14"/>
                  </a:lnTo>
                  <a:lnTo>
                    <a:pt x="482" y="21"/>
                  </a:lnTo>
                  <a:lnTo>
                    <a:pt x="452" y="43"/>
                  </a:lnTo>
                  <a:lnTo>
                    <a:pt x="441" y="65"/>
                  </a:lnTo>
                  <a:lnTo>
                    <a:pt x="453" y="101"/>
                  </a:lnTo>
                  <a:lnTo>
                    <a:pt x="434" y="123"/>
                  </a:lnTo>
                  <a:lnTo>
                    <a:pt x="414" y="134"/>
                  </a:lnTo>
                  <a:lnTo>
                    <a:pt x="367" y="111"/>
                  </a:lnTo>
                  <a:lnTo>
                    <a:pt x="305" y="92"/>
                  </a:lnTo>
                  <a:lnTo>
                    <a:pt x="267" y="83"/>
                  </a:lnTo>
                  <a:lnTo>
                    <a:pt x="244" y="41"/>
                  </a:lnTo>
                  <a:lnTo>
                    <a:pt x="188" y="21"/>
                  </a:lnTo>
                  <a:lnTo>
                    <a:pt x="151" y="12"/>
                  </a:lnTo>
                  <a:lnTo>
                    <a:pt x="134" y="16"/>
                  </a:lnTo>
                  <a:lnTo>
                    <a:pt x="84" y="0"/>
                  </a:lnTo>
                  <a:lnTo>
                    <a:pt x="83" y="36"/>
                  </a:lnTo>
                  <a:lnTo>
                    <a:pt x="62" y="50"/>
                  </a:lnTo>
                  <a:lnTo>
                    <a:pt x="50" y="65"/>
                  </a:lnTo>
                  <a:lnTo>
                    <a:pt x="20" y="83"/>
                  </a:lnTo>
                  <a:lnTo>
                    <a:pt x="26" y="102"/>
                  </a:lnTo>
                  <a:lnTo>
                    <a:pt x="23" y="122"/>
                  </a:lnTo>
                  <a:lnTo>
                    <a:pt x="2" y="133"/>
                  </a:lnTo>
                  <a:lnTo>
                    <a:pt x="18" y="174"/>
                  </a:lnTo>
                  <a:lnTo>
                    <a:pt x="20" y="196"/>
                  </a:lnTo>
                  <a:lnTo>
                    <a:pt x="14" y="235"/>
                  </a:lnTo>
                  <a:lnTo>
                    <a:pt x="18" y="256"/>
                  </a:lnTo>
                  <a:lnTo>
                    <a:pt x="12" y="281"/>
                  </a:lnTo>
                  <a:lnTo>
                    <a:pt x="17" y="311"/>
                  </a:lnTo>
                  <a:lnTo>
                    <a:pt x="0" y="331"/>
                  </a:lnTo>
                  <a:lnTo>
                    <a:pt x="27" y="365"/>
                  </a:lnTo>
                  <a:lnTo>
                    <a:pt x="29" y="385"/>
                  </a:lnTo>
                  <a:lnTo>
                    <a:pt x="44" y="411"/>
                  </a:lnTo>
                  <a:lnTo>
                    <a:pt x="64" y="403"/>
                  </a:lnTo>
                  <a:lnTo>
                    <a:pt x="100" y="425"/>
                  </a:lnTo>
                  <a:lnTo>
                    <a:pt x="119" y="454"/>
                  </a:lnTo>
                  <a:lnTo>
                    <a:pt x="189" y="474"/>
                  </a:lnTo>
                  <a:lnTo>
                    <a:pt x="214" y="499"/>
                  </a:lnTo>
                  <a:lnTo>
                    <a:pt x="244" y="482"/>
                  </a:lnTo>
                  <a:lnTo>
                    <a:pt x="288" y="457"/>
                  </a:lnTo>
                  <a:lnTo>
                    <a:pt x="464" y="547"/>
                  </a:lnTo>
                  <a:lnTo>
                    <a:pt x="642" y="637"/>
                  </a:lnTo>
                  <a:lnTo>
                    <a:pt x="642" y="617"/>
                  </a:lnTo>
                  <a:lnTo>
                    <a:pt x="693" y="617"/>
                  </a:lnTo>
                  <a:lnTo>
                    <a:pt x="689" y="523"/>
                  </a:lnTo>
                  <a:lnTo>
                    <a:pt x="681" y="350"/>
                  </a:lnTo>
                  <a:lnTo>
                    <a:pt x="670" y="183"/>
                  </a:lnTo>
                  <a:lnTo>
                    <a:pt x="655" y="145"/>
                  </a:lnTo>
                  <a:lnTo>
                    <a:pt x="663" y="116"/>
                  </a:lnTo>
                  <a:lnTo>
                    <a:pt x="655" y="96"/>
                  </a:lnTo>
                  <a:lnTo>
                    <a:pt x="669" y="73"/>
                  </a:lnTo>
                  <a:lnTo>
                    <a:pt x="669" y="7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6" name="Lesotho">
              <a:extLst>
                <a:ext uri="{FF2B5EF4-FFF2-40B4-BE49-F238E27FC236}">
                  <a16:creationId xmlns:a16="http://schemas.microsoft.com/office/drawing/2014/main" id="{1084DC30-A739-BE02-3E19-A583DACA1509}"/>
                </a:ext>
              </a:extLst>
            </p:cNvPr>
            <p:cNvSpPr>
              <a:spLocks/>
            </p:cNvSpPr>
            <p:nvPr/>
          </p:nvSpPr>
          <p:spPr bwMode="auto">
            <a:xfrm>
              <a:off x="7928866" y="5701637"/>
              <a:ext cx="161925" cy="147638"/>
            </a:xfrm>
            <a:custGeom>
              <a:avLst/>
              <a:gdLst>
                <a:gd name="T0" fmla="*/ 45 w 102"/>
                <a:gd name="T1" fmla="*/ 89 h 93"/>
                <a:gd name="T2" fmla="*/ 54 w 102"/>
                <a:gd name="T3" fmla="*/ 74 h 93"/>
                <a:gd name="T4" fmla="*/ 78 w 102"/>
                <a:gd name="T5" fmla="*/ 66 h 93"/>
                <a:gd name="T6" fmla="*/ 87 w 102"/>
                <a:gd name="T7" fmla="*/ 51 h 93"/>
                <a:gd name="T8" fmla="*/ 102 w 102"/>
                <a:gd name="T9" fmla="*/ 28 h 93"/>
                <a:gd name="T10" fmla="*/ 88 w 102"/>
                <a:gd name="T11" fmla="*/ 14 h 93"/>
                <a:gd name="T12" fmla="*/ 71 w 102"/>
                <a:gd name="T13" fmla="*/ 0 h 93"/>
                <a:gd name="T14" fmla="*/ 50 w 102"/>
                <a:gd name="T15" fmla="*/ 9 h 93"/>
                <a:gd name="T16" fmla="*/ 25 w 102"/>
                <a:gd name="T17" fmla="*/ 28 h 93"/>
                <a:gd name="T18" fmla="*/ 0 w 102"/>
                <a:gd name="T19" fmla="*/ 57 h 93"/>
                <a:gd name="T20" fmla="*/ 29 w 102"/>
                <a:gd name="T21" fmla="*/ 93 h 93"/>
                <a:gd name="T22" fmla="*/ 45 w 102"/>
                <a:gd name="T23" fmla="*/ 89 h 93"/>
                <a:gd name="T24" fmla="*/ 45 w 102"/>
                <a:gd name="T25"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93">
                  <a:moveTo>
                    <a:pt x="45" y="89"/>
                  </a:moveTo>
                  <a:lnTo>
                    <a:pt x="54" y="74"/>
                  </a:lnTo>
                  <a:lnTo>
                    <a:pt x="78" y="66"/>
                  </a:lnTo>
                  <a:lnTo>
                    <a:pt x="87" y="51"/>
                  </a:lnTo>
                  <a:lnTo>
                    <a:pt x="102" y="28"/>
                  </a:lnTo>
                  <a:lnTo>
                    <a:pt x="88" y="14"/>
                  </a:lnTo>
                  <a:lnTo>
                    <a:pt x="71" y="0"/>
                  </a:lnTo>
                  <a:lnTo>
                    <a:pt x="50" y="9"/>
                  </a:lnTo>
                  <a:lnTo>
                    <a:pt x="25" y="28"/>
                  </a:lnTo>
                  <a:lnTo>
                    <a:pt x="0" y="57"/>
                  </a:lnTo>
                  <a:lnTo>
                    <a:pt x="29" y="93"/>
                  </a:lnTo>
                  <a:lnTo>
                    <a:pt x="45" y="89"/>
                  </a:lnTo>
                  <a:lnTo>
                    <a:pt x="45" y="8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7" name="Morocco">
              <a:extLst>
                <a:ext uri="{FF2B5EF4-FFF2-40B4-BE49-F238E27FC236}">
                  <a16:creationId xmlns:a16="http://schemas.microsoft.com/office/drawing/2014/main" id="{1242ADC4-B515-5F90-29DC-353CB615C367}"/>
                </a:ext>
              </a:extLst>
            </p:cNvPr>
            <p:cNvSpPr>
              <a:spLocks/>
            </p:cNvSpPr>
            <p:nvPr/>
          </p:nvSpPr>
          <p:spPr bwMode="auto">
            <a:xfrm>
              <a:off x="4909441" y="896275"/>
              <a:ext cx="1104900" cy="1069975"/>
            </a:xfrm>
            <a:custGeom>
              <a:avLst/>
              <a:gdLst>
                <a:gd name="T0" fmla="*/ 635 w 696"/>
                <a:gd name="T1" fmla="*/ 27 h 674"/>
                <a:gd name="T2" fmla="*/ 551 w 696"/>
                <a:gd name="T3" fmla="*/ 21 h 674"/>
                <a:gd name="T4" fmla="*/ 495 w 696"/>
                <a:gd name="T5" fmla="*/ 0 h 674"/>
                <a:gd name="T6" fmla="*/ 453 w 696"/>
                <a:gd name="T7" fmla="*/ 78 h 674"/>
                <a:gd name="T8" fmla="*/ 378 w 696"/>
                <a:gd name="T9" fmla="*/ 119 h 674"/>
                <a:gd name="T10" fmla="*/ 343 w 696"/>
                <a:gd name="T11" fmla="*/ 176 h 674"/>
                <a:gd name="T12" fmla="*/ 335 w 696"/>
                <a:gd name="T13" fmla="*/ 275 h 674"/>
                <a:gd name="T14" fmla="*/ 275 w 696"/>
                <a:gd name="T15" fmla="*/ 326 h 674"/>
                <a:gd name="T16" fmla="*/ 200 w 696"/>
                <a:gd name="T17" fmla="*/ 364 h 674"/>
                <a:gd name="T18" fmla="*/ 178 w 696"/>
                <a:gd name="T19" fmla="*/ 382 h 674"/>
                <a:gd name="T20" fmla="*/ 119 w 696"/>
                <a:gd name="T21" fmla="*/ 447 h 674"/>
                <a:gd name="T22" fmla="*/ 101 w 696"/>
                <a:gd name="T23" fmla="*/ 501 h 674"/>
                <a:gd name="T24" fmla="*/ 74 w 696"/>
                <a:gd name="T25" fmla="*/ 536 h 674"/>
                <a:gd name="T26" fmla="*/ 32 w 696"/>
                <a:gd name="T27" fmla="*/ 600 h 674"/>
                <a:gd name="T28" fmla="*/ 20 w 696"/>
                <a:gd name="T29" fmla="*/ 640 h 674"/>
                <a:gd name="T30" fmla="*/ 0 w 696"/>
                <a:gd name="T31" fmla="*/ 674 h 674"/>
                <a:gd name="T32" fmla="*/ 99 w 696"/>
                <a:gd name="T33" fmla="*/ 671 h 674"/>
                <a:gd name="T34" fmla="*/ 123 w 696"/>
                <a:gd name="T35" fmla="*/ 633 h 674"/>
                <a:gd name="T36" fmla="*/ 201 w 696"/>
                <a:gd name="T37" fmla="*/ 517 h 674"/>
                <a:gd name="T38" fmla="*/ 236 w 696"/>
                <a:gd name="T39" fmla="*/ 454 h 674"/>
                <a:gd name="T40" fmla="*/ 288 w 696"/>
                <a:gd name="T41" fmla="*/ 413 h 674"/>
                <a:gd name="T42" fmla="*/ 324 w 696"/>
                <a:gd name="T43" fmla="*/ 419 h 674"/>
                <a:gd name="T44" fmla="*/ 364 w 696"/>
                <a:gd name="T45" fmla="*/ 406 h 674"/>
                <a:gd name="T46" fmla="*/ 364 w 696"/>
                <a:gd name="T47" fmla="*/ 381 h 674"/>
                <a:gd name="T48" fmla="*/ 371 w 696"/>
                <a:gd name="T49" fmla="*/ 325 h 674"/>
                <a:gd name="T50" fmla="*/ 484 w 696"/>
                <a:gd name="T51" fmla="*/ 284 h 674"/>
                <a:gd name="T52" fmla="*/ 537 w 696"/>
                <a:gd name="T53" fmla="*/ 247 h 674"/>
                <a:gd name="T54" fmla="*/ 589 w 696"/>
                <a:gd name="T55" fmla="*/ 195 h 674"/>
                <a:gd name="T56" fmla="*/ 633 w 696"/>
                <a:gd name="T57" fmla="*/ 174 h 674"/>
                <a:gd name="T58" fmla="*/ 696 w 696"/>
                <a:gd name="T59" fmla="*/ 147 h 674"/>
                <a:gd name="T60" fmla="*/ 671 w 696"/>
                <a:gd name="T61" fmla="*/ 87 h 674"/>
                <a:gd name="T62" fmla="*/ 653 w 696"/>
                <a:gd name="T63" fmla="*/ 2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6" h="674">
                  <a:moveTo>
                    <a:pt x="653" y="28"/>
                  </a:moveTo>
                  <a:lnTo>
                    <a:pt x="635" y="27"/>
                  </a:lnTo>
                  <a:lnTo>
                    <a:pt x="591" y="17"/>
                  </a:lnTo>
                  <a:lnTo>
                    <a:pt x="551" y="21"/>
                  </a:lnTo>
                  <a:lnTo>
                    <a:pt x="526" y="0"/>
                  </a:lnTo>
                  <a:lnTo>
                    <a:pt x="495" y="0"/>
                  </a:lnTo>
                  <a:lnTo>
                    <a:pt x="482" y="29"/>
                  </a:lnTo>
                  <a:lnTo>
                    <a:pt x="453" y="78"/>
                  </a:lnTo>
                  <a:lnTo>
                    <a:pt x="421" y="98"/>
                  </a:lnTo>
                  <a:lnTo>
                    <a:pt x="378" y="119"/>
                  </a:lnTo>
                  <a:lnTo>
                    <a:pt x="349" y="151"/>
                  </a:lnTo>
                  <a:lnTo>
                    <a:pt x="343" y="176"/>
                  </a:lnTo>
                  <a:lnTo>
                    <a:pt x="326" y="216"/>
                  </a:lnTo>
                  <a:lnTo>
                    <a:pt x="335" y="275"/>
                  </a:lnTo>
                  <a:lnTo>
                    <a:pt x="297" y="314"/>
                  </a:lnTo>
                  <a:lnTo>
                    <a:pt x="275" y="326"/>
                  </a:lnTo>
                  <a:lnTo>
                    <a:pt x="241" y="358"/>
                  </a:lnTo>
                  <a:lnTo>
                    <a:pt x="200" y="364"/>
                  </a:lnTo>
                  <a:lnTo>
                    <a:pt x="178" y="382"/>
                  </a:lnTo>
                  <a:lnTo>
                    <a:pt x="178" y="382"/>
                  </a:lnTo>
                  <a:lnTo>
                    <a:pt x="148" y="430"/>
                  </a:lnTo>
                  <a:lnTo>
                    <a:pt x="119" y="447"/>
                  </a:lnTo>
                  <a:lnTo>
                    <a:pt x="103" y="476"/>
                  </a:lnTo>
                  <a:lnTo>
                    <a:pt x="101" y="501"/>
                  </a:lnTo>
                  <a:lnTo>
                    <a:pt x="88" y="528"/>
                  </a:lnTo>
                  <a:lnTo>
                    <a:pt x="74" y="536"/>
                  </a:lnTo>
                  <a:lnTo>
                    <a:pt x="48" y="566"/>
                  </a:lnTo>
                  <a:lnTo>
                    <a:pt x="32" y="600"/>
                  </a:lnTo>
                  <a:lnTo>
                    <a:pt x="35" y="615"/>
                  </a:lnTo>
                  <a:lnTo>
                    <a:pt x="20" y="640"/>
                  </a:lnTo>
                  <a:lnTo>
                    <a:pt x="2" y="652"/>
                  </a:lnTo>
                  <a:lnTo>
                    <a:pt x="0" y="674"/>
                  </a:lnTo>
                  <a:lnTo>
                    <a:pt x="0" y="674"/>
                  </a:lnTo>
                  <a:lnTo>
                    <a:pt x="99" y="671"/>
                  </a:lnTo>
                  <a:lnTo>
                    <a:pt x="105" y="654"/>
                  </a:lnTo>
                  <a:lnTo>
                    <a:pt x="123" y="633"/>
                  </a:lnTo>
                  <a:lnTo>
                    <a:pt x="139" y="567"/>
                  </a:lnTo>
                  <a:lnTo>
                    <a:pt x="201" y="517"/>
                  </a:lnTo>
                  <a:lnTo>
                    <a:pt x="223" y="458"/>
                  </a:lnTo>
                  <a:lnTo>
                    <a:pt x="236" y="454"/>
                  </a:lnTo>
                  <a:lnTo>
                    <a:pt x="252" y="417"/>
                  </a:lnTo>
                  <a:lnTo>
                    <a:pt x="288" y="413"/>
                  </a:lnTo>
                  <a:lnTo>
                    <a:pt x="304" y="419"/>
                  </a:lnTo>
                  <a:lnTo>
                    <a:pt x="324" y="419"/>
                  </a:lnTo>
                  <a:lnTo>
                    <a:pt x="337" y="408"/>
                  </a:lnTo>
                  <a:lnTo>
                    <a:pt x="364" y="406"/>
                  </a:lnTo>
                  <a:lnTo>
                    <a:pt x="364" y="381"/>
                  </a:lnTo>
                  <a:lnTo>
                    <a:pt x="364" y="381"/>
                  </a:lnTo>
                  <a:lnTo>
                    <a:pt x="370" y="381"/>
                  </a:lnTo>
                  <a:lnTo>
                    <a:pt x="371" y="325"/>
                  </a:lnTo>
                  <a:lnTo>
                    <a:pt x="442" y="291"/>
                  </a:lnTo>
                  <a:lnTo>
                    <a:pt x="484" y="284"/>
                  </a:lnTo>
                  <a:lnTo>
                    <a:pt x="519" y="271"/>
                  </a:lnTo>
                  <a:lnTo>
                    <a:pt x="537" y="247"/>
                  </a:lnTo>
                  <a:lnTo>
                    <a:pt x="587" y="230"/>
                  </a:lnTo>
                  <a:lnTo>
                    <a:pt x="589" y="195"/>
                  </a:lnTo>
                  <a:lnTo>
                    <a:pt x="613" y="190"/>
                  </a:lnTo>
                  <a:lnTo>
                    <a:pt x="633" y="174"/>
                  </a:lnTo>
                  <a:lnTo>
                    <a:pt x="689" y="165"/>
                  </a:lnTo>
                  <a:lnTo>
                    <a:pt x="696" y="147"/>
                  </a:lnTo>
                  <a:lnTo>
                    <a:pt x="685" y="137"/>
                  </a:lnTo>
                  <a:lnTo>
                    <a:pt x="671" y="87"/>
                  </a:lnTo>
                  <a:lnTo>
                    <a:pt x="669" y="59"/>
                  </a:lnTo>
                  <a:lnTo>
                    <a:pt x="653" y="28"/>
                  </a:lnTo>
                  <a:lnTo>
                    <a:pt x="653" y="2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8" name="Madagascar">
              <a:extLst>
                <a:ext uri="{FF2B5EF4-FFF2-40B4-BE49-F238E27FC236}">
                  <a16:creationId xmlns:a16="http://schemas.microsoft.com/office/drawing/2014/main" id="{DB59B6B1-A71A-64C3-FAE9-F35BF1E2E1F1}"/>
                </a:ext>
              </a:extLst>
            </p:cNvPr>
            <p:cNvSpPr>
              <a:spLocks/>
            </p:cNvSpPr>
            <p:nvPr/>
          </p:nvSpPr>
          <p:spPr bwMode="auto">
            <a:xfrm>
              <a:off x="9090916" y="4463387"/>
              <a:ext cx="541338" cy="1009650"/>
            </a:xfrm>
            <a:custGeom>
              <a:avLst/>
              <a:gdLst>
                <a:gd name="T0" fmla="*/ 327 w 341"/>
                <a:gd name="T1" fmla="*/ 70 h 636"/>
                <a:gd name="T2" fmla="*/ 318 w 341"/>
                <a:gd name="T3" fmla="*/ 40 h 636"/>
                <a:gd name="T4" fmla="*/ 307 w 341"/>
                <a:gd name="T5" fmla="*/ 19 h 636"/>
                <a:gd name="T6" fmla="*/ 292 w 341"/>
                <a:gd name="T7" fmla="*/ 0 h 636"/>
                <a:gd name="T8" fmla="*/ 277 w 341"/>
                <a:gd name="T9" fmla="*/ 20 h 636"/>
                <a:gd name="T10" fmla="*/ 274 w 341"/>
                <a:gd name="T11" fmla="*/ 49 h 636"/>
                <a:gd name="T12" fmla="*/ 249 w 341"/>
                <a:gd name="T13" fmla="*/ 81 h 636"/>
                <a:gd name="T14" fmla="*/ 229 w 341"/>
                <a:gd name="T15" fmla="*/ 75 h 636"/>
                <a:gd name="T16" fmla="*/ 234 w 341"/>
                <a:gd name="T17" fmla="*/ 96 h 636"/>
                <a:gd name="T18" fmla="*/ 219 w 341"/>
                <a:gd name="T19" fmla="*/ 119 h 636"/>
                <a:gd name="T20" fmla="*/ 182 w 341"/>
                <a:gd name="T21" fmla="*/ 148 h 636"/>
                <a:gd name="T22" fmla="*/ 155 w 341"/>
                <a:gd name="T23" fmla="*/ 175 h 636"/>
                <a:gd name="T24" fmla="*/ 135 w 341"/>
                <a:gd name="T25" fmla="*/ 175 h 636"/>
                <a:gd name="T26" fmla="*/ 119 w 341"/>
                <a:gd name="T27" fmla="*/ 184 h 636"/>
                <a:gd name="T28" fmla="*/ 93 w 341"/>
                <a:gd name="T29" fmla="*/ 193 h 636"/>
                <a:gd name="T30" fmla="*/ 71 w 341"/>
                <a:gd name="T31" fmla="*/ 196 h 636"/>
                <a:gd name="T32" fmla="*/ 63 w 341"/>
                <a:gd name="T33" fmla="*/ 226 h 636"/>
                <a:gd name="T34" fmla="*/ 46 w 341"/>
                <a:gd name="T35" fmla="*/ 252 h 636"/>
                <a:gd name="T36" fmla="*/ 47 w 341"/>
                <a:gd name="T37" fmla="*/ 295 h 636"/>
                <a:gd name="T38" fmla="*/ 53 w 341"/>
                <a:gd name="T39" fmla="*/ 324 h 636"/>
                <a:gd name="T40" fmla="*/ 62 w 341"/>
                <a:gd name="T41" fmla="*/ 347 h 636"/>
                <a:gd name="T42" fmla="*/ 56 w 341"/>
                <a:gd name="T43" fmla="*/ 377 h 636"/>
                <a:gd name="T44" fmla="*/ 32 w 341"/>
                <a:gd name="T45" fmla="*/ 412 h 636"/>
                <a:gd name="T46" fmla="*/ 31 w 341"/>
                <a:gd name="T47" fmla="*/ 428 h 636"/>
                <a:gd name="T48" fmla="*/ 10 w 341"/>
                <a:gd name="T49" fmla="*/ 436 h 636"/>
                <a:gd name="T50" fmla="*/ 0 w 341"/>
                <a:gd name="T51" fmla="*/ 470 h 636"/>
                <a:gd name="T52" fmla="*/ 2 w 341"/>
                <a:gd name="T53" fmla="*/ 504 h 636"/>
                <a:gd name="T54" fmla="*/ 14 w 341"/>
                <a:gd name="T55" fmla="*/ 541 h 636"/>
                <a:gd name="T56" fmla="*/ 14 w 341"/>
                <a:gd name="T57" fmla="*/ 583 h 636"/>
                <a:gd name="T58" fmla="*/ 23 w 341"/>
                <a:gd name="T59" fmla="*/ 608 h 636"/>
                <a:gd name="T60" fmla="*/ 57 w 341"/>
                <a:gd name="T61" fmla="*/ 625 h 636"/>
                <a:gd name="T62" fmla="*/ 81 w 341"/>
                <a:gd name="T63" fmla="*/ 636 h 636"/>
                <a:gd name="T64" fmla="*/ 120 w 341"/>
                <a:gd name="T65" fmla="*/ 617 h 636"/>
                <a:gd name="T66" fmla="*/ 156 w 341"/>
                <a:gd name="T67" fmla="*/ 606 h 636"/>
                <a:gd name="T68" fmla="*/ 181 w 341"/>
                <a:gd name="T69" fmla="*/ 551 h 636"/>
                <a:gd name="T70" fmla="*/ 203 w 341"/>
                <a:gd name="T71" fmla="*/ 485 h 636"/>
                <a:gd name="T72" fmla="*/ 238 w 341"/>
                <a:gd name="T73" fmla="*/ 397 h 636"/>
                <a:gd name="T74" fmla="*/ 264 w 341"/>
                <a:gd name="T75" fmla="*/ 332 h 636"/>
                <a:gd name="T76" fmla="*/ 285 w 341"/>
                <a:gd name="T77" fmla="*/ 277 h 636"/>
                <a:gd name="T78" fmla="*/ 292 w 341"/>
                <a:gd name="T79" fmla="*/ 237 h 636"/>
                <a:gd name="T80" fmla="*/ 304 w 341"/>
                <a:gd name="T81" fmla="*/ 226 h 636"/>
                <a:gd name="T82" fmla="*/ 310 w 341"/>
                <a:gd name="T83" fmla="*/ 207 h 636"/>
                <a:gd name="T84" fmla="*/ 303 w 341"/>
                <a:gd name="T85" fmla="*/ 172 h 636"/>
                <a:gd name="T86" fmla="*/ 313 w 341"/>
                <a:gd name="T87" fmla="*/ 158 h 636"/>
                <a:gd name="T88" fmla="*/ 325 w 341"/>
                <a:gd name="T89" fmla="*/ 186 h 636"/>
                <a:gd name="T90" fmla="*/ 334 w 341"/>
                <a:gd name="T91" fmla="*/ 171 h 636"/>
                <a:gd name="T92" fmla="*/ 341 w 341"/>
                <a:gd name="T93" fmla="*/ 149 h 636"/>
                <a:gd name="T94" fmla="*/ 331 w 341"/>
                <a:gd name="T95" fmla="*/ 127 h 636"/>
                <a:gd name="T96" fmla="*/ 327 w 341"/>
                <a:gd name="T97" fmla="*/ 7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636">
                  <a:moveTo>
                    <a:pt x="327" y="70"/>
                  </a:moveTo>
                  <a:lnTo>
                    <a:pt x="318" y="40"/>
                  </a:lnTo>
                  <a:lnTo>
                    <a:pt x="307" y="19"/>
                  </a:lnTo>
                  <a:lnTo>
                    <a:pt x="292" y="0"/>
                  </a:lnTo>
                  <a:lnTo>
                    <a:pt x="277" y="20"/>
                  </a:lnTo>
                  <a:lnTo>
                    <a:pt x="274" y="49"/>
                  </a:lnTo>
                  <a:lnTo>
                    <a:pt x="249" y="81"/>
                  </a:lnTo>
                  <a:lnTo>
                    <a:pt x="229" y="75"/>
                  </a:lnTo>
                  <a:lnTo>
                    <a:pt x="234" y="96"/>
                  </a:lnTo>
                  <a:lnTo>
                    <a:pt x="219" y="119"/>
                  </a:lnTo>
                  <a:lnTo>
                    <a:pt x="182" y="148"/>
                  </a:lnTo>
                  <a:lnTo>
                    <a:pt x="155" y="175"/>
                  </a:lnTo>
                  <a:lnTo>
                    <a:pt x="135" y="175"/>
                  </a:lnTo>
                  <a:lnTo>
                    <a:pt x="119" y="184"/>
                  </a:lnTo>
                  <a:lnTo>
                    <a:pt x="93" y="193"/>
                  </a:lnTo>
                  <a:lnTo>
                    <a:pt x="71" y="196"/>
                  </a:lnTo>
                  <a:lnTo>
                    <a:pt x="63" y="226"/>
                  </a:lnTo>
                  <a:lnTo>
                    <a:pt x="46" y="252"/>
                  </a:lnTo>
                  <a:lnTo>
                    <a:pt x="47" y="295"/>
                  </a:lnTo>
                  <a:lnTo>
                    <a:pt x="53" y="324"/>
                  </a:lnTo>
                  <a:lnTo>
                    <a:pt x="62" y="347"/>
                  </a:lnTo>
                  <a:lnTo>
                    <a:pt x="56" y="377"/>
                  </a:lnTo>
                  <a:lnTo>
                    <a:pt x="32" y="412"/>
                  </a:lnTo>
                  <a:lnTo>
                    <a:pt x="31" y="428"/>
                  </a:lnTo>
                  <a:lnTo>
                    <a:pt x="10" y="436"/>
                  </a:lnTo>
                  <a:lnTo>
                    <a:pt x="0" y="470"/>
                  </a:lnTo>
                  <a:lnTo>
                    <a:pt x="2" y="504"/>
                  </a:lnTo>
                  <a:lnTo>
                    <a:pt x="14" y="541"/>
                  </a:lnTo>
                  <a:lnTo>
                    <a:pt x="14" y="583"/>
                  </a:lnTo>
                  <a:lnTo>
                    <a:pt x="23" y="608"/>
                  </a:lnTo>
                  <a:lnTo>
                    <a:pt x="57" y="625"/>
                  </a:lnTo>
                  <a:lnTo>
                    <a:pt x="81" y="636"/>
                  </a:lnTo>
                  <a:lnTo>
                    <a:pt x="120" y="617"/>
                  </a:lnTo>
                  <a:lnTo>
                    <a:pt x="156" y="606"/>
                  </a:lnTo>
                  <a:lnTo>
                    <a:pt x="181" y="551"/>
                  </a:lnTo>
                  <a:lnTo>
                    <a:pt x="203" y="485"/>
                  </a:lnTo>
                  <a:lnTo>
                    <a:pt x="238" y="397"/>
                  </a:lnTo>
                  <a:lnTo>
                    <a:pt x="264" y="332"/>
                  </a:lnTo>
                  <a:lnTo>
                    <a:pt x="285" y="277"/>
                  </a:lnTo>
                  <a:lnTo>
                    <a:pt x="292" y="237"/>
                  </a:lnTo>
                  <a:lnTo>
                    <a:pt x="304" y="226"/>
                  </a:lnTo>
                  <a:lnTo>
                    <a:pt x="310" y="207"/>
                  </a:lnTo>
                  <a:lnTo>
                    <a:pt x="303" y="172"/>
                  </a:lnTo>
                  <a:lnTo>
                    <a:pt x="313" y="158"/>
                  </a:lnTo>
                  <a:lnTo>
                    <a:pt x="325" y="186"/>
                  </a:lnTo>
                  <a:lnTo>
                    <a:pt x="334" y="171"/>
                  </a:lnTo>
                  <a:lnTo>
                    <a:pt x="341" y="149"/>
                  </a:lnTo>
                  <a:lnTo>
                    <a:pt x="331" y="127"/>
                  </a:lnTo>
                  <a:lnTo>
                    <a:pt x="327" y="7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69" name="Mali">
              <a:extLst>
                <a:ext uri="{FF2B5EF4-FFF2-40B4-BE49-F238E27FC236}">
                  <a16:creationId xmlns:a16="http://schemas.microsoft.com/office/drawing/2014/main" id="{FCEB9ECD-B510-3C26-C9FC-22E20BFA11F4}"/>
                </a:ext>
              </a:extLst>
            </p:cNvPr>
            <p:cNvSpPr>
              <a:spLocks/>
            </p:cNvSpPr>
            <p:nvPr/>
          </p:nvSpPr>
          <p:spPr bwMode="auto">
            <a:xfrm>
              <a:off x="5236466" y="1701137"/>
              <a:ext cx="1154113" cy="1109663"/>
            </a:xfrm>
            <a:custGeom>
              <a:avLst/>
              <a:gdLst>
                <a:gd name="T0" fmla="*/ 677 w 727"/>
                <a:gd name="T1" fmla="*/ 278 h 699"/>
                <a:gd name="T2" fmla="*/ 657 w 727"/>
                <a:gd name="T3" fmla="*/ 240 h 699"/>
                <a:gd name="T4" fmla="*/ 618 w 727"/>
                <a:gd name="T5" fmla="*/ 206 h 699"/>
                <a:gd name="T6" fmla="*/ 324 w 727"/>
                <a:gd name="T7" fmla="*/ 0 h 699"/>
                <a:gd name="T8" fmla="*/ 277 w 727"/>
                <a:gd name="T9" fmla="*/ 204 h 699"/>
                <a:gd name="T10" fmla="*/ 304 w 727"/>
                <a:gd name="T11" fmla="*/ 413 h 699"/>
                <a:gd name="T12" fmla="*/ 117 w 727"/>
                <a:gd name="T13" fmla="*/ 446 h 699"/>
                <a:gd name="T14" fmla="*/ 93 w 727"/>
                <a:gd name="T15" fmla="*/ 454 h 699"/>
                <a:gd name="T16" fmla="*/ 37 w 727"/>
                <a:gd name="T17" fmla="*/ 449 h 699"/>
                <a:gd name="T18" fmla="*/ 15 w 727"/>
                <a:gd name="T19" fmla="*/ 478 h 699"/>
                <a:gd name="T20" fmla="*/ 2 w 727"/>
                <a:gd name="T21" fmla="*/ 516 h 699"/>
                <a:gd name="T22" fmla="*/ 26 w 727"/>
                <a:gd name="T23" fmla="*/ 556 h 699"/>
                <a:gd name="T24" fmla="*/ 28 w 727"/>
                <a:gd name="T25" fmla="*/ 589 h 699"/>
                <a:gd name="T26" fmla="*/ 37 w 727"/>
                <a:gd name="T27" fmla="*/ 606 h 699"/>
                <a:gd name="T28" fmla="*/ 57 w 727"/>
                <a:gd name="T29" fmla="*/ 601 h 699"/>
                <a:gd name="T30" fmla="*/ 88 w 727"/>
                <a:gd name="T31" fmla="*/ 617 h 699"/>
                <a:gd name="T32" fmla="*/ 114 w 727"/>
                <a:gd name="T33" fmla="*/ 600 h 699"/>
                <a:gd name="T34" fmla="*/ 133 w 727"/>
                <a:gd name="T35" fmla="*/ 595 h 699"/>
                <a:gd name="T36" fmla="*/ 149 w 727"/>
                <a:gd name="T37" fmla="*/ 619 h 699"/>
                <a:gd name="T38" fmla="*/ 158 w 727"/>
                <a:gd name="T39" fmla="*/ 650 h 699"/>
                <a:gd name="T40" fmla="*/ 165 w 727"/>
                <a:gd name="T41" fmla="*/ 662 h 699"/>
                <a:gd name="T42" fmla="*/ 168 w 727"/>
                <a:gd name="T43" fmla="*/ 680 h 699"/>
                <a:gd name="T44" fmla="*/ 187 w 727"/>
                <a:gd name="T45" fmla="*/ 690 h 699"/>
                <a:gd name="T46" fmla="*/ 234 w 727"/>
                <a:gd name="T47" fmla="*/ 697 h 699"/>
                <a:gd name="T48" fmla="*/ 250 w 727"/>
                <a:gd name="T49" fmla="*/ 684 h 699"/>
                <a:gd name="T50" fmla="*/ 269 w 727"/>
                <a:gd name="T51" fmla="*/ 699 h 699"/>
                <a:gd name="T52" fmla="*/ 299 w 727"/>
                <a:gd name="T53" fmla="*/ 686 h 699"/>
                <a:gd name="T54" fmla="*/ 308 w 727"/>
                <a:gd name="T55" fmla="*/ 639 h 699"/>
                <a:gd name="T56" fmla="*/ 342 w 727"/>
                <a:gd name="T57" fmla="*/ 584 h 699"/>
                <a:gd name="T58" fmla="*/ 361 w 727"/>
                <a:gd name="T59" fmla="*/ 541 h 699"/>
                <a:gd name="T60" fmla="*/ 401 w 727"/>
                <a:gd name="T61" fmla="*/ 538 h 699"/>
                <a:gd name="T62" fmla="*/ 441 w 727"/>
                <a:gd name="T63" fmla="*/ 504 h 699"/>
                <a:gd name="T64" fmla="*/ 491 w 727"/>
                <a:gd name="T65" fmla="*/ 470 h 699"/>
                <a:gd name="T66" fmla="*/ 527 w 727"/>
                <a:gd name="T67" fmla="*/ 472 h 699"/>
                <a:gd name="T68" fmla="*/ 583 w 727"/>
                <a:gd name="T69" fmla="*/ 470 h 699"/>
                <a:gd name="T70" fmla="*/ 660 w 727"/>
                <a:gd name="T71" fmla="*/ 449 h 699"/>
                <a:gd name="T72" fmla="*/ 702 w 727"/>
                <a:gd name="T73" fmla="*/ 414 h 699"/>
                <a:gd name="T74" fmla="*/ 726 w 727"/>
                <a:gd name="T75" fmla="*/ 274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7" h="699">
                  <a:moveTo>
                    <a:pt x="726" y="274"/>
                  </a:moveTo>
                  <a:lnTo>
                    <a:pt x="677" y="278"/>
                  </a:lnTo>
                  <a:lnTo>
                    <a:pt x="677" y="248"/>
                  </a:lnTo>
                  <a:lnTo>
                    <a:pt x="657" y="240"/>
                  </a:lnTo>
                  <a:lnTo>
                    <a:pt x="629" y="227"/>
                  </a:lnTo>
                  <a:lnTo>
                    <a:pt x="618" y="206"/>
                  </a:lnTo>
                  <a:lnTo>
                    <a:pt x="470" y="103"/>
                  </a:lnTo>
                  <a:lnTo>
                    <a:pt x="324" y="0"/>
                  </a:lnTo>
                  <a:lnTo>
                    <a:pt x="258" y="1"/>
                  </a:lnTo>
                  <a:lnTo>
                    <a:pt x="277" y="204"/>
                  </a:lnTo>
                  <a:lnTo>
                    <a:pt x="297" y="407"/>
                  </a:lnTo>
                  <a:lnTo>
                    <a:pt x="304" y="413"/>
                  </a:lnTo>
                  <a:lnTo>
                    <a:pt x="294" y="445"/>
                  </a:lnTo>
                  <a:lnTo>
                    <a:pt x="117" y="446"/>
                  </a:lnTo>
                  <a:lnTo>
                    <a:pt x="110" y="456"/>
                  </a:lnTo>
                  <a:lnTo>
                    <a:pt x="93" y="454"/>
                  </a:lnTo>
                  <a:lnTo>
                    <a:pt x="68" y="463"/>
                  </a:lnTo>
                  <a:lnTo>
                    <a:pt x="37" y="449"/>
                  </a:lnTo>
                  <a:lnTo>
                    <a:pt x="23" y="451"/>
                  </a:lnTo>
                  <a:lnTo>
                    <a:pt x="15" y="478"/>
                  </a:lnTo>
                  <a:lnTo>
                    <a:pt x="0" y="487"/>
                  </a:lnTo>
                  <a:lnTo>
                    <a:pt x="2" y="516"/>
                  </a:lnTo>
                  <a:lnTo>
                    <a:pt x="10" y="543"/>
                  </a:lnTo>
                  <a:lnTo>
                    <a:pt x="26" y="556"/>
                  </a:lnTo>
                  <a:lnTo>
                    <a:pt x="30" y="574"/>
                  </a:lnTo>
                  <a:lnTo>
                    <a:pt x="28" y="589"/>
                  </a:lnTo>
                  <a:lnTo>
                    <a:pt x="30" y="606"/>
                  </a:lnTo>
                  <a:lnTo>
                    <a:pt x="37" y="606"/>
                  </a:lnTo>
                  <a:lnTo>
                    <a:pt x="49" y="600"/>
                  </a:lnTo>
                  <a:lnTo>
                    <a:pt x="57" y="601"/>
                  </a:lnTo>
                  <a:lnTo>
                    <a:pt x="68" y="613"/>
                  </a:lnTo>
                  <a:lnTo>
                    <a:pt x="88" y="617"/>
                  </a:lnTo>
                  <a:lnTo>
                    <a:pt x="99" y="607"/>
                  </a:lnTo>
                  <a:lnTo>
                    <a:pt x="114" y="600"/>
                  </a:lnTo>
                  <a:lnTo>
                    <a:pt x="125" y="594"/>
                  </a:lnTo>
                  <a:lnTo>
                    <a:pt x="133" y="595"/>
                  </a:lnTo>
                  <a:lnTo>
                    <a:pt x="143" y="605"/>
                  </a:lnTo>
                  <a:lnTo>
                    <a:pt x="149" y="619"/>
                  </a:lnTo>
                  <a:lnTo>
                    <a:pt x="167" y="639"/>
                  </a:lnTo>
                  <a:lnTo>
                    <a:pt x="158" y="650"/>
                  </a:lnTo>
                  <a:lnTo>
                    <a:pt x="155" y="666"/>
                  </a:lnTo>
                  <a:lnTo>
                    <a:pt x="165" y="662"/>
                  </a:lnTo>
                  <a:lnTo>
                    <a:pt x="171" y="667"/>
                  </a:lnTo>
                  <a:lnTo>
                    <a:pt x="168" y="680"/>
                  </a:lnTo>
                  <a:lnTo>
                    <a:pt x="182" y="694"/>
                  </a:lnTo>
                  <a:lnTo>
                    <a:pt x="187" y="690"/>
                  </a:lnTo>
                  <a:lnTo>
                    <a:pt x="200" y="697"/>
                  </a:lnTo>
                  <a:lnTo>
                    <a:pt x="234" y="697"/>
                  </a:lnTo>
                  <a:lnTo>
                    <a:pt x="242" y="684"/>
                  </a:lnTo>
                  <a:lnTo>
                    <a:pt x="250" y="684"/>
                  </a:lnTo>
                  <a:lnTo>
                    <a:pt x="263" y="679"/>
                  </a:lnTo>
                  <a:lnTo>
                    <a:pt x="269" y="699"/>
                  </a:lnTo>
                  <a:lnTo>
                    <a:pt x="280" y="694"/>
                  </a:lnTo>
                  <a:lnTo>
                    <a:pt x="299" y="686"/>
                  </a:lnTo>
                  <a:lnTo>
                    <a:pt x="295" y="659"/>
                  </a:lnTo>
                  <a:lnTo>
                    <a:pt x="308" y="639"/>
                  </a:lnTo>
                  <a:lnTo>
                    <a:pt x="307" y="623"/>
                  </a:lnTo>
                  <a:lnTo>
                    <a:pt x="342" y="584"/>
                  </a:lnTo>
                  <a:lnTo>
                    <a:pt x="349" y="552"/>
                  </a:lnTo>
                  <a:lnTo>
                    <a:pt x="361" y="541"/>
                  </a:lnTo>
                  <a:lnTo>
                    <a:pt x="383" y="547"/>
                  </a:lnTo>
                  <a:lnTo>
                    <a:pt x="401" y="538"/>
                  </a:lnTo>
                  <a:lnTo>
                    <a:pt x="407" y="526"/>
                  </a:lnTo>
                  <a:lnTo>
                    <a:pt x="441" y="504"/>
                  </a:lnTo>
                  <a:lnTo>
                    <a:pt x="450" y="490"/>
                  </a:lnTo>
                  <a:lnTo>
                    <a:pt x="491" y="470"/>
                  </a:lnTo>
                  <a:lnTo>
                    <a:pt x="516" y="464"/>
                  </a:lnTo>
                  <a:lnTo>
                    <a:pt x="527" y="472"/>
                  </a:lnTo>
                  <a:lnTo>
                    <a:pt x="555" y="472"/>
                  </a:lnTo>
                  <a:lnTo>
                    <a:pt x="583" y="470"/>
                  </a:lnTo>
                  <a:lnTo>
                    <a:pt x="600" y="454"/>
                  </a:lnTo>
                  <a:lnTo>
                    <a:pt x="660" y="449"/>
                  </a:lnTo>
                  <a:lnTo>
                    <a:pt x="699" y="442"/>
                  </a:lnTo>
                  <a:lnTo>
                    <a:pt x="702" y="414"/>
                  </a:lnTo>
                  <a:lnTo>
                    <a:pt x="727" y="382"/>
                  </a:lnTo>
                  <a:lnTo>
                    <a:pt x="726" y="274"/>
                  </a:lnTo>
                  <a:lnTo>
                    <a:pt x="726" y="2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0" name="Mozambique">
              <a:extLst>
                <a:ext uri="{FF2B5EF4-FFF2-40B4-BE49-F238E27FC236}">
                  <a16:creationId xmlns:a16="http://schemas.microsoft.com/office/drawing/2014/main" id="{032CAF15-8A73-1A78-0FEC-569F4FB52D26}"/>
                </a:ext>
              </a:extLst>
            </p:cNvPr>
            <p:cNvSpPr>
              <a:spLocks/>
            </p:cNvSpPr>
            <p:nvPr/>
          </p:nvSpPr>
          <p:spPr bwMode="auto">
            <a:xfrm>
              <a:off x="8209854" y="4333212"/>
              <a:ext cx="742950" cy="1225550"/>
            </a:xfrm>
            <a:custGeom>
              <a:avLst/>
              <a:gdLst>
                <a:gd name="T0" fmla="*/ 457 w 468"/>
                <a:gd name="T1" fmla="*/ 0 h 772"/>
                <a:gd name="T2" fmla="*/ 457 w 468"/>
                <a:gd name="T3" fmla="*/ 0 h 772"/>
                <a:gd name="T4" fmla="*/ 371 w 468"/>
                <a:gd name="T5" fmla="*/ 46 h 772"/>
                <a:gd name="T6" fmla="*/ 328 w 468"/>
                <a:gd name="T7" fmla="*/ 60 h 772"/>
                <a:gd name="T8" fmla="*/ 285 w 468"/>
                <a:gd name="T9" fmla="*/ 66 h 772"/>
                <a:gd name="T10" fmla="*/ 216 w 468"/>
                <a:gd name="T11" fmla="*/ 55 h 772"/>
                <a:gd name="T12" fmla="*/ 208 w 468"/>
                <a:gd name="T13" fmla="*/ 153 h 772"/>
                <a:gd name="T14" fmla="*/ 226 w 468"/>
                <a:gd name="T15" fmla="*/ 168 h 772"/>
                <a:gd name="T16" fmla="*/ 245 w 468"/>
                <a:gd name="T17" fmla="*/ 263 h 772"/>
                <a:gd name="T18" fmla="*/ 210 w 468"/>
                <a:gd name="T19" fmla="*/ 305 h 772"/>
                <a:gd name="T20" fmla="*/ 181 w 468"/>
                <a:gd name="T21" fmla="*/ 243 h 772"/>
                <a:gd name="T22" fmla="*/ 189 w 468"/>
                <a:gd name="T23" fmla="*/ 202 h 772"/>
                <a:gd name="T24" fmla="*/ 160 w 468"/>
                <a:gd name="T25" fmla="*/ 195 h 772"/>
                <a:gd name="T26" fmla="*/ 0 w 468"/>
                <a:gd name="T27" fmla="*/ 211 h 772"/>
                <a:gd name="T28" fmla="*/ 5 w 468"/>
                <a:gd name="T29" fmla="*/ 262 h 772"/>
                <a:gd name="T30" fmla="*/ 61 w 468"/>
                <a:gd name="T31" fmla="*/ 271 h 772"/>
                <a:gd name="T32" fmla="*/ 91 w 468"/>
                <a:gd name="T33" fmla="*/ 285 h 772"/>
                <a:gd name="T34" fmla="*/ 110 w 468"/>
                <a:gd name="T35" fmla="*/ 360 h 772"/>
                <a:gd name="T36" fmla="*/ 97 w 468"/>
                <a:gd name="T37" fmla="*/ 428 h 772"/>
                <a:gd name="T38" fmla="*/ 97 w 468"/>
                <a:gd name="T39" fmla="*/ 470 h 772"/>
                <a:gd name="T40" fmla="*/ 77 w 468"/>
                <a:gd name="T41" fmla="*/ 508 h 772"/>
                <a:gd name="T42" fmla="*/ 45 w 468"/>
                <a:gd name="T43" fmla="*/ 627 h 772"/>
                <a:gd name="T44" fmla="*/ 43 w 468"/>
                <a:gd name="T45" fmla="*/ 713 h 772"/>
                <a:gd name="T46" fmla="*/ 50 w 468"/>
                <a:gd name="T47" fmla="*/ 751 h 772"/>
                <a:gd name="T48" fmla="*/ 86 w 468"/>
                <a:gd name="T49" fmla="*/ 772 h 772"/>
                <a:gd name="T50" fmla="*/ 80 w 468"/>
                <a:gd name="T51" fmla="*/ 744 h 772"/>
                <a:gd name="T52" fmla="*/ 99 w 468"/>
                <a:gd name="T53" fmla="*/ 707 h 772"/>
                <a:gd name="T54" fmla="*/ 189 w 468"/>
                <a:gd name="T55" fmla="*/ 666 h 772"/>
                <a:gd name="T56" fmla="*/ 216 w 468"/>
                <a:gd name="T57" fmla="*/ 629 h 772"/>
                <a:gd name="T58" fmla="*/ 216 w 468"/>
                <a:gd name="T59" fmla="*/ 600 h 772"/>
                <a:gd name="T60" fmla="*/ 211 w 468"/>
                <a:gd name="T61" fmla="*/ 555 h 772"/>
                <a:gd name="T62" fmla="*/ 205 w 468"/>
                <a:gd name="T63" fmla="*/ 515 h 772"/>
                <a:gd name="T64" fmla="*/ 192 w 468"/>
                <a:gd name="T65" fmla="*/ 445 h 772"/>
                <a:gd name="T66" fmla="*/ 243 w 468"/>
                <a:gd name="T67" fmla="*/ 401 h 772"/>
                <a:gd name="T68" fmla="*/ 312 w 468"/>
                <a:gd name="T69" fmla="*/ 341 h 772"/>
                <a:gd name="T70" fmla="*/ 405 w 468"/>
                <a:gd name="T71" fmla="*/ 301 h 772"/>
                <a:gd name="T72" fmla="*/ 453 w 468"/>
                <a:gd name="T73" fmla="*/ 240 h 772"/>
                <a:gd name="T74" fmla="*/ 462 w 468"/>
                <a:gd name="T75" fmla="*/ 183 h 772"/>
                <a:gd name="T76" fmla="*/ 459 w 468"/>
                <a:gd name="T77" fmla="*/ 68 h 772"/>
                <a:gd name="T78" fmla="*/ 463 w 468"/>
                <a:gd name="T79" fmla="*/ 2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8" h="772">
                  <a:moveTo>
                    <a:pt x="463" y="21"/>
                  </a:moveTo>
                  <a:lnTo>
                    <a:pt x="457" y="0"/>
                  </a:lnTo>
                  <a:lnTo>
                    <a:pt x="457" y="0"/>
                  </a:lnTo>
                  <a:lnTo>
                    <a:pt x="457" y="0"/>
                  </a:lnTo>
                  <a:lnTo>
                    <a:pt x="420" y="27"/>
                  </a:lnTo>
                  <a:lnTo>
                    <a:pt x="371" y="46"/>
                  </a:lnTo>
                  <a:lnTo>
                    <a:pt x="344" y="45"/>
                  </a:lnTo>
                  <a:lnTo>
                    <a:pt x="328" y="60"/>
                  </a:lnTo>
                  <a:lnTo>
                    <a:pt x="298" y="60"/>
                  </a:lnTo>
                  <a:lnTo>
                    <a:pt x="285" y="66"/>
                  </a:lnTo>
                  <a:lnTo>
                    <a:pt x="233" y="53"/>
                  </a:lnTo>
                  <a:lnTo>
                    <a:pt x="216" y="55"/>
                  </a:lnTo>
                  <a:lnTo>
                    <a:pt x="204" y="100"/>
                  </a:lnTo>
                  <a:lnTo>
                    <a:pt x="208" y="153"/>
                  </a:lnTo>
                  <a:lnTo>
                    <a:pt x="211" y="153"/>
                  </a:lnTo>
                  <a:lnTo>
                    <a:pt x="226" y="168"/>
                  </a:lnTo>
                  <a:lnTo>
                    <a:pt x="243" y="202"/>
                  </a:lnTo>
                  <a:lnTo>
                    <a:pt x="245" y="263"/>
                  </a:lnTo>
                  <a:lnTo>
                    <a:pt x="225" y="273"/>
                  </a:lnTo>
                  <a:lnTo>
                    <a:pt x="210" y="305"/>
                  </a:lnTo>
                  <a:lnTo>
                    <a:pt x="183" y="276"/>
                  </a:lnTo>
                  <a:lnTo>
                    <a:pt x="181" y="243"/>
                  </a:lnTo>
                  <a:lnTo>
                    <a:pt x="191" y="221"/>
                  </a:lnTo>
                  <a:lnTo>
                    <a:pt x="189" y="202"/>
                  </a:lnTo>
                  <a:lnTo>
                    <a:pt x="172" y="190"/>
                  </a:lnTo>
                  <a:lnTo>
                    <a:pt x="160" y="195"/>
                  </a:lnTo>
                  <a:lnTo>
                    <a:pt x="135" y="172"/>
                  </a:lnTo>
                  <a:lnTo>
                    <a:pt x="0" y="211"/>
                  </a:lnTo>
                  <a:lnTo>
                    <a:pt x="3" y="245"/>
                  </a:lnTo>
                  <a:lnTo>
                    <a:pt x="5" y="262"/>
                  </a:lnTo>
                  <a:lnTo>
                    <a:pt x="41" y="261"/>
                  </a:lnTo>
                  <a:lnTo>
                    <a:pt x="61" y="271"/>
                  </a:lnTo>
                  <a:lnTo>
                    <a:pt x="70" y="282"/>
                  </a:lnTo>
                  <a:lnTo>
                    <a:pt x="91" y="285"/>
                  </a:lnTo>
                  <a:lnTo>
                    <a:pt x="113" y="301"/>
                  </a:lnTo>
                  <a:lnTo>
                    <a:pt x="110" y="360"/>
                  </a:lnTo>
                  <a:lnTo>
                    <a:pt x="100" y="392"/>
                  </a:lnTo>
                  <a:lnTo>
                    <a:pt x="97" y="428"/>
                  </a:lnTo>
                  <a:lnTo>
                    <a:pt x="103" y="442"/>
                  </a:lnTo>
                  <a:lnTo>
                    <a:pt x="97" y="470"/>
                  </a:lnTo>
                  <a:lnTo>
                    <a:pt x="89" y="474"/>
                  </a:lnTo>
                  <a:lnTo>
                    <a:pt x="77" y="508"/>
                  </a:lnTo>
                  <a:lnTo>
                    <a:pt x="27" y="561"/>
                  </a:lnTo>
                  <a:lnTo>
                    <a:pt x="45" y="627"/>
                  </a:lnTo>
                  <a:lnTo>
                    <a:pt x="54" y="661"/>
                  </a:lnTo>
                  <a:lnTo>
                    <a:pt x="43" y="713"/>
                  </a:lnTo>
                  <a:lnTo>
                    <a:pt x="46" y="730"/>
                  </a:lnTo>
                  <a:lnTo>
                    <a:pt x="50" y="751"/>
                  </a:lnTo>
                  <a:lnTo>
                    <a:pt x="53" y="772"/>
                  </a:lnTo>
                  <a:lnTo>
                    <a:pt x="86" y="772"/>
                  </a:lnTo>
                  <a:lnTo>
                    <a:pt x="91" y="747"/>
                  </a:lnTo>
                  <a:lnTo>
                    <a:pt x="80" y="744"/>
                  </a:lnTo>
                  <a:lnTo>
                    <a:pt x="79" y="724"/>
                  </a:lnTo>
                  <a:lnTo>
                    <a:pt x="99" y="707"/>
                  </a:lnTo>
                  <a:lnTo>
                    <a:pt x="153" y="681"/>
                  </a:lnTo>
                  <a:lnTo>
                    <a:pt x="189" y="666"/>
                  </a:lnTo>
                  <a:lnTo>
                    <a:pt x="208" y="649"/>
                  </a:lnTo>
                  <a:lnTo>
                    <a:pt x="216" y="629"/>
                  </a:lnTo>
                  <a:lnTo>
                    <a:pt x="206" y="622"/>
                  </a:lnTo>
                  <a:lnTo>
                    <a:pt x="216" y="600"/>
                  </a:lnTo>
                  <a:lnTo>
                    <a:pt x="219" y="554"/>
                  </a:lnTo>
                  <a:lnTo>
                    <a:pt x="211" y="555"/>
                  </a:lnTo>
                  <a:lnTo>
                    <a:pt x="212" y="542"/>
                  </a:lnTo>
                  <a:lnTo>
                    <a:pt x="205" y="515"/>
                  </a:lnTo>
                  <a:lnTo>
                    <a:pt x="185" y="479"/>
                  </a:lnTo>
                  <a:lnTo>
                    <a:pt x="192" y="445"/>
                  </a:lnTo>
                  <a:lnTo>
                    <a:pt x="210" y="434"/>
                  </a:lnTo>
                  <a:lnTo>
                    <a:pt x="243" y="401"/>
                  </a:lnTo>
                  <a:lnTo>
                    <a:pt x="259" y="392"/>
                  </a:lnTo>
                  <a:lnTo>
                    <a:pt x="312" y="341"/>
                  </a:lnTo>
                  <a:lnTo>
                    <a:pt x="363" y="319"/>
                  </a:lnTo>
                  <a:lnTo>
                    <a:pt x="405" y="301"/>
                  </a:lnTo>
                  <a:lnTo>
                    <a:pt x="435" y="272"/>
                  </a:lnTo>
                  <a:lnTo>
                    <a:pt x="453" y="240"/>
                  </a:lnTo>
                  <a:lnTo>
                    <a:pt x="468" y="206"/>
                  </a:lnTo>
                  <a:lnTo>
                    <a:pt x="462" y="183"/>
                  </a:lnTo>
                  <a:lnTo>
                    <a:pt x="463" y="110"/>
                  </a:lnTo>
                  <a:lnTo>
                    <a:pt x="459" y="68"/>
                  </a:lnTo>
                  <a:lnTo>
                    <a:pt x="463" y="21"/>
                  </a:lnTo>
                  <a:lnTo>
                    <a:pt x="463" y="2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1" name="Mauritania">
              <a:extLst>
                <a:ext uri="{FF2B5EF4-FFF2-40B4-BE49-F238E27FC236}">
                  <a16:creationId xmlns:a16="http://schemas.microsoft.com/office/drawing/2014/main" id="{F5738FE6-7ED3-D977-A20E-A264A2454DDB}"/>
                </a:ext>
              </a:extLst>
            </p:cNvPr>
            <p:cNvSpPr>
              <a:spLocks/>
            </p:cNvSpPr>
            <p:nvPr/>
          </p:nvSpPr>
          <p:spPr bwMode="auto">
            <a:xfrm>
              <a:off x="4906266" y="1520162"/>
              <a:ext cx="844550" cy="954088"/>
            </a:xfrm>
            <a:custGeom>
              <a:avLst/>
              <a:gdLst>
                <a:gd name="T0" fmla="*/ 532 w 532"/>
                <a:gd name="T1" fmla="*/ 114 h 601"/>
                <a:gd name="T2" fmla="*/ 371 w 532"/>
                <a:gd name="T3" fmla="*/ 0 h 601"/>
                <a:gd name="T4" fmla="*/ 370 w 532"/>
                <a:gd name="T5" fmla="*/ 72 h 601"/>
                <a:gd name="T6" fmla="*/ 227 w 532"/>
                <a:gd name="T7" fmla="*/ 69 h 601"/>
                <a:gd name="T8" fmla="*/ 226 w 532"/>
                <a:gd name="T9" fmla="*/ 190 h 601"/>
                <a:gd name="T10" fmla="*/ 185 w 532"/>
                <a:gd name="T11" fmla="*/ 194 h 601"/>
                <a:gd name="T12" fmla="*/ 174 w 532"/>
                <a:gd name="T13" fmla="*/ 218 h 601"/>
                <a:gd name="T14" fmla="*/ 181 w 532"/>
                <a:gd name="T15" fmla="*/ 286 h 601"/>
                <a:gd name="T16" fmla="*/ 10 w 532"/>
                <a:gd name="T17" fmla="*/ 286 h 601"/>
                <a:gd name="T18" fmla="*/ 0 w 532"/>
                <a:gd name="T19" fmla="*/ 301 h 601"/>
                <a:gd name="T20" fmla="*/ 22 w 532"/>
                <a:gd name="T21" fmla="*/ 321 h 601"/>
                <a:gd name="T22" fmla="*/ 33 w 532"/>
                <a:gd name="T23" fmla="*/ 343 h 601"/>
                <a:gd name="T24" fmla="*/ 28 w 532"/>
                <a:gd name="T25" fmla="*/ 367 h 601"/>
                <a:gd name="T26" fmla="*/ 33 w 532"/>
                <a:gd name="T27" fmla="*/ 390 h 601"/>
                <a:gd name="T28" fmla="*/ 36 w 532"/>
                <a:gd name="T29" fmla="*/ 437 h 601"/>
                <a:gd name="T30" fmla="*/ 30 w 532"/>
                <a:gd name="T31" fmla="*/ 481 h 601"/>
                <a:gd name="T32" fmla="*/ 17 w 532"/>
                <a:gd name="T33" fmla="*/ 504 h 601"/>
                <a:gd name="T34" fmla="*/ 20 w 532"/>
                <a:gd name="T35" fmla="*/ 529 h 601"/>
                <a:gd name="T36" fmla="*/ 35 w 532"/>
                <a:gd name="T37" fmla="*/ 514 h 601"/>
                <a:gd name="T38" fmla="*/ 57 w 532"/>
                <a:gd name="T39" fmla="*/ 518 h 601"/>
                <a:gd name="T40" fmla="*/ 79 w 532"/>
                <a:gd name="T41" fmla="*/ 508 h 601"/>
                <a:gd name="T42" fmla="*/ 104 w 532"/>
                <a:gd name="T43" fmla="*/ 508 h 601"/>
                <a:gd name="T44" fmla="*/ 125 w 532"/>
                <a:gd name="T45" fmla="*/ 522 h 601"/>
                <a:gd name="T46" fmla="*/ 153 w 532"/>
                <a:gd name="T47" fmla="*/ 534 h 601"/>
                <a:gd name="T48" fmla="*/ 180 w 532"/>
                <a:gd name="T49" fmla="*/ 568 h 601"/>
                <a:gd name="T50" fmla="*/ 208 w 532"/>
                <a:gd name="T51" fmla="*/ 601 h 601"/>
                <a:gd name="T52" fmla="*/ 223 w 532"/>
                <a:gd name="T53" fmla="*/ 592 h 601"/>
                <a:gd name="T54" fmla="*/ 231 w 532"/>
                <a:gd name="T55" fmla="*/ 565 h 601"/>
                <a:gd name="T56" fmla="*/ 245 w 532"/>
                <a:gd name="T57" fmla="*/ 563 h 601"/>
                <a:gd name="T58" fmla="*/ 276 w 532"/>
                <a:gd name="T59" fmla="*/ 577 h 601"/>
                <a:gd name="T60" fmla="*/ 301 w 532"/>
                <a:gd name="T61" fmla="*/ 568 h 601"/>
                <a:gd name="T62" fmla="*/ 318 w 532"/>
                <a:gd name="T63" fmla="*/ 570 h 601"/>
                <a:gd name="T64" fmla="*/ 325 w 532"/>
                <a:gd name="T65" fmla="*/ 560 h 601"/>
                <a:gd name="T66" fmla="*/ 502 w 532"/>
                <a:gd name="T67" fmla="*/ 559 h 601"/>
                <a:gd name="T68" fmla="*/ 512 w 532"/>
                <a:gd name="T69" fmla="*/ 527 h 601"/>
                <a:gd name="T70" fmla="*/ 505 w 532"/>
                <a:gd name="T71" fmla="*/ 521 h 601"/>
                <a:gd name="T72" fmla="*/ 485 w 532"/>
                <a:gd name="T73" fmla="*/ 318 h 601"/>
                <a:gd name="T74" fmla="*/ 466 w 532"/>
                <a:gd name="T75" fmla="*/ 115 h 601"/>
                <a:gd name="T76" fmla="*/ 532 w 532"/>
                <a:gd name="T77" fmla="*/ 114 h 601"/>
                <a:gd name="T78" fmla="*/ 532 w 532"/>
                <a:gd name="T79" fmla="*/ 11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2" h="601">
                  <a:moveTo>
                    <a:pt x="532" y="114"/>
                  </a:moveTo>
                  <a:lnTo>
                    <a:pt x="371" y="0"/>
                  </a:lnTo>
                  <a:lnTo>
                    <a:pt x="370" y="72"/>
                  </a:lnTo>
                  <a:lnTo>
                    <a:pt x="227" y="69"/>
                  </a:lnTo>
                  <a:lnTo>
                    <a:pt x="226" y="190"/>
                  </a:lnTo>
                  <a:lnTo>
                    <a:pt x="185" y="194"/>
                  </a:lnTo>
                  <a:lnTo>
                    <a:pt x="174" y="218"/>
                  </a:lnTo>
                  <a:lnTo>
                    <a:pt x="181" y="286"/>
                  </a:lnTo>
                  <a:lnTo>
                    <a:pt x="10" y="286"/>
                  </a:lnTo>
                  <a:lnTo>
                    <a:pt x="0" y="301"/>
                  </a:lnTo>
                  <a:lnTo>
                    <a:pt x="22" y="321"/>
                  </a:lnTo>
                  <a:lnTo>
                    <a:pt x="33" y="343"/>
                  </a:lnTo>
                  <a:lnTo>
                    <a:pt x="28" y="367"/>
                  </a:lnTo>
                  <a:lnTo>
                    <a:pt x="33" y="390"/>
                  </a:lnTo>
                  <a:lnTo>
                    <a:pt x="36" y="437"/>
                  </a:lnTo>
                  <a:lnTo>
                    <a:pt x="30" y="481"/>
                  </a:lnTo>
                  <a:lnTo>
                    <a:pt x="17" y="504"/>
                  </a:lnTo>
                  <a:lnTo>
                    <a:pt x="20" y="529"/>
                  </a:lnTo>
                  <a:lnTo>
                    <a:pt x="35" y="514"/>
                  </a:lnTo>
                  <a:lnTo>
                    <a:pt x="57" y="518"/>
                  </a:lnTo>
                  <a:lnTo>
                    <a:pt x="79" y="508"/>
                  </a:lnTo>
                  <a:lnTo>
                    <a:pt x="104" y="508"/>
                  </a:lnTo>
                  <a:lnTo>
                    <a:pt x="125" y="522"/>
                  </a:lnTo>
                  <a:lnTo>
                    <a:pt x="153" y="534"/>
                  </a:lnTo>
                  <a:lnTo>
                    <a:pt x="180" y="568"/>
                  </a:lnTo>
                  <a:lnTo>
                    <a:pt x="208" y="601"/>
                  </a:lnTo>
                  <a:lnTo>
                    <a:pt x="223" y="592"/>
                  </a:lnTo>
                  <a:lnTo>
                    <a:pt x="231" y="565"/>
                  </a:lnTo>
                  <a:lnTo>
                    <a:pt x="245" y="563"/>
                  </a:lnTo>
                  <a:lnTo>
                    <a:pt x="276" y="577"/>
                  </a:lnTo>
                  <a:lnTo>
                    <a:pt x="301" y="568"/>
                  </a:lnTo>
                  <a:lnTo>
                    <a:pt x="318" y="570"/>
                  </a:lnTo>
                  <a:lnTo>
                    <a:pt x="325" y="560"/>
                  </a:lnTo>
                  <a:lnTo>
                    <a:pt x="502" y="559"/>
                  </a:lnTo>
                  <a:lnTo>
                    <a:pt x="512" y="527"/>
                  </a:lnTo>
                  <a:lnTo>
                    <a:pt x="505" y="521"/>
                  </a:lnTo>
                  <a:lnTo>
                    <a:pt x="485" y="318"/>
                  </a:lnTo>
                  <a:lnTo>
                    <a:pt x="466" y="115"/>
                  </a:lnTo>
                  <a:lnTo>
                    <a:pt x="532" y="114"/>
                  </a:lnTo>
                  <a:lnTo>
                    <a:pt x="532" y="11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2" name="Malawi">
              <a:extLst>
                <a:ext uri="{FF2B5EF4-FFF2-40B4-BE49-F238E27FC236}">
                  <a16:creationId xmlns:a16="http://schemas.microsoft.com/office/drawing/2014/main" id="{D5940468-0740-622F-ED05-29F100842149}"/>
                </a:ext>
              </a:extLst>
            </p:cNvPr>
            <p:cNvSpPr>
              <a:spLocks/>
            </p:cNvSpPr>
            <p:nvPr/>
          </p:nvSpPr>
          <p:spPr bwMode="auto">
            <a:xfrm>
              <a:off x="8387654" y="4252250"/>
              <a:ext cx="211138" cy="565150"/>
            </a:xfrm>
            <a:custGeom>
              <a:avLst/>
              <a:gdLst>
                <a:gd name="T0" fmla="*/ 82 w 133"/>
                <a:gd name="T1" fmla="*/ 227 h 356"/>
                <a:gd name="T2" fmla="*/ 83 w 133"/>
                <a:gd name="T3" fmla="*/ 209 h 356"/>
                <a:gd name="T4" fmla="*/ 73 w 133"/>
                <a:gd name="T5" fmla="*/ 196 h 356"/>
                <a:gd name="T6" fmla="*/ 74 w 133"/>
                <a:gd name="T7" fmla="*/ 175 h 356"/>
                <a:gd name="T8" fmla="*/ 62 w 133"/>
                <a:gd name="T9" fmla="*/ 140 h 356"/>
                <a:gd name="T10" fmla="*/ 76 w 133"/>
                <a:gd name="T11" fmla="*/ 114 h 356"/>
                <a:gd name="T12" fmla="*/ 75 w 133"/>
                <a:gd name="T13" fmla="*/ 57 h 356"/>
                <a:gd name="T14" fmla="*/ 61 w 133"/>
                <a:gd name="T15" fmla="*/ 27 h 356"/>
                <a:gd name="T16" fmla="*/ 62 w 133"/>
                <a:gd name="T17" fmla="*/ 22 h 356"/>
                <a:gd name="T18" fmla="*/ 62 w 133"/>
                <a:gd name="T19" fmla="*/ 22 h 356"/>
                <a:gd name="T20" fmla="*/ 53 w 133"/>
                <a:gd name="T21" fmla="*/ 9 h 356"/>
                <a:gd name="T22" fmla="*/ 10 w 133"/>
                <a:gd name="T23" fmla="*/ 0 h 356"/>
                <a:gd name="T24" fmla="*/ 30 w 133"/>
                <a:gd name="T25" fmla="*/ 21 h 356"/>
                <a:gd name="T26" fmla="*/ 41 w 133"/>
                <a:gd name="T27" fmla="*/ 61 h 356"/>
                <a:gd name="T28" fmla="*/ 32 w 133"/>
                <a:gd name="T29" fmla="*/ 74 h 356"/>
                <a:gd name="T30" fmla="*/ 23 w 133"/>
                <a:gd name="T31" fmla="*/ 112 h 356"/>
                <a:gd name="T32" fmla="*/ 30 w 133"/>
                <a:gd name="T33" fmla="*/ 151 h 356"/>
                <a:gd name="T34" fmla="*/ 16 w 133"/>
                <a:gd name="T35" fmla="*/ 168 h 356"/>
                <a:gd name="T36" fmla="*/ 0 w 133"/>
                <a:gd name="T37" fmla="*/ 211 h 356"/>
                <a:gd name="T38" fmla="*/ 23 w 133"/>
                <a:gd name="T39" fmla="*/ 223 h 356"/>
                <a:gd name="T40" fmla="*/ 48 w 133"/>
                <a:gd name="T41" fmla="*/ 246 h 356"/>
                <a:gd name="T42" fmla="*/ 60 w 133"/>
                <a:gd name="T43" fmla="*/ 241 h 356"/>
                <a:gd name="T44" fmla="*/ 77 w 133"/>
                <a:gd name="T45" fmla="*/ 253 h 356"/>
                <a:gd name="T46" fmla="*/ 79 w 133"/>
                <a:gd name="T47" fmla="*/ 272 h 356"/>
                <a:gd name="T48" fmla="*/ 69 w 133"/>
                <a:gd name="T49" fmla="*/ 294 h 356"/>
                <a:gd name="T50" fmla="*/ 71 w 133"/>
                <a:gd name="T51" fmla="*/ 327 h 356"/>
                <a:gd name="T52" fmla="*/ 98 w 133"/>
                <a:gd name="T53" fmla="*/ 356 h 356"/>
                <a:gd name="T54" fmla="*/ 113 w 133"/>
                <a:gd name="T55" fmla="*/ 324 h 356"/>
                <a:gd name="T56" fmla="*/ 133 w 133"/>
                <a:gd name="T57" fmla="*/ 314 h 356"/>
                <a:gd name="T58" fmla="*/ 131 w 133"/>
                <a:gd name="T59" fmla="*/ 253 h 356"/>
                <a:gd name="T60" fmla="*/ 114 w 133"/>
                <a:gd name="T61" fmla="*/ 219 h 356"/>
                <a:gd name="T62" fmla="*/ 99 w 133"/>
                <a:gd name="T63" fmla="*/ 204 h 356"/>
                <a:gd name="T64" fmla="*/ 96 w 133"/>
                <a:gd name="T65" fmla="*/ 204 h 356"/>
                <a:gd name="T66" fmla="*/ 97 w 133"/>
                <a:gd name="T67" fmla="*/ 211 h 356"/>
                <a:gd name="T68" fmla="*/ 105 w 133"/>
                <a:gd name="T69" fmla="*/ 212 h 356"/>
                <a:gd name="T70" fmla="*/ 114 w 133"/>
                <a:gd name="T71" fmla="*/ 237 h 356"/>
                <a:gd name="T72" fmla="*/ 112 w 133"/>
                <a:gd name="T73" fmla="*/ 243 h 356"/>
                <a:gd name="T74" fmla="*/ 97 w 133"/>
                <a:gd name="T75" fmla="*/ 225 h 356"/>
                <a:gd name="T76" fmla="*/ 89 w 133"/>
                <a:gd name="T77" fmla="*/ 236 h 356"/>
                <a:gd name="T78" fmla="*/ 82 w 133"/>
                <a:gd name="T79" fmla="*/ 227 h 356"/>
                <a:gd name="T80" fmla="*/ 82 w 133"/>
                <a:gd name="T81" fmla="*/ 22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356">
                  <a:moveTo>
                    <a:pt x="82" y="227"/>
                  </a:moveTo>
                  <a:lnTo>
                    <a:pt x="83" y="209"/>
                  </a:lnTo>
                  <a:lnTo>
                    <a:pt x="73" y="196"/>
                  </a:lnTo>
                  <a:lnTo>
                    <a:pt x="74" y="175"/>
                  </a:lnTo>
                  <a:lnTo>
                    <a:pt x="62" y="140"/>
                  </a:lnTo>
                  <a:lnTo>
                    <a:pt x="76" y="114"/>
                  </a:lnTo>
                  <a:lnTo>
                    <a:pt x="75" y="57"/>
                  </a:lnTo>
                  <a:lnTo>
                    <a:pt x="61" y="27"/>
                  </a:lnTo>
                  <a:lnTo>
                    <a:pt x="62" y="22"/>
                  </a:lnTo>
                  <a:lnTo>
                    <a:pt x="62" y="22"/>
                  </a:lnTo>
                  <a:lnTo>
                    <a:pt x="53" y="9"/>
                  </a:lnTo>
                  <a:lnTo>
                    <a:pt x="10" y="0"/>
                  </a:lnTo>
                  <a:lnTo>
                    <a:pt x="30" y="21"/>
                  </a:lnTo>
                  <a:lnTo>
                    <a:pt x="41" y="61"/>
                  </a:lnTo>
                  <a:lnTo>
                    <a:pt x="32" y="74"/>
                  </a:lnTo>
                  <a:lnTo>
                    <a:pt x="23" y="112"/>
                  </a:lnTo>
                  <a:lnTo>
                    <a:pt x="30" y="151"/>
                  </a:lnTo>
                  <a:lnTo>
                    <a:pt x="16" y="168"/>
                  </a:lnTo>
                  <a:lnTo>
                    <a:pt x="0" y="211"/>
                  </a:lnTo>
                  <a:lnTo>
                    <a:pt x="23" y="223"/>
                  </a:lnTo>
                  <a:lnTo>
                    <a:pt x="48" y="246"/>
                  </a:lnTo>
                  <a:lnTo>
                    <a:pt x="60" y="241"/>
                  </a:lnTo>
                  <a:lnTo>
                    <a:pt x="77" y="253"/>
                  </a:lnTo>
                  <a:lnTo>
                    <a:pt x="79" y="272"/>
                  </a:lnTo>
                  <a:lnTo>
                    <a:pt x="69" y="294"/>
                  </a:lnTo>
                  <a:lnTo>
                    <a:pt x="71" y="327"/>
                  </a:lnTo>
                  <a:lnTo>
                    <a:pt x="98" y="356"/>
                  </a:lnTo>
                  <a:lnTo>
                    <a:pt x="113" y="324"/>
                  </a:lnTo>
                  <a:lnTo>
                    <a:pt x="133" y="314"/>
                  </a:lnTo>
                  <a:lnTo>
                    <a:pt x="131" y="253"/>
                  </a:lnTo>
                  <a:lnTo>
                    <a:pt x="114" y="219"/>
                  </a:lnTo>
                  <a:lnTo>
                    <a:pt x="99" y="204"/>
                  </a:lnTo>
                  <a:lnTo>
                    <a:pt x="96" y="204"/>
                  </a:lnTo>
                  <a:lnTo>
                    <a:pt x="97" y="211"/>
                  </a:lnTo>
                  <a:lnTo>
                    <a:pt x="105" y="212"/>
                  </a:lnTo>
                  <a:lnTo>
                    <a:pt x="114" y="237"/>
                  </a:lnTo>
                  <a:lnTo>
                    <a:pt x="112" y="243"/>
                  </a:lnTo>
                  <a:lnTo>
                    <a:pt x="97" y="225"/>
                  </a:lnTo>
                  <a:lnTo>
                    <a:pt x="89" y="236"/>
                  </a:lnTo>
                  <a:lnTo>
                    <a:pt x="82" y="227"/>
                  </a:lnTo>
                  <a:lnTo>
                    <a:pt x="82" y="2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3" name="Namibia">
              <a:extLst>
                <a:ext uri="{FF2B5EF4-FFF2-40B4-BE49-F238E27FC236}">
                  <a16:creationId xmlns:a16="http://schemas.microsoft.com/office/drawing/2014/main" id="{1A995781-8FF1-316A-751B-1567F2486D6A}"/>
                </a:ext>
              </a:extLst>
            </p:cNvPr>
            <p:cNvSpPr>
              <a:spLocks/>
            </p:cNvSpPr>
            <p:nvPr/>
          </p:nvSpPr>
          <p:spPr bwMode="auto">
            <a:xfrm>
              <a:off x="6911279" y="4828512"/>
              <a:ext cx="933450" cy="903288"/>
            </a:xfrm>
            <a:custGeom>
              <a:avLst/>
              <a:gdLst>
                <a:gd name="T0" fmla="*/ 506 w 588"/>
                <a:gd name="T1" fmla="*/ 27 h 569"/>
                <a:gd name="T2" fmla="*/ 423 w 588"/>
                <a:gd name="T3" fmla="*/ 46 h 569"/>
                <a:gd name="T4" fmla="*/ 318 w 588"/>
                <a:gd name="T5" fmla="*/ 40 h 569"/>
                <a:gd name="T6" fmla="*/ 287 w 588"/>
                <a:gd name="T7" fmla="*/ 17 h 569"/>
                <a:gd name="T8" fmla="*/ 109 w 588"/>
                <a:gd name="T9" fmla="*/ 19 h 569"/>
                <a:gd name="T10" fmla="*/ 102 w 588"/>
                <a:gd name="T11" fmla="*/ 23 h 569"/>
                <a:gd name="T12" fmla="*/ 76 w 588"/>
                <a:gd name="T13" fmla="*/ 1 h 569"/>
                <a:gd name="T14" fmla="*/ 48 w 588"/>
                <a:gd name="T15" fmla="*/ 0 h 569"/>
                <a:gd name="T16" fmla="*/ 22 w 588"/>
                <a:gd name="T17" fmla="*/ 7 h 569"/>
                <a:gd name="T18" fmla="*/ 0 w 588"/>
                <a:gd name="T19" fmla="*/ 17 h 569"/>
                <a:gd name="T20" fmla="*/ 2 w 588"/>
                <a:gd name="T21" fmla="*/ 52 h 569"/>
                <a:gd name="T22" fmla="*/ 37 w 588"/>
                <a:gd name="T23" fmla="*/ 98 h 569"/>
                <a:gd name="T24" fmla="*/ 46 w 588"/>
                <a:gd name="T25" fmla="*/ 128 h 569"/>
                <a:gd name="T26" fmla="*/ 68 w 588"/>
                <a:gd name="T27" fmla="*/ 184 h 569"/>
                <a:gd name="T28" fmla="*/ 89 w 588"/>
                <a:gd name="T29" fmla="*/ 223 h 569"/>
                <a:gd name="T30" fmla="*/ 107 w 588"/>
                <a:gd name="T31" fmla="*/ 243 h 569"/>
                <a:gd name="T32" fmla="*/ 111 w 588"/>
                <a:gd name="T33" fmla="*/ 268 h 569"/>
                <a:gd name="T34" fmla="*/ 111 w 588"/>
                <a:gd name="T35" fmla="*/ 324 h 569"/>
                <a:gd name="T36" fmla="*/ 123 w 588"/>
                <a:gd name="T37" fmla="*/ 396 h 569"/>
                <a:gd name="T38" fmla="*/ 133 w 588"/>
                <a:gd name="T39" fmla="*/ 431 h 569"/>
                <a:gd name="T40" fmla="*/ 140 w 588"/>
                <a:gd name="T41" fmla="*/ 476 h 569"/>
                <a:gd name="T42" fmla="*/ 157 w 588"/>
                <a:gd name="T43" fmla="*/ 511 h 569"/>
                <a:gd name="T44" fmla="*/ 187 w 588"/>
                <a:gd name="T45" fmla="*/ 547 h 569"/>
                <a:gd name="T46" fmla="*/ 209 w 588"/>
                <a:gd name="T47" fmla="*/ 524 h 569"/>
                <a:gd name="T48" fmla="*/ 225 w 588"/>
                <a:gd name="T49" fmla="*/ 535 h 569"/>
                <a:gd name="T50" fmla="*/ 232 w 588"/>
                <a:gd name="T51" fmla="*/ 556 h 569"/>
                <a:gd name="T52" fmla="*/ 250 w 588"/>
                <a:gd name="T53" fmla="*/ 559 h 569"/>
                <a:gd name="T54" fmla="*/ 277 w 588"/>
                <a:gd name="T55" fmla="*/ 569 h 569"/>
                <a:gd name="T56" fmla="*/ 300 w 588"/>
                <a:gd name="T57" fmla="*/ 565 h 569"/>
                <a:gd name="T58" fmla="*/ 339 w 588"/>
                <a:gd name="T59" fmla="*/ 541 h 569"/>
                <a:gd name="T60" fmla="*/ 348 w 588"/>
                <a:gd name="T61" fmla="*/ 367 h 569"/>
                <a:gd name="T62" fmla="*/ 353 w 588"/>
                <a:gd name="T63" fmla="*/ 230 h 569"/>
                <a:gd name="T64" fmla="*/ 396 w 588"/>
                <a:gd name="T65" fmla="*/ 228 h 569"/>
                <a:gd name="T66" fmla="*/ 403 w 588"/>
                <a:gd name="T67" fmla="*/ 61 h 569"/>
                <a:gd name="T68" fmla="*/ 436 w 588"/>
                <a:gd name="T69" fmla="*/ 60 h 569"/>
                <a:gd name="T70" fmla="*/ 504 w 588"/>
                <a:gd name="T71" fmla="*/ 43 h 569"/>
                <a:gd name="T72" fmla="*/ 520 w 588"/>
                <a:gd name="T73" fmla="*/ 63 h 569"/>
                <a:gd name="T74" fmla="*/ 550 w 588"/>
                <a:gd name="T75" fmla="*/ 44 h 569"/>
                <a:gd name="T76" fmla="*/ 562 w 588"/>
                <a:gd name="T77" fmla="*/ 44 h 569"/>
                <a:gd name="T78" fmla="*/ 588 w 588"/>
                <a:gd name="T79" fmla="*/ 34 h 569"/>
                <a:gd name="T80" fmla="*/ 588 w 588"/>
                <a:gd name="T81" fmla="*/ 29 h 569"/>
                <a:gd name="T82" fmla="*/ 571 w 588"/>
                <a:gd name="T83" fmla="*/ 19 h 569"/>
                <a:gd name="T84" fmla="*/ 542 w 588"/>
                <a:gd name="T85" fmla="*/ 16 h 569"/>
                <a:gd name="T86" fmla="*/ 506 w 588"/>
                <a:gd name="T87" fmla="*/ 27 h 569"/>
                <a:gd name="T88" fmla="*/ 506 w 588"/>
                <a:gd name="T89" fmla="*/ 2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8" h="569">
                  <a:moveTo>
                    <a:pt x="506" y="27"/>
                  </a:moveTo>
                  <a:lnTo>
                    <a:pt x="423" y="46"/>
                  </a:lnTo>
                  <a:lnTo>
                    <a:pt x="318" y="40"/>
                  </a:lnTo>
                  <a:lnTo>
                    <a:pt x="287" y="17"/>
                  </a:lnTo>
                  <a:lnTo>
                    <a:pt x="109" y="19"/>
                  </a:lnTo>
                  <a:lnTo>
                    <a:pt x="102" y="23"/>
                  </a:lnTo>
                  <a:lnTo>
                    <a:pt x="76" y="1"/>
                  </a:lnTo>
                  <a:lnTo>
                    <a:pt x="48" y="0"/>
                  </a:lnTo>
                  <a:lnTo>
                    <a:pt x="22" y="7"/>
                  </a:lnTo>
                  <a:lnTo>
                    <a:pt x="0" y="17"/>
                  </a:lnTo>
                  <a:lnTo>
                    <a:pt x="2" y="52"/>
                  </a:lnTo>
                  <a:lnTo>
                    <a:pt x="37" y="98"/>
                  </a:lnTo>
                  <a:lnTo>
                    <a:pt x="46" y="128"/>
                  </a:lnTo>
                  <a:lnTo>
                    <a:pt x="68" y="184"/>
                  </a:lnTo>
                  <a:lnTo>
                    <a:pt x="89" y="223"/>
                  </a:lnTo>
                  <a:lnTo>
                    <a:pt x="107" y="243"/>
                  </a:lnTo>
                  <a:lnTo>
                    <a:pt x="111" y="268"/>
                  </a:lnTo>
                  <a:lnTo>
                    <a:pt x="111" y="324"/>
                  </a:lnTo>
                  <a:lnTo>
                    <a:pt x="123" y="396"/>
                  </a:lnTo>
                  <a:lnTo>
                    <a:pt x="133" y="431"/>
                  </a:lnTo>
                  <a:lnTo>
                    <a:pt x="140" y="476"/>
                  </a:lnTo>
                  <a:lnTo>
                    <a:pt x="157" y="511"/>
                  </a:lnTo>
                  <a:lnTo>
                    <a:pt x="187" y="547"/>
                  </a:lnTo>
                  <a:lnTo>
                    <a:pt x="209" y="524"/>
                  </a:lnTo>
                  <a:lnTo>
                    <a:pt x="225" y="535"/>
                  </a:lnTo>
                  <a:lnTo>
                    <a:pt x="232" y="556"/>
                  </a:lnTo>
                  <a:lnTo>
                    <a:pt x="250" y="559"/>
                  </a:lnTo>
                  <a:lnTo>
                    <a:pt x="277" y="569"/>
                  </a:lnTo>
                  <a:lnTo>
                    <a:pt x="300" y="565"/>
                  </a:lnTo>
                  <a:lnTo>
                    <a:pt x="339" y="541"/>
                  </a:lnTo>
                  <a:lnTo>
                    <a:pt x="348" y="367"/>
                  </a:lnTo>
                  <a:lnTo>
                    <a:pt x="353" y="230"/>
                  </a:lnTo>
                  <a:lnTo>
                    <a:pt x="396" y="228"/>
                  </a:lnTo>
                  <a:lnTo>
                    <a:pt x="403" y="61"/>
                  </a:lnTo>
                  <a:lnTo>
                    <a:pt x="436" y="60"/>
                  </a:lnTo>
                  <a:lnTo>
                    <a:pt x="504" y="43"/>
                  </a:lnTo>
                  <a:lnTo>
                    <a:pt x="520" y="63"/>
                  </a:lnTo>
                  <a:lnTo>
                    <a:pt x="550" y="44"/>
                  </a:lnTo>
                  <a:lnTo>
                    <a:pt x="562" y="44"/>
                  </a:lnTo>
                  <a:lnTo>
                    <a:pt x="588" y="34"/>
                  </a:lnTo>
                  <a:lnTo>
                    <a:pt x="588" y="29"/>
                  </a:lnTo>
                  <a:lnTo>
                    <a:pt x="571" y="19"/>
                  </a:lnTo>
                  <a:lnTo>
                    <a:pt x="542" y="16"/>
                  </a:lnTo>
                  <a:lnTo>
                    <a:pt x="506" y="27"/>
                  </a:lnTo>
                  <a:lnTo>
                    <a:pt x="506" y="2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4" name="Niger">
              <a:extLst>
                <a:ext uri="{FF2B5EF4-FFF2-40B4-BE49-F238E27FC236}">
                  <a16:creationId xmlns:a16="http://schemas.microsoft.com/office/drawing/2014/main" id="{27F2AE5A-7005-420E-A3DE-CC4CDBEBE4B7}"/>
                </a:ext>
              </a:extLst>
            </p:cNvPr>
            <p:cNvSpPr>
              <a:spLocks/>
            </p:cNvSpPr>
            <p:nvPr/>
          </p:nvSpPr>
          <p:spPr bwMode="auto">
            <a:xfrm>
              <a:off x="6112766" y="1813850"/>
              <a:ext cx="1085850" cy="881063"/>
            </a:xfrm>
            <a:custGeom>
              <a:avLst/>
              <a:gdLst>
                <a:gd name="T0" fmla="*/ 579 w 684"/>
                <a:gd name="T1" fmla="*/ 20 h 555"/>
                <a:gd name="T2" fmla="*/ 509 w 684"/>
                <a:gd name="T3" fmla="*/ 0 h 555"/>
                <a:gd name="T4" fmla="*/ 361 w 684"/>
                <a:gd name="T5" fmla="*/ 90 h 555"/>
                <a:gd name="T6" fmla="*/ 235 w 684"/>
                <a:gd name="T7" fmla="*/ 181 h 555"/>
                <a:gd name="T8" fmla="*/ 174 w 684"/>
                <a:gd name="T9" fmla="*/ 203 h 555"/>
                <a:gd name="T10" fmla="*/ 175 w 684"/>
                <a:gd name="T11" fmla="*/ 311 h 555"/>
                <a:gd name="T12" fmla="*/ 150 w 684"/>
                <a:gd name="T13" fmla="*/ 343 h 555"/>
                <a:gd name="T14" fmla="*/ 147 w 684"/>
                <a:gd name="T15" fmla="*/ 371 h 555"/>
                <a:gd name="T16" fmla="*/ 108 w 684"/>
                <a:gd name="T17" fmla="*/ 378 h 555"/>
                <a:gd name="T18" fmla="*/ 48 w 684"/>
                <a:gd name="T19" fmla="*/ 383 h 555"/>
                <a:gd name="T20" fmla="*/ 31 w 684"/>
                <a:gd name="T21" fmla="*/ 399 h 555"/>
                <a:gd name="T22" fmla="*/ 3 w 684"/>
                <a:gd name="T23" fmla="*/ 401 h 555"/>
                <a:gd name="T24" fmla="*/ 0 w 684"/>
                <a:gd name="T25" fmla="*/ 424 h 555"/>
                <a:gd name="T26" fmla="*/ 5 w 684"/>
                <a:gd name="T27" fmla="*/ 445 h 555"/>
                <a:gd name="T28" fmla="*/ 31 w 684"/>
                <a:gd name="T29" fmla="*/ 476 h 555"/>
                <a:gd name="T30" fmla="*/ 31 w 684"/>
                <a:gd name="T31" fmla="*/ 499 h 555"/>
                <a:gd name="T32" fmla="*/ 83 w 684"/>
                <a:gd name="T33" fmla="*/ 509 h 555"/>
                <a:gd name="T34" fmla="*/ 82 w 684"/>
                <a:gd name="T35" fmla="*/ 541 h 555"/>
                <a:gd name="T36" fmla="*/ 97 w 684"/>
                <a:gd name="T37" fmla="*/ 528 h 555"/>
                <a:gd name="T38" fmla="*/ 113 w 684"/>
                <a:gd name="T39" fmla="*/ 528 h 555"/>
                <a:gd name="T40" fmla="*/ 147 w 684"/>
                <a:gd name="T41" fmla="*/ 555 h 555"/>
                <a:gd name="T42" fmla="*/ 149 w 684"/>
                <a:gd name="T43" fmla="*/ 512 h 555"/>
                <a:gd name="T44" fmla="*/ 162 w 684"/>
                <a:gd name="T45" fmla="*/ 494 h 555"/>
                <a:gd name="T46" fmla="*/ 168 w 684"/>
                <a:gd name="T47" fmla="*/ 467 h 555"/>
                <a:gd name="T48" fmla="*/ 179 w 684"/>
                <a:gd name="T49" fmla="*/ 456 h 555"/>
                <a:gd name="T50" fmla="*/ 227 w 684"/>
                <a:gd name="T51" fmla="*/ 451 h 555"/>
                <a:gd name="T52" fmla="*/ 272 w 684"/>
                <a:gd name="T53" fmla="*/ 468 h 555"/>
                <a:gd name="T54" fmla="*/ 289 w 684"/>
                <a:gd name="T55" fmla="*/ 487 h 555"/>
                <a:gd name="T56" fmla="*/ 311 w 684"/>
                <a:gd name="T57" fmla="*/ 487 h 555"/>
                <a:gd name="T58" fmla="*/ 332 w 684"/>
                <a:gd name="T59" fmla="*/ 476 h 555"/>
                <a:gd name="T60" fmla="*/ 386 w 684"/>
                <a:gd name="T61" fmla="*/ 500 h 555"/>
                <a:gd name="T62" fmla="*/ 409 w 684"/>
                <a:gd name="T63" fmla="*/ 499 h 555"/>
                <a:gd name="T64" fmla="*/ 434 w 684"/>
                <a:gd name="T65" fmla="*/ 478 h 555"/>
                <a:gd name="T66" fmla="*/ 461 w 684"/>
                <a:gd name="T67" fmla="*/ 480 h 555"/>
                <a:gd name="T68" fmla="*/ 474 w 684"/>
                <a:gd name="T69" fmla="*/ 473 h 555"/>
                <a:gd name="T70" fmla="*/ 497 w 684"/>
                <a:gd name="T71" fmla="*/ 477 h 555"/>
                <a:gd name="T72" fmla="*/ 531 w 684"/>
                <a:gd name="T73" fmla="*/ 490 h 555"/>
                <a:gd name="T74" fmla="*/ 566 w 684"/>
                <a:gd name="T75" fmla="*/ 464 h 555"/>
                <a:gd name="T76" fmla="*/ 576 w 684"/>
                <a:gd name="T77" fmla="*/ 466 h 555"/>
                <a:gd name="T78" fmla="*/ 607 w 684"/>
                <a:gd name="T79" fmla="*/ 517 h 555"/>
                <a:gd name="T80" fmla="*/ 615 w 684"/>
                <a:gd name="T81" fmla="*/ 516 h 555"/>
                <a:gd name="T82" fmla="*/ 616 w 684"/>
                <a:gd name="T83" fmla="*/ 501 h 555"/>
                <a:gd name="T84" fmla="*/ 629 w 684"/>
                <a:gd name="T85" fmla="*/ 499 h 555"/>
                <a:gd name="T86" fmla="*/ 632 w 684"/>
                <a:gd name="T87" fmla="*/ 477 h 555"/>
                <a:gd name="T88" fmla="*/ 604 w 684"/>
                <a:gd name="T89" fmla="*/ 475 h 555"/>
                <a:gd name="T90" fmla="*/ 604 w 684"/>
                <a:gd name="T91" fmla="*/ 445 h 555"/>
                <a:gd name="T92" fmla="*/ 585 w 684"/>
                <a:gd name="T93" fmla="*/ 428 h 555"/>
                <a:gd name="T94" fmla="*/ 603 w 684"/>
                <a:gd name="T95" fmla="*/ 366 h 555"/>
                <a:gd name="T96" fmla="*/ 659 w 684"/>
                <a:gd name="T97" fmla="*/ 321 h 555"/>
                <a:gd name="T98" fmla="*/ 660 w 684"/>
                <a:gd name="T99" fmla="*/ 260 h 555"/>
                <a:gd name="T100" fmla="*/ 674 w 684"/>
                <a:gd name="T101" fmla="*/ 165 h 555"/>
                <a:gd name="T102" fmla="*/ 684 w 684"/>
                <a:gd name="T103" fmla="*/ 145 h 555"/>
                <a:gd name="T104" fmla="*/ 664 w 684"/>
                <a:gd name="T105" fmla="*/ 129 h 555"/>
                <a:gd name="T106" fmla="*/ 663 w 684"/>
                <a:gd name="T107" fmla="*/ 113 h 555"/>
                <a:gd name="T108" fmla="*/ 647 w 684"/>
                <a:gd name="T109" fmla="*/ 102 h 555"/>
                <a:gd name="T110" fmla="*/ 634 w 684"/>
                <a:gd name="T111" fmla="*/ 28 h 555"/>
                <a:gd name="T112" fmla="*/ 604 w 684"/>
                <a:gd name="T113" fmla="*/ 45 h 555"/>
                <a:gd name="T114" fmla="*/ 579 w 684"/>
                <a:gd name="T115" fmla="*/ 20 h 555"/>
                <a:gd name="T116" fmla="*/ 579 w 684"/>
                <a:gd name="T117" fmla="*/ 2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555">
                  <a:moveTo>
                    <a:pt x="579" y="20"/>
                  </a:moveTo>
                  <a:lnTo>
                    <a:pt x="509" y="0"/>
                  </a:lnTo>
                  <a:lnTo>
                    <a:pt x="361" y="90"/>
                  </a:lnTo>
                  <a:lnTo>
                    <a:pt x="235" y="181"/>
                  </a:lnTo>
                  <a:lnTo>
                    <a:pt x="174" y="203"/>
                  </a:lnTo>
                  <a:lnTo>
                    <a:pt x="175" y="311"/>
                  </a:lnTo>
                  <a:lnTo>
                    <a:pt x="150" y="343"/>
                  </a:lnTo>
                  <a:lnTo>
                    <a:pt x="147" y="371"/>
                  </a:lnTo>
                  <a:lnTo>
                    <a:pt x="108" y="378"/>
                  </a:lnTo>
                  <a:lnTo>
                    <a:pt x="48" y="383"/>
                  </a:lnTo>
                  <a:lnTo>
                    <a:pt x="31" y="399"/>
                  </a:lnTo>
                  <a:lnTo>
                    <a:pt x="3" y="401"/>
                  </a:lnTo>
                  <a:lnTo>
                    <a:pt x="0" y="424"/>
                  </a:lnTo>
                  <a:lnTo>
                    <a:pt x="5" y="445"/>
                  </a:lnTo>
                  <a:lnTo>
                    <a:pt x="31" y="476"/>
                  </a:lnTo>
                  <a:lnTo>
                    <a:pt x="31" y="499"/>
                  </a:lnTo>
                  <a:lnTo>
                    <a:pt x="83" y="509"/>
                  </a:lnTo>
                  <a:lnTo>
                    <a:pt x="82" y="541"/>
                  </a:lnTo>
                  <a:lnTo>
                    <a:pt x="97" y="528"/>
                  </a:lnTo>
                  <a:lnTo>
                    <a:pt x="113" y="528"/>
                  </a:lnTo>
                  <a:lnTo>
                    <a:pt x="147" y="555"/>
                  </a:lnTo>
                  <a:lnTo>
                    <a:pt x="149" y="512"/>
                  </a:lnTo>
                  <a:lnTo>
                    <a:pt x="162" y="494"/>
                  </a:lnTo>
                  <a:lnTo>
                    <a:pt x="168" y="467"/>
                  </a:lnTo>
                  <a:lnTo>
                    <a:pt x="179" y="456"/>
                  </a:lnTo>
                  <a:lnTo>
                    <a:pt x="227" y="451"/>
                  </a:lnTo>
                  <a:lnTo>
                    <a:pt x="272" y="468"/>
                  </a:lnTo>
                  <a:lnTo>
                    <a:pt x="289" y="487"/>
                  </a:lnTo>
                  <a:lnTo>
                    <a:pt x="311" y="487"/>
                  </a:lnTo>
                  <a:lnTo>
                    <a:pt x="332" y="476"/>
                  </a:lnTo>
                  <a:lnTo>
                    <a:pt x="386" y="500"/>
                  </a:lnTo>
                  <a:lnTo>
                    <a:pt x="409" y="499"/>
                  </a:lnTo>
                  <a:lnTo>
                    <a:pt x="434" y="478"/>
                  </a:lnTo>
                  <a:lnTo>
                    <a:pt x="461" y="480"/>
                  </a:lnTo>
                  <a:lnTo>
                    <a:pt x="474" y="473"/>
                  </a:lnTo>
                  <a:lnTo>
                    <a:pt x="497" y="477"/>
                  </a:lnTo>
                  <a:lnTo>
                    <a:pt x="531" y="490"/>
                  </a:lnTo>
                  <a:lnTo>
                    <a:pt x="566" y="464"/>
                  </a:lnTo>
                  <a:lnTo>
                    <a:pt x="576" y="466"/>
                  </a:lnTo>
                  <a:lnTo>
                    <a:pt x="607" y="517"/>
                  </a:lnTo>
                  <a:lnTo>
                    <a:pt x="615" y="516"/>
                  </a:lnTo>
                  <a:lnTo>
                    <a:pt x="616" y="501"/>
                  </a:lnTo>
                  <a:lnTo>
                    <a:pt x="629" y="499"/>
                  </a:lnTo>
                  <a:lnTo>
                    <a:pt x="632" y="477"/>
                  </a:lnTo>
                  <a:lnTo>
                    <a:pt x="604" y="475"/>
                  </a:lnTo>
                  <a:lnTo>
                    <a:pt x="604" y="445"/>
                  </a:lnTo>
                  <a:lnTo>
                    <a:pt x="585" y="428"/>
                  </a:lnTo>
                  <a:lnTo>
                    <a:pt x="603" y="366"/>
                  </a:lnTo>
                  <a:lnTo>
                    <a:pt x="659" y="321"/>
                  </a:lnTo>
                  <a:lnTo>
                    <a:pt x="660" y="260"/>
                  </a:lnTo>
                  <a:lnTo>
                    <a:pt x="674" y="165"/>
                  </a:lnTo>
                  <a:lnTo>
                    <a:pt x="684" y="145"/>
                  </a:lnTo>
                  <a:lnTo>
                    <a:pt x="664" y="129"/>
                  </a:lnTo>
                  <a:lnTo>
                    <a:pt x="663" y="113"/>
                  </a:lnTo>
                  <a:lnTo>
                    <a:pt x="647" y="102"/>
                  </a:lnTo>
                  <a:lnTo>
                    <a:pt x="634" y="28"/>
                  </a:lnTo>
                  <a:lnTo>
                    <a:pt x="604" y="45"/>
                  </a:lnTo>
                  <a:lnTo>
                    <a:pt x="579" y="20"/>
                  </a:lnTo>
                  <a:lnTo>
                    <a:pt x="579" y="2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7" name="Nigeria">
              <a:extLst>
                <a:ext uri="{FF2B5EF4-FFF2-40B4-BE49-F238E27FC236}">
                  <a16:creationId xmlns:a16="http://schemas.microsoft.com/office/drawing/2014/main" id="{9BD5A5EE-F1EB-4CB1-967A-42BC1EDD8255}"/>
                </a:ext>
              </a:extLst>
            </p:cNvPr>
            <p:cNvSpPr>
              <a:spLocks/>
            </p:cNvSpPr>
            <p:nvPr/>
          </p:nvSpPr>
          <p:spPr bwMode="auto">
            <a:xfrm>
              <a:off x="6281041" y="2529812"/>
              <a:ext cx="835025" cy="717550"/>
            </a:xfrm>
            <a:custGeom>
              <a:avLst/>
              <a:gdLst>
                <a:gd name="T0" fmla="*/ 509 w 526"/>
                <a:gd name="T1" fmla="*/ 65 h 452"/>
                <a:gd name="T2" fmla="*/ 501 w 526"/>
                <a:gd name="T3" fmla="*/ 66 h 452"/>
                <a:gd name="T4" fmla="*/ 470 w 526"/>
                <a:gd name="T5" fmla="*/ 15 h 452"/>
                <a:gd name="T6" fmla="*/ 460 w 526"/>
                <a:gd name="T7" fmla="*/ 13 h 452"/>
                <a:gd name="T8" fmla="*/ 425 w 526"/>
                <a:gd name="T9" fmla="*/ 39 h 452"/>
                <a:gd name="T10" fmla="*/ 391 w 526"/>
                <a:gd name="T11" fmla="*/ 26 h 452"/>
                <a:gd name="T12" fmla="*/ 368 w 526"/>
                <a:gd name="T13" fmla="*/ 22 h 452"/>
                <a:gd name="T14" fmla="*/ 355 w 526"/>
                <a:gd name="T15" fmla="*/ 29 h 452"/>
                <a:gd name="T16" fmla="*/ 328 w 526"/>
                <a:gd name="T17" fmla="*/ 27 h 452"/>
                <a:gd name="T18" fmla="*/ 303 w 526"/>
                <a:gd name="T19" fmla="*/ 48 h 452"/>
                <a:gd name="T20" fmla="*/ 280 w 526"/>
                <a:gd name="T21" fmla="*/ 49 h 452"/>
                <a:gd name="T22" fmla="*/ 226 w 526"/>
                <a:gd name="T23" fmla="*/ 25 h 452"/>
                <a:gd name="T24" fmla="*/ 205 w 526"/>
                <a:gd name="T25" fmla="*/ 36 h 452"/>
                <a:gd name="T26" fmla="*/ 183 w 526"/>
                <a:gd name="T27" fmla="*/ 36 h 452"/>
                <a:gd name="T28" fmla="*/ 166 w 526"/>
                <a:gd name="T29" fmla="*/ 17 h 452"/>
                <a:gd name="T30" fmla="*/ 121 w 526"/>
                <a:gd name="T31" fmla="*/ 0 h 452"/>
                <a:gd name="T32" fmla="*/ 73 w 526"/>
                <a:gd name="T33" fmla="*/ 5 h 452"/>
                <a:gd name="T34" fmla="*/ 62 w 526"/>
                <a:gd name="T35" fmla="*/ 16 h 452"/>
                <a:gd name="T36" fmla="*/ 56 w 526"/>
                <a:gd name="T37" fmla="*/ 43 h 452"/>
                <a:gd name="T38" fmla="*/ 43 w 526"/>
                <a:gd name="T39" fmla="*/ 61 h 452"/>
                <a:gd name="T40" fmla="*/ 41 w 526"/>
                <a:gd name="T41" fmla="*/ 104 h 452"/>
                <a:gd name="T42" fmla="*/ 39 w 526"/>
                <a:gd name="T43" fmla="*/ 119 h 452"/>
                <a:gd name="T44" fmla="*/ 49 w 526"/>
                <a:gd name="T45" fmla="*/ 147 h 452"/>
                <a:gd name="T46" fmla="*/ 41 w 526"/>
                <a:gd name="T47" fmla="*/ 167 h 452"/>
                <a:gd name="T48" fmla="*/ 45 w 526"/>
                <a:gd name="T49" fmla="*/ 179 h 452"/>
                <a:gd name="T50" fmla="*/ 23 w 526"/>
                <a:gd name="T51" fmla="*/ 207 h 452"/>
                <a:gd name="T52" fmla="*/ 10 w 526"/>
                <a:gd name="T53" fmla="*/ 223 h 452"/>
                <a:gd name="T54" fmla="*/ 1 w 526"/>
                <a:gd name="T55" fmla="*/ 252 h 452"/>
                <a:gd name="T56" fmla="*/ 2 w 526"/>
                <a:gd name="T57" fmla="*/ 282 h 452"/>
                <a:gd name="T58" fmla="*/ 0 w 526"/>
                <a:gd name="T59" fmla="*/ 358 h 452"/>
                <a:gd name="T60" fmla="*/ 40 w 526"/>
                <a:gd name="T61" fmla="*/ 358 h 452"/>
                <a:gd name="T62" fmla="*/ 73 w 526"/>
                <a:gd name="T63" fmla="*/ 357 h 452"/>
                <a:gd name="T64" fmla="*/ 104 w 526"/>
                <a:gd name="T65" fmla="*/ 388 h 452"/>
                <a:gd name="T66" fmla="*/ 119 w 526"/>
                <a:gd name="T67" fmla="*/ 422 h 452"/>
                <a:gd name="T68" fmla="*/ 143 w 526"/>
                <a:gd name="T69" fmla="*/ 451 h 452"/>
                <a:gd name="T70" fmla="*/ 179 w 526"/>
                <a:gd name="T71" fmla="*/ 452 h 452"/>
                <a:gd name="T72" fmla="*/ 196 w 526"/>
                <a:gd name="T73" fmla="*/ 442 h 452"/>
                <a:gd name="T74" fmla="*/ 213 w 526"/>
                <a:gd name="T75" fmla="*/ 444 h 452"/>
                <a:gd name="T76" fmla="*/ 260 w 526"/>
                <a:gd name="T77" fmla="*/ 427 h 452"/>
                <a:gd name="T78" fmla="*/ 271 w 526"/>
                <a:gd name="T79" fmla="*/ 394 h 452"/>
                <a:gd name="T80" fmla="*/ 292 w 526"/>
                <a:gd name="T81" fmla="*/ 348 h 452"/>
                <a:gd name="T82" fmla="*/ 304 w 526"/>
                <a:gd name="T83" fmla="*/ 348 h 452"/>
                <a:gd name="T84" fmla="*/ 331 w 526"/>
                <a:gd name="T85" fmla="*/ 321 h 452"/>
                <a:gd name="T86" fmla="*/ 347 w 526"/>
                <a:gd name="T87" fmla="*/ 320 h 452"/>
                <a:gd name="T88" fmla="*/ 373 w 526"/>
                <a:gd name="T89" fmla="*/ 340 h 452"/>
                <a:gd name="T90" fmla="*/ 403 w 526"/>
                <a:gd name="T91" fmla="*/ 324 h 452"/>
                <a:gd name="T92" fmla="*/ 408 w 526"/>
                <a:gd name="T93" fmla="*/ 304 h 452"/>
                <a:gd name="T94" fmla="*/ 417 w 526"/>
                <a:gd name="T95" fmla="*/ 286 h 452"/>
                <a:gd name="T96" fmla="*/ 424 w 526"/>
                <a:gd name="T97" fmla="*/ 262 h 452"/>
                <a:gd name="T98" fmla="*/ 448 w 526"/>
                <a:gd name="T99" fmla="*/ 242 h 452"/>
                <a:gd name="T100" fmla="*/ 456 w 526"/>
                <a:gd name="T101" fmla="*/ 209 h 452"/>
                <a:gd name="T102" fmla="*/ 466 w 526"/>
                <a:gd name="T103" fmla="*/ 199 h 452"/>
                <a:gd name="T104" fmla="*/ 472 w 526"/>
                <a:gd name="T105" fmla="*/ 174 h 452"/>
                <a:gd name="T106" fmla="*/ 483 w 526"/>
                <a:gd name="T107" fmla="*/ 145 h 452"/>
                <a:gd name="T108" fmla="*/ 520 w 526"/>
                <a:gd name="T109" fmla="*/ 108 h 452"/>
                <a:gd name="T110" fmla="*/ 522 w 526"/>
                <a:gd name="T111" fmla="*/ 92 h 452"/>
                <a:gd name="T112" fmla="*/ 526 w 526"/>
                <a:gd name="T113" fmla="*/ 83 h 452"/>
                <a:gd name="T114" fmla="*/ 509 w 526"/>
                <a:gd name="T115" fmla="*/ 65 h 452"/>
                <a:gd name="T116" fmla="*/ 509 w 526"/>
                <a:gd name="T117" fmla="*/ 6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452">
                  <a:moveTo>
                    <a:pt x="509" y="65"/>
                  </a:moveTo>
                  <a:lnTo>
                    <a:pt x="501" y="66"/>
                  </a:lnTo>
                  <a:lnTo>
                    <a:pt x="470" y="15"/>
                  </a:lnTo>
                  <a:lnTo>
                    <a:pt x="460" y="13"/>
                  </a:lnTo>
                  <a:lnTo>
                    <a:pt x="425" y="39"/>
                  </a:lnTo>
                  <a:lnTo>
                    <a:pt x="391" y="26"/>
                  </a:lnTo>
                  <a:lnTo>
                    <a:pt x="368" y="22"/>
                  </a:lnTo>
                  <a:lnTo>
                    <a:pt x="355" y="29"/>
                  </a:lnTo>
                  <a:lnTo>
                    <a:pt x="328" y="27"/>
                  </a:lnTo>
                  <a:lnTo>
                    <a:pt x="303" y="48"/>
                  </a:lnTo>
                  <a:lnTo>
                    <a:pt x="280" y="49"/>
                  </a:lnTo>
                  <a:lnTo>
                    <a:pt x="226" y="25"/>
                  </a:lnTo>
                  <a:lnTo>
                    <a:pt x="205" y="36"/>
                  </a:lnTo>
                  <a:lnTo>
                    <a:pt x="183" y="36"/>
                  </a:lnTo>
                  <a:lnTo>
                    <a:pt x="166" y="17"/>
                  </a:lnTo>
                  <a:lnTo>
                    <a:pt x="121" y="0"/>
                  </a:lnTo>
                  <a:lnTo>
                    <a:pt x="73" y="5"/>
                  </a:lnTo>
                  <a:lnTo>
                    <a:pt x="62" y="16"/>
                  </a:lnTo>
                  <a:lnTo>
                    <a:pt x="56" y="43"/>
                  </a:lnTo>
                  <a:lnTo>
                    <a:pt x="43" y="61"/>
                  </a:lnTo>
                  <a:lnTo>
                    <a:pt x="41" y="104"/>
                  </a:lnTo>
                  <a:lnTo>
                    <a:pt x="39" y="119"/>
                  </a:lnTo>
                  <a:lnTo>
                    <a:pt x="49" y="147"/>
                  </a:lnTo>
                  <a:lnTo>
                    <a:pt x="41" y="167"/>
                  </a:lnTo>
                  <a:lnTo>
                    <a:pt x="45" y="179"/>
                  </a:lnTo>
                  <a:lnTo>
                    <a:pt x="23" y="207"/>
                  </a:lnTo>
                  <a:lnTo>
                    <a:pt x="10" y="223"/>
                  </a:lnTo>
                  <a:lnTo>
                    <a:pt x="1" y="252"/>
                  </a:lnTo>
                  <a:lnTo>
                    <a:pt x="2" y="282"/>
                  </a:lnTo>
                  <a:lnTo>
                    <a:pt x="0" y="358"/>
                  </a:lnTo>
                  <a:lnTo>
                    <a:pt x="40" y="358"/>
                  </a:lnTo>
                  <a:lnTo>
                    <a:pt x="73" y="357"/>
                  </a:lnTo>
                  <a:lnTo>
                    <a:pt x="104" y="388"/>
                  </a:lnTo>
                  <a:lnTo>
                    <a:pt x="119" y="422"/>
                  </a:lnTo>
                  <a:lnTo>
                    <a:pt x="143" y="451"/>
                  </a:lnTo>
                  <a:lnTo>
                    <a:pt x="179" y="452"/>
                  </a:lnTo>
                  <a:lnTo>
                    <a:pt x="196" y="442"/>
                  </a:lnTo>
                  <a:lnTo>
                    <a:pt x="213" y="444"/>
                  </a:lnTo>
                  <a:lnTo>
                    <a:pt x="260" y="427"/>
                  </a:lnTo>
                  <a:lnTo>
                    <a:pt x="271" y="394"/>
                  </a:lnTo>
                  <a:lnTo>
                    <a:pt x="292" y="348"/>
                  </a:lnTo>
                  <a:lnTo>
                    <a:pt x="304" y="348"/>
                  </a:lnTo>
                  <a:lnTo>
                    <a:pt x="331" y="321"/>
                  </a:lnTo>
                  <a:lnTo>
                    <a:pt x="347" y="320"/>
                  </a:lnTo>
                  <a:lnTo>
                    <a:pt x="373" y="340"/>
                  </a:lnTo>
                  <a:lnTo>
                    <a:pt x="403" y="324"/>
                  </a:lnTo>
                  <a:lnTo>
                    <a:pt x="408" y="304"/>
                  </a:lnTo>
                  <a:lnTo>
                    <a:pt x="417" y="286"/>
                  </a:lnTo>
                  <a:lnTo>
                    <a:pt x="424" y="262"/>
                  </a:lnTo>
                  <a:lnTo>
                    <a:pt x="448" y="242"/>
                  </a:lnTo>
                  <a:lnTo>
                    <a:pt x="456" y="209"/>
                  </a:lnTo>
                  <a:lnTo>
                    <a:pt x="466" y="199"/>
                  </a:lnTo>
                  <a:lnTo>
                    <a:pt x="472" y="174"/>
                  </a:lnTo>
                  <a:lnTo>
                    <a:pt x="483" y="145"/>
                  </a:lnTo>
                  <a:lnTo>
                    <a:pt x="520" y="108"/>
                  </a:lnTo>
                  <a:lnTo>
                    <a:pt x="522" y="92"/>
                  </a:lnTo>
                  <a:lnTo>
                    <a:pt x="526" y="83"/>
                  </a:lnTo>
                  <a:lnTo>
                    <a:pt x="509" y="65"/>
                  </a:lnTo>
                  <a:lnTo>
                    <a:pt x="509" y="65"/>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8" name="Rwanda">
              <a:extLst>
                <a:ext uri="{FF2B5EF4-FFF2-40B4-BE49-F238E27FC236}">
                  <a16:creationId xmlns:a16="http://schemas.microsoft.com/office/drawing/2014/main" id="{BAC210EC-EE86-DD37-EA45-A6BA7EA4E1F1}"/>
                </a:ext>
              </a:extLst>
            </p:cNvPr>
            <p:cNvSpPr>
              <a:spLocks/>
            </p:cNvSpPr>
            <p:nvPr/>
          </p:nvSpPr>
          <p:spPr bwMode="auto">
            <a:xfrm>
              <a:off x="8147941" y="3649000"/>
              <a:ext cx="127000" cy="133350"/>
            </a:xfrm>
            <a:custGeom>
              <a:avLst/>
              <a:gdLst>
                <a:gd name="T0" fmla="*/ 63 w 80"/>
                <a:gd name="T1" fmla="*/ 0 h 84"/>
                <a:gd name="T2" fmla="*/ 35 w 80"/>
                <a:gd name="T3" fmla="*/ 14 h 84"/>
                <a:gd name="T4" fmla="*/ 24 w 80"/>
                <a:gd name="T5" fmla="*/ 10 h 84"/>
                <a:gd name="T6" fmla="*/ 12 w 80"/>
                <a:gd name="T7" fmla="*/ 23 h 84"/>
                <a:gd name="T8" fmla="*/ 10 w 80"/>
                <a:gd name="T9" fmla="*/ 51 h 84"/>
                <a:gd name="T10" fmla="*/ 4 w 80"/>
                <a:gd name="T11" fmla="*/ 54 h 84"/>
                <a:gd name="T12" fmla="*/ 0 w 80"/>
                <a:gd name="T13" fmla="*/ 80 h 84"/>
                <a:gd name="T14" fmla="*/ 26 w 80"/>
                <a:gd name="T15" fmla="*/ 84 h 84"/>
                <a:gd name="T16" fmla="*/ 41 w 80"/>
                <a:gd name="T17" fmla="*/ 57 h 84"/>
                <a:gd name="T18" fmla="*/ 65 w 80"/>
                <a:gd name="T19" fmla="*/ 60 h 84"/>
                <a:gd name="T20" fmla="*/ 65 w 80"/>
                <a:gd name="T21" fmla="*/ 60 h 84"/>
                <a:gd name="T22" fmla="*/ 77 w 80"/>
                <a:gd name="T23" fmla="*/ 54 h 84"/>
                <a:gd name="T24" fmla="*/ 80 w 80"/>
                <a:gd name="T25" fmla="*/ 26 h 84"/>
                <a:gd name="T26" fmla="*/ 63 w 80"/>
                <a:gd name="T27" fmla="*/ 0 h 84"/>
                <a:gd name="T28" fmla="*/ 63 w 80"/>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4">
                  <a:moveTo>
                    <a:pt x="63" y="0"/>
                  </a:moveTo>
                  <a:lnTo>
                    <a:pt x="35" y="14"/>
                  </a:lnTo>
                  <a:lnTo>
                    <a:pt x="24" y="10"/>
                  </a:lnTo>
                  <a:lnTo>
                    <a:pt x="12" y="23"/>
                  </a:lnTo>
                  <a:lnTo>
                    <a:pt x="10" y="51"/>
                  </a:lnTo>
                  <a:lnTo>
                    <a:pt x="4" y="54"/>
                  </a:lnTo>
                  <a:lnTo>
                    <a:pt x="0" y="80"/>
                  </a:lnTo>
                  <a:lnTo>
                    <a:pt x="26" y="84"/>
                  </a:lnTo>
                  <a:lnTo>
                    <a:pt x="41" y="57"/>
                  </a:lnTo>
                  <a:lnTo>
                    <a:pt x="65" y="60"/>
                  </a:lnTo>
                  <a:lnTo>
                    <a:pt x="65" y="60"/>
                  </a:lnTo>
                  <a:lnTo>
                    <a:pt x="77" y="54"/>
                  </a:lnTo>
                  <a:lnTo>
                    <a:pt x="80" y="26"/>
                  </a:lnTo>
                  <a:lnTo>
                    <a:pt x="63" y="0"/>
                  </a:lnTo>
                  <a:lnTo>
                    <a:pt x="63" y="0"/>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79" name="Western Sahara">
              <a:extLst>
                <a:ext uri="{FF2B5EF4-FFF2-40B4-BE49-F238E27FC236}">
                  <a16:creationId xmlns:a16="http://schemas.microsoft.com/office/drawing/2014/main" id="{E97DD66C-B82D-1D1A-DF08-6F9F5F84EC60}"/>
                </a:ext>
              </a:extLst>
            </p:cNvPr>
            <p:cNvSpPr>
              <a:spLocks/>
            </p:cNvSpPr>
            <p:nvPr/>
          </p:nvSpPr>
          <p:spPr bwMode="auto">
            <a:xfrm>
              <a:off x="4906266" y="1501111"/>
              <a:ext cx="590550" cy="496888"/>
            </a:xfrm>
            <a:custGeom>
              <a:avLst/>
              <a:gdLst>
                <a:gd name="T0" fmla="*/ 372 w 372"/>
                <a:gd name="T1" fmla="*/ 0 h 313"/>
                <a:gd name="T2" fmla="*/ 366 w 372"/>
                <a:gd name="T3" fmla="*/ 0 h 313"/>
                <a:gd name="T4" fmla="*/ 366 w 372"/>
                <a:gd name="T5" fmla="*/ 0 h 313"/>
                <a:gd name="T6" fmla="*/ 366 w 372"/>
                <a:gd name="T7" fmla="*/ 25 h 313"/>
                <a:gd name="T8" fmla="*/ 339 w 372"/>
                <a:gd name="T9" fmla="*/ 27 h 313"/>
                <a:gd name="T10" fmla="*/ 326 w 372"/>
                <a:gd name="T11" fmla="*/ 38 h 313"/>
                <a:gd name="T12" fmla="*/ 306 w 372"/>
                <a:gd name="T13" fmla="*/ 38 h 313"/>
                <a:gd name="T14" fmla="*/ 290 w 372"/>
                <a:gd name="T15" fmla="*/ 32 h 313"/>
                <a:gd name="T16" fmla="*/ 254 w 372"/>
                <a:gd name="T17" fmla="*/ 36 h 313"/>
                <a:gd name="T18" fmla="*/ 238 w 372"/>
                <a:gd name="T19" fmla="*/ 73 h 313"/>
                <a:gd name="T20" fmla="*/ 225 w 372"/>
                <a:gd name="T21" fmla="*/ 77 h 313"/>
                <a:gd name="T22" fmla="*/ 203 w 372"/>
                <a:gd name="T23" fmla="*/ 136 h 313"/>
                <a:gd name="T24" fmla="*/ 141 w 372"/>
                <a:gd name="T25" fmla="*/ 186 h 313"/>
                <a:gd name="T26" fmla="*/ 125 w 372"/>
                <a:gd name="T27" fmla="*/ 252 h 313"/>
                <a:gd name="T28" fmla="*/ 107 w 372"/>
                <a:gd name="T29" fmla="*/ 273 h 313"/>
                <a:gd name="T30" fmla="*/ 101 w 372"/>
                <a:gd name="T31" fmla="*/ 290 h 313"/>
                <a:gd name="T32" fmla="*/ 2 w 372"/>
                <a:gd name="T33" fmla="*/ 293 h 313"/>
                <a:gd name="T34" fmla="*/ 2 w 372"/>
                <a:gd name="T35" fmla="*/ 293 h 313"/>
                <a:gd name="T36" fmla="*/ 0 w 372"/>
                <a:gd name="T37" fmla="*/ 313 h 313"/>
                <a:gd name="T38" fmla="*/ 10 w 372"/>
                <a:gd name="T39" fmla="*/ 298 h 313"/>
                <a:gd name="T40" fmla="*/ 181 w 372"/>
                <a:gd name="T41" fmla="*/ 298 h 313"/>
                <a:gd name="T42" fmla="*/ 174 w 372"/>
                <a:gd name="T43" fmla="*/ 230 h 313"/>
                <a:gd name="T44" fmla="*/ 185 w 372"/>
                <a:gd name="T45" fmla="*/ 206 h 313"/>
                <a:gd name="T46" fmla="*/ 226 w 372"/>
                <a:gd name="T47" fmla="*/ 202 h 313"/>
                <a:gd name="T48" fmla="*/ 227 w 372"/>
                <a:gd name="T49" fmla="*/ 81 h 313"/>
                <a:gd name="T50" fmla="*/ 370 w 372"/>
                <a:gd name="T51" fmla="*/ 84 h 313"/>
                <a:gd name="T52" fmla="*/ 371 w 372"/>
                <a:gd name="T53" fmla="*/ 12 h 313"/>
                <a:gd name="T54" fmla="*/ 372 w 372"/>
                <a:gd name="T55" fmla="*/ 3 h 313"/>
                <a:gd name="T56" fmla="*/ 372 w 372"/>
                <a:gd name="T57" fmla="*/ 0 h 313"/>
                <a:gd name="T58" fmla="*/ 372 w 372"/>
                <a:gd name="T5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313">
                  <a:moveTo>
                    <a:pt x="372" y="0"/>
                  </a:moveTo>
                  <a:lnTo>
                    <a:pt x="366" y="0"/>
                  </a:lnTo>
                  <a:lnTo>
                    <a:pt x="366" y="0"/>
                  </a:lnTo>
                  <a:lnTo>
                    <a:pt x="366" y="25"/>
                  </a:lnTo>
                  <a:lnTo>
                    <a:pt x="339" y="27"/>
                  </a:lnTo>
                  <a:lnTo>
                    <a:pt x="326" y="38"/>
                  </a:lnTo>
                  <a:lnTo>
                    <a:pt x="306" y="38"/>
                  </a:lnTo>
                  <a:lnTo>
                    <a:pt x="290" y="32"/>
                  </a:lnTo>
                  <a:lnTo>
                    <a:pt x="254" y="36"/>
                  </a:lnTo>
                  <a:lnTo>
                    <a:pt x="238" y="73"/>
                  </a:lnTo>
                  <a:lnTo>
                    <a:pt x="225" y="77"/>
                  </a:lnTo>
                  <a:lnTo>
                    <a:pt x="203" y="136"/>
                  </a:lnTo>
                  <a:lnTo>
                    <a:pt x="141" y="186"/>
                  </a:lnTo>
                  <a:lnTo>
                    <a:pt x="125" y="252"/>
                  </a:lnTo>
                  <a:lnTo>
                    <a:pt x="107" y="273"/>
                  </a:lnTo>
                  <a:lnTo>
                    <a:pt x="101" y="290"/>
                  </a:lnTo>
                  <a:lnTo>
                    <a:pt x="2" y="293"/>
                  </a:lnTo>
                  <a:lnTo>
                    <a:pt x="2" y="293"/>
                  </a:lnTo>
                  <a:lnTo>
                    <a:pt x="0" y="313"/>
                  </a:lnTo>
                  <a:lnTo>
                    <a:pt x="10" y="298"/>
                  </a:lnTo>
                  <a:lnTo>
                    <a:pt x="181" y="298"/>
                  </a:lnTo>
                  <a:lnTo>
                    <a:pt x="174" y="230"/>
                  </a:lnTo>
                  <a:lnTo>
                    <a:pt x="185" y="206"/>
                  </a:lnTo>
                  <a:lnTo>
                    <a:pt x="226" y="202"/>
                  </a:lnTo>
                  <a:lnTo>
                    <a:pt x="227" y="81"/>
                  </a:lnTo>
                  <a:lnTo>
                    <a:pt x="370" y="84"/>
                  </a:lnTo>
                  <a:lnTo>
                    <a:pt x="371" y="12"/>
                  </a:lnTo>
                  <a:lnTo>
                    <a:pt x="372" y="3"/>
                  </a:lnTo>
                  <a:lnTo>
                    <a:pt x="372" y="0"/>
                  </a:lnTo>
                  <a:lnTo>
                    <a:pt x="372" y="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0" name="Sudan">
              <a:extLst>
                <a:ext uri="{FF2B5EF4-FFF2-40B4-BE49-F238E27FC236}">
                  <a16:creationId xmlns:a16="http://schemas.microsoft.com/office/drawing/2014/main" id="{9CB3EB4B-53E2-59D9-6AAB-C6D6DA2F9E0A}"/>
                </a:ext>
              </a:extLst>
            </p:cNvPr>
            <p:cNvSpPr>
              <a:spLocks/>
            </p:cNvSpPr>
            <p:nvPr/>
          </p:nvSpPr>
          <p:spPr bwMode="auto">
            <a:xfrm>
              <a:off x="7633591" y="1923387"/>
              <a:ext cx="1139825" cy="996950"/>
            </a:xfrm>
            <a:custGeom>
              <a:avLst/>
              <a:gdLst>
                <a:gd name="T0" fmla="*/ 652 w 718"/>
                <a:gd name="T1" fmla="*/ 237 h 628"/>
                <a:gd name="T2" fmla="*/ 697 w 718"/>
                <a:gd name="T3" fmla="*/ 215 h 628"/>
                <a:gd name="T4" fmla="*/ 694 w 718"/>
                <a:gd name="T5" fmla="*/ 171 h 628"/>
                <a:gd name="T6" fmla="*/ 656 w 718"/>
                <a:gd name="T7" fmla="*/ 103 h 628"/>
                <a:gd name="T8" fmla="*/ 656 w 718"/>
                <a:gd name="T9" fmla="*/ 46 h 628"/>
                <a:gd name="T10" fmla="*/ 466 w 718"/>
                <a:gd name="T11" fmla="*/ 0 h 628"/>
                <a:gd name="T12" fmla="*/ 121 w 718"/>
                <a:gd name="T13" fmla="*/ 0 h 628"/>
                <a:gd name="T14" fmla="*/ 74 w 718"/>
                <a:gd name="T15" fmla="*/ 94 h 628"/>
                <a:gd name="T16" fmla="*/ 84 w 718"/>
                <a:gd name="T17" fmla="*/ 300 h 628"/>
                <a:gd name="T18" fmla="*/ 26 w 718"/>
                <a:gd name="T19" fmla="*/ 331 h 628"/>
                <a:gd name="T20" fmla="*/ 24 w 718"/>
                <a:gd name="T21" fmla="*/ 371 h 628"/>
                <a:gd name="T22" fmla="*/ 16 w 718"/>
                <a:gd name="T23" fmla="*/ 405 h 628"/>
                <a:gd name="T24" fmla="*/ 0 w 718"/>
                <a:gd name="T25" fmla="*/ 442 h 628"/>
                <a:gd name="T26" fmla="*/ 26 w 718"/>
                <a:gd name="T27" fmla="*/ 458 h 628"/>
                <a:gd name="T28" fmla="*/ 43 w 718"/>
                <a:gd name="T29" fmla="*/ 499 h 628"/>
                <a:gd name="T30" fmla="*/ 49 w 718"/>
                <a:gd name="T31" fmla="*/ 530 h 628"/>
                <a:gd name="T32" fmla="*/ 75 w 718"/>
                <a:gd name="T33" fmla="*/ 579 h 628"/>
                <a:gd name="T34" fmla="*/ 72 w 718"/>
                <a:gd name="T35" fmla="*/ 613 h 628"/>
                <a:gd name="T36" fmla="*/ 91 w 718"/>
                <a:gd name="T37" fmla="*/ 628 h 628"/>
                <a:gd name="T38" fmla="*/ 120 w 718"/>
                <a:gd name="T39" fmla="*/ 615 h 628"/>
                <a:gd name="T40" fmla="*/ 142 w 718"/>
                <a:gd name="T41" fmla="*/ 551 h 628"/>
                <a:gd name="T42" fmla="*/ 182 w 718"/>
                <a:gd name="T43" fmla="*/ 557 h 628"/>
                <a:gd name="T44" fmla="*/ 218 w 718"/>
                <a:gd name="T45" fmla="*/ 589 h 628"/>
                <a:gd name="T46" fmla="*/ 265 w 718"/>
                <a:gd name="T47" fmla="*/ 583 h 628"/>
                <a:gd name="T48" fmla="*/ 316 w 718"/>
                <a:gd name="T49" fmla="*/ 592 h 628"/>
                <a:gd name="T50" fmla="*/ 340 w 718"/>
                <a:gd name="T51" fmla="*/ 573 h 628"/>
                <a:gd name="T52" fmla="*/ 361 w 718"/>
                <a:gd name="T53" fmla="*/ 550 h 628"/>
                <a:gd name="T54" fmla="*/ 421 w 718"/>
                <a:gd name="T55" fmla="*/ 572 h 628"/>
                <a:gd name="T56" fmla="*/ 467 w 718"/>
                <a:gd name="T57" fmla="*/ 513 h 628"/>
                <a:gd name="T58" fmla="*/ 451 w 718"/>
                <a:gd name="T59" fmla="*/ 471 h 628"/>
                <a:gd name="T60" fmla="*/ 480 w 718"/>
                <a:gd name="T61" fmla="*/ 459 h 628"/>
                <a:gd name="T62" fmla="*/ 496 w 718"/>
                <a:gd name="T63" fmla="*/ 496 h 628"/>
                <a:gd name="T64" fmla="*/ 526 w 718"/>
                <a:gd name="T65" fmla="*/ 549 h 628"/>
                <a:gd name="T66" fmla="*/ 532 w 718"/>
                <a:gd name="T67" fmla="*/ 588 h 628"/>
                <a:gd name="T68" fmla="*/ 538 w 718"/>
                <a:gd name="T69" fmla="*/ 583 h 628"/>
                <a:gd name="T70" fmla="*/ 570 w 718"/>
                <a:gd name="T71" fmla="*/ 522 h 628"/>
                <a:gd name="T72" fmla="*/ 592 w 718"/>
                <a:gd name="T73" fmla="*/ 465 h 628"/>
                <a:gd name="T74" fmla="*/ 634 w 718"/>
                <a:gd name="T75" fmla="*/ 397 h 628"/>
                <a:gd name="T76" fmla="*/ 634 w 718"/>
                <a:gd name="T77" fmla="*/ 337 h 628"/>
                <a:gd name="T78" fmla="*/ 650 w 718"/>
                <a:gd name="T79" fmla="*/ 2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8" h="628">
                  <a:moveTo>
                    <a:pt x="650" y="269"/>
                  </a:moveTo>
                  <a:lnTo>
                    <a:pt x="652" y="237"/>
                  </a:lnTo>
                  <a:lnTo>
                    <a:pt x="665" y="223"/>
                  </a:lnTo>
                  <a:lnTo>
                    <a:pt x="697" y="215"/>
                  </a:lnTo>
                  <a:lnTo>
                    <a:pt x="718" y="188"/>
                  </a:lnTo>
                  <a:lnTo>
                    <a:pt x="694" y="171"/>
                  </a:lnTo>
                  <a:lnTo>
                    <a:pt x="675" y="159"/>
                  </a:lnTo>
                  <a:lnTo>
                    <a:pt x="656" y="103"/>
                  </a:lnTo>
                  <a:lnTo>
                    <a:pt x="647" y="55"/>
                  </a:lnTo>
                  <a:lnTo>
                    <a:pt x="656" y="46"/>
                  </a:lnTo>
                  <a:lnTo>
                    <a:pt x="639" y="0"/>
                  </a:lnTo>
                  <a:lnTo>
                    <a:pt x="466" y="0"/>
                  </a:lnTo>
                  <a:lnTo>
                    <a:pt x="296" y="0"/>
                  </a:lnTo>
                  <a:lnTo>
                    <a:pt x="121" y="0"/>
                  </a:lnTo>
                  <a:lnTo>
                    <a:pt x="125" y="94"/>
                  </a:lnTo>
                  <a:lnTo>
                    <a:pt x="74" y="94"/>
                  </a:lnTo>
                  <a:lnTo>
                    <a:pt x="74" y="114"/>
                  </a:lnTo>
                  <a:lnTo>
                    <a:pt x="84" y="300"/>
                  </a:lnTo>
                  <a:lnTo>
                    <a:pt x="45" y="297"/>
                  </a:lnTo>
                  <a:lnTo>
                    <a:pt x="26" y="331"/>
                  </a:lnTo>
                  <a:lnTo>
                    <a:pt x="15" y="360"/>
                  </a:lnTo>
                  <a:lnTo>
                    <a:pt x="24" y="371"/>
                  </a:lnTo>
                  <a:lnTo>
                    <a:pt x="10" y="386"/>
                  </a:lnTo>
                  <a:lnTo>
                    <a:pt x="16" y="405"/>
                  </a:lnTo>
                  <a:lnTo>
                    <a:pt x="5" y="425"/>
                  </a:lnTo>
                  <a:lnTo>
                    <a:pt x="0" y="442"/>
                  </a:lnTo>
                  <a:lnTo>
                    <a:pt x="16" y="439"/>
                  </a:lnTo>
                  <a:lnTo>
                    <a:pt x="26" y="458"/>
                  </a:lnTo>
                  <a:lnTo>
                    <a:pt x="27" y="485"/>
                  </a:lnTo>
                  <a:lnTo>
                    <a:pt x="43" y="499"/>
                  </a:lnTo>
                  <a:lnTo>
                    <a:pt x="43" y="510"/>
                  </a:lnTo>
                  <a:lnTo>
                    <a:pt x="49" y="530"/>
                  </a:lnTo>
                  <a:lnTo>
                    <a:pt x="75" y="560"/>
                  </a:lnTo>
                  <a:lnTo>
                    <a:pt x="75" y="579"/>
                  </a:lnTo>
                  <a:lnTo>
                    <a:pt x="69" y="598"/>
                  </a:lnTo>
                  <a:lnTo>
                    <a:pt x="72" y="613"/>
                  </a:lnTo>
                  <a:lnTo>
                    <a:pt x="87" y="627"/>
                  </a:lnTo>
                  <a:lnTo>
                    <a:pt x="91" y="628"/>
                  </a:lnTo>
                  <a:lnTo>
                    <a:pt x="105" y="623"/>
                  </a:lnTo>
                  <a:lnTo>
                    <a:pt x="120" y="615"/>
                  </a:lnTo>
                  <a:lnTo>
                    <a:pt x="130" y="572"/>
                  </a:lnTo>
                  <a:lnTo>
                    <a:pt x="142" y="551"/>
                  </a:lnTo>
                  <a:lnTo>
                    <a:pt x="174" y="544"/>
                  </a:lnTo>
                  <a:lnTo>
                    <a:pt x="182" y="557"/>
                  </a:lnTo>
                  <a:lnTo>
                    <a:pt x="206" y="584"/>
                  </a:lnTo>
                  <a:lnTo>
                    <a:pt x="218" y="589"/>
                  </a:lnTo>
                  <a:lnTo>
                    <a:pt x="233" y="581"/>
                  </a:lnTo>
                  <a:lnTo>
                    <a:pt x="265" y="583"/>
                  </a:lnTo>
                  <a:lnTo>
                    <a:pt x="272" y="592"/>
                  </a:lnTo>
                  <a:lnTo>
                    <a:pt x="316" y="592"/>
                  </a:lnTo>
                  <a:lnTo>
                    <a:pt x="317" y="583"/>
                  </a:lnTo>
                  <a:lnTo>
                    <a:pt x="340" y="573"/>
                  </a:lnTo>
                  <a:lnTo>
                    <a:pt x="345" y="560"/>
                  </a:lnTo>
                  <a:lnTo>
                    <a:pt x="361" y="550"/>
                  </a:lnTo>
                  <a:lnTo>
                    <a:pt x="400" y="578"/>
                  </a:lnTo>
                  <a:lnTo>
                    <a:pt x="421" y="572"/>
                  </a:lnTo>
                  <a:lnTo>
                    <a:pt x="443" y="538"/>
                  </a:lnTo>
                  <a:lnTo>
                    <a:pt x="467" y="513"/>
                  </a:lnTo>
                  <a:lnTo>
                    <a:pt x="462" y="485"/>
                  </a:lnTo>
                  <a:lnTo>
                    <a:pt x="451" y="471"/>
                  </a:lnTo>
                  <a:lnTo>
                    <a:pt x="478" y="469"/>
                  </a:lnTo>
                  <a:lnTo>
                    <a:pt x="480" y="459"/>
                  </a:lnTo>
                  <a:lnTo>
                    <a:pt x="501" y="461"/>
                  </a:lnTo>
                  <a:lnTo>
                    <a:pt x="496" y="496"/>
                  </a:lnTo>
                  <a:lnTo>
                    <a:pt x="503" y="530"/>
                  </a:lnTo>
                  <a:lnTo>
                    <a:pt x="526" y="549"/>
                  </a:lnTo>
                  <a:lnTo>
                    <a:pt x="532" y="565"/>
                  </a:lnTo>
                  <a:lnTo>
                    <a:pt x="532" y="588"/>
                  </a:lnTo>
                  <a:lnTo>
                    <a:pt x="538" y="589"/>
                  </a:lnTo>
                  <a:lnTo>
                    <a:pt x="538" y="583"/>
                  </a:lnTo>
                  <a:lnTo>
                    <a:pt x="550" y="534"/>
                  </a:lnTo>
                  <a:lnTo>
                    <a:pt x="570" y="522"/>
                  </a:lnTo>
                  <a:lnTo>
                    <a:pt x="575" y="502"/>
                  </a:lnTo>
                  <a:lnTo>
                    <a:pt x="592" y="465"/>
                  </a:lnTo>
                  <a:lnTo>
                    <a:pt x="618" y="443"/>
                  </a:lnTo>
                  <a:lnTo>
                    <a:pt x="634" y="397"/>
                  </a:lnTo>
                  <a:lnTo>
                    <a:pt x="640" y="356"/>
                  </a:lnTo>
                  <a:lnTo>
                    <a:pt x="634" y="337"/>
                  </a:lnTo>
                  <a:lnTo>
                    <a:pt x="650" y="269"/>
                  </a:lnTo>
                  <a:lnTo>
                    <a:pt x="650" y="269"/>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1" name="South Sudan">
              <a:extLst>
                <a:ext uri="{FF2B5EF4-FFF2-40B4-BE49-F238E27FC236}">
                  <a16:creationId xmlns:a16="http://schemas.microsoft.com/office/drawing/2014/main" id="{AF4C09BC-278F-6895-BB90-3BDA5587F150}"/>
                </a:ext>
              </a:extLst>
            </p:cNvPr>
            <p:cNvSpPr>
              <a:spLocks/>
            </p:cNvSpPr>
            <p:nvPr/>
          </p:nvSpPr>
          <p:spPr bwMode="auto">
            <a:xfrm>
              <a:off x="7778054" y="2652050"/>
              <a:ext cx="809625" cy="650875"/>
            </a:xfrm>
            <a:custGeom>
              <a:avLst/>
              <a:gdLst>
                <a:gd name="T0" fmla="*/ 435 w 510"/>
                <a:gd name="T1" fmla="*/ 90 h 410"/>
                <a:gd name="T2" fmla="*/ 405 w 510"/>
                <a:gd name="T3" fmla="*/ 37 h 410"/>
                <a:gd name="T4" fmla="*/ 389 w 510"/>
                <a:gd name="T5" fmla="*/ 0 h 410"/>
                <a:gd name="T6" fmla="*/ 360 w 510"/>
                <a:gd name="T7" fmla="*/ 12 h 410"/>
                <a:gd name="T8" fmla="*/ 376 w 510"/>
                <a:gd name="T9" fmla="*/ 54 h 410"/>
                <a:gd name="T10" fmla="*/ 330 w 510"/>
                <a:gd name="T11" fmla="*/ 113 h 410"/>
                <a:gd name="T12" fmla="*/ 270 w 510"/>
                <a:gd name="T13" fmla="*/ 91 h 410"/>
                <a:gd name="T14" fmla="*/ 249 w 510"/>
                <a:gd name="T15" fmla="*/ 114 h 410"/>
                <a:gd name="T16" fmla="*/ 225 w 510"/>
                <a:gd name="T17" fmla="*/ 133 h 410"/>
                <a:gd name="T18" fmla="*/ 174 w 510"/>
                <a:gd name="T19" fmla="*/ 124 h 410"/>
                <a:gd name="T20" fmla="*/ 127 w 510"/>
                <a:gd name="T21" fmla="*/ 130 h 410"/>
                <a:gd name="T22" fmla="*/ 91 w 510"/>
                <a:gd name="T23" fmla="*/ 98 h 410"/>
                <a:gd name="T24" fmla="*/ 51 w 510"/>
                <a:gd name="T25" fmla="*/ 92 h 410"/>
                <a:gd name="T26" fmla="*/ 29 w 510"/>
                <a:gd name="T27" fmla="*/ 156 h 410"/>
                <a:gd name="T28" fmla="*/ 0 w 510"/>
                <a:gd name="T29" fmla="*/ 169 h 410"/>
                <a:gd name="T30" fmla="*/ 56 w 510"/>
                <a:gd name="T31" fmla="*/ 207 h 410"/>
                <a:gd name="T32" fmla="*/ 86 w 510"/>
                <a:gd name="T33" fmla="*/ 247 h 410"/>
                <a:gd name="T34" fmla="*/ 117 w 510"/>
                <a:gd name="T35" fmla="*/ 295 h 410"/>
                <a:gd name="T36" fmla="*/ 158 w 510"/>
                <a:gd name="T37" fmla="*/ 329 h 410"/>
                <a:gd name="T38" fmla="*/ 205 w 510"/>
                <a:gd name="T39" fmla="*/ 373 h 410"/>
                <a:gd name="T40" fmla="*/ 237 w 510"/>
                <a:gd name="T41" fmla="*/ 368 h 410"/>
                <a:gd name="T42" fmla="*/ 273 w 510"/>
                <a:gd name="T43" fmla="*/ 378 h 410"/>
                <a:gd name="T44" fmla="*/ 313 w 510"/>
                <a:gd name="T45" fmla="*/ 410 h 410"/>
                <a:gd name="T46" fmla="*/ 360 w 510"/>
                <a:gd name="T47" fmla="*/ 407 h 410"/>
                <a:gd name="T48" fmla="*/ 427 w 510"/>
                <a:gd name="T49" fmla="*/ 397 h 410"/>
                <a:gd name="T50" fmla="*/ 481 w 510"/>
                <a:gd name="T51" fmla="*/ 347 h 410"/>
                <a:gd name="T52" fmla="*/ 484 w 510"/>
                <a:gd name="T53" fmla="*/ 265 h 410"/>
                <a:gd name="T54" fmla="*/ 455 w 510"/>
                <a:gd name="T55" fmla="*/ 235 h 410"/>
                <a:gd name="T56" fmla="*/ 404 w 510"/>
                <a:gd name="T57" fmla="*/ 209 h 410"/>
                <a:gd name="T58" fmla="*/ 442 w 510"/>
                <a:gd name="T59" fmla="*/ 181 h 410"/>
                <a:gd name="T60" fmla="*/ 447 w 510"/>
                <a:gd name="T61" fmla="*/ 130 h 410"/>
                <a:gd name="T62" fmla="*/ 441 w 510"/>
                <a:gd name="T63" fmla="*/ 1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410">
                  <a:moveTo>
                    <a:pt x="441" y="106"/>
                  </a:moveTo>
                  <a:lnTo>
                    <a:pt x="435" y="90"/>
                  </a:lnTo>
                  <a:lnTo>
                    <a:pt x="412" y="71"/>
                  </a:lnTo>
                  <a:lnTo>
                    <a:pt x="405" y="37"/>
                  </a:lnTo>
                  <a:lnTo>
                    <a:pt x="410" y="2"/>
                  </a:lnTo>
                  <a:lnTo>
                    <a:pt x="389" y="0"/>
                  </a:lnTo>
                  <a:lnTo>
                    <a:pt x="387" y="10"/>
                  </a:lnTo>
                  <a:lnTo>
                    <a:pt x="360" y="12"/>
                  </a:lnTo>
                  <a:lnTo>
                    <a:pt x="371" y="26"/>
                  </a:lnTo>
                  <a:lnTo>
                    <a:pt x="376" y="54"/>
                  </a:lnTo>
                  <a:lnTo>
                    <a:pt x="352" y="79"/>
                  </a:lnTo>
                  <a:lnTo>
                    <a:pt x="330" y="113"/>
                  </a:lnTo>
                  <a:lnTo>
                    <a:pt x="309" y="119"/>
                  </a:lnTo>
                  <a:lnTo>
                    <a:pt x="270" y="91"/>
                  </a:lnTo>
                  <a:lnTo>
                    <a:pt x="254" y="101"/>
                  </a:lnTo>
                  <a:lnTo>
                    <a:pt x="249" y="114"/>
                  </a:lnTo>
                  <a:lnTo>
                    <a:pt x="226" y="124"/>
                  </a:lnTo>
                  <a:lnTo>
                    <a:pt x="225" y="133"/>
                  </a:lnTo>
                  <a:lnTo>
                    <a:pt x="181" y="133"/>
                  </a:lnTo>
                  <a:lnTo>
                    <a:pt x="174" y="124"/>
                  </a:lnTo>
                  <a:lnTo>
                    <a:pt x="142" y="122"/>
                  </a:lnTo>
                  <a:lnTo>
                    <a:pt x="127" y="130"/>
                  </a:lnTo>
                  <a:lnTo>
                    <a:pt x="115" y="125"/>
                  </a:lnTo>
                  <a:lnTo>
                    <a:pt x="91" y="98"/>
                  </a:lnTo>
                  <a:lnTo>
                    <a:pt x="83" y="85"/>
                  </a:lnTo>
                  <a:lnTo>
                    <a:pt x="51" y="92"/>
                  </a:lnTo>
                  <a:lnTo>
                    <a:pt x="39" y="113"/>
                  </a:lnTo>
                  <a:lnTo>
                    <a:pt x="29" y="156"/>
                  </a:lnTo>
                  <a:lnTo>
                    <a:pt x="14" y="164"/>
                  </a:lnTo>
                  <a:lnTo>
                    <a:pt x="0" y="169"/>
                  </a:lnTo>
                  <a:lnTo>
                    <a:pt x="31" y="188"/>
                  </a:lnTo>
                  <a:lnTo>
                    <a:pt x="56" y="207"/>
                  </a:lnTo>
                  <a:lnTo>
                    <a:pt x="56" y="222"/>
                  </a:lnTo>
                  <a:lnTo>
                    <a:pt x="86" y="247"/>
                  </a:lnTo>
                  <a:lnTo>
                    <a:pt x="105" y="267"/>
                  </a:lnTo>
                  <a:lnTo>
                    <a:pt x="117" y="295"/>
                  </a:lnTo>
                  <a:lnTo>
                    <a:pt x="151" y="314"/>
                  </a:lnTo>
                  <a:lnTo>
                    <a:pt x="158" y="329"/>
                  </a:lnTo>
                  <a:lnTo>
                    <a:pt x="185" y="367"/>
                  </a:lnTo>
                  <a:lnTo>
                    <a:pt x="205" y="373"/>
                  </a:lnTo>
                  <a:lnTo>
                    <a:pt x="217" y="366"/>
                  </a:lnTo>
                  <a:lnTo>
                    <a:pt x="237" y="368"/>
                  </a:lnTo>
                  <a:lnTo>
                    <a:pt x="263" y="359"/>
                  </a:lnTo>
                  <a:lnTo>
                    <a:pt x="273" y="378"/>
                  </a:lnTo>
                  <a:lnTo>
                    <a:pt x="313" y="410"/>
                  </a:lnTo>
                  <a:lnTo>
                    <a:pt x="313" y="410"/>
                  </a:lnTo>
                  <a:lnTo>
                    <a:pt x="331" y="397"/>
                  </a:lnTo>
                  <a:lnTo>
                    <a:pt x="360" y="407"/>
                  </a:lnTo>
                  <a:lnTo>
                    <a:pt x="395" y="396"/>
                  </a:lnTo>
                  <a:lnTo>
                    <a:pt x="427" y="397"/>
                  </a:lnTo>
                  <a:lnTo>
                    <a:pt x="454" y="375"/>
                  </a:lnTo>
                  <a:lnTo>
                    <a:pt x="481" y="347"/>
                  </a:lnTo>
                  <a:lnTo>
                    <a:pt x="510" y="316"/>
                  </a:lnTo>
                  <a:lnTo>
                    <a:pt x="484" y="265"/>
                  </a:lnTo>
                  <a:lnTo>
                    <a:pt x="463" y="254"/>
                  </a:lnTo>
                  <a:lnTo>
                    <a:pt x="455" y="235"/>
                  </a:lnTo>
                  <a:lnTo>
                    <a:pt x="432" y="212"/>
                  </a:lnTo>
                  <a:lnTo>
                    <a:pt x="404" y="209"/>
                  </a:lnTo>
                  <a:lnTo>
                    <a:pt x="419" y="182"/>
                  </a:lnTo>
                  <a:lnTo>
                    <a:pt x="442" y="181"/>
                  </a:lnTo>
                  <a:lnTo>
                    <a:pt x="449" y="167"/>
                  </a:lnTo>
                  <a:lnTo>
                    <a:pt x="447" y="130"/>
                  </a:lnTo>
                  <a:lnTo>
                    <a:pt x="441" y="129"/>
                  </a:lnTo>
                  <a:lnTo>
                    <a:pt x="441" y="106"/>
                  </a:lnTo>
                  <a:lnTo>
                    <a:pt x="441" y="106"/>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2" name="Senegal">
              <a:extLst>
                <a:ext uri="{FF2B5EF4-FFF2-40B4-BE49-F238E27FC236}">
                  <a16:creationId xmlns:a16="http://schemas.microsoft.com/office/drawing/2014/main" id="{234E9F15-BCEB-5A8C-3103-A951BC41A2DA}"/>
                </a:ext>
              </a:extLst>
            </p:cNvPr>
            <p:cNvSpPr>
              <a:spLocks/>
            </p:cNvSpPr>
            <p:nvPr/>
          </p:nvSpPr>
          <p:spPr bwMode="auto">
            <a:xfrm>
              <a:off x="4858807" y="2321525"/>
              <a:ext cx="430213" cy="317500"/>
            </a:xfrm>
            <a:custGeom>
              <a:avLst/>
              <a:gdLst>
                <a:gd name="T0" fmla="*/ 241 w 271"/>
                <a:gd name="T1" fmla="*/ 93 h 200"/>
                <a:gd name="T2" fmla="*/ 213 w 271"/>
                <a:gd name="T3" fmla="*/ 60 h 200"/>
                <a:gd name="T4" fmla="*/ 186 w 271"/>
                <a:gd name="T5" fmla="*/ 26 h 200"/>
                <a:gd name="T6" fmla="*/ 158 w 271"/>
                <a:gd name="T7" fmla="*/ 14 h 200"/>
                <a:gd name="T8" fmla="*/ 137 w 271"/>
                <a:gd name="T9" fmla="*/ 0 h 200"/>
                <a:gd name="T10" fmla="*/ 112 w 271"/>
                <a:gd name="T11" fmla="*/ 0 h 200"/>
                <a:gd name="T12" fmla="*/ 90 w 271"/>
                <a:gd name="T13" fmla="*/ 10 h 200"/>
                <a:gd name="T14" fmla="*/ 68 w 271"/>
                <a:gd name="T15" fmla="*/ 6 h 200"/>
                <a:gd name="T16" fmla="*/ 53 w 271"/>
                <a:gd name="T17" fmla="*/ 21 h 200"/>
                <a:gd name="T18" fmla="*/ 42 w 271"/>
                <a:gd name="T19" fmla="*/ 46 h 200"/>
                <a:gd name="T20" fmla="*/ 20 w 271"/>
                <a:gd name="T21" fmla="*/ 79 h 200"/>
                <a:gd name="T22" fmla="*/ 0 w 271"/>
                <a:gd name="T23" fmla="*/ 88 h 200"/>
                <a:gd name="T24" fmla="*/ 22 w 271"/>
                <a:gd name="T25" fmla="*/ 105 h 200"/>
                <a:gd name="T26" fmla="*/ 39 w 271"/>
                <a:gd name="T27" fmla="*/ 141 h 200"/>
                <a:gd name="T28" fmla="*/ 88 w 271"/>
                <a:gd name="T29" fmla="*/ 139 h 200"/>
                <a:gd name="T30" fmla="*/ 98 w 271"/>
                <a:gd name="T31" fmla="*/ 128 h 200"/>
                <a:gd name="T32" fmla="*/ 112 w 271"/>
                <a:gd name="T33" fmla="*/ 127 h 200"/>
                <a:gd name="T34" fmla="*/ 129 w 271"/>
                <a:gd name="T35" fmla="*/ 139 h 200"/>
                <a:gd name="T36" fmla="*/ 143 w 271"/>
                <a:gd name="T37" fmla="*/ 139 h 200"/>
                <a:gd name="T38" fmla="*/ 158 w 271"/>
                <a:gd name="T39" fmla="*/ 132 h 200"/>
                <a:gd name="T40" fmla="*/ 166 w 271"/>
                <a:gd name="T41" fmla="*/ 145 h 200"/>
                <a:gd name="T42" fmla="*/ 147 w 271"/>
                <a:gd name="T43" fmla="*/ 155 h 200"/>
                <a:gd name="T44" fmla="*/ 128 w 271"/>
                <a:gd name="T45" fmla="*/ 155 h 200"/>
                <a:gd name="T46" fmla="*/ 109 w 271"/>
                <a:gd name="T47" fmla="*/ 145 h 200"/>
                <a:gd name="T48" fmla="*/ 92 w 271"/>
                <a:gd name="T49" fmla="*/ 155 h 200"/>
                <a:gd name="T50" fmla="*/ 85 w 271"/>
                <a:gd name="T51" fmla="*/ 156 h 200"/>
                <a:gd name="T52" fmla="*/ 74 w 271"/>
                <a:gd name="T53" fmla="*/ 162 h 200"/>
                <a:gd name="T54" fmla="*/ 34 w 271"/>
                <a:gd name="T55" fmla="*/ 162 h 200"/>
                <a:gd name="T56" fmla="*/ 40 w 271"/>
                <a:gd name="T57" fmla="*/ 198 h 200"/>
                <a:gd name="T58" fmla="*/ 64 w 271"/>
                <a:gd name="T59" fmla="*/ 190 h 200"/>
                <a:gd name="T60" fmla="*/ 78 w 271"/>
                <a:gd name="T61" fmla="*/ 192 h 200"/>
                <a:gd name="T62" fmla="*/ 90 w 271"/>
                <a:gd name="T63" fmla="*/ 186 h 200"/>
                <a:gd name="T64" fmla="*/ 172 w 271"/>
                <a:gd name="T65" fmla="*/ 189 h 200"/>
                <a:gd name="T66" fmla="*/ 193 w 271"/>
                <a:gd name="T67" fmla="*/ 189 h 200"/>
                <a:gd name="T68" fmla="*/ 225 w 271"/>
                <a:gd name="T69" fmla="*/ 200 h 200"/>
                <a:gd name="T70" fmla="*/ 235 w 271"/>
                <a:gd name="T71" fmla="*/ 200 h 200"/>
                <a:gd name="T72" fmla="*/ 238 w 271"/>
                <a:gd name="T73" fmla="*/ 194 h 200"/>
                <a:gd name="T74" fmla="*/ 262 w 271"/>
                <a:gd name="T75" fmla="*/ 198 h 200"/>
                <a:gd name="T76" fmla="*/ 269 w 271"/>
                <a:gd name="T77" fmla="*/ 195 h 200"/>
                <a:gd name="T78" fmla="*/ 271 w 271"/>
                <a:gd name="T79" fmla="*/ 180 h 200"/>
                <a:gd name="T80" fmla="*/ 267 w 271"/>
                <a:gd name="T81" fmla="*/ 162 h 200"/>
                <a:gd name="T82" fmla="*/ 251 w 271"/>
                <a:gd name="T83" fmla="*/ 149 h 200"/>
                <a:gd name="T84" fmla="*/ 243 w 271"/>
                <a:gd name="T85" fmla="*/ 122 h 200"/>
                <a:gd name="T86" fmla="*/ 241 w 271"/>
                <a:gd name="T87" fmla="*/ 93 h 200"/>
                <a:gd name="T88" fmla="*/ 241 w 271"/>
                <a:gd name="T89"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200">
                  <a:moveTo>
                    <a:pt x="241" y="93"/>
                  </a:moveTo>
                  <a:lnTo>
                    <a:pt x="213" y="60"/>
                  </a:lnTo>
                  <a:lnTo>
                    <a:pt x="186" y="26"/>
                  </a:lnTo>
                  <a:lnTo>
                    <a:pt x="158" y="14"/>
                  </a:lnTo>
                  <a:lnTo>
                    <a:pt x="137" y="0"/>
                  </a:lnTo>
                  <a:lnTo>
                    <a:pt x="112" y="0"/>
                  </a:lnTo>
                  <a:lnTo>
                    <a:pt x="90" y="10"/>
                  </a:lnTo>
                  <a:lnTo>
                    <a:pt x="68" y="6"/>
                  </a:lnTo>
                  <a:lnTo>
                    <a:pt x="53" y="21"/>
                  </a:lnTo>
                  <a:lnTo>
                    <a:pt x="42" y="46"/>
                  </a:lnTo>
                  <a:lnTo>
                    <a:pt x="20" y="79"/>
                  </a:lnTo>
                  <a:lnTo>
                    <a:pt x="0" y="88"/>
                  </a:lnTo>
                  <a:lnTo>
                    <a:pt x="22" y="105"/>
                  </a:lnTo>
                  <a:lnTo>
                    <a:pt x="39" y="141"/>
                  </a:lnTo>
                  <a:lnTo>
                    <a:pt x="88" y="139"/>
                  </a:lnTo>
                  <a:lnTo>
                    <a:pt x="98" y="128"/>
                  </a:lnTo>
                  <a:lnTo>
                    <a:pt x="112" y="127"/>
                  </a:lnTo>
                  <a:lnTo>
                    <a:pt x="129" y="139"/>
                  </a:lnTo>
                  <a:lnTo>
                    <a:pt x="143" y="139"/>
                  </a:lnTo>
                  <a:lnTo>
                    <a:pt x="158" y="132"/>
                  </a:lnTo>
                  <a:lnTo>
                    <a:pt x="166" y="145"/>
                  </a:lnTo>
                  <a:lnTo>
                    <a:pt x="147" y="155"/>
                  </a:lnTo>
                  <a:lnTo>
                    <a:pt x="128" y="155"/>
                  </a:lnTo>
                  <a:lnTo>
                    <a:pt x="109" y="145"/>
                  </a:lnTo>
                  <a:lnTo>
                    <a:pt x="92" y="155"/>
                  </a:lnTo>
                  <a:lnTo>
                    <a:pt x="85" y="156"/>
                  </a:lnTo>
                  <a:lnTo>
                    <a:pt x="74" y="162"/>
                  </a:lnTo>
                  <a:lnTo>
                    <a:pt x="34" y="162"/>
                  </a:lnTo>
                  <a:lnTo>
                    <a:pt x="40" y="198"/>
                  </a:lnTo>
                  <a:lnTo>
                    <a:pt x="64" y="190"/>
                  </a:lnTo>
                  <a:lnTo>
                    <a:pt x="78" y="192"/>
                  </a:lnTo>
                  <a:lnTo>
                    <a:pt x="90" y="186"/>
                  </a:lnTo>
                  <a:lnTo>
                    <a:pt x="172" y="189"/>
                  </a:lnTo>
                  <a:lnTo>
                    <a:pt x="193" y="189"/>
                  </a:lnTo>
                  <a:lnTo>
                    <a:pt x="225" y="200"/>
                  </a:lnTo>
                  <a:lnTo>
                    <a:pt x="235" y="200"/>
                  </a:lnTo>
                  <a:lnTo>
                    <a:pt x="238" y="194"/>
                  </a:lnTo>
                  <a:lnTo>
                    <a:pt x="262" y="198"/>
                  </a:lnTo>
                  <a:lnTo>
                    <a:pt x="269" y="195"/>
                  </a:lnTo>
                  <a:lnTo>
                    <a:pt x="271" y="180"/>
                  </a:lnTo>
                  <a:lnTo>
                    <a:pt x="267" y="162"/>
                  </a:lnTo>
                  <a:lnTo>
                    <a:pt x="251" y="149"/>
                  </a:lnTo>
                  <a:lnTo>
                    <a:pt x="243" y="122"/>
                  </a:lnTo>
                  <a:lnTo>
                    <a:pt x="241" y="93"/>
                  </a:lnTo>
                  <a:lnTo>
                    <a:pt x="241" y="93"/>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3" name="Sierra Leone">
              <a:extLst>
                <a:ext uri="{FF2B5EF4-FFF2-40B4-BE49-F238E27FC236}">
                  <a16:creationId xmlns:a16="http://schemas.microsoft.com/office/drawing/2014/main" id="{8BE7EF0F-CC91-A041-AC00-94BC89BA6D10}"/>
                </a:ext>
              </a:extLst>
            </p:cNvPr>
            <p:cNvSpPr>
              <a:spLocks/>
            </p:cNvSpPr>
            <p:nvPr/>
          </p:nvSpPr>
          <p:spPr bwMode="auto">
            <a:xfrm>
              <a:off x="5157091" y="2813975"/>
              <a:ext cx="211138" cy="244475"/>
            </a:xfrm>
            <a:custGeom>
              <a:avLst/>
              <a:gdLst>
                <a:gd name="T0" fmla="*/ 133 w 133"/>
                <a:gd name="T1" fmla="*/ 78 h 154"/>
                <a:gd name="T2" fmla="*/ 121 w 133"/>
                <a:gd name="T3" fmla="*/ 80 h 154"/>
                <a:gd name="T4" fmla="*/ 121 w 133"/>
                <a:gd name="T5" fmla="*/ 63 h 154"/>
                <a:gd name="T6" fmla="*/ 115 w 133"/>
                <a:gd name="T7" fmla="*/ 50 h 154"/>
                <a:gd name="T8" fmla="*/ 116 w 133"/>
                <a:gd name="T9" fmla="*/ 37 h 154"/>
                <a:gd name="T10" fmla="*/ 107 w 133"/>
                <a:gd name="T11" fmla="*/ 17 h 154"/>
                <a:gd name="T12" fmla="*/ 95 w 133"/>
                <a:gd name="T13" fmla="*/ 0 h 154"/>
                <a:gd name="T14" fmla="*/ 59 w 133"/>
                <a:gd name="T15" fmla="*/ 0 h 154"/>
                <a:gd name="T16" fmla="*/ 48 w 133"/>
                <a:gd name="T17" fmla="*/ 10 h 154"/>
                <a:gd name="T18" fmla="*/ 36 w 133"/>
                <a:gd name="T19" fmla="*/ 11 h 154"/>
                <a:gd name="T20" fmla="*/ 29 w 133"/>
                <a:gd name="T21" fmla="*/ 21 h 154"/>
                <a:gd name="T22" fmla="*/ 23 w 133"/>
                <a:gd name="T23" fmla="*/ 34 h 154"/>
                <a:gd name="T24" fmla="*/ 0 w 133"/>
                <a:gd name="T25" fmla="*/ 54 h 154"/>
                <a:gd name="T26" fmla="*/ 4 w 133"/>
                <a:gd name="T27" fmla="*/ 90 h 154"/>
                <a:gd name="T28" fmla="*/ 12 w 133"/>
                <a:gd name="T29" fmla="*/ 107 h 154"/>
                <a:gd name="T30" fmla="*/ 35 w 133"/>
                <a:gd name="T31" fmla="*/ 131 h 154"/>
                <a:gd name="T32" fmla="*/ 67 w 133"/>
                <a:gd name="T33" fmla="*/ 151 h 154"/>
                <a:gd name="T34" fmla="*/ 79 w 133"/>
                <a:gd name="T35" fmla="*/ 154 h 154"/>
                <a:gd name="T36" fmla="*/ 89 w 133"/>
                <a:gd name="T37" fmla="*/ 139 h 154"/>
                <a:gd name="T38" fmla="*/ 92 w 133"/>
                <a:gd name="T39" fmla="*/ 125 h 154"/>
                <a:gd name="T40" fmla="*/ 112 w 133"/>
                <a:gd name="T41" fmla="*/ 100 h 154"/>
                <a:gd name="T42" fmla="*/ 133 w 133"/>
                <a:gd name="T43" fmla="*/ 78 h 154"/>
                <a:gd name="T44" fmla="*/ 133 w 133"/>
                <a:gd name="T4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54">
                  <a:moveTo>
                    <a:pt x="133" y="78"/>
                  </a:moveTo>
                  <a:lnTo>
                    <a:pt x="121" y="80"/>
                  </a:lnTo>
                  <a:lnTo>
                    <a:pt x="121" y="63"/>
                  </a:lnTo>
                  <a:lnTo>
                    <a:pt x="115" y="50"/>
                  </a:lnTo>
                  <a:lnTo>
                    <a:pt x="116" y="37"/>
                  </a:lnTo>
                  <a:lnTo>
                    <a:pt x="107" y="17"/>
                  </a:lnTo>
                  <a:lnTo>
                    <a:pt x="95" y="0"/>
                  </a:lnTo>
                  <a:lnTo>
                    <a:pt x="59" y="0"/>
                  </a:lnTo>
                  <a:lnTo>
                    <a:pt x="48" y="10"/>
                  </a:lnTo>
                  <a:lnTo>
                    <a:pt x="36" y="11"/>
                  </a:lnTo>
                  <a:lnTo>
                    <a:pt x="29" y="21"/>
                  </a:lnTo>
                  <a:lnTo>
                    <a:pt x="23" y="34"/>
                  </a:lnTo>
                  <a:lnTo>
                    <a:pt x="0" y="54"/>
                  </a:lnTo>
                  <a:lnTo>
                    <a:pt x="4" y="90"/>
                  </a:lnTo>
                  <a:lnTo>
                    <a:pt x="12" y="107"/>
                  </a:lnTo>
                  <a:lnTo>
                    <a:pt x="35" y="131"/>
                  </a:lnTo>
                  <a:lnTo>
                    <a:pt x="67" y="151"/>
                  </a:lnTo>
                  <a:lnTo>
                    <a:pt x="79" y="154"/>
                  </a:lnTo>
                  <a:lnTo>
                    <a:pt x="89" y="139"/>
                  </a:lnTo>
                  <a:lnTo>
                    <a:pt x="92" y="125"/>
                  </a:lnTo>
                  <a:lnTo>
                    <a:pt x="112" y="100"/>
                  </a:lnTo>
                  <a:lnTo>
                    <a:pt x="133" y="78"/>
                  </a:lnTo>
                  <a:lnTo>
                    <a:pt x="133" y="78"/>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4" name="Swaziland">
              <a:extLst>
                <a:ext uri="{FF2B5EF4-FFF2-40B4-BE49-F238E27FC236}">
                  <a16:creationId xmlns:a16="http://schemas.microsoft.com/office/drawing/2014/main" id="{BB405303-862D-6E71-8166-10357DE6751A}"/>
                </a:ext>
              </a:extLst>
            </p:cNvPr>
            <p:cNvSpPr>
              <a:spLocks/>
            </p:cNvSpPr>
            <p:nvPr/>
          </p:nvSpPr>
          <p:spPr bwMode="auto">
            <a:xfrm>
              <a:off x="8198741" y="5480079"/>
              <a:ext cx="95250" cy="120650"/>
            </a:xfrm>
            <a:custGeom>
              <a:avLst/>
              <a:gdLst>
                <a:gd name="T0" fmla="*/ 53 w 60"/>
                <a:gd name="T1" fmla="*/ 9 h 76"/>
                <a:gd name="T2" fmla="*/ 32 w 60"/>
                <a:gd name="T3" fmla="*/ 0 h 76"/>
                <a:gd name="T4" fmla="*/ 19 w 60"/>
                <a:gd name="T5" fmla="*/ 3 h 76"/>
                <a:gd name="T6" fmla="*/ 13 w 60"/>
                <a:gd name="T7" fmla="*/ 17 h 76"/>
                <a:gd name="T8" fmla="*/ 1 w 60"/>
                <a:gd name="T9" fmla="*/ 35 h 76"/>
                <a:gd name="T10" fmla="*/ 0 w 60"/>
                <a:gd name="T11" fmla="*/ 51 h 76"/>
                <a:gd name="T12" fmla="*/ 23 w 60"/>
                <a:gd name="T13" fmla="*/ 76 h 76"/>
                <a:gd name="T14" fmla="*/ 49 w 60"/>
                <a:gd name="T15" fmla="*/ 71 h 76"/>
                <a:gd name="T16" fmla="*/ 60 w 60"/>
                <a:gd name="T17" fmla="*/ 51 h 76"/>
                <a:gd name="T18" fmla="*/ 57 w 60"/>
                <a:gd name="T19" fmla="*/ 30 h 76"/>
                <a:gd name="T20" fmla="*/ 53 w 60"/>
                <a:gd name="T21" fmla="*/ 9 h 76"/>
                <a:gd name="T22" fmla="*/ 53 w 60"/>
                <a:gd name="T2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76">
                  <a:moveTo>
                    <a:pt x="53" y="9"/>
                  </a:moveTo>
                  <a:lnTo>
                    <a:pt x="32" y="0"/>
                  </a:lnTo>
                  <a:lnTo>
                    <a:pt x="19" y="3"/>
                  </a:lnTo>
                  <a:lnTo>
                    <a:pt x="13" y="17"/>
                  </a:lnTo>
                  <a:lnTo>
                    <a:pt x="1" y="35"/>
                  </a:lnTo>
                  <a:lnTo>
                    <a:pt x="0" y="51"/>
                  </a:lnTo>
                  <a:lnTo>
                    <a:pt x="23" y="76"/>
                  </a:lnTo>
                  <a:lnTo>
                    <a:pt x="49" y="71"/>
                  </a:lnTo>
                  <a:lnTo>
                    <a:pt x="60" y="51"/>
                  </a:lnTo>
                  <a:lnTo>
                    <a:pt x="57" y="30"/>
                  </a:lnTo>
                  <a:lnTo>
                    <a:pt x="53" y="9"/>
                  </a:lnTo>
                  <a:lnTo>
                    <a:pt x="53" y="9"/>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5" name="Chad">
              <a:extLst>
                <a:ext uri="{FF2B5EF4-FFF2-40B4-BE49-F238E27FC236}">
                  <a16:creationId xmlns:a16="http://schemas.microsoft.com/office/drawing/2014/main" id="{ABDB51C9-01B2-3C24-5059-33C908BEE895}"/>
                </a:ext>
              </a:extLst>
            </p:cNvPr>
            <p:cNvSpPr>
              <a:spLocks/>
            </p:cNvSpPr>
            <p:nvPr/>
          </p:nvSpPr>
          <p:spPr bwMode="auto">
            <a:xfrm>
              <a:off x="7041454" y="1818612"/>
              <a:ext cx="725488" cy="1192213"/>
            </a:xfrm>
            <a:custGeom>
              <a:avLst/>
              <a:gdLst>
                <a:gd name="T0" fmla="*/ 447 w 457"/>
                <a:gd name="T1" fmla="*/ 180 h 751"/>
                <a:gd name="T2" fmla="*/ 269 w 457"/>
                <a:gd name="T3" fmla="*/ 90 h 751"/>
                <a:gd name="T4" fmla="*/ 93 w 457"/>
                <a:gd name="T5" fmla="*/ 0 h 751"/>
                <a:gd name="T6" fmla="*/ 49 w 457"/>
                <a:gd name="T7" fmla="*/ 25 h 751"/>
                <a:gd name="T8" fmla="*/ 62 w 457"/>
                <a:gd name="T9" fmla="*/ 99 h 751"/>
                <a:gd name="T10" fmla="*/ 78 w 457"/>
                <a:gd name="T11" fmla="*/ 110 h 751"/>
                <a:gd name="T12" fmla="*/ 79 w 457"/>
                <a:gd name="T13" fmla="*/ 126 h 751"/>
                <a:gd name="T14" fmla="*/ 99 w 457"/>
                <a:gd name="T15" fmla="*/ 142 h 751"/>
                <a:gd name="T16" fmla="*/ 89 w 457"/>
                <a:gd name="T17" fmla="*/ 162 h 751"/>
                <a:gd name="T18" fmla="*/ 75 w 457"/>
                <a:gd name="T19" fmla="*/ 257 h 751"/>
                <a:gd name="T20" fmla="*/ 74 w 457"/>
                <a:gd name="T21" fmla="*/ 318 h 751"/>
                <a:gd name="T22" fmla="*/ 18 w 457"/>
                <a:gd name="T23" fmla="*/ 363 h 751"/>
                <a:gd name="T24" fmla="*/ 0 w 457"/>
                <a:gd name="T25" fmla="*/ 425 h 751"/>
                <a:gd name="T26" fmla="*/ 19 w 457"/>
                <a:gd name="T27" fmla="*/ 442 h 751"/>
                <a:gd name="T28" fmla="*/ 19 w 457"/>
                <a:gd name="T29" fmla="*/ 472 h 751"/>
                <a:gd name="T30" fmla="*/ 47 w 457"/>
                <a:gd name="T31" fmla="*/ 474 h 751"/>
                <a:gd name="T32" fmla="*/ 44 w 457"/>
                <a:gd name="T33" fmla="*/ 496 h 751"/>
                <a:gd name="T34" fmla="*/ 62 w 457"/>
                <a:gd name="T35" fmla="*/ 526 h 751"/>
                <a:gd name="T36" fmla="*/ 66 w 457"/>
                <a:gd name="T37" fmla="*/ 557 h 751"/>
                <a:gd name="T38" fmla="*/ 64 w 457"/>
                <a:gd name="T39" fmla="*/ 588 h 751"/>
                <a:gd name="T40" fmla="*/ 89 w 457"/>
                <a:gd name="T41" fmla="*/ 631 h 751"/>
                <a:gd name="T42" fmla="*/ 64 w 457"/>
                <a:gd name="T43" fmla="*/ 630 h 751"/>
                <a:gd name="T44" fmla="*/ 51 w 457"/>
                <a:gd name="T45" fmla="*/ 633 h 751"/>
                <a:gd name="T46" fmla="*/ 31 w 457"/>
                <a:gd name="T47" fmla="*/ 629 h 751"/>
                <a:gd name="T48" fmla="*/ 22 w 457"/>
                <a:gd name="T49" fmla="*/ 651 h 751"/>
                <a:gd name="T50" fmla="*/ 48 w 457"/>
                <a:gd name="T51" fmla="*/ 678 h 751"/>
                <a:gd name="T52" fmla="*/ 68 w 457"/>
                <a:gd name="T53" fmla="*/ 686 h 751"/>
                <a:gd name="T54" fmla="*/ 74 w 457"/>
                <a:gd name="T55" fmla="*/ 706 h 751"/>
                <a:gd name="T56" fmla="*/ 89 w 457"/>
                <a:gd name="T57" fmla="*/ 739 h 751"/>
                <a:gd name="T58" fmla="*/ 82 w 457"/>
                <a:gd name="T59" fmla="*/ 751 h 751"/>
                <a:gd name="T60" fmla="*/ 119 w 457"/>
                <a:gd name="T61" fmla="*/ 747 h 751"/>
                <a:gd name="T62" fmla="*/ 126 w 457"/>
                <a:gd name="T63" fmla="*/ 735 h 751"/>
                <a:gd name="T64" fmla="*/ 134 w 457"/>
                <a:gd name="T65" fmla="*/ 736 h 751"/>
                <a:gd name="T66" fmla="*/ 145 w 457"/>
                <a:gd name="T67" fmla="*/ 747 h 751"/>
                <a:gd name="T68" fmla="*/ 201 w 457"/>
                <a:gd name="T69" fmla="*/ 728 h 751"/>
                <a:gd name="T70" fmla="*/ 219 w 457"/>
                <a:gd name="T71" fmla="*/ 711 h 751"/>
                <a:gd name="T72" fmla="*/ 243 w 457"/>
                <a:gd name="T73" fmla="*/ 694 h 751"/>
                <a:gd name="T74" fmla="*/ 238 w 457"/>
                <a:gd name="T75" fmla="*/ 677 h 751"/>
                <a:gd name="T76" fmla="*/ 250 w 457"/>
                <a:gd name="T77" fmla="*/ 673 h 751"/>
                <a:gd name="T78" fmla="*/ 294 w 457"/>
                <a:gd name="T79" fmla="*/ 676 h 751"/>
                <a:gd name="T80" fmla="*/ 335 w 457"/>
                <a:gd name="T81" fmla="*/ 655 h 751"/>
                <a:gd name="T82" fmla="*/ 366 w 457"/>
                <a:gd name="T83" fmla="*/ 603 h 751"/>
                <a:gd name="T84" fmla="*/ 388 w 457"/>
                <a:gd name="T85" fmla="*/ 584 h 751"/>
                <a:gd name="T86" fmla="*/ 416 w 457"/>
                <a:gd name="T87" fmla="*/ 576 h 751"/>
                <a:gd name="T88" fmla="*/ 416 w 457"/>
                <a:gd name="T89" fmla="*/ 565 h 751"/>
                <a:gd name="T90" fmla="*/ 400 w 457"/>
                <a:gd name="T91" fmla="*/ 551 h 751"/>
                <a:gd name="T92" fmla="*/ 399 w 457"/>
                <a:gd name="T93" fmla="*/ 524 h 751"/>
                <a:gd name="T94" fmla="*/ 389 w 457"/>
                <a:gd name="T95" fmla="*/ 505 h 751"/>
                <a:gd name="T96" fmla="*/ 373 w 457"/>
                <a:gd name="T97" fmla="*/ 508 h 751"/>
                <a:gd name="T98" fmla="*/ 378 w 457"/>
                <a:gd name="T99" fmla="*/ 491 h 751"/>
                <a:gd name="T100" fmla="*/ 389 w 457"/>
                <a:gd name="T101" fmla="*/ 471 h 751"/>
                <a:gd name="T102" fmla="*/ 383 w 457"/>
                <a:gd name="T103" fmla="*/ 452 h 751"/>
                <a:gd name="T104" fmla="*/ 397 w 457"/>
                <a:gd name="T105" fmla="*/ 437 h 751"/>
                <a:gd name="T106" fmla="*/ 388 w 457"/>
                <a:gd name="T107" fmla="*/ 426 h 751"/>
                <a:gd name="T108" fmla="*/ 399 w 457"/>
                <a:gd name="T109" fmla="*/ 397 h 751"/>
                <a:gd name="T110" fmla="*/ 418 w 457"/>
                <a:gd name="T111" fmla="*/ 363 h 751"/>
                <a:gd name="T112" fmla="*/ 457 w 457"/>
                <a:gd name="T113" fmla="*/ 366 h 751"/>
                <a:gd name="T114" fmla="*/ 447 w 457"/>
                <a:gd name="T115" fmla="*/ 180 h 751"/>
                <a:gd name="T116" fmla="*/ 447 w 457"/>
                <a:gd name="T117" fmla="*/ 18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751">
                  <a:moveTo>
                    <a:pt x="447" y="180"/>
                  </a:moveTo>
                  <a:lnTo>
                    <a:pt x="269" y="90"/>
                  </a:lnTo>
                  <a:lnTo>
                    <a:pt x="93" y="0"/>
                  </a:lnTo>
                  <a:lnTo>
                    <a:pt x="49" y="25"/>
                  </a:lnTo>
                  <a:lnTo>
                    <a:pt x="62" y="99"/>
                  </a:lnTo>
                  <a:lnTo>
                    <a:pt x="78" y="110"/>
                  </a:lnTo>
                  <a:lnTo>
                    <a:pt x="79" y="126"/>
                  </a:lnTo>
                  <a:lnTo>
                    <a:pt x="99" y="142"/>
                  </a:lnTo>
                  <a:lnTo>
                    <a:pt x="89" y="162"/>
                  </a:lnTo>
                  <a:lnTo>
                    <a:pt x="75" y="257"/>
                  </a:lnTo>
                  <a:lnTo>
                    <a:pt x="74" y="318"/>
                  </a:lnTo>
                  <a:lnTo>
                    <a:pt x="18" y="363"/>
                  </a:lnTo>
                  <a:lnTo>
                    <a:pt x="0" y="425"/>
                  </a:lnTo>
                  <a:lnTo>
                    <a:pt x="19" y="442"/>
                  </a:lnTo>
                  <a:lnTo>
                    <a:pt x="19" y="472"/>
                  </a:lnTo>
                  <a:lnTo>
                    <a:pt x="47" y="474"/>
                  </a:lnTo>
                  <a:lnTo>
                    <a:pt x="44" y="496"/>
                  </a:lnTo>
                  <a:lnTo>
                    <a:pt x="62" y="526"/>
                  </a:lnTo>
                  <a:lnTo>
                    <a:pt x="66" y="557"/>
                  </a:lnTo>
                  <a:lnTo>
                    <a:pt x="64" y="588"/>
                  </a:lnTo>
                  <a:lnTo>
                    <a:pt x="89" y="631"/>
                  </a:lnTo>
                  <a:lnTo>
                    <a:pt x="64" y="630"/>
                  </a:lnTo>
                  <a:lnTo>
                    <a:pt x="51" y="633"/>
                  </a:lnTo>
                  <a:lnTo>
                    <a:pt x="31" y="629"/>
                  </a:lnTo>
                  <a:lnTo>
                    <a:pt x="22" y="651"/>
                  </a:lnTo>
                  <a:lnTo>
                    <a:pt x="48" y="678"/>
                  </a:lnTo>
                  <a:lnTo>
                    <a:pt x="68" y="686"/>
                  </a:lnTo>
                  <a:lnTo>
                    <a:pt x="74" y="706"/>
                  </a:lnTo>
                  <a:lnTo>
                    <a:pt x="89" y="739"/>
                  </a:lnTo>
                  <a:lnTo>
                    <a:pt x="82" y="751"/>
                  </a:lnTo>
                  <a:lnTo>
                    <a:pt x="119" y="747"/>
                  </a:lnTo>
                  <a:lnTo>
                    <a:pt x="126" y="735"/>
                  </a:lnTo>
                  <a:lnTo>
                    <a:pt x="134" y="736"/>
                  </a:lnTo>
                  <a:lnTo>
                    <a:pt x="145" y="747"/>
                  </a:lnTo>
                  <a:lnTo>
                    <a:pt x="201" y="728"/>
                  </a:lnTo>
                  <a:lnTo>
                    <a:pt x="219" y="711"/>
                  </a:lnTo>
                  <a:lnTo>
                    <a:pt x="243" y="694"/>
                  </a:lnTo>
                  <a:lnTo>
                    <a:pt x="238" y="677"/>
                  </a:lnTo>
                  <a:lnTo>
                    <a:pt x="250" y="673"/>
                  </a:lnTo>
                  <a:lnTo>
                    <a:pt x="294" y="676"/>
                  </a:lnTo>
                  <a:lnTo>
                    <a:pt x="335" y="655"/>
                  </a:lnTo>
                  <a:lnTo>
                    <a:pt x="366" y="603"/>
                  </a:lnTo>
                  <a:lnTo>
                    <a:pt x="388" y="584"/>
                  </a:lnTo>
                  <a:lnTo>
                    <a:pt x="416" y="576"/>
                  </a:lnTo>
                  <a:lnTo>
                    <a:pt x="416" y="565"/>
                  </a:lnTo>
                  <a:lnTo>
                    <a:pt x="400" y="551"/>
                  </a:lnTo>
                  <a:lnTo>
                    <a:pt x="399" y="524"/>
                  </a:lnTo>
                  <a:lnTo>
                    <a:pt x="389" y="505"/>
                  </a:lnTo>
                  <a:lnTo>
                    <a:pt x="373" y="508"/>
                  </a:lnTo>
                  <a:lnTo>
                    <a:pt x="378" y="491"/>
                  </a:lnTo>
                  <a:lnTo>
                    <a:pt x="389" y="471"/>
                  </a:lnTo>
                  <a:lnTo>
                    <a:pt x="383" y="452"/>
                  </a:lnTo>
                  <a:lnTo>
                    <a:pt x="397" y="437"/>
                  </a:lnTo>
                  <a:lnTo>
                    <a:pt x="388" y="426"/>
                  </a:lnTo>
                  <a:lnTo>
                    <a:pt x="399" y="397"/>
                  </a:lnTo>
                  <a:lnTo>
                    <a:pt x="418" y="363"/>
                  </a:lnTo>
                  <a:lnTo>
                    <a:pt x="457" y="366"/>
                  </a:lnTo>
                  <a:lnTo>
                    <a:pt x="447" y="180"/>
                  </a:lnTo>
                  <a:lnTo>
                    <a:pt x="447" y="18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6" name="Togo">
              <a:extLst>
                <a:ext uri="{FF2B5EF4-FFF2-40B4-BE49-F238E27FC236}">
                  <a16:creationId xmlns:a16="http://schemas.microsoft.com/office/drawing/2014/main" id="{5F3D1709-6887-C64D-F32A-D48C860D1C24}"/>
                </a:ext>
              </a:extLst>
            </p:cNvPr>
            <p:cNvSpPr>
              <a:spLocks/>
            </p:cNvSpPr>
            <p:nvPr/>
          </p:nvSpPr>
          <p:spPr bwMode="auto">
            <a:xfrm>
              <a:off x="6087366" y="2742537"/>
              <a:ext cx="136525" cy="379413"/>
            </a:xfrm>
            <a:custGeom>
              <a:avLst/>
              <a:gdLst>
                <a:gd name="T0" fmla="*/ 42 w 86"/>
                <a:gd name="T1" fmla="*/ 1 h 239"/>
                <a:gd name="T2" fmla="*/ 4 w 86"/>
                <a:gd name="T3" fmla="*/ 0 h 239"/>
                <a:gd name="T4" fmla="*/ 0 w 86"/>
                <a:gd name="T5" fmla="*/ 15 h 239"/>
                <a:gd name="T6" fmla="*/ 18 w 86"/>
                <a:gd name="T7" fmla="*/ 39 h 239"/>
                <a:gd name="T8" fmla="*/ 18 w 86"/>
                <a:gd name="T9" fmla="*/ 73 h 239"/>
                <a:gd name="T10" fmla="*/ 23 w 86"/>
                <a:gd name="T11" fmla="*/ 110 h 239"/>
                <a:gd name="T12" fmla="*/ 34 w 86"/>
                <a:gd name="T13" fmla="*/ 127 h 239"/>
                <a:gd name="T14" fmla="*/ 24 w 86"/>
                <a:gd name="T15" fmla="*/ 169 h 239"/>
                <a:gd name="T16" fmla="*/ 27 w 86"/>
                <a:gd name="T17" fmla="*/ 192 h 239"/>
                <a:gd name="T18" fmla="*/ 39 w 86"/>
                <a:gd name="T19" fmla="*/ 223 h 239"/>
                <a:gd name="T20" fmla="*/ 49 w 86"/>
                <a:gd name="T21" fmla="*/ 239 h 239"/>
                <a:gd name="T22" fmla="*/ 86 w 86"/>
                <a:gd name="T23" fmla="*/ 229 h 239"/>
                <a:gd name="T24" fmla="*/ 75 w 86"/>
                <a:gd name="T25" fmla="*/ 197 h 239"/>
                <a:gd name="T26" fmla="*/ 77 w 86"/>
                <a:gd name="T27" fmla="*/ 89 h 239"/>
                <a:gd name="T28" fmla="*/ 68 w 86"/>
                <a:gd name="T29" fmla="*/ 79 h 239"/>
                <a:gd name="T30" fmla="*/ 66 w 86"/>
                <a:gd name="T31" fmla="*/ 56 h 239"/>
                <a:gd name="T32" fmla="*/ 50 w 86"/>
                <a:gd name="T33" fmla="*/ 39 h 239"/>
                <a:gd name="T34" fmla="*/ 37 w 86"/>
                <a:gd name="T35" fmla="*/ 26 h 239"/>
                <a:gd name="T36" fmla="*/ 42 w 86"/>
                <a:gd name="T37"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239">
                  <a:moveTo>
                    <a:pt x="42" y="1"/>
                  </a:moveTo>
                  <a:lnTo>
                    <a:pt x="4" y="0"/>
                  </a:lnTo>
                  <a:lnTo>
                    <a:pt x="0" y="15"/>
                  </a:lnTo>
                  <a:lnTo>
                    <a:pt x="18" y="39"/>
                  </a:lnTo>
                  <a:lnTo>
                    <a:pt x="18" y="73"/>
                  </a:lnTo>
                  <a:lnTo>
                    <a:pt x="23" y="110"/>
                  </a:lnTo>
                  <a:lnTo>
                    <a:pt x="34" y="127"/>
                  </a:lnTo>
                  <a:lnTo>
                    <a:pt x="24" y="169"/>
                  </a:lnTo>
                  <a:lnTo>
                    <a:pt x="27" y="192"/>
                  </a:lnTo>
                  <a:lnTo>
                    <a:pt x="39" y="223"/>
                  </a:lnTo>
                  <a:lnTo>
                    <a:pt x="49" y="239"/>
                  </a:lnTo>
                  <a:lnTo>
                    <a:pt x="86" y="229"/>
                  </a:lnTo>
                  <a:lnTo>
                    <a:pt x="75" y="197"/>
                  </a:lnTo>
                  <a:lnTo>
                    <a:pt x="77" y="89"/>
                  </a:lnTo>
                  <a:lnTo>
                    <a:pt x="68" y="79"/>
                  </a:lnTo>
                  <a:lnTo>
                    <a:pt x="66" y="56"/>
                  </a:lnTo>
                  <a:lnTo>
                    <a:pt x="50" y="39"/>
                  </a:lnTo>
                  <a:lnTo>
                    <a:pt x="37" y="26"/>
                  </a:lnTo>
                  <a:lnTo>
                    <a:pt x="42" y="1"/>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7" name="Tunisia">
              <a:extLst>
                <a:ext uri="{FF2B5EF4-FFF2-40B4-BE49-F238E27FC236}">
                  <a16:creationId xmlns:a16="http://schemas.microsoft.com/office/drawing/2014/main" id="{FF619E26-60C6-8933-1323-64E563BE4A4C}"/>
                </a:ext>
              </a:extLst>
            </p:cNvPr>
            <p:cNvSpPr>
              <a:spLocks/>
            </p:cNvSpPr>
            <p:nvPr/>
          </p:nvSpPr>
          <p:spPr bwMode="auto">
            <a:xfrm>
              <a:off x="6595366" y="775624"/>
              <a:ext cx="269875" cy="528638"/>
            </a:xfrm>
            <a:custGeom>
              <a:avLst/>
              <a:gdLst>
                <a:gd name="T0" fmla="*/ 170 w 170"/>
                <a:gd name="T1" fmla="*/ 200 h 333"/>
                <a:gd name="T2" fmla="*/ 153 w 170"/>
                <a:gd name="T3" fmla="*/ 193 h 333"/>
                <a:gd name="T4" fmla="*/ 141 w 170"/>
                <a:gd name="T5" fmla="*/ 171 h 333"/>
                <a:gd name="T6" fmla="*/ 119 w 170"/>
                <a:gd name="T7" fmla="*/ 170 h 333"/>
                <a:gd name="T8" fmla="*/ 111 w 170"/>
                <a:gd name="T9" fmla="*/ 144 h 333"/>
                <a:gd name="T10" fmla="*/ 138 w 170"/>
                <a:gd name="T11" fmla="*/ 120 h 333"/>
                <a:gd name="T12" fmla="*/ 141 w 170"/>
                <a:gd name="T13" fmla="*/ 79 h 333"/>
                <a:gd name="T14" fmla="*/ 127 w 170"/>
                <a:gd name="T15" fmla="*/ 67 h 333"/>
                <a:gd name="T16" fmla="*/ 126 w 170"/>
                <a:gd name="T17" fmla="*/ 45 h 333"/>
                <a:gd name="T18" fmla="*/ 146 w 170"/>
                <a:gd name="T19" fmla="*/ 21 h 333"/>
                <a:gd name="T20" fmla="*/ 142 w 170"/>
                <a:gd name="T21" fmla="*/ 12 h 333"/>
                <a:gd name="T22" fmla="*/ 107 w 170"/>
                <a:gd name="T23" fmla="*/ 30 h 333"/>
                <a:gd name="T24" fmla="*/ 108 w 170"/>
                <a:gd name="T25" fmla="*/ 6 h 333"/>
                <a:gd name="T26" fmla="*/ 78 w 170"/>
                <a:gd name="T27" fmla="*/ 0 h 333"/>
                <a:gd name="T28" fmla="*/ 34 w 170"/>
                <a:gd name="T29" fmla="*/ 19 h 333"/>
                <a:gd name="T30" fmla="*/ 26 w 170"/>
                <a:gd name="T31" fmla="*/ 44 h 333"/>
                <a:gd name="T32" fmla="*/ 34 w 170"/>
                <a:gd name="T33" fmla="*/ 89 h 333"/>
                <a:gd name="T34" fmla="*/ 25 w 170"/>
                <a:gd name="T35" fmla="*/ 129 h 333"/>
                <a:gd name="T36" fmla="*/ 0 w 170"/>
                <a:gd name="T37" fmla="*/ 155 h 333"/>
                <a:gd name="T38" fmla="*/ 5 w 170"/>
                <a:gd name="T39" fmla="*/ 190 h 333"/>
                <a:gd name="T40" fmla="*/ 40 w 170"/>
                <a:gd name="T41" fmla="*/ 219 h 333"/>
                <a:gd name="T42" fmla="*/ 41 w 170"/>
                <a:gd name="T43" fmla="*/ 230 h 333"/>
                <a:gd name="T44" fmla="*/ 67 w 170"/>
                <a:gd name="T45" fmla="*/ 249 h 333"/>
                <a:gd name="T46" fmla="*/ 88 w 170"/>
                <a:gd name="T47" fmla="*/ 333 h 333"/>
                <a:gd name="T48" fmla="*/ 109 w 170"/>
                <a:gd name="T49" fmla="*/ 322 h 333"/>
                <a:gd name="T50" fmla="*/ 112 w 170"/>
                <a:gd name="T51" fmla="*/ 302 h 333"/>
                <a:gd name="T52" fmla="*/ 106 w 170"/>
                <a:gd name="T53" fmla="*/ 283 h 333"/>
                <a:gd name="T54" fmla="*/ 136 w 170"/>
                <a:gd name="T55" fmla="*/ 265 h 333"/>
                <a:gd name="T56" fmla="*/ 148 w 170"/>
                <a:gd name="T57" fmla="*/ 250 h 333"/>
                <a:gd name="T58" fmla="*/ 169 w 170"/>
                <a:gd name="T59" fmla="*/ 236 h 333"/>
                <a:gd name="T60" fmla="*/ 170 w 170"/>
                <a:gd name="T61" fmla="*/ 200 h 333"/>
                <a:gd name="T62" fmla="*/ 170 w 170"/>
                <a:gd name="T63" fmla="*/ 20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333">
                  <a:moveTo>
                    <a:pt x="170" y="200"/>
                  </a:moveTo>
                  <a:lnTo>
                    <a:pt x="153" y="193"/>
                  </a:lnTo>
                  <a:lnTo>
                    <a:pt x="141" y="171"/>
                  </a:lnTo>
                  <a:lnTo>
                    <a:pt x="119" y="170"/>
                  </a:lnTo>
                  <a:lnTo>
                    <a:pt x="111" y="144"/>
                  </a:lnTo>
                  <a:lnTo>
                    <a:pt x="138" y="120"/>
                  </a:lnTo>
                  <a:lnTo>
                    <a:pt x="141" y="79"/>
                  </a:lnTo>
                  <a:lnTo>
                    <a:pt x="127" y="67"/>
                  </a:lnTo>
                  <a:lnTo>
                    <a:pt x="126" y="45"/>
                  </a:lnTo>
                  <a:lnTo>
                    <a:pt x="146" y="21"/>
                  </a:lnTo>
                  <a:lnTo>
                    <a:pt x="142" y="12"/>
                  </a:lnTo>
                  <a:lnTo>
                    <a:pt x="107" y="30"/>
                  </a:lnTo>
                  <a:lnTo>
                    <a:pt x="108" y="6"/>
                  </a:lnTo>
                  <a:lnTo>
                    <a:pt x="78" y="0"/>
                  </a:lnTo>
                  <a:lnTo>
                    <a:pt x="34" y="19"/>
                  </a:lnTo>
                  <a:lnTo>
                    <a:pt x="26" y="44"/>
                  </a:lnTo>
                  <a:lnTo>
                    <a:pt x="34" y="89"/>
                  </a:lnTo>
                  <a:lnTo>
                    <a:pt x="25" y="129"/>
                  </a:lnTo>
                  <a:lnTo>
                    <a:pt x="0" y="155"/>
                  </a:lnTo>
                  <a:lnTo>
                    <a:pt x="5" y="190"/>
                  </a:lnTo>
                  <a:lnTo>
                    <a:pt x="40" y="219"/>
                  </a:lnTo>
                  <a:lnTo>
                    <a:pt x="41" y="230"/>
                  </a:lnTo>
                  <a:lnTo>
                    <a:pt x="67" y="249"/>
                  </a:lnTo>
                  <a:lnTo>
                    <a:pt x="88" y="333"/>
                  </a:lnTo>
                  <a:lnTo>
                    <a:pt x="109" y="322"/>
                  </a:lnTo>
                  <a:lnTo>
                    <a:pt x="112" y="302"/>
                  </a:lnTo>
                  <a:lnTo>
                    <a:pt x="106" y="283"/>
                  </a:lnTo>
                  <a:lnTo>
                    <a:pt x="136" y="265"/>
                  </a:lnTo>
                  <a:lnTo>
                    <a:pt x="148" y="250"/>
                  </a:lnTo>
                  <a:lnTo>
                    <a:pt x="169" y="236"/>
                  </a:lnTo>
                  <a:lnTo>
                    <a:pt x="170" y="200"/>
                  </a:lnTo>
                  <a:lnTo>
                    <a:pt x="170" y="200"/>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8" name="United Republic of Tanzania">
              <a:extLst>
                <a:ext uri="{FF2B5EF4-FFF2-40B4-BE49-F238E27FC236}">
                  <a16:creationId xmlns:a16="http://schemas.microsoft.com/office/drawing/2014/main" id="{B30FE247-BE9B-ED0E-7B89-015ECFE42CC0}"/>
                </a:ext>
              </a:extLst>
            </p:cNvPr>
            <p:cNvSpPr>
              <a:spLocks/>
            </p:cNvSpPr>
            <p:nvPr/>
          </p:nvSpPr>
          <p:spPr bwMode="auto">
            <a:xfrm>
              <a:off x="8186041" y="3639475"/>
              <a:ext cx="749300" cy="798513"/>
            </a:xfrm>
            <a:custGeom>
              <a:avLst/>
              <a:gdLst>
                <a:gd name="T0" fmla="*/ 39 w 472"/>
                <a:gd name="T1" fmla="*/ 6 h 503"/>
                <a:gd name="T2" fmla="*/ 53 w 472"/>
                <a:gd name="T3" fmla="*/ 60 h 503"/>
                <a:gd name="T4" fmla="*/ 41 w 472"/>
                <a:gd name="T5" fmla="*/ 66 h 503"/>
                <a:gd name="T6" fmla="*/ 52 w 472"/>
                <a:gd name="T7" fmla="*/ 95 h 503"/>
                <a:gd name="T8" fmla="*/ 41 w 472"/>
                <a:gd name="T9" fmla="*/ 121 h 503"/>
                <a:gd name="T10" fmla="*/ 7 w 472"/>
                <a:gd name="T11" fmla="*/ 162 h 503"/>
                <a:gd name="T12" fmla="*/ 0 w 472"/>
                <a:gd name="T13" fmla="*/ 183 h 503"/>
                <a:gd name="T14" fmla="*/ 7 w 472"/>
                <a:gd name="T15" fmla="*/ 210 h 503"/>
                <a:gd name="T16" fmla="*/ 4 w 472"/>
                <a:gd name="T17" fmla="*/ 246 h 503"/>
                <a:gd name="T18" fmla="*/ 42 w 472"/>
                <a:gd name="T19" fmla="*/ 306 h 503"/>
                <a:gd name="T20" fmla="*/ 64 w 472"/>
                <a:gd name="T21" fmla="*/ 355 h 503"/>
                <a:gd name="T22" fmla="*/ 84 w 472"/>
                <a:gd name="T23" fmla="*/ 364 h 503"/>
                <a:gd name="T24" fmla="*/ 137 w 472"/>
                <a:gd name="T25" fmla="*/ 386 h 503"/>
                <a:gd name="T26" fmla="*/ 189 w 472"/>
                <a:gd name="T27" fmla="*/ 408 h 503"/>
                <a:gd name="T28" fmla="*/ 192 w 472"/>
                <a:gd name="T29" fmla="*/ 399 h 503"/>
                <a:gd name="T30" fmla="*/ 217 w 472"/>
                <a:gd name="T31" fmla="*/ 473 h 503"/>
                <a:gd name="T32" fmla="*/ 231 w 472"/>
                <a:gd name="T33" fmla="*/ 492 h 503"/>
                <a:gd name="T34" fmla="*/ 300 w 472"/>
                <a:gd name="T35" fmla="*/ 503 h 503"/>
                <a:gd name="T36" fmla="*/ 343 w 472"/>
                <a:gd name="T37" fmla="*/ 497 h 503"/>
                <a:gd name="T38" fmla="*/ 386 w 472"/>
                <a:gd name="T39" fmla="*/ 483 h 503"/>
                <a:gd name="T40" fmla="*/ 472 w 472"/>
                <a:gd name="T41" fmla="*/ 437 h 503"/>
                <a:gd name="T42" fmla="*/ 455 w 472"/>
                <a:gd name="T43" fmla="*/ 427 h 503"/>
                <a:gd name="T44" fmla="*/ 424 w 472"/>
                <a:gd name="T45" fmla="*/ 351 h 503"/>
                <a:gd name="T46" fmla="*/ 425 w 472"/>
                <a:gd name="T47" fmla="*/ 315 h 503"/>
                <a:gd name="T48" fmla="*/ 437 w 472"/>
                <a:gd name="T49" fmla="*/ 274 h 503"/>
                <a:gd name="T50" fmla="*/ 407 w 472"/>
                <a:gd name="T51" fmla="*/ 230 h 503"/>
                <a:gd name="T52" fmla="*/ 365 w 472"/>
                <a:gd name="T53" fmla="*/ 126 h 503"/>
                <a:gd name="T54" fmla="*/ 201 w 472"/>
                <a:gd name="T55" fmla="*/ 3 h 503"/>
                <a:gd name="T56" fmla="*/ 179 w 472"/>
                <a:gd name="T57" fmla="*/ 23 h 503"/>
                <a:gd name="T58" fmla="*/ 182 w 472"/>
                <a:gd name="T59" fmla="*/ 60 h 503"/>
                <a:gd name="T60" fmla="*/ 151 w 472"/>
                <a:gd name="T61" fmla="*/ 67 h 503"/>
                <a:gd name="T62" fmla="*/ 104 w 472"/>
                <a:gd name="T63" fmla="*/ 81 h 503"/>
                <a:gd name="T64" fmla="*/ 101 w 472"/>
                <a:gd name="T65" fmla="*/ 29 h 503"/>
                <a:gd name="T66" fmla="*/ 103 w 472"/>
                <a:gd name="T67" fmla="*/ 1 h 503"/>
                <a:gd name="T68" fmla="*/ 54 w 472"/>
                <a:gd name="T69"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2" h="503">
                  <a:moveTo>
                    <a:pt x="54" y="0"/>
                  </a:moveTo>
                  <a:lnTo>
                    <a:pt x="39" y="6"/>
                  </a:lnTo>
                  <a:lnTo>
                    <a:pt x="56" y="32"/>
                  </a:lnTo>
                  <a:lnTo>
                    <a:pt x="53" y="60"/>
                  </a:lnTo>
                  <a:lnTo>
                    <a:pt x="41" y="66"/>
                  </a:lnTo>
                  <a:lnTo>
                    <a:pt x="41" y="66"/>
                  </a:lnTo>
                  <a:lnTo>
                    <a:pt x="42" y="84"/>
                  </a:lnTo>
                  <a:lnTo>
                    <a:pt x="52" y="95"/>
                  </a:lnTo>
                  <a:lnTo>
                    <a:pt x="52" y="110"/>
                  </a:lnTo>
                  <a:lnTo>
                    <a:pt x="41" y="121"/>
                  </a:lnTo>
                  <a:lnTo>
                    <a:pt x="23" y="145"/>
                  </a:lnTo>
                  <a:lnTo>
                    <a:pt x="7" y="162"/>
                  </a:lnTo>
                  <a:lnTo>
                    <a:pt x="2" y="162"/>
                  </a:lnTo>
                  <a:lnTo>
                    <a:pt x="0" y="183"/>
                  </a:lnTo>
                  <a:lnTo>
                    <a:pt x="9" y="189"/>
                  </a:lnTo>
                  <a:lnTo>
                    <a:pt x="7" y="210"/>
                  </a:lnTo>
                  <a:lnTo>
                    <a:pt x="15" y="228"/>
                  </a:lnTo>
                  <a:lnTo>
                    <a:pt x="4" y="246"/>
                  </a:lnTo>
                  <a:lnTo>
                    <a:pt x="40" y="278"/>
                  </a:lnTo>
                  <a:lnTo>
                    <a:pt x="42" y="306"/>
                  </a:lnTo>
                  <a:lnTo>
                    <a:pt x="64" y="355"/>
                  </a:lnTo>
                  <a:lnTo>
                    <a:pt x="64" y="355"/>
                  </a:lnTo>
                  <a:lnTo>
                    <a:pt x="66" y="357"/>
                  </a:lnTo>
                  <a:lnTo>
                    <a:pt x="84" y="364"/>
                  </a:lnTo>
                  <a:lnTo>
                    <a:pt x="112" y="373"/>
                  </a:lnTo>
                  <a:lnTo>
                    <a:pt x="137" y="386"/>
                  </a:lnTo>
                  <a:lnTo>
                    <a:pt x="180" y="395"/>
                  </a:lnTo>
                  <a:lnTo>
                    <a:pt x="189" y="408"/>
                  </a:lnTo>
                  <a:lnTo>
                    <a:pt x="189" y="408"/>
                  </a:lnTo>
                  <a:lnTo>
                    <a:pt x="192" y="399"/>
                  </a:lnTo>
                  <a:lnTo>
                    <a:pt x="214" y="424"/>
                  </a:lnTo>
                  <a:lnTo>
                    <a:pt x="217" y="473"/>
                  </a:lnTo>
                  <a:lnTo>
                    <a:pt x="231" y="492"/>
                  </a:lnTo>
                  <a:lnTo>
                    <a:pt x="231" y="492"/>
                  </a:lnTo>
                  <a:lnTo>
                    <a:pt x="248" y="490"/>
                  </a:lnTo>
                  <a:lnTo>
                    <a:pt x="300" y="503"/>
                  </a:lnTo>
                  <a:lnTo>
                    <a:pt x="313" y="497"/>
                  </a:lnTo>
                  <a:lnTo>
                    <a:pt x="343" y="497"/>
                  </a:lnTo>
                  <a:lnTo>
                    <a:pt x="359" y="482"/>
                  </a:lnTo>
                  <a:lnTo>
                    <a:pt x="386" y="483"/>
                  </a:lnTo>
                  <a:lnTo>
                    <a:pt x="435" y="464"/>
                  </a:lnTo>
                  <a:lnTo>
                    <a:pt x="472" y="437"/>
                  </a:lnTo>
                  <a:lnTo>
                    <a:pt x="472" y="437"/>
                  </a:lnTo>
                  <a:lnTo>
                    <a:pt x="455" y="427"/>
                  </a:lnTo>
                  <a:lnTo>
                    <a:pt x="439" y="381"/>
                  </a:lnTo>
                  <a:lnTo>
                    <a:pt x="424" y="351"/>
                  </a:lnTo>
                  <a:lnTo>
                    <a:pt x="428" y="329"/>
                  </a:lnTo>
                  <a:lnTo>
                    <a:pt x="425" y="315"/>
                  </a:lnTo>
                  <a:lnTo>
                    <a:pt x="438" y="286"/>
                  </a:lnTo>
                  <a:lnTo>
                    <a:pt x="437" y="274"/>
                  </a:lnTo>
                  <a:lnTo>
                    <a:pt x="409" y="257"/>
                  </a:lnTo>
                  <a:lnTo>
                    <a:pt x="407" y="230"/>
                  </a:lnTo>
                  <a:lnTo>
                    <a:pt x="428" y="172"/>
                  </a:lnTo>
                  <a:lnTo>
                    <a:pt x="365" y="126"/>
                  </a:lnTo>
                  <a:lnTo>
                    <a:pt x="362" y="98"/>
                  </a:lnTo>
                  <a:lnTo>
                    <a:pt x="201" y="3"/>
                  </a:lnTo>
                  <a:lnTo>
                    <a:pt x="201" y="3"/>
                  </a:lnTo>
                  <a:lnTo>
                    <a:pt x="179" y="23"/>
                  </a:lnTo>
                  <a:lnTo>
                    <a:pt x="165" y="45"/>
                  </a:lnTo>
                  <a:lnTo>
                    <a:pt x="182" y="60"/>
                  </a:lnTo>
                  <a:lnTo>
                    <a:pt x="157" y="72"/>
                  </a:lnTo>
                  <a:lnTo>
                    <a:pt x="151" y="67"/>
                  </a:lnTo>
                  <a:lnTo>
                    <a:pt x="125" y="70"/>
                  </a:lnTo>
                  <a:lnTo>
                    <a:pt x="104" y="81"/>
                  </a:lnTo>
                  <a:lnTo>
                    <a:pt x="93" y="62"/>
                  </a:lnTo>
                  <a:lnTo>
                    <a:pt x="101" y="29"/>
                  </a:lnTo>
                  <a:lnTo>
                    <a:pt x="103" y="1"/>
                  </a:lnTo>
                  <a:lnTo>
                    <a:pt x="103" y="1"/>
                  </a:lnTo>
                  <a:lnTo>
                    <a:pt x="103" y="1"/>
                  </a:lnTo>
                  <a:lnTo>
                    <a:pt x="54" y="0"/>
                  </a:lnTo>
                  <a:lnTo>
                    <a:pt x="54" y="0"/>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89" name="Uganda">
              <a:extLst>
                <a:ext uri="{FF2B5EF4-FFF2-40B4-BE49-F238E27FC236}">
                  <a16:creationId xmlns:a16="http://schemas.microsoft.com/office/drawing/2014/main" id="{1930665E-1AC6-1383-6997-3BD5A1DC3C8C}"/>
                </a:ext>
              </a:extLst>
            </p:cNvPr>
            <p:cNvSpPr>
              <a:spLocks/>
            </p:cNvSpPr>
            <p:nvPr/>
          </p:nvSpPr>
          <p:spPr bwMode="auto">
            <a:xfrm>
              <a:off x="8186041" y="3247362"/>
              <a:ext cx="387350" cy="423863"/>
            </a:xfrm>
            <a:custGeom>
              <a:avLst/>
              <a:gdLst>
                <a:gd name="T0" fmla="*/ 197 w 244"/>
                <a:gd name="T1" fmla="*/ 0 h 267"/>
                <a:gd name="T2" fmla="*/ 170 w 244"/>
                <a:gd name="T3" fmla="*/ 22 h 267"/>
                <a:gd name="T4" fmla="*/ 138 w 244"/>
                <a:gd name="T5" fmla="*/ 21 h 267"/>
                <a:gd name="T6" fmla="*/ 103 w 244"/>
                <a:gd name="T7" fmla="*/ 32 h 267"/>
                <a:gd name="T8" fmla="*/ 74 w 244"/>
                <a:gd name="T9" fmla="*/ 22 h 267"/>
                <a:gd name="T10" fmla="*/ 56 w 244"/>
                <a:gd name="T11" fmla="*/ 35 h 267"/>
                <a:gd name="T12" fmla="*/ 56 w 244"/>
                <a:gd name="T13" fmla="*/ 35 h 267"/>
                <a:gd name="T14" fmla="*/ 53 w 244"/>
                <a:gd name="T15" fmla="*/ 90 h 267"/>
                <a:gd name="T16" fmla="*/ 72 w 244"/>
                <a:gd name="T17" fmla="*/ 96 h 267"/>
                <a:gd name="T18" fmla="*/ 57 w 244"/>
                <a:gd name="T19" fmla="*/ 113 h 267"/>
                <a:gd name="T20" fmla="*/ 41 w 244"/>
                <a:gd name="T21" fmla="*/ 126 h 267"/>
                <a:gd name="T22" fmla="*/ 23 w 244"/>
                <a:gd name="T23" fmla="*/ 149 h 267"/>
                <a:gd name="T24" fmla="*/ 14 w 244"/>
                <a:gd name="T25" fmla="*/ 171 h 267"/>
                <a:gd name="T26" fmla="*/ 11 w 244"/>
                <a:gd name="T27" fmla="*/ 209 h 267"/>
                <a:gd name="T28" fmla="*/ 1 w 244"/>
                <a:gd name="T29" fmla="*/ 227 h 267"/>
                <a:gd name="T30" fmla="*/ 0 w 244"/>
                <a:gd name="T31" fmla="*/ 263 h 267"/>
                <a:gd name="T32" fmla="*/ 11 w 244"/>
                <a:gd name="T33" fmla="*/ 267 h 267"/>
                <a:gd name="T34" fmla="*/ 39 w 244"/>
                <a:gd name="T35" fmla="*/ 253 h 267"/>
                <a:gd name="T36" fmla="*/ 54 w 244"/>
                <a:gd name="T37" fmla="*/ 247 h 267"/>
                <a:gd name="T38" fmla="*/ 103 w 244"/>
                <a:gd name="T39" fmla="*/ 248 h 267"/>
                <a:gd name="T40" fmla="*/ 103 w 244"/>
                <a:gd name="T41" fmla="*/ 248 h 267"/>
                <a:gd name="T42" fmla="*/ 101 w 244"/>
                <a:gd name="T43" fmla="*/ 230 h 267"/>
                <a:gd name="T44" fmla="*/ 121 w 244"/>
                <a:gd name="T45" fmla="*/ 202 h 267"/>
                <a:gd name="T46" fmla="*/ 149 w 244"/>
                <a:gd name="T47" fmla="*/ 195 h 267"/>
                <a:gd name="T48" fmla="*/ 168 w 244"/>
                <a:gd name="T49" fmla="*/ 184 h 267"/>
                <a:gd name="T50" fmla="*/ 191 w 244"/>
                <a:gd name="T51" fmla="*/ 193 h 267"/>
                <a:gd name="T52" fmla="*/ 194 w 244"/>
                <a:gd name="T53" fmla="*/ 197 h 267"/>
                <a:gd name="T54" fmla="*/ 194 w 244"/>
                <a:gd name="T55" fmla="*/ 194 h 267"/>
                <a:gd name="T56" fmla="*/ 207 w 244"/>
                <a:gd name="T57" fmla="*/ 176 h 267"/>
                <a:gd name="T58" fmla="*/ 228 w 244"/>
                <a:gd name="T59" fmla="*/ 144 h 267"/>
                <a:gd name="T60" fmla="*/ 244 w 244"/>
                <a:gd name="T61" fmla="*/ 110 h 267"/>
                <a:gd name="T62" fmla="*/ 224 w 244"/>
                <a:gd name="T63" fmla="*/ 56 h 267"/>
                <a:gd name="T64" fmla="*/ 219 w 244"/>
                <a:gd name="T65" fmla="*/ 32 h 267"/>
                <a:gd name="T66" fmla="*/ 197 w 244"/>
                <a:gd name="T67" fmla="*/ 0 h 267"/>
                <a:gd name="T68" fmla="*/ 197 w 244"/>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67">
                  <a:moveTo>
                    <a:pt x="197" y="0"/>
                  </a:moveTo>
                  <a:lnTo>
                    <a:pt x="170" y="22"/>
                  </a:lnTo>
                  <a:lnTo>
                    <a:pt x="138" y="21"/>
                  </a:lnTo>
                  <a:lnTo>
                    <a:pt x="103" y="32"/>
                  </a:lnTo>
                  <a:lnTo>
                    <a:pt x="74" y="22"/>
                  </a:lnTo>
                  <a:lnTo>
                    <a:pt x="56" y="35"/>
                  </a:lnTo>
                  <a:lnTo>
                    <a:pt x="56" y="35"/>
                  </a:lnTo>
                  <a:lnTo>
                    <a:pt x="53" y="90"/>
                  </a:lnTo>
                  <a:lnTo>
                    <a:pt x="72" y="96"/>
                  </a:lnTo>
                  <a:lnTo>
                    <a:pt x="57" y="113"/>
                  </a:lnTo>
                  <a:lnTo>
                    <a:pt x="41" y="126"/>
                  </a:lnTo>
                  <a:lnTo>
                    <a:pt x="23" y="149"/>
                  </a:lnTo>
                  <a:lnTo>
                    <a:pt x="14" y="171"/>
                  </a:lnTo>
                  <a:lnTo>
                    <a:pt x="11" y="209"/>
                  </a:lnTo>
                  <a:lnTo>
                    <a:pt x="1" y="227"/>
                  </a:lnTo>
                  <a:lnTo>
                    <a:pt x="0" y="263"/>
                  </a:lnTo>
                  <a:lnTo>
                    <a:pt x="11" y="267"/>
                  </a:lnTo>
                  <a:lnTo>
                    <a:pt x="39" y="253"/>
                  </a:lnTo>
                  <a:lnTo>
                    <a:pt x="54" y="247"/>
                  </a:lnTo>
                  <a:lnTo>
                    <a:pt x="103" y="248"/>
                  </a:lnTo>
                  <a:lnTo>
                    <a:pt x="103" y="248"/>
                  </a:lnTo>
                  <a:lnTo>
                    <a:pt x="101" y="230"/>
                  </a:lnTo>
                  <a:lnTo>
                    <a:pt x="121" y="202"/>
                  </a:lnTo>
                  <a:lnTo>
                    <a:pt x="149" y="195"/>
                  </a:lnTo>
                  <a:lnTo>
                    <a:pt x="168" y="184"/>
                  </a:lnTo>
                  <a:lnTo>
                    <a:pt x="191" y="193"/>
                  </a:lnTo>
                  <a:lnTo>
                    <a:pt x="194" y="197"/>
                  </a:lnTo>
                  <a:lnTo>
                    <a:pt x="194" y="194"/>
                  </a:lnTo>
                  <a:lnTo>
                    <a:pt x="207" y="176"/>
                  </a:lnTo>
                  <a:lnTo>
                    <a:pt x="228" y="144"/>
                  </a:lnTo>
                  <a:lnTo>
                    <a:pt x="244" y="110"/>
                  </a:lnTo>
                  <a:lnTo>
                    <a:pt x="224" y="56"/>
                  </a:lnTo>
                  <a:lnTo>
                    <a:pt x="219" y="32"/>
                  </a:lnTo>
                  <a:lnTo>
                    <a:pt x="197" y="0"/>
                  </a:lnTo>
                  <a:lnTo>
                    <a:pt x="197" y="0"/>
                  </a:lnTo>
                  <a:close/>
                </a:path>
              </a:pathLst>
            </a:custGeom>
            <a:solidFill>
              <a:schemeClr val="accent1">
                <a:lumMod val="75000"/>
              </a:schemeClr>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0" name="South Africa">
              <a:extLst>
                <a:ext uri="{FF2B5EF4-FFF2-40B4-BE49-F238E27FC236}">
                  <a16:creationId xmlns:a16="http://schemas.microsoft.com/office/drawing/2014/main" id="{9214E565-A2CB-7D9F-4339-460944C65507}"/>
                </a:ext>
              </a:extLst>
            </p:cNvPr>
            <p:cNvSpPr>
              <a:spLocks noEditPoints="1"/>
            </p:cNvSpPr>
            <p:nvPr/>
          </p:nvSpPr>
          <p:spPr bwMode="auto">
            <a:xfrm>
              <a:off x="7208141" y="5212687"/>
              <a:ext cx="1138238" cy="947738"/>
            </a:xfrm>
            <a:custGeom>
              <a:avLst/>
              <a:gdLst>
                <a:gd name="T0" fmla="*/ 141 w 717"/>
                <a:gd name="T1" fmla="*/ 597 h 597"/>
                <a:gd name="T2" fmla="*/ 205 w 717"/>
                <a:gd name="T3" fmla="*/ 571 h 597"/>
                <a:gd name="T4" fmla="*/ 268 w 717"/>
                <a:gd name="T5" fmla="*/ 555 h 597"/>
                <a:gd name="T6" fmla="*/ 339 w 717"/>
                <a:gd name="T7" fmla="*/ 558 h 597"/>
                <a:gd name="T8" fmla="*/ 386 w 717"/>
                <a:gd name="T9" fmla="*/ 556 h 597"/>
                <a:gd name="T10" fmla="*/ 415 w 717"/>
                <a:gd name="T11" fmla="*/ 541 h 597"/>
                <a:gd name="T12" fmla="*/ 494 w 717"/>
                <a:gd name="T13" fmla="*/ 501 h 597"/>
                <a:gd name="T14" fmla="*/ 580 w 717"/>
                <a:gd name="T15" fmla="*/ 424 h 597"/>
                <a:gd name="T16" fmla="*/ 621 w 717"/>
                <a:gd name="T17" fmla="*/ 366 h 597"/>
                <a:gd name="T18" fmla="*/ 650 w 717"/>
                <a:gd name="T19" fmla="*/ 336 h 597"/>
                <a:gd name="T20" fmla="*/ 695 w 717"/>
                <a:gd name="T21" fmla="*/ 292 h 597"/>
                <a:gd name="T22" fmla="*/ 717 w 717"/>
                <a:gd name="T23" fmla="*/ 218 h 597"/>
                <a:gd name="T24" fmla="*/ 673 w 717"/>
                <a:gd name="T25" fmla="*/ 238 h 597"/>
                <a:gd name="T26" fmla="*/ 624 w 717"/>
                <a:gd name="T27" fmla="*/ 218 h 597"/>
                <a:gd name="T28" fmla="*/ 637 w 717"/>
                <a:gd name="T29" fmla="*/ 184 h 597"/>
                <a:gd name="T30" fmla="*/ 656 w 717"/>
                <a:gd name="T31" fmla="*/ 167 h 597"/>
                <a:gd name="T32" fmla="*/ 674 w 717"/>
                <a:gd name="T33" fmla="*/ 159 h 597"/>
                <a:gd name="T34" fmla="*/ 676 w 717"/>
                <a:gd name="T35" fmla="*/ 73 h 597"/>
                <a:gd name="T36" fmla="*/ 636 w 717"/>
                <a:gd name="T37" fmla="*/ 2 h 597"/>
                <a:gd name="T38" fmla="*/ 600 w 717"/>
                <a:gd name="T39" fmla="*/ 0 h 597"/>
                <a:gd name="T40" fmla="*/ 519 w 717"/>
                <a:gd name="T41" fmla="*/ 34 h 597"/>
                <a:gd name="T42" fmla="*/ 462 w 717"/>
                <a:gd name="T43" fmla="*/ 101 h 597"/>
                <a:gd name="T44" fmla="*/ 424 w 717"/>
                <a:gd name="T45" fmla="*/ 122 h 597"/>
                <a:gd name="T46" fmla="*/ 410 w 717"/>
                <a:gd name="T47" fmla="*/ 159 h 597"/>
                <a:gd name="T48" fmla="*/ 346 w 717"/>
                <a:gd name="T49" fmla="*/ 168 h 597"/>
                <a:gd name="T50" fmla="*/ 309 w 717"/>
                <a:gd name="T51" fmla="*/ 149 h 597"/>
                <a:gd name="T52" fmla="*/ 275 w 717"/>
                <a:gd name="T53" fmla="*/ 182 h 597"/>
                <a:gd name="T54" fmla="*/ 231 w 717"/>
                <a:gd name="T55" fmla="*/ 217 h 597"/>
                <a:gd name="T56" fmla="*/ 191 w 717"/>
                <a:gd name="T57" fmla="*/ 205 h 597"/>
                <a:gd name="T58" fmla="*/ 173 w 717"/>
                <a:gd name="T59" fmla="*/ 132 h 597"/>
                <a:gd name="T60" fmla="*/ 152 w 717"/>
                <a:gd name="T61" fmla="*/ 299 h 597"/>
                <a:gd name="T62" fmla="*/ 90 w 717"/>
                <a:gd name="T63" fmla="*/ 327 h 597"/>
                <a:gd name="T64" fmla="*/ 45 w 717"/>
                <a:gd name="T65" fmla="*/ 314 h 597"/>
                <a:gd name="T66" fmla="*/ 22 w 717"/>
                <a:gd name="T67" fmla="*/ 282 h 597"/>
                <a:gd name="T68" fmla="*/ 28 w 717"/>
                <a:gd name="T69" fmla="*/ 365 h 597"/>
                <a:gd name="T70" fmla="*/ 47 w 717"/>
                <a:gd name="T71" fmla="*/ 406 h 597"/>
                <a:gd name="T72" fmla="*/ 72 w 717"/>
                <a:gd name="T73" fmla="*/ 484 h 597"/>
                <a:gd name="T74" fmla="*/ 69 w 717"/>
                <a:gd name="T75" fmla="*/ 524 h 597"/>
                <a:gd name="T76" fmla="*/ 72 w 717"/>
                <a:gd name="T77" fmla="*/ 565 h 597"/>
                <a:gd name="T78" fmla="*/ 92 w 717"/>
                <a:gd name="T79" fmla="*/ 580 h 597"/>
                <a:gd name="T80" fmla="*/ 122 w 717"/>
                <a:gd name="T81" fmla="*/ 597 h 597"/>
                <a:gd name="T82" fmla="*/ 499 w 717"/>
                <a:gd name="T83" fmla="*/ 397 h 597"/>
                <a:gd name="T84" fmla="*/ 454 w 717"/>
                <a:gd name="T85" fmla="*/ 365 h 597"/>
                <a:gd name="T86" fmla="*/ 504 w 717"/>
                <a:gd name="T87" fmla="*/ 317 h 597"/>
                <a:gd name="T88" fmla="*/ 542 w 717"/>
                <a:gd name="T89" fmla="*/ 322 h 597"/>
                <a:gd name="T90" fmla="*/ 541 w 717"/>
                <a:gd name="T91" fmla="*/ 359 h 597"/>
                <a:gd name="T92" fmla="*/ 508 w 717"/>
                <a:gd name="T93" fmla="*/ 382 h 597"/>
                <a:gd name="T94" fmla="*/ 499 w 717"/>
                <a:gd name="T95" fmla="*/ 3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7" h="597">
                  <a:moveTo>
                    <a:pt x="122" y="597"/>
                  </a:moveTo>
                  <a:lnTo>
                    <a:pt x="141" y="597"/>
                  </a:lnTo>
                  <a:lnTo>
                    <a:pt x="169" y="579"/>
                  </a:lnTo>
                  <a:lnTo>
                    <a:pt x="205" y="571"/>
                  </a:lnTo>
                  <a:lnTo>
                    <a:pt x="251" y="552"/>
                  </a:lnTo>
                  <a:lnTo>
                    <a:pt x="268" y="555"/>
                  </a:lnTo>
                  <a:lnTo>
                    <a:pt x="294" y="549"/>
                  </a:lnTo>
                  <a:lnTo>
                    <a:pt x="339" y="558"/>
                  </a:lnTo>
                  <a:lnTo>
                    <a:pt x="361" y="549"/>
                  </a:lnTo>
                  <a:lnTo>
                    <a:pt x="386" y="556"/>
                  </a:lnTo>
                  <a:lnTo>
                    <a:pt x="393" y="543"/>
                  </a:lnTo>
                  <a:lnTo>
                    <a:pt x="415" y="541"/>
                  </a:lnTo>
                  <a:lnTo>
                    <a:pt x="460" y="523"/>
                  </a:lnTo>
                  <a:lnTo>
                    <a:pt x="494" y="501"/>
                  </a:lnTo>
                  <a:lnTo>
                    <a:pt x="527" y="473"/>
                  </a:lnTo>
                  <a:lnTo>
                    <a:pt x="580" y="424"/>
                  </a:lnTo>
                  <a:lnTo>
                    <a:pt x="607" y="391"/>
                  </a:lnTo>
                  <a:lnTo>
                    <a:pt x="621" y="366"/>
                  </a:lnTo>
                  <a:lnTo>
                    <a:pt x="641" y="343"/>
                  </a:lnTo>
                  <a:lnTo>
                    <a:pt x="650" y="336"/>
                  </a:lnTo>
                  <a:lnTo>
                    <a:pt x="682" y="312"/>
                  </a:lnTo>
                  <a:lnTo>
                    <a:pt x="695" y="292"/>
                  </a:lnTo>
                  <a:lnTo>
                    <a:pt x="703" y="253"/>
                  </a:lnTo>
                  <a:lnTo>
                    <a:pt x="717" y="218"/>
                  </a:lnTo>
                  <a:lnTo>
                    <a:pt x="684" y="218"/>
                  </a:lnTo>
                  <a:lnTo>
                    <a:pt x="673" y="238"/>
                  </a:lnTo>
                  <a:lnTo>
                    <a:pt x="647" y="243"/>
                  </a:lnTo>
                  <a:lnTo>
                    <a:pt x="624" y="218"/>
                  </a:lnTo>
                  <a:lnTo>
                    <a:pt x="625" y="202"/>
                  </a:lnTo>
                  <a:lnTo>
                    <a:pt x="637" y="184"/>
                  </a:lnTo>
                  <a:lnTo>
                    <a:pt x="643" y="170"/>
                  </a:lnTo>
                  <a:lnTo>
                    <a:pt x="656" y="167"/>
                  </a:lnTo>
                  <a:lnTo>
                    <a:pt x="677" y="176"/>
                  </a:lnTo>
                  <a:lnTo>
                    <a:pt x="674" y="159"/>
                  </a:lnTo>
                  <a:lnTo>
                    <a:pt x="685" y="107"/>
                  </a:lnTo>
                  <a:lnTo>
                    <a:pt x="676" y="73"/>
                  </a:lnTo>
                  <a:lnTo>
                    <a:pt x="658" y="7"/>
                  </a:lnTo>
                  <a:lnTo>
                    <a:pt x="636" y="2"/>
                  </a:lnTo>
                  <a:lnTo>
                    <a:pt x="621" y="8"/>
                  </a:lnTo>
                  <a:lnTo>
                    <a:pt x="600" y="0"/>
                  </a:lnTo>
                  <a:lnTo>
                    <a:pt x="582" y="0"/>
                  </a:lnTo>
                  <a:lnTo>
                    <a:pt x="519" y="34"/>
                  </a:lnTo>
                  <a:lnTo>
                    <a:pt x="478" y="69"/>
                  </a:lnTo>
                  <a:lnTo>
                    <a:pt x="462" y="101"/>
                  </a:lnTo>
                  <a:lnTo>
                    <a:pt x="447" y="119"/>
                  </a:lnTo>
                  <a:lnTo>
                    <a:pt x="424" y="122"/>
                  </a:lnTo>
                  <a:lnTo>
                    <a:pt x="415" y="144"/>
                  </a:lnTo>
                  <a:lnTo>
                    <a:pt x="410" y="159"/>
                  </a:lnTo>
                  <a:lnTo>
                    <a:pt x="382" y="170"/>
                  </a:lnTo>
                  <a:lnTo>
                    <a:pt x="346" y="168"/>
                  </a:lnTo>
                  <a:lnTo>
                    <a:pt x="326" y="154"/>
                  </a:lnTo>
                  <a:lnTo>
                    <a:pt x="309" y="149"/>
                  </a:lnTo>
                  <a:lnTo>
                    <a:pt x="287" y="159"/>
                  </a:lnTo>
                  <a:lnTo>
                    <a:pt x="275" y="182"/>
                  </a:lnTo>
                  <a:lnTo>
                    <a:pt x="254" y="197"/>
                  </a:lnTo>
                  <a:lnTo>
                    <a:pt x="231" y="217"/>
                  </a:lnTo>
                  <a:lnTo>
                    <a:pt x="200" y="222"/>
                  </a:lnTo>
                  <a:lnTo>
                    <a:pt x="191" y="205"/>
                  </a:lnTo>
                  <a:lnTo>
                    <a:pt x="196" y="177"/>
                  </a:lnTo>
                  <a:lnTo>
                    <a:pt x="173" y="132"/>
                  </a:lnTo>
                  <a:lnTo>
                    <a:pt x="161" y="125"/>
                  </a:lnTo>
                  <a:lnTo>
                    <a:pt x="152" y="299"/>
                  </a:lnTo>
                  <a:lnTo>
                    <a:pt x="113" y="323"/>
                  </a:lnTo>
                  <a:lnTo>
                    <a:pt x="90" y="327"/>
                  </a:lnTo>
                  <a:lnTo>
                    <a:pt x="63" y="317"/>
                  </a:lnTo>
                  <a:lnTo>
                    <a:pt x="45" y="314"/>
                  </a:lnTo>
                  <a:lnTo>
                    <a:pt x="38" y="293"/>
                  </a:lnTo>
                  <a:lnTo>
                    <a:pt x="22" y="282"/>
                  </a:lnTo>
                  <a:lnTo>
                    <a:pt x="0" y="305"/>
                  </a:lnTo>
                  <a:lnTo>
                    <a:pt x="28" y="365"/>
                  </a:lnTo>
                  <a:lnTo>
                    <a:pt x="28" y="366"/>
                  </a:lnTo>
                  <a:lnTo>
                    <a:pt x="47" y="406"/>
                  </a:lnTo>
                  <a:lnTo>
                    <a:pt x="73" y="449"/>
                  </a:lnTo>
                  <a:lnTo>
                    <a:pt x="72" y="484"/>
                  </a:lnTo>
                  <a:lnTo>
                    <a:pt x="57" y="493"/>
                  </a:lnTo>
                  <a:lnTo>
                    <a:pt x="69" y="524"/>
                  </a:lnTo>
                  <a:lnTo>
                    <a:pt x="68" y="552"/>
                  </a:lnTo>
                  <a:lnTo>
                    <a:pt x="72" y="565"/>
                  </a:lnTo>
                  <a:lnTo>
                    <a:pt x="75" y="558"/>
                  </a:lnTo>
                  <a:lnTo>
                    <a:pt x="92" y="580"/>
                  </a:lnTo>
                  <a:lnTo>
                    <a:pt x="106" y="580"/>
                  </a:lnTo>
                  <a:lnTo>
                    <a:pt x="122" y="597"/>
                  </a:lnTo>
                  <a:lnTo>
                    <a:pt x="122" y="597"/>
                  </a:lnTo>
                  <a:close/>
                  <a:moveTo>
                    <a:pt x="499" y="397"/>
                  </a:moveTo>
                  <a:lnTo>
                    <a:pt x="483" y="401"/>
                  </a:lnTo>
                  <a:lnTo>
                    <a:pt x="454" y="365"/>
                  </a:lnTo>
                  <a:lnTo>
                    <a:pt x="479" y="336"/>
                  </a:lnTo>
                  <a:lnTo>
                    <a:pt x="504" y="317"/>
                  </a:lnTo>
                  <a:lnTo>
                    <a:pt x="525" y="308"/>
                  </a:lnTo>
                  <a:lnTo>
                    <a:pt x="542" y="322"/>
                  </a:lnTo>
                  <a:lnTo>
                    <a:pt x="556" y="336"/>
                  </a:lnTo>
                  <a:lnTo>
                    <a:pt x="541" y="359"/>
                  </a:lnTo>
                  <a:lnTo>
                    <a:pt x="532" y="374"/>
                  </a:lnTo>
                  <a:lnTo>
                    <a:pt x="508" y="382"/>
                  </a:lnTo>
                  <a:lnTo>
                    <a:pt x="499" y="397"/>
                  </a:lnTo>
                  <a:lnTo>
                    <a:pt x="499" y="397"/>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1" name="Zambia">
              <a:extLst>
                <a:ext uri="{FF2B5EF4-FFF2-40B4-BE49-F238E27FC236}">
                  <a16:creationId xmlns:a16="http://schemas.microsoft.com/office/drawing/2014/main" id="{A60B21D0-E0B9-827C-9EFD-9051B2354DE2}"/>
                </a:ext>
              </a:extLst>
            </p:cNvPr>
            <p:cNvSpPr>
              <a:spLocks/>
            </p:cNvSpPr>
            <p:nvPr/>
          </p:nvSpPr>
          <p:spPr bwMode="auto">
            <a:xfrm>
              <a:off x="7624066" y="4179225"/>
              <a:ext cx="828675" cy="723900"/>
            </a:xfrm>
            <a:custGeom>
              <a:avLst/>
              <a:gdLst>
                <a:gd name="T0" fmla="*/ 390 w 522"/>
                <a:gd name="T1" fmla="*/ 12 h 456"/>
                <a:gd name="T2" fmla="*/ 385 w 522"/>
                <a:gd name="T3" fmla="*/ 0 h 456"/>
                <a:gd name="T4" fmla="*/ 312 w 522"/>
                <a:gd name="T5" fmla="*/ 13 h 456"/>
                <a:gd name="T6" fmla="*/ 309 w 522"/>
                <a:gd name="T7" fmla="*/ 64 h 456"/>
                <a:gd name="T8" fmla="*/ 293 w 522"/>
                <a:gd name="T9" fmla="*/ 167 h 456"/>
                <a:gd name="T10" fmla="*/ 335 w 522"/>
                <a:gd name="T11" fmla="*/ 193 h 456"/>
                <a:gd name="T12" fmla="*/ 350 w 522"/>
                <a:gd name="T13" fmla="*/ 236 h 456"/>
                <a:gd name="T14" fmla="*/ 299 w 522"/>
                <a:gd name="T15" fmla="*/ 209 h 456"/>
                <a:gd name="T16" fmla="*/ 249 w 522"/>
                <a:gd name="T17" fmla="*/ 183 h 456"/>
                <a:gd name="T18" fmla="*/ 212 w 522"/>
                <a:gd name="T19" fmla="*/ 173 h 456"/>
                <a:gd name="T20" fmla="*/ 163 w 522"/>
                <a:gd name="T21" fmla="*/ 145 h 456"/>
                <a:gd name="T22" fmla="*/ 113 w 522"/>
                <a:gd name="T23" fmla="*/ 141 h 456"/>
                <a:gd name="T24" fmla="*/ 96 w 522"/>
                <a:gd name="T25" fmla="*/ 126 h 456"/>
                <a:gd name="T26" fmla="*/ 95 w 522"/>
                <a:gd name="T27" fmla="*/ 163 h 456"/>
                <a:gd name="T28" fmla="*/ 95 w 522"/>
                <a:gd name="T29" fmla="*/ 203 h 456"/>
                <a:gd name="T30" fmla="*/ 6 w 522"/>
                <a:gd name="T31" fmla="*/ 219 h 456"/>
                <a:gd name="T32" fmla="*/ 29 w 522"/>
                <a:gd name="T33" fmla="*/ 406 h 456"/>
                <a:gd name="T34" fmla="*/ 93 w 522"/>
                <a:gd name="T35" fmla="*/ 425 h 456"/>
                <a:gd name="T36" fmla="*/ 139 w 522"/>
                <a:gd name="T37" fmla="*/ 438 h 456"/>
                <a:gd name="T38" fmla="*/ 146 w 522"/>
                <a:gd name="T39" fmla="*/ 446 h 456"/>
                <a:gd name="T40" fmla="*/ 209 w 522"/>
                <a:gd name="T41" fmla="*/ 456 h 456"/>
                <a:gd name="T42" fmla="*/ 250 w 522"/>
                <a:gd name="T43" fmla="*/ 425 h 456"/>
                <a:gd name="T44" fmla="*/ 306 w 522"/>
                <a:gd name="T45" fmla="*/ 382 h 456"/>
                <a:gd name="T46" fmla="*/ 338 w 522"/>
                <a:gd name="T47" fmla="*/ 348 h 456"/>
                <a:gd name="T48" fmla="*/ 369 w 522"/>
                <a:gd name="T49" fmla="*/ 308 h 456"/>
                <a:gd name="T50" fmla="*/ 481 w 522"/>
                <a:gd name="T51" fmla="*/ 257 h 456"/>
                <a:gd name="T52" fmla="*/ 511 w 522"/>
                <a:gd name="T53" fmla="*/ 197 h 456"/>
                <a:gd name="T54" fmla="*/ 513 w 522"/>
                <a:gd name="T55" fmla="*/ 120 h 456"/>
                <a:gd name="T56" fmla="*/ 511 w 522"/>
                <a:gd name="T57" fmla="*/ 67 h 456"/>
                <a:gd name="T58" fmla="*/ 466 w 522"/>
                <a:gd name="T59" fmla="*/ 33 h 456"/>
                <a:gd name="T60" fmla="*/ 420 w 522"/>
                <a:gd name="T61" fmla="*/ 17 h 456"/>
                <a:gd name="T62" fmla="*/ 418 w 522"/>
                <a:gd name="T63" fmla="*/ 15 h 456"/>
                <a:gd name="T64" fmla="*/ 415 w 522"/>
                <a:gd name="T65" fmla="*/ 26 h 456"/>
                <a:gd name="T66" fmla="*/ 405 w 522"/>
                <a:gd name="T67" fmla="*/ 1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56">
                  <a:moveTo>
                    <a:pt x="405" y="16"/>
                  </a:moveTo>
                  <a:lnTo>
                    <a:pt x="390" y="12"/>
                  </a:lnTo>
                  <a:lnTo>
                    <a:pt x="393" y="2"/>
                  </a:lnTo>
                  <a:lnTo>
                    <a:pt x="385" y="0"/>
                  </a:lnTo>
                  <a:lnTo>
                    <a:pt x="325" y="7"/>
                  </a:lnTo>
                  <a:lnTo>
                    <a:pt x="312" y="13"/>
                  </a:lnTo>
                  <a:lnTo>
                    <a:pt x="300" y="43"/>
                  </a:lnTo>
                  <a:lnTo>
                    <a:pt x="309" y="64"/>
                  </a:lnTo>
                  <a:lnTo>
                    <a:pt x="300" y="119"/>
                  </a:lnTo>
                  <a:lnTo>
                    <a:pt x="293" y="167"/>
                  </a:lnTo>
                  <a:lnTo>
                    <a:pt x="305" y="175"/>
                  </a:lnTo>
                  <a:lnTo>
                    <a:pt x="335" y="193"/>
                  </a:lnTo>
                  <a:lnTo>
                    <a:pt x="348" y="185"/>
                  </a:lnTo>
                  <a:lnTo>
                    <a:pt x="350" y="236"/>
                  </a:lnTo>
                  <a:lnTo>
                    <a:pt x="316" y="235"/>
                  </a:lnTo>
                  <a:lnTo>
                    <a:pt x="299" y="209"/>
                  </a:lnTo>
                  <a:lnTo>
                    <a:pt x="283" y="189"/>
                  </a:lnTo>
                  <a:lnTo>
                    <a:pt x="249" y="183"/>
                  </a:lnTo>
                  <a:lnTo>
                    <a:pt x="239" y="158"/>
                  </a:lnTo>
                  <a:lnTo>
                    <a:pt x="212" y="173"/>
                  </a:lnTo>
                  <a:lnTo>
                    <a:pt x="177" y="166"/>
                  </a:lnTo>
                  <a:lnTo>
                    <a:pt x="163" y="145"/>
                  </a:lnTo>
                  <a:lnTo>
                    <a:pt x="134" y="140"/>
                  </a:lnTo>
                  <a:lnTo>
                    <a:pt x="113" y="141"/>
                  </a:lnTo>
                  <a:lnTo>
                    <a:pt x="111" y="127"/>
                  </a:lnTo>
                  <a:lnTo>
                    <a:pt x="96" y="126"/>
                  </a:lnTo>
                  <a:lnTo>
                    <a:pt x="101" y="140"/>
                  </a:lnTo>
                  <a:lnTo>
                    <a:pt x="95" y="163"/>
                  </a:lnTo>
                  <a:lnTo>
                    <a:pt x="102" y="185"/>
                  </a:lnTo>
                  <a:lnTo>
                    <a:pt x="95" y="203"/>
                  </a:lnTo>
                  <a:lnTo>
                    <a:pt x="99" y="219"/>
                  </a:lnTo>
                  <a:lnTo>
                    <a:pt x="6" y="219"/>
                  </a:lnTo>
                  <a:lnTo>
                    <a:pt x="0" y="368"/>
                  </a:lnTo>
                  <a:lnTo>
                    <a:pt x="29" y="406"/>
                  </a:lnTo>
                  <a:lnTo>
                    <a:pt x="57" y="436"/>
                  </a:lnTo>
                  <a:lnTo>
                    <a:pt x="93" y="425"/>
                  </a:lnTo>
                  <a:lnTo>
                    <a:pt x="122" y="428"/>
                  </a:lnTo>
                  <a:lnTo>
                    <a:pt x="139" y="438"/>
                  </a:lnTo>
                  <a:lnTo>
                    <a:pt x="139" y="443"/>
                  </a:lnTo>
                  <a:lnTo>
                    <a:pt x="146" y="446"/>
                  </a:lnTo>
                  <a:lnTo>
                    <a:pt x="195" y="451"/>
                  </a:lnTo>
                  <a:lnTo>
                    <a:pt x="209" y="456"/>
                  </a:lnTo>
                  <a:lnTo>
                    <a:pt x="225" y="455"/>
                  </a:lnTo>
                  <a:lnTo>
                    <a:pt x="250" y="425"/>
                  </a:lnTo>
                  <a:lnTo>
                    <a:pt x="290" y="386"/>
                  </a:lnTo>
                  <a:lnTo>
                    <a:pt x="306" y="382"/>
                  </a:lnTo>
                  <a:lnTo>
                    <a:pt x="312" y="366"/>
                  </a:lnTo>
                  <a:lnTo>
                    <a:pt x="338" y="348"/>
                  </a:lnTo>
                  <a:lnTo>
                    <a:pt x="372" y="342"/>
                  </a:lnTo>
                  <a:lnTo>
                    <a:pt x="369" y="308"/>
                  </a:lnTo>
                  <a:lnTo>
                    <a:pt x="504" y="269"/>
                  </a:lnTo>
                  <a:lnTo>
                    <a:pt x="481" y="257"/>
                  </a:lnTo>
                  <a:lnTo>
                    <a:pt x="497" y="214"/>
                  </a:lnTo>
                  <a:lnTo>
                    <a:pt x="511" y="197"/>
                  </a:lnTo>
                  <a:lnTo>
                    <a:pt x="504" y="158"/>
                  </a:lnTo>
                  <a:lnTo>
                    <a:pt x="513" y="120"/>
                  </a:lnTo>
                  <a:lnTo>
                    <a:pt x="522" y="107"/>
                  </a:lnTo>
                  <a:lnTo>
                    <a:pt x="511" y="67"/>
                  </a:lnTo>
                  <a:lnTo>
                    <a:pt x="491" y="46"/>
                  </a:lnTo>
                  <a:lnTo>
                    <a:pt x="466" y="33"/>
                  </a:lnTo>
                  <a:lnTo>
                    <a:pt x="438" y="24"/>
                  </a:lnTo>
                  <a:lnTo>
                    <a:pt x="420" y="17"/>
                  </a:lnTo>
                  <a:lnTo>
                    <a:pt x="418" y="15"/>
                  </a:lnTo>
                  <a:lnTo>
                    <a:pt x="418" y="15"/>
                  </a:lnTo>
                  <a:lnTo>
                    <a:pt x="422" y="22"/>
                  </a:lnTo>
                  <a:lnTo>
                    <a:pt x="415" y="26"/>
                  </a:lnTo>
                  <a:lnTo>
                    <a:pt x="405" y="16"/>
                  </a:lnTo>
                  <a:lnTo>
                    <a:pt x="405" y="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2" name="Zimbabwe">
              <a:extLst>
                <a:ext uri="{FF2B5EF4-FFF2-40B4-BE49-F238E27FC236}">
                  <a16:creationId xmlns:a16="http://schemas.microsoft.com/office/drawing/2014/main" id="{E4BB101F-F84D-602D-AE3F-AA150AA040E2}"/>
                </a:ext>
              </a:extLst>
            </p:cNvPr>
            <p:cNvSpPr>
              <a:spLocks/>
            </p:cNvSpPr>
            <p:nvPr/>
          </p:nvSpPr>
          <p:spPr bwMode="auto">
            <a:xfrm>
              <a:off x="7855841" y="4722150"/>
              <a:ext cx="533400" cy="503238"/>
            </a:xfrm>
            <a:custGeom>
              <a:avLst/>
              <a:gdLst>
                <a:gd name="T0" fmla="*/ 250 w 336"/>
                <a:gd name="T1" fmla="*/ 316 h 317"/>
                <a:gd name="T2" fmla="*/ 300 w 336"/>
                <a:gd name="T3" fmla="*/ 263 h 317"/>
                <a:gd name="T4" fmla="*/ 312 w 336"/>
                <a:gd name="T5" fmla="*/ 229 h 317"/>
                <a:gd name="T6" fmla="*/ 320 w 336"/>
                <a:gd name="T7" fmla="*/ 225 h 317"/>
                <a:gd name="T8" fmla="*/ 326 w 336"/>
                <a:gd name="T9" fmla="*/ 197 h 317"/>
                <a:gd name="T10" fmla="*/ 320 w 336"/>
                <a:gd name="T11" fmla="*/ 183 h 317"/>
                <a:gd name="T12" fmla="*/ 323 w 336"/>
                <a:gd name="T13" fmla="*/ 147 h 317"/>
                <a:gd name="T14" fmla="*/ 333 w 336"/>
                <a:gd name="T15" fmla="*/ 115 h 317"/>
                <a:gd name="T16" fmla="*/ 336 w 336"/>
                <a:gd name="T17" fmla="*/ 56 h 317"/>
                <a:gd name="T18" fmla="*/ 314 w 336"/>
                <a:gd name="T19" fmla="*/ 40 h 317"/>
                <a:gd name="T20" fmla="*/ 293 w 336"/>
                <a:gd name="T21" fmla="*/ 37 h 317"/>
                <a:gd name="T22" fmla="*/ 284 w 336"/>
                <a:gd name="T23" fmla="*/ 26 h 317"/>
                <a:gd name="T24" fmla="*/ 264 w 336"/>
                <a:gd name="T25" fmla="*/ 16 h 317"/>
                <a:gd name="T26" fmla="*/ 228 w 336"/>
                <a:gd name="T27" fmla="*/ 17 h 317"/>
                <a:gd name="T28" fmla="*/ 226 w 336"/>
                <a:gd name="T29" fmla="*/ 0 h 317"/>
                <a:gd name="T30" fmla="*/ 192 w 336"/>
                <a:gd name="T31" fmla="*/ 6 h 317"/>
                <a:gd name="T32" fmla="*/ 166 w 336"/>
                <a:gd name="T33" fmla="*/ 24 h 317"/>
                <a:gd name="T34" fmla="*/ 160 w 336"/>
                <a:gd name="T35" fmla="*/ 40 h 317"/>
                <a:gd name="T36" fmla="*/ 144 w 336"/>
                <a:gd name="T37" fmla="*/ 44 h 317"/>
                <a:gd name="T38" fmla="*/ 104 w 336"/>
                <a:gd name="T39" fmla="*/ 83 h 317"/>
                <a:gd name="T40" fmla="*/ 79 w 336"/>
                <a:gd name="T41" fmla="*/ 113 h 317"/>
                <a:gd name="T42" fmla="*/ 63 w 336"/>
                <a:gd name="T43" fmla="*/ 114 h 317"/>
                <a:gd name="T44" fmla="*/ 49 w 336"/>
                <a:gd name="T45" fmla="*/ 109 h 317"/>
                <a:gd name="T46" fmla="*/ 0 w 336"/>
                <a:gd name="T47" fmla="*/ 104 h 317"/>
                <a:gd name="T48" fmla="*/ 16 w 336"/>
                <a:gd name="T49" fmla="*/ 141 h 317"/>
                <a:gd name="T50" fmla="*/ 24 w 336"/>
                <a:gd name="T51" fmla="*/ 150 h 317"/>
                <a:gd name="T52" fmla="*/ 37 w 336"/>
                <a:gd name="T53" fmla="*/ 177 h 317"/>
                <a:gd name="T54" fmla="*/ 84 w 336"/>
                <a:gd name="T55" fmla="*/ 229 h 317"/>
                <a:gd name="T56" fmla="*/ 103 w 336"/>
                <a:gd name="T57" fmla="*/ 234 h 317"/>
                <a:gd name="T58" fmla="*/ 102 w 336"/>
                <a:gd name="T59" fmla="*/ 250 h 317"/>
                <a:gd name="T60" fmla="*/ 113 w 336"/>
                <a:gd name="T61" fmla="*/ 280 h 317"/>
                <a:gd name="T62" fmla="*/ 147 w 336"/>
                <a:gd name="T63" fmla="*/ 287 h 317"/>
                <a:gd name="T64" fmla="*/ 174 w 336"/>
                <a:gd name="T65" fmla="*/ 309 h 317"/>
                <a:gd name="T66" fmla="*/ 192 w 336"/>
                <a:gd name="T67" fmla="*/ 309 h 317"/>
                <a:gd name="T68" fmla="*/ 213 w 336"/>
                <a:gd name="T69" fmla="*/ 317 h 317"/>
                <a:gd name="T70" fmla="*/ 228 w 336"/>
                <a:gd name="T71" fmla="*/ 311 h 317"/>
                <a:gd name="T72" fmla="*/ 250 w 336"/>
                <a:gd name="T73" fmla="*/ 316 h 317"/>
                <a:gd name="T74" fmla="*/ 250 w 336"/>
                <a:gd name="T75"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7">
                  <a:moveTo>
                    <a:pt x="250" y="316"/>
                  </a:moveTo>
                  <a:lnTo>
                    <a:pt x="300" y="263"/>
                  </a:lnTo>
                  <a:lnTo>
                    <a:pt x="312" y="229"/>
                  </a:lnTo>
                  <a:lnTo>
                    <a:pt x="320" y="225"/>
                  </a:lnTo>
                  <a:lnTo>
                    <a:pt x="326" y="197"/>
                  </a:lnTo>
                  <a:lnTo>
                    <a:pt x="320" y="183"/>
                  </a:lnTo>
                  <a:lnTo>
                    <a:pt x="323" y="147"/>
                  </a:lnTo>
                  <a:lnTo>
                    <a:pt x="333" y="115"/>
                  </a:lnTo>
                  <a:lnTo>
                    <a:pt x="336" y="56"/>
                  </a:lnTo>
                  <a:lnTo>
                    <a:pt x="314" y="40"/>
                  </a:lnTo>
                  <a:lnTo>
                    <a:pt x="293" y="37"/>
                  </a:lnTo>
                  <a:lnTo>
                    <a:pt x="284" y="26"/>
                  </a:lnTo>
                  <a:lnTo>
                    <a:pt x="264" y="16"/>
                  </a:lnTo>
                  <a:lnTo>
                    <a:pt x="228" y="17"/>
                  </a:lnTo>
                  <a:lnTo>
                    <a:pt x="226" y="0"/>
                  </a:lnTo>
                  <a:lnTo>
                    <a:pt x="192" y="6"/>
                  </a:lnTo>
                  <a:lnTo>
                    <a:pt x="166" y="24"/>
                  </a:lnTo>
                  <a:lnTo>
                    <a:pt x="160" y="40"/>
                  </a:lnTo>
                  <a:lnTo>
                    <a:pt x="144" y="44"/>
                  </a:lnTo>
                  <a:lnTo>
                    <a:pt x="104" y="83"/>
                  </a:lnTo>
                  <a:lnTo>
                    <a:pt x="79" y="113"/>
                  </a:lnTo>
                  <a:lnTo>
                    <a:pt x="63" y="114"/>
                  </a:lnTo>
                  <a:lnTo>
                    <a:pt x="49" y="109"/>
                  </a:lnTo>
                  <a:lnTo>
                    <a:pt x="0" y="104"/>
                  </a:lnTo>
                  <a:lnTo>
                    <a:pt x="16" y="141"/>
                  </a:lnTo>
                  <a:lnTo>
                    <a:pt x="24" y="150"/>
                  </a:lnTo>
                  <a:lnTo>
                    <a:pt x="37" y="177"/>
                  </a:lnTo>
                  <a:lnTo>
                    <a:pt x="84" y="229"/>
                  </a:lnTo>
                  <a:lnTo>
                    <a:pt x="103" y="234"/>
                  </a:lnTo>
                  <a:lnTo>
                    <a:pt x="102" y="250"/>
                  </a:lnTo>
                  <a:lnTo>
                    <a:pt x="113" y="280"/>
                  </a:lnTo>
                  <a:lnTo>
                    <a:pt x="147" y="287"/>
                  </a:lnTo>
                  <a:lnTo>
                    <a:pt x="174" y="309"/>
                  </a:lnTo>
                  <a:lnTo>
                    <a:pt x="192" y="309"/>
                  </a:lnTo>
                  <a:lnTo>
                    <a:pt x="213" y="317"/>
                  </a:lnTo>
                  <a:lnTo>
                    <a:pt x="228" y="311"/>
                  </a:lnTo>
                  <a:lnTo>
                    <a:pt x="250" y="316"/>
                  </a:lnTo>
                  <a:lnTo>
                    <a:pt x="250" y="316"/>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93" name="Somalia">
              <a:extLst>
                <a:ext uri="{FF2B5EF4-FFF2-40B4-BE49-F238E27FC236}">
                  <a16:creationId xmlns:a16="http://schemas.microsoft.com/office/drawing/2014/main" id="{5098A9A4-43A2-9131-7124-745945563236}"/>
                </a:ext>
              </a:extLst>
            </p:cNvPr>
            <p:cNvSpPr>
              <a:spLocks/>
            </p:cNvSpPr>
            <p:nvPr/>
          </p:nvSpPr>
          <p:spPr bwMode="auto">
            <a:xfrm>
              <a:off x="8994079" y="2667925"/>
              <a:ext cx="698500" cy="1020763"/>
            </a:xfrm>
            <a:custGeom>
              <a:avLst/>
              <a:gdLst>
                <a:gd name="T0" fmla="*/ 131 w 440"/>
                <a:gd name="T1" fmla="*/ 74 h 643"/>
                <a:gd name="T2" fmla="*/ 111 w 440"/>
                <a:gd name="T3" fmla="*/ 54 h 643"/>
                <a:gd name="T4" fmla="*/ 101 w 440"/>
                <a:gd name="T5" fmla="*/ 35 h 643"/>
                <a:gd name="T6" fmla="*/ 86 w 440"/>
                <a:gd name="T7" fmla="*/ 26 h 643"/>
                <a:gd name="T8" fmla="*/ 70 w 440"/>
                <a:gd name="T9" fmla="*/ 51 h 643"/>
                <a:gd name="T10" fmla="*/ 61 w 440"/>
                <a:gd name="T11" fmla="*/ 68 h 643"/>
                <a:gd name="T12" fmla="*/ 80 w 440"/>
                <a:gd name="T13" fmla="*/ 94 h 643"/>
                <a:gd name="T14" fmla="*/ 96 w 440"/>
                <a:gd name="T15" fmla="*/ 116 h 643"/>
                <a:gd name="T16" fmla="*/ 113 w 440"/>
                <a:gd name="T17" fmla="*/ 133 h 643"/>
                <a:gd name="T18" fmla="*/ 260 w 440"/>
                <a:gd name="T19" fmla="*/ 189 h 643"/>
                <a:gd name="T20" fmla="*/ 299 w 440"/>
                <a:gd name="T21" fmla="*/ 188 h 643"/>
                <a:gd name="T22" fmla="*/ 176 w 440"/>
                <a:gd name="T23" fmla="*/ 329 h 643"/>
                <a:gd name="T24" fmla="*/ 118 w 440"/>
                <a:gd name="T25" fmla="*/ 332 h 643"/>
                <a:gd name="T26" fmla="*/ 79 w 440"/>
                <a:gd name="T27" fmla="*/ 365 h 643"/>
                <a:gd name="T28" fmla="*/ 50 w 440"/>
                <a:gd name="T29" fmla="*/ 366 h 643"/>
                <a:gd name="T30" fmla="*/ 38 w 440"/>
                <a:gd name="T31" fmla="*/ 380 h 643"/>
                <a:gd name="T32" fmla="*/ 0 w 440"/>
                <a:gd name="T33" fmla="*/ 434 h 643"/>
                <a:gd name="T34" fmla="*/ 1 w 440"/>
                <a:gd name="T35" fmla="*/ 605 h 643"/>
                <a:gd name="T36" fmla="*/ 27 w 440"/>
                <a:gd name="T37" fmla="*/ 643 h 643"/>
                <a:gd name="T38" fmla="*/ 37 w 440"/>
                <a:gd name="T39" fmla="*/ 632 h 643"/>
                <a:gd name="T40" fmla="*/ 48 w 440"/>
                <a:gd name="T41" fmla="*/ 608 h 643"/>
                <a:gd name="T42" fmla="*/ 97 w 440"/>
                <a:gd name="T43" fmla="*/ 551 h 643"/>
                <a:gd name="T44" fmla="*/ 139 w 440"/>
                <a:gd name="T45" fmla="*/ 515 h 643"/>
                <a:gd name="T46" fmla="*/ 205 w 440"/>
                <a:gd name="T47" fmla="*/ 469 h 643"/>
                <a:gd name="T48" fmla="*/ 249 w 440"/>
                <a:gd name="T49" fmla="*/ 430 h 643"/>
                <a:gd name="T50" fmla="*/ 301 w 440"/>
                <a:gd name="T51" fmla="*/ 367 h 643"/>
                <a:gd name="T52" fmla="*/ 337 w 440"/>
                <a:gd name="T53" fmla="*/ 314 h 643"/>
                <a:gd name="T54" fmla="*/ 374 w 440"/>
                <a:gd name="T55" fmla="*/ 245 h 643"/>
                <a:gd name="T56" fmla="*/ 399 w 440"/>
                <a:gd name="T57" fmla="*/ 185 h 643"/>
                <a:gd name="T58" fmla="*/ 419 w 440"/>
                <a:gd name="T59" fmla="*/ 132 h 643"/>
                <a:gd name="T60" fmla="*/ 430 w 440"/>
                <a:gd name="T61" fmla="*/ 81 h 643"/>
                <a:gd name="T62" fmla="*/ 438 w 440"/>
                <a:gd name="T63" fmla="*/ 64 h 643"/>
                <a:gd name="T64" fmla="*/ 437 w 440"/>
                <a:gd name="T65" fmla="*/ 40 h 643"/>
                <a:gd name="T66" fmla="*/ 440 w 440"/>
                <a:gd name="T67" fmla="*/ 13 h 643"/>
                <a:gd name="T68" fmla="*/ 438 w 440"/>
                <a:gd name="T69" fmla="*/ 0 h 643"/>
                <a:gd name="T70" fmla="*/ 421 w 440"/>
                <a:gd name="T71" fmla="*/ 0 h 643"/>
                <a:gd name="T72" fmla="*/ 401 w 440"/>
                <a:gd name="T73" fmla="*/ 16 h 643"/>
                <a:gd name="T74" fmla="*/ 378 w 440"/>
                <a:gd name="T75" fmla="*/ 20 h 643"/>
                <a:gd name="T76" fmla="*/ 358 w 440"/>
                <a:gd name="T77" fmla="*/ 28 h 643"/>
                <a:gd name="T78" fmla="*/ 343 w 440"/>
                <a:gd name="T79" fmla="*/ 29 h 643"/>
                <a:gd name="T80" fmla="*/ 343 w 440"/>
                <a:gd name="T81" fmla="*/ 29 h 643"/>
                <a:gd name="T82" fmla="*/ 319 w 440"/>
                <a:gd name="T83" fmla="*/ 30 h 643"/>
                <a:gd name="T84" fmla="*/ 303 w 440"/>
                <a:gd name="T85" fmla="*/ 39 h 643"/>
                <a:gd name="T86" fmla="*/ 281 w 440"/>
                <a:gd name="T87" fmla="*/ 42 h 643"/>
                <a:gd name="T88" fmla="*/ 243 w 440"/>
                <a:gd name="T89" fmla="*/ 57 h 643"/>
                <a:gd name="T90" fmla="*/ 195 w 440"/>
                <a:gd name="T91" fmla="*/ 62 h 643"/>
                <a:gd name="T92" fmla="*/ 153 w 440"/>
                <a:gd name="T93" fmla="*/ 74 h 643"/>
                <a:gd name="T94" fmla="*/ 131 w 440"/>
                <a:gd name="T95" fmla="*/ 74 h 643"/>
                <a:gd name="T96" fmla="*/ 131 w 440"/>
                <a:gd name="T97" fmla="*/ 7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0" h="643">
                  <a:moveTo>
                    <a:pt x="131" y="74"/>
                  </a:moveTo>
                  <a:lnTo>
                    <a:pt x="111" y="54"/>
                  </a:lnTo>
                  <a:lnTo>
                    <a:pt x="101" y="35"/>
                  </a:lnTo>
                  <a:lnTo>
                    <a:pt x="86" y="26"/>
                  </a:lnTo>
                  <a:lnTo>
                    <a:pt x="70" y="51"/>
                  </a:lnTo>
                  <a:lnTo>
                    <a:pt x="61" y="68"/>
                  </a:lnTo>
                  <a:lnTo>
                    <a:pt x="80" y="94"/>
                  </a:lnTo>
                  <a:lnTo>
                    <a:pt x="96" y="116"/>
                  </a:lnTo>
                  <a:lnTo>
                    <a:pt x="113" y="133"/>
                  </a:lnTo>
                  <a:lnTo>
                    <a:pt x="260" y="189"/>
                  </a:lnTo>
                  <a:lnTo>
                    <a:pt x="299" y="188"/>
                  </a:lnTo>
                  <a:lnTo>
                    <a:pt x="176" y="329"/>
                  </a:lnTo>
                  <a:lnTo>
                    <a:pt x="118" y="332"/>
                  </a:lnTo>
                  <a:lnTo>
                    <a:pt x="79" y="365"/>
                  </a:lnTo>
                  <a:lnTo>
                    <a:pt x="50" y="366"/>
                  </a:lnTo>
                  <a:lnTo>
                    <a:pt x="38" y="380"/>
                  </a:lnTo>
                  <a:lnTo>
                    <a:pt x="0" y="434"/>
                  </a:lnTo>
                  <a:lnTo>
                    <a:pt x="1" y="605"/>
                  </a:lnTo>
                  <a:lnTo>
                    <a:pt x="27" y="643"/>
                  </a:lnTo>
                  <a:lnTo>
                    <a:pt x="37" y="632"/>
                  </a:lnTo>
                  <a:lnTo>
                    <a:pt x="48" y="608"/>
                  </a:lnTo>
                  <a:lnTo>
                    <a:pt x="97" y="551"/>
                  </a:lnTo>
                  <a:lnTo>
                    <a:pt x="139" y="515"/>
                  </a:lnTo>
                  <a:lnTo>
                    <a:pt x="205" y="469"/>
                  </a:lnTo>
                  <a:lnTo>
                    <a:pt x="249" y="430"/>
                  </a:lnTo>
                  <a:lnTo>
                    <a:pt x="301" y="367"/>
                  </a:lnTo>
                  <a:lnTo>
                    <a:pt x="337" y="314"/>
                  </a:lnTo>
                  <a:lnTo>
                    <a:pt x="374" y="245"/>
                  </a:lnTo>
                  <a:lnTo>
                    <a:pt x="399" y="185"/>
                  </a:lnTo>
                  <a:lnTo>
                    <a:pt x="419" y="132"/>
                  </a:lnTo>
                  <a:lnTo>
                    <a:pt x="430" y="81"/>
                  </a:lnTo>
                  <a:lnTo>
                    <a:pt x="438" y="64"/>
                  </a:lnTo>
                  <a:lnTo>
                    <a:pt x="437" y="40"/>
                  </a:lnTo>
                  <a:lnTo>
                    <a:pt x="440" y="13"/>
                  </a:lnTo>
                  <a:lnTo>
                    <a:pt x="438" y="0"/>
                  </a:lnTo>
                  <a:lnTo>
                    <a:pt x="421" y="0"/>
                  </a:lnTo>
                  <a:lnTo>
                    <a:pt x="401" y="16"/>
                  </a:lnTo>
                  <a:lnTo>
                    <a:pt x="378" y="20"/>
                  </a:lnTo>
                  <a:lnTo>
                    <a:pt x="358" y="28"/>
                  </a:lnTo>
                  <a:lnTo>
                    <a:pt x="343" y="29"/>
                  </a:lnTo>
                  <a:lnTo>
                    <a:pt x="343" y="29"/>
                  </a:lnTo>
                  <a:lnTo>
                    <a:pt x="319" y="30"/>
                  </a:lnTo>
                  <a:lnTo>
                    <a:pt x="303" y="39"/>
                  </a:lnTo>
                  <a:lnTo>
                    <a:pt x="281" y="42"/>
                  </a:lnTo>
                  <a:lnTo>
                    <a:pt x="243" y="57"/>
                  </a:lnTo>
                  <a:lnTo>
                    <a:pt x="195" y="62"/>
                  </a:lnTo>
                  <a:lnTo>
                    <a:pt x="153" y="74"/>
                  </a:lnTo>
                  <a:lnTo>
                    <a:pt x="131" y="74"/>
                  </a:lnTo>
                  <a:lnTo>
                    <a:pt x="131" y="74"/>
                  </a:lnTo>
                  <a:close/>
                </a:path>
              </a:pathLst>
            </a:custGeom>
            <a:solidFill>
              <a:schemeClr val="bg2"/>
            </a:solidFill>
            <a:ln w="3175" cap="rnd">
              <a:solidFill>
                <a:schemeClr val="bg1"/>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grpSp>
      <p:grpSp>
        <p:nvGrpSpPr>
          <p:cNvPr id="94" name="Grupo 93">
            <a:extLst>
              <a:ext uri="{FF2B5EF4-FFF2-40B4-BE49-F238E27FC236}">
                <a16:creationId xmlns:a16="http://schemas.microsoft.com/office/drawing/2014/main" id="{12EF0145-02C1-D272-C9B5-ECE19D509545}"/>
              </a:ext>
            </a:extLst>
          </p:cNvPr>
          <p:cNvGrpSpPr/>
          <p:nvPr/>
        </p:nvGrpSpPr>
        <p:grpSpPr>
          <a:xfrm>
            <a:off x="3664759" y="2441760"/>
            <a:ext cx="2017945" cy="1901556"/>
            <a:chOff x="7291812" y="2223515"/>
            <a:chExt cx="2017945" cy="1901556"/>
          </a:xfrm>
        </p:grpSpPr>
        <p:sp>
          <p:nvSpPr>
            <p:cNvPr id="97" name="Etiquette - United Republic of Tanzania">
              <a:extLst>
                <a:ext uri="{FF2B5EF4-FFF2-40B4-BE49-F238E27FC236}">
                  <a16:creationId xmlns:a16="http://schemas.microsoft.com/office/drawing/2014/main" id="{C6BFB333-BCC3-FED3-B50F-329479A07234}"/>
                </a:ext>
              </a:extLst>
            </p:cNvPr>
            <p:cNvSpPr>
              <a:spLocks noChangeAspect="1" noChangeArrowheads="1"/>
            </p:cNvSpPr>
            <p:nvPr>
              <p:custDataLst>
                <p:tags r:id="rId1"/>
              </p:custDataLst>
            </p:nvPr>
          </p:nvSpPr>
          <p:spPr bwMode="auto">
            <a:xfrm>
              <a:off x="8195781" y="3940404"/>
              <a:ext cx="1036050"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Tanzani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98" name="Etiquette - Sudan">
              <a:extLst>
                <a:ext uri="{FF2B5EF4-FFF2-40B4-BE49-F238E27FC236}">
                  <a16:creationId xmlns:a16="http://schemas.microsoft.com/office/drawing/2014/main" id="{D6017DDC-C18D-63A1-5B09-86B24D88CDA3}"/>
                </a:ext>
              </a:extLst>
            </p:cNvPr>
            <p:cNvSpPr>
              <a:spLocks noChangeAspect="1" noChangeArrowheads="1"/>
            </p:cNvSpPr>
            <p:nvPr>
              <p:custDataLst>
                <p:tags r:id="rId2"/>
              </p:custDataLst>
            </p:nvPr>
          </p:nvSpPr>
          <p:spPr bwMode="auto">
            <a:xfrm>
              <a:off x="7763418" y="2223515"/>
              <a:ext cx="9433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20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Sudan</a:t>
              </a:r>
            </a:p>
          </p:txBody>
        </p:sp>
        <p:sp>
          <p:nvSpPr>
            <p:cNvPr id="99" name="Etiquette - The Democratic Republic of the Congo">
              <a:extLst>
                <a:ext uri="{FF2B5EF4-FFF2-40B4-BE49-F238E27FC236}">
                  <a16:creationId xmlns:a16="http://schemas.microsoft.com/office/drawing/2014/main" id="{7C16D134-9E90-E485-0E4D-430548EC88D2}"/>
                </a:ext>
              </a:extLst>
            </p:cNvPr>
            <p:cNvSpPr>
              <a:spLocks noChangeArrowheads="1"/>
            </p:cNvSpPr>
            <p:nvPr>
              <p:custDataLst>
                <p:tags r:id="rId3"/>
              </p:custDataLst>
            </p:nvPr>
          </p:nvSpPr>
          <p:spPr bwMode="auto">
            <a:xfrm>
              <a:off x="7291812" y="3561929"/>
              <a:ext cx="10424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6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Congo</a:t>
              </a:r>
              <a:endParaRPr kumimoji="0" lang="en-US" altLang="fr-FR" sz="3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1" name="Etiquette - Kenya">
              <a:extLst>
                <a:ext uri="{FF2B5EF4-FFF2-40B4-BE49-F238E27FC236}">
                  <a16:creationId xmlns:a16="http://schemas.microsoft.com/office/drawing/2014/main" id="{DB1E76EA-1B3C-66D5-DBAA-7645DAC2B9D7}"/>
                </a:ext>
              </a:extLst>
            </p:cNvPr>
            <p:cNvSpPr>
              <a:spLocks noChangeAspect="1" noChangeArrowheads="1"/>
            </p:cNvSpPr>
            <p:nvPr>
              <p:custDataLst>
                <p:tags r:id="rId4"/>
              </p:custDataLst>
            </p:nvPr>
          </p:nvSpPr>
          <p:spPr bwMode="auto">
            <a:xfrm rot="20793942">
              <a:off x="8699399" y="3451747"/>
              <a:ext cx="610358" cy="18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12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Kenya</a:t>
              </a:r>
              <a:endParaRPr kumimoji="0" lang="en-US" altLang="fr-FR" sz="2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4" name="Etiquette - South Sudan">
              <a:extLst>
                <a:ext uri="{FF2B5EF4-FFF2-40B4-BE49-F238E27FC236}">
                  <a16:creationId xmlns:a16="http://schemas.microsoft.com/office/drawing/2014/main" id="{B7847740-0472-B9D3-243F-95BFE8EFEAE7}"/>
                </a:ext>
              </a:extLst>
            </p:cNvPr>
            <p:cNvSpPr>
              <a:spLocks noChangeArrowheads="1"/>
            </p:cNvSpPr>
            <p:nvPr>
              <p:custDataLst>
                <p:tags r:id="rId5"/>
              </p:custDataLst>
            </p:nvPr>
          </p:nvSpPr>
          <p:spPr bwMode="auto">
            <a:xfrm>
              <a:off x="8047962" y="2874601"/>
              <a:ext cx="607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9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South Sudan</a:t>
              </a:r>
              <a:endParaRPr kumimoji="0" lang="en-US" altLang="fr-FR" sz="14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endParaRPr>
            </a:p>
          </p:txBody>
        </p:sp>
        <p:sp>
          <p:nvSpPr>
            <p:cNvPr id="105" name="Etiquette - Rwanda">
              <a:extLst>
                <a:ext uri="{FF2B5EF4-FFF2-40B4-BE49-F238E27FC236}">
                  <a16:creationId xmlns:a16="http://schemas.microsoft.com/office/drawing/2014/main" id="{300EE7B1-8652-ED5F-C766-AFF5C65D9C67}"/>
                </a:ext>
              </a:extLst>
            </p:cNvPr>
            <p:cNvSpPr>
              <a:spLocks noChangeAspect="1" noChangeArrowheads="1"/>
            </p:cNvSpPr>
            <p:nvPr>
              <p:custDataLst>
                <p:tags r:id="rId6"/>
              </p:custDataLst>
            </p:nvPr>
          </p:nvSpPr>
          <p:spPr bwMode="auto">
            <a:xfrm rot="19291812">
              <a:off x="8037471" y="3426080"/>
              <a:ext cx="99552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fr-FR" sz="800" b="0" i="0" u="none" strike="noStrike" kern="0" cap="none" spc="0" normalizeH="0" baseline="0" noProof="0" dirty="0">
                  <a:ln>
                    <a:noFill/>
                  </a:ln>
                  <a:solidFill>
                    <a:prstClr val="white"/>
                  </a:solidFill>
                  <a:effectLst/>
                  <a:uLnTx/>
                  <a:uFillTx/>
                  <a:latin typeface="Poppins SemiBold" panose="00000700000000000000" pitchFamily="2" charset="0"/>
                  <a:ea typeface="+mn-ea"/>
                  <a:cs typeface="Poppins SemiBold" panose="00000700000000000000" pitchFamily="2" charset="0"/>
                </a:rPr>
                <a:t>Uganda</a:t>
              </a:r>
            </a:p>
          </p:txBody>
        </p:sp>
      </p:grpSp>
      <p:sp>
        <p:nvSpPr>
          <p:cNvPr id="108" name="CuadroTexto 107">
            <a:extLst>
              <a:ext uri="{FF2B5EF4-FFF2-40B4-BE49-F238E27FC236}">
                <a16:creationId xmlns:a16="http://schemas.microsoft.com/office/drawing/2014/main" id="{3CA36075-990C-2D77-8EDD-A2161D527B5C}"/>
              </a:ext>
            </a:extLst>
          </p:cNvPr>
          <p:cNvSpPr txBox="1"/>
          <p:nvPr/>
        </p:nvSpPr>
        <p:spPr>
          <a:xfrm>
            <a:off x="9647187" y="1587291"/>
            <a:ext cx="2089937" cy="25545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Totals</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Sales </a:t>
            </a:r>
            <a:r>
              <a:rPr lang="en-US" sz="3200" dirty="0">
                <a:solidFill>
                  <a:srgbClr val="EC2129"/>
                </a:solidFill>
                <a:latin typeface="Oswald SemiBold" pitchFamily="2" charset="0"/>
                <a:cs typeface="Poppins Light" panose="00000400000000000000" pitchFamily="2" charset="0"/>
              </a:rPr>
              <a:t>Proje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0F142A"/>
                </a:solidFill>
                <a:latin typeface="Oswald SemiBold" pitchFamily="2" charset="0"/>
                <a:cs typeface="Poppins Light" panose="00000400000000000000" pitchFamily="2" charset="0"/>
              </a:rPr>
              <a:t>FOB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rgbClr val="EC2129"/>
                </a:solidFill>
                <a:latin typeface="Oswald SemiBold" pitchFamily="2" charset="0"/>
                <a:cs typeface="Poppins Light" panose="00000400000000000000" pitchFamily="2" charset="0"/>
              </a:rPr>
              <a:t>Prices</a:t>
            </a:r>
          </a:p>
        </p:txBody>
      </p:sp>
      <p:grpSp>
        <p:nvGrpSpPr>
          <p:cNvPr id="109" name="Grupo 108">
            <a:extLst>
              <a:ext uri="{FF2B5EF4-FFF2-40B4-BE49-F238E27FC236}">
                <a16:creationId xmlns:a16="http://schemas.microsoft.com/office/drawing/2014/main" id="{4882AA8B-E1D7-3D88-5EF6-4D748E741C94}"/>
              </a:ext>
            </a:extLst>
          </p:cNvPr>
          <p:cNvGrpSpPr/>
          <p:nvPr/>
        </p:nvGrpSpPr>
        <p:grpSpPr>
          <a:xfrm>
            <a:off x="7310215" y="4532139"/>
            <a:ext cx="1724268" cy="1242388"/>
            <a:chOff x="8461813" y="1714612"/>
            <a:chExt cx="1724268" cy="1242388"/>
          </a:xfrm>
        </p:grpSpPr>
        <p:sp>
          <p:nvSpPr>
            <p:cNvPr id="110" name="Elipse 109">
              <a:extLst>
                <a:ext uri="{FF2B5EF4-FFF2-40B4-BE49-F238E27FC236}">
                  <a16:creationId xmlns:a16="http://schemas.microsoft.com/office/drawing/2014/main" id="{384A537C-1891-A773-9CC9-9AB169747E95}"/>
                </a:ext>
              </a:extLst>
            </p:cNvPr>
            <p:cNvSpPr/>
            <p:nvPr/>
          </p:nvSpPr>
          <p:spPr>
            <a:xfrm>
              <a:off x="8700897" y="1714612"/>
              <a:ext cx="1246100" cy="1242388"/>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CuadroTexto 110">
              <a:extLst>
                <a:ext uri="{FF2B5EF4-FFF2-40B4-BE49-F238E27FC236}">
                  <a16:creationId xmlns:a16="http://schemas.microsoft.com/office/drawing/2014/main" id="{39CBBBC2-7565-5086-3A2B-231982E8FFDB}"/>
                </a:ext>
              </a:extLst>
            </p:cNvPr>
            <p:cNvSpPr txBox="1"/>
            <p:nvPr/>
          </p:nvSpPr>
          <p:spPr>
            <a:xfrm>
              <a:off x="8658703" y="1953646"/>
              <a:ext cx="133048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a:t>
              </a:r>
            </a:p>
          </p:txBody>
        </p:sp>
        <p:sp>
          <p:nvSpPr>
            <p:cNvPr id="112" name="CuadroTexto 111">
              <a:extLst>
                <a:ext uri="{FF2B5EF4-FFF2-40B4-BE49-F238E27FC236}">
                  <a16:creationId xmlns:a16="http://schemas.microsoft.com/office/drawing/2014/main" id="{07E04D0B-1121-4066-58A4-DFEF1562F92B}"/>
                </a:ext>
              </a:extLst>
            </p:cNvPr>
            <p:cNvSpPr txBox="1"/>
            <p:nvPr/>
          </p:nvSpPr>
          <p:spPr>
            <a:xfrm>
              <a:off x="8461813" y="2226225"/>
              <a:ext cx="172426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3.9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3" name="Grupo 112">
            <a:extLst>
              <a:ext uri="{FF2B5EF4-FFF2-40B4-BE49-F238E27FC236}">
                <a16:creationId xmlns:a16="http://schemas.microsoft.com/office/drawing/2014/main" id="{E9D9C6BF-7B11-6377-6C5D-A7DBC6182F11}"/>
              </a:ext>
            </a:extLst>
          </p:cNvPr>
          <p:cNvGrpSpPr/>
          <p:nvPr/>
        </p:nvGrpSpPr>
        <p:grpSpPr>
          <a:xfrm>
            <a:off x="7310215" y="2930195"/>
            <a:ext cx="1724268" cy="1514761"/>
            <a:chOff x="8461813" y="1604016"/>
            <a:chExt cx="1724268" cy="1514761"/>
          </a:xfrm>
        </p:grpSpPr>
        <p:sp>
          <p:nvSpPr>
            <p:cNvPr id="114" name="Elipse 113">
              <a:extLst>
                <a:ext uri="{FF2B5EF4-FFF2-40B4-BE49-F238E27FC236}">
                  <a16:creationId xmlns:a16="http://schemas.microsoft.com/office/drawing/2014/main" id="{0C275537-37AE-1095-BE29-9962D5388A2F}"/>
                </a:ext>
              </a:extLst>
            </p:cNvPr>
            <p:cNvSpPr/>
            <p:nvPr/>
          </p:nvSpPr>
          <p:spPr>
            <a:xfrm>
              <a:off x="8589970" y="1604016"/>
              <a:ext cx="1467954" cy="1463580"/>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CuadroTexto 114">
              <a:extLst>
                <a:ext uri="{FF2B5EF4-FFF2-40B4-BE49-F238E27FC236}">
                  <a16:creationId xmlns:a16="http://schemas.microsoft.com/office/drawing/2014/main" id="{26421E34-8A8E-2BC2-C78C-89A2C2E9EF5E}"/>
                </a:ext>
              </a:extLst>
            </p:cNvPr>
            <p:cNvSpPr txBox="1"/>
            <p:nvPr/>
          </p:nvSpPr>
          <p:spPr>
            <a:xfrm>
              <a:off x="8658703" y="1897862"/>
              <a:ext cx="133048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a:t>
              </a:r>
            </a:p>
          </p:txBody>
        </p:sp>
        <p:sp>
          <p:nvSpPr>
            <p:cNvPr id="116" name="CuadroTexto 115">
              <a:extLst>
                <a:ext uri="{FF2B5EF4-FFF2-40B4-BE49-F238E27FC236}">
                  <a16:creationId xmlns:a16="http://schemas.microsoft.com/office/drawing/2014/main" id="{E4079471-E76C-E429-D3C2-D60F52229DF9}"/>
                </a:ext>
              </a:extLst>
            </p:cNvPr>
            <p:cNvSpPr txBox="1"/>
            <p:nvPr/>
          </p:nvSpPr>
          <p:spPr>
            <a:xfrm>
              <a:off x="8461813" y="2226225"/>
              <a:ext cx="1724268" cy="89255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5.4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grpSp>
        <p:nvGrpSpPr>
          <p:cNvPr id="117" name="Grupo 116">
            <a:extLst>
              <a:ext uri="{FF2B5EF4-FFF2-40B4-BE49-F238E27FC236}">
                <a16:creationId xmlns:a16="http://schemas.microsoft.com/office/drawing/2014/main" id="{D2B79833-CAEB-0B18-DE83-FD75E5EEDD8A}"/>
              </a:ext>
            </a:extLst>
          </p:cNvPr>
          <p:cNvGrpSpPr/>
          <p:nvPr/>
        </p:nvGrpSpPr>
        <p:grpSpPr>
          <a:xfrm>
            <a:off x="7309286" y="1070847"/>
            <a:ext cx="1726126" cy="1720984"/>
            <a:chOff x="8460884" y="1475314"/>
            <a:chExt cx="1726126" cy="1720984"/>
          </a:xfrm>
        </p:grpSpPr>
        <p:sp>
          <p:nvSpPr>
            <p:cNvPr id="118" name="Elipse 117">
              <a:extLst>
                <a:ext uri="{FF2B5EF4-FFF2-40B4-BE49-F238E27FC236}">
                  <a16:creationId xmlns:a16="http://schemas.microsoft.com/office/drawing/2014/main" id="{77DE927E-3400-20F7-9C87-C3CA547AD68E}"/>
                </a:ext>
              </a:extLst>
            </p:cNvPr>
            <p:cNvSpPr/>
            <p:nvPr/>
          </p:nvSpPr>
          <p:spPr>
            <a:xfrm>
              <a:off x="8460884" y="1475314"/>
              <a:ext cx="1726126" cy="1720984"/>
            </a:xfrm>
            <a:prstGeom prst="ellipse">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CuadroTexto 118">
              <a:extLst>
                <a:ext uri="{FF2B5EF4-FFF2-40B4-BE49-F238E27FC236}">
                  <a16:creationId xmlns:a16="http://schemas.microsoft.com/office/drawing/2014/main" id="{2E449AB7-582A-0C8D-8640-9E95C08E7856}"/>
                </a:ext>
              </a:extLst>
            </p:cNvPr>
            <p:cNvSpPr txBox="1"/>
            <p:nvPr/>
          </p:nvSpPr>
          <p:spPr>
            <a:xfrm>
              <a:off x="8500189" y="1874141"/>
              <a:ext cx="1528307"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0" normalizeH="0" baseline="0" noProof="0" dirty="0">
                  <a:ln>
                    <a:noFill/>
                  </a:ln>
                  <a:solidFill>
                    <a:srgbClr val="EC2129"/>
                  </a:solidFill>
                  <a:effectLst/>
                  <a:uLnTx/>
                  <a:uFillTx/>
                  <a:latin typeface="Oswald SemiBold" pitchFamily="2" charset="0"/>
                  <a:ea typeface="+mn-ea"/>
                  <a:cs typeface="Poppins Light" panose="00000400000000000000" pitchFamily="2" charset="0"/>
                </a:rPr>
                <a:t>YEAR III</a:t>
              </a:r>
            </a:p>
          </p:txBody>
        </p:sp>
        <p:sp>
          <p:nvSpPr>
            <p:cNvPr id="120" name="CuadroTexto 119">
              <a:extLst>
                <a:ext uri="{FF2B5EF4-FFF2-40B4-BE49-F238E27FC236}">
                  <a16:creationId xmlns:a16="http://schemas.microsoft.com/office/drawing/2014/main" id="{6F544A42-2555-B439-A59A-763A9BCF6123}"/>
                </a:ext>
              </a:extLst>
            </p:cNvPr>
            <p:cNvSpPr txBox="1"/>
            <p:nvPr/>
          </p:nvSpPr>
          <p:spPr>
            <a:xfrm>
              <a:off x="8461813" y="2226225"/>
              <a:ext cx="1724268"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7.4 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USD</a:t>
              </a:r>
            </a:p>
          </p:txBody>
        </p:sp>
      </p:grpSp>
    </p:spTree>
    <p:extLst>
      <p:ext uri="{BB962C8B-B14F-4D97-AF65-F5344CB8AC3E}">
        <p14:creationId xmlns:p14="http://schemas.microsoft.com/office/powerpoint/2010/main" val="39447836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4978553" y="1188845"/>
            <a:ext cx="3278067" cy="2780503"/>
          </a:xfrm>
          <a:prstGeom prst="rect">
            <a:avLst/>
          </a:prstGeom>
        </p:spPr>
      </p:pic>
      <p:sp>
        <p:nvSpPr>
          <p:cNvPr id="49" name="Rectángulo 48">
            <a:extLst>
              <a:ext uri="{FF2B5EF4-FFF2-40B4-BE49-F238E27FC236}">
                <a16:creationId xmlns:a16="http://schemas.microsoft.com/office/drawing/2014/main" id="{6299D8AD-AE4E-FD6A-8E31-CF53BCD6F033}"/>
              </a:ext>
            </a:extLst>
          </p:cNvPr>
          <p:cNvSpPr/>
          <p:nvPr/>
        </p:nvSpPr>
        <p:spPr>
          <a:xfrm>
            <a:off x="9113219" y="0"/>
            <a:ext cx="1235708" cy="6858000"/>
          </a:xfrm>
          <a:prstGeom prst="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250041" y="348594"/>
            <a:ext cx="383713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Why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Health</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Icon?</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386885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7504839"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41" name="CuadroTexto 40">
            <a:extLst>
              <a:ext uri="{FF2B5EF4-FFF2-40B4-BE49-F238E27FC236}">
                <a16:creationId xmlns:a16="http://schemas.microsoft.com/office/drawing/2014/main" id="{8034C89F-02E8-80A5-3A1A-71EA59F25C0A}"/>
              </a:ext>
            </a:extLst>
          </p:cNvPr>
          <p:cNvSpPr txBox="1"/>
          <p:nvPr/>
        </p:nvSpPr>
        <p:spPr>
          <a:xfrm>
            <a:off x="763204" y="1251671"/>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Solid Financial capabilities</a:t>
            </a:r>
          </a:p>
        </p:txBody>
      </p:sp>
      <p:sp>
        <p:nvSpPr>
          <p:cNvPr id="42" name="CuadroTexto 41">
            <a:extLst>
              <a:ext uri="{FF2B5EF4-FFF2-40B4-BE49-F238E27FC236}">
                <a16:creationId xmlns:a16="http://schemas.microsoft.com/office/drawing/2014/main" id="{A4F2B4FA-9E11-EBFA-331E-7100CB6FFF1C}"/>
              </a:ext>
            </a:extLst>
          </p:cNvPr>
          <p:cNvSpPr txBox="1"/>
          <p:nvPr/>
        </p:nvSpPr>
        <p:spPr>
          <a:xfrm>
            <a:off x="763206" y="1505637"/>
            <a:ext cx="7072632"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200" dirty="0">
                <a:solidFill>
                  <a:srgbClr val="E7E6E6">
                    <a:lumMod val="25000"/>
                  </a:srgbClr>
                </a:solidFill>
                <a:latin typeface="Poppins Light" panose="00000400000000000000" pitchFamily="2" charset="0"/>
                <a:cs typeface="Poppins Light" panose="00000400000000000000" pitchFamily="2" charset="0"/>
              </a:rPr>
              <a:t>A combined 52 MUSD of annual turnover will ensure that all the needed resources will be deployed with no restrains to brand Abdi Ibrahim's’ portfolio in the region.</a:t>
            </a:r>
            <a:endPar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47" name="CuadroTexto 46">
            <a:extLst>
              <a:ext uri="{FF2B5EF4-FFF2-40B4-BE49-F238E27FC236}">
                <a16:creationId xmlns:a16="http://schemas.microsoft.com/office/drawing/2014/main" id="{14F0D458-5BB4-847A-C519-F0816E5452FB}"/>
              </a:ext>
            </a:extLst>
          </p:cNvPr>
          <p:cNvSpPr txBox="1"/>
          <p:nvPr/>
        </p:nvSpPr>
        <p:spPr>
          <a:xfrm>
            <a:off x="763204" y="2239064"/>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Streamline Regulatory Processes</a:t>
            </a:r>
          </a:p>
        </p:txBody>
      </p:sp>
      <p:sp>
        <p:nvSpPr>
          <p:cNvPr id="48" name="CuadroTexto 47">
            <a:extLst>
              <a:ext uri="{FF2B5EF4-FFF2-40B4-BE49-F238E27FC236}">
                <a16:creationId xmlns:a16="http://schemas.microsoft.com/office/drawing/2014/main" id="{997C7CE9-AD47-E3AF-228A-C2551DB9BB44}"/>
              </a:ext>
            </a:extLst>
          </p:cNvPr>
          <p:cNvSpPr txBox="1"/>
          <p:nvPr/>
        </p:nvSpPr>
        <p:spPr>
          <a:xfrm>
            <a:off x="763206" y="2522058"/>
            <a:ext cx="7072632"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implifying the regulatory process as Abdi Ibrahim will need to prepare one master file to be submitted to all the regulatory bodies in the region.</a:t>
            </a:r>
          </a:p>
        </p:txBody>
      </p:sp>
      <p:sp>
        <p:nvSpPr>
          <p:cNvPr id="50" name="CuadroTexto 49">
            <a:extLst>
              <a:ext uri="{FF2B5EF4-FFF2-40B4-BE49-F238E27FC236}">
                <a16:creationId xmlns:a16="http://schemas.microsoft.com/office/drawing/2014/main" id="{216E28E3-2EC9-6686-CAD0-9C8DF0F3EBA1}"/>
              </a:ext>
            </a:extLst>
          </p:cNvPr>
          <p:cNvSpPr txBox="1"/>
          <p:nvPr/>
        </p:nvSpPr>
        <p:spPr>
          <a:xfrm>
            <a:off x="763204" y="3220386"/>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2AEF1"/>
                </a:solidFill>
                <a:latin typeface="Oswald SemiBold" pitchFamily="2" charset="0"/>
                <a:cs typeface="Poppins Light" panose="00000400000000000000" pitchFamily="2" charset="0"/>
              </a:rPr>
              <a:t>Economy Of Scale</a:t>
            </a:r>
            <a:endPar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endParaRPr>
          </a:p>
        </p:txBody>
      </p:sp>
      <p:sp>
        <p:nvSpPr>
          <p:cNvPr id="51" name="CuadroTexto 50">
            <a:extLst>
              <a:ext uri="{FF2B5EF4-FFF2-40B4-BE49-F238E27FC236}">
                <a16:creationId xmlns:a16="http://schemas.microsoft.com/office/drawing/2014/main" id="{0A231543-A554-D1EB-8FF6-D076D4E086F0}"/>
              </a:ext>
            </a:extLst>
          </p:cNvPr>
          <p:cNvSpPr txBox="1"/>
          <p:nvPr/>
        </p:nvSpPr>
        <p:spPr>
          <a:xfrm>
            <a:off x="763206" y="3517894"/>
            <a:ext cx="7072632"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Rather than having to approach fragmented small-scale markets, Abdi Ibrahim will receive consolidated payments versus consolidated orders ensuring optimal profitability and simplified production and operational procedures.</a:t>
            </a:r>
          </a:p>
        </p:txBody>
      </p:sp>
      <p:sp>
        <p:nvSpPr>
          <p:cNvPr id="5" name="CuadroTexto 4">
            <a:extLst>
              <a:ext uri="{FF2B5EF4-FFF2-40B4-BE49-F238E27FC236}">
                <a16:creationId xmlns:a16="http://schemas.microsoft.com/office/drawing/2014/main" id="{08648D78-077B-2B81-2084-39977AD7FE99}"/>
              </a:ext>
            </a:extLst>
          </p:cNvPr>
          <p:cNvSpPr txBox="1"/>
          <p:nvPr/>
        </p:nvSpPr>
        <p:spPr>
          <a:xfrm>
            <a:off x="763204" y="4414580"/>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We Lead</a:t>
            </a:r>
            <a:r>
              <a:rPr lang="en-US" sz="1600" dirty="0">
                <a:solidFill>
                  <a:srgbClr val="02AEF1"/>
                </a:solidFill>
                <a:latin typeface="Oswald SemiBold" pitchFamily="2" charset="0"/>
                <a:cs typeface="Poppins Light" panose="00000400000000000000" pitchFamily="2" charset="0"/>
              </a:rPr>
              <a:t>, We Do Not Follow</a:t>
            </a:r>
            <a:endPar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endParaRPr>
          </a:p>
        </p:txBody>
      </p:sp>
      <p:sp>
        <p:nvSpPr>
          <p:cNvPr id="37" name="CuadroTexto 36">
            <a:extLst>
              <a:ext uri="{FF2B5EF4-FFF2-40B4-BE49-F238E27FC236}">
                <a16:creationId xmlns:a16="http://schemas.microsoft.com/office/drawing/2014/main" id="{14A03FFF-2F1C-118F-8E01-67EA5B07337F}"/>
              </a:ext>
            </a:extLst>
          </p:cNvPr>
          <p:cNvSpPr txBox="1"/>
          <p:nvPr/>
        </p:nvSpPr>
        <p:spPr>
          <a:xfrm>
            <a:off x="763206" y="4668546"/>
            <a:ext cx="7072632"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is fully focused on marketing and promotion. We monitor the trends, create demand and capture untapped opportunities. </a:t>
            </a:r>
          </a:p>
        </p:txBody>
      </p:sp>
      <p:sp>
        <p:nvSpPr>
          <p:cNvPr id="38" name="CuadroTexto 37">
            <a:extLst>
              <a:ext uri="{FF2B5EF4-FFF2-40B4-BE49-F238E27FC236}">
                <a16:creationId xmlns:a16="http://schemas.microsoft.com/office/drawing/2014/main" id="{B1538C19-CB60-A64B-772A-2DEC5E06D670}"/>
              </a:ext>
            </a:extLst>
          </p:cNvPr>
          <p:cNvSpPr txBox="1"/>
          <p:nvPr/>
        </p:nvSpPr>
        <p:spPr>
          <a:xfrm>
            <a:off x="763204" y="5376550"/>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2AEF1"/>
                </a:solidFill>
                <a:latin typeface="Oswald SemiBold" pitchFamily="2" charset="0"/>
                <a:cs typeface="Poppins Light" panose="00000400000000000000" pitchFamily="2" charset="0"/>
              </a:rPr>
              <a:t>Private Market based objectives</a:t>
            </a: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 </a:t>
            </a:r>
          </a:p>
        </p:txBody>
      </p:sp>
      <p:sp>
        <p:nvSpPr>
          <p:cNvPr id="40" name="CuadroTexto 39">
            <a:extLst>
              <a:ext uri="{FF2B5EF4-FFF2-40B4-BE49-F238E27FC236}">
                <a16:creationId xmlns:a16="http://schemas.microsoft.com/office/drawing/2014/main" id="{245FB7F2-7DC5-2E98-BF8C-D4F98BC11ACD}"/>
              </a:ext>
            </a:extLst>
          </p:cNvPr>
          <p:cNvSpPr txBox="1"/>
          <p:nvPr/>
        </p:nvSpPr>
        <p:spPr>
          <a:xfrm>
            <a:off x="763206" y="5630514"/>
            <a:ext cx="7072632"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will be the master of its own fate as sales will be driven by strong marketing. Tender business will </a:t>
            </a:r>
            <a:r>
              <a:rPr lang="en-US" sz="1200" dirty="0">
                <a:solidFill>
                  <a:srgbClr val="E7E6E6">
                    <a:lumMod val="25000"/>
                  </a:srgbClr>
                </a:solidFill>
                <a:latin typeface="Poppins Light" panose="00000400000000000000" pitchFamily="2" charset="0"/>
                <a:cs typeface="Poppins Light" panose="00000400000000000000" pitchFamily="2" charset="0"/>
              </a:rPr>
              <a:t>allow us to add sales that are</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over and above </a:t>
            </a:r>
            <a:r>
              <a:rPr lang="en-US" sz="1200" dirty="0">
                <a:solidFill>
                  <a:srgbClr val="E7E6E6">
                    <a:lumMod val="25000"/>
                  </a:srgbClr>
                </a:solidFill>
                <a:latin typeface="Poppins Light" panose="00000400000000000000" pitchFamily="2" charset="0"/>
                <a:cs typeface="Poppins Light" panose="00000400000000000000" pitchFamily="2" charset="0"/>
              </a:rPr>
              <a:t>the</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budgets.</a:t>
            </a:r>
          </a:p>
        </p:txBody>
      </p:sp>
      <p:pic>
        <p:nvPicPr>
          <p:cNvPr id="46" name="Imagen 45" descr="Personas sentadas alrededor de una mesa&#10;&#10;Descripción generada automáticamente con confianza media">
            <a:extLst>
              <a:ext uri="{FF2B5EF4-FFF2-40B4-BE49-F238E27FC236}">
                <a16:creationId xmlns:a16="http://schemas.microsoft.com/office/drawing/2014/main" id="{828815BE-CF8B-74E2-BF6A-8FB13924AF7E}"/>
              </a:ext>
            </a:extLst>
          </p:cNvPr>
          <p:cNvPicPr>
            <a:picLocks noChangeAspect="1"/>
          </p:cNvPicPr>
          <p:nvPr/>
        </p:nvPicPr>
        <p:blipFill rotWithShape="1">
          <a:blip r:embed="rId4">
            <a:extLst>
              <a:ext uri="{28A0092B-C50C-407E-A947-70E740481C1C}">
                <a14:useLocalDpi xmlns:a14="http://schemas.microsoft.com/office/drawing/2010/main" val="0"/>
              </a:ext>
            </a:extLst>
          </a:blip>
          <a:srcRect l="1554" r="1984"/>
          <a:stretch/>
        </p:blipFill>
        <p:spPr>
          <a:xfrm>
            <a:off x="8059944" y="701438"/>
            <a:ext cx="3507216" cy="5455124"/>
          </a:xfrm>
          <a:prstGeom prst="round2DiagRect">
            <a:avLst/>
          </a:prstGeom>
          <a:solidFill>
            <a:schemeClr val="bg1"/>
          </a:solidFill>
          <a:ln>
            <a:noFill/>
          </a:ln>
          <a:effectLst>
            <a:outerShdw blurRad="381000" dist="381000" dir="2700000" algn="tl" rotWithShape="0">
              <a:prstClr val="black">
                <a:alpha val="20000"/>
              </a:prstClr>
            </a:outerShdw>
          </a:effectLst>
        </p:spPr>
      </p:pic>
      <p:grpSp>
        <p:nvGrpSpPr>
          <p:cNvPr id="61" name="Grupo 60">
            <a:extLst>
              <a:ext uri="{FF2B5EF4-FFF2-40B4-BE49-F238E27FC236}">
                <a16:creationId xmlns:a16="http://schemas.microsoft.com/office/drawing/2014/main" id="{58D309A1-19EA-03D1-555A-3BE1C5AC1E2A}"/>
              </a:ext>
            </a:extLst>
          </p:cNvPr>
          <p:cNvGrpSpPr/>
          <p:nvPr/>
        </p:nvGrpSpPr>
        <p:grpSpPr>
          <a:xfrm>
            <a:off x="573770" y="1342665"/>
            <a:ext cx="162972" cy="162972"/>
            <a:chOff x="3515360" y="848360"/>
            <a:chExt cx="5161280" cy="5161280"/>
          </a:xfrm>
        </p:grpSpPr>
        <p:sp>
          <p:nvSpPr>
            <p:cNvPr id="59" name="Forma libre: forma 58">
              <a:extLst>
                <a:ext uri="{FF2B5EF4-FFF2-40B4-BE49-F238E27FC236}">
                  <a16:creationId xmlns:a16="http://schemas.microsoft.com/office/drawing/2014/main" id="{1851DDC9-26A3-13A7-D2B8-7E273D80A6C6}"/>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orma libre: forma 59">
              <a:extLst>
                <a:ext uri="{FF2B5EF4-FFF2-40B4-BE49-F238E27FC236}">
                  <a16:creationId xmlns:a16="http://schemas.microsoft.com/office/drawing/2014/main" id="{62C28A0D-F4D9-2CAE-A736-5ADF55E41A5C}"/>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2" name="Grupo 61">
            <a:extLst>
              <a:ext uri="{FF2B5EF4-FFF2-40B4-BE49-F238E27FC236}">
                <a16:creationId xmlns:a16="http://schemas.microsoft.com/office/drawing/2014/main" id="{149013FE-5AFF-3DF8-CAF1-79518681F429}"/>
              </a:ext>
            </a:extLst>
          </p:cNvPr>
          <p:cNvGrpSpPr/>
          <p:nvPr/>
        </p:nvGrpSpPr>
        <p:grpSpPr>
          <a:xfrm>
            <a:off x="573770" y="2329954"/>
            <a:ext cx="162972" cy="162972"/>
            <a:chOff x="3515360" y="848360"/>
            <a:chExt cx="5161280" cy="5161280"/>
          </a:xfrm>
        </p:grpSpPr>
        <p:sp>
          <p:nvSpPr>
            <p:cNvPr id="63" name="Forma libre: forma 62">
              <a:extLst>
                <a:ext uri="{FF2B5EF4-FFF2-40B4-BE49-F238E27FC236}">
                  <a16:creationId xmlns:a16="http://schemas.microsoft.com/office/drawing/2014/main" id="{FA180943-4FE3-803B-F3D7-9A8138E60DF3}"/>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orma libre: forma 63">
              <a:extLst>
                <a:ext uri="{FF2B5EF4-FFF2-40B4-BE49-F238E27FC236}">
                  <a16:creationId xmlns:a16="http://schemas.microsoft.com/office/drawing/2014/main" id="{B9530B6E-E26C-220A-2BC3-9838085D2F10}"/>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 name="Grupo 64">
            <a:extLst>
              <a:ext uri="{FF2B5EF4-FFF2-40B4-BE49-F238E27FC236}">
                <a16:creationId xmlns:a16="http://schemas.microsoft.com/office/drawing/2014/main" id="{4C1BE75E-3D77-6C04-E9BA-FC19793195AE}"/>
              </a:ext>
            </a:extLst>
          </p:cNvPr>
          <p:cNvGrpSpPr/>
          <p:nvPr/>
        </p:nvGrpSpPr>
        <p:grpSpPr>
          <a:xfrm>
            <a:off x="573770" y="3283371"/>
            <a:ext cx="162972" cy="162972"/>
            <a:chOff x="3515360" y="848360"/>
            <a:chExt cx="5161280" cy="5161280"/>
          </a:xfrm>
        </p:grpSpPr>
        <p:sp>
          <p:nvSpPr>
            <p:cNvPr id="66" name="Forma libre: forma 65">
              <a:extLst>
                <a:ext uri="{FF2B5EF4-FFF2-40B4-BE49-F238E27FC236}">
                  <a16:creationId xmlns:a16="http://schemas.microsoft.com/office/drawing/2014/main" id="{D7B78727-48A1-6720-4EFA-EAA50F29614C}"/>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orma libre: forma 66">
              <a:extLst>
                <a:ext uri="{FF2B5EF4-FFF2-40B4-BE49-F238E27FC236}">
                  <a16:creationId xmlns:a16="http://schemas.microsoft.com/office/drawing/2014/main" id="{5FE84A25-5DB3-89A5-AB3F-01CF09DB990F}"/>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Grupo 67">
            <a:extLst>
              <a:ext uri="{FF2B5EF4-FFF2-40B4-BE49-F238E27FC236}">
                <a16:creationId xmlns:a16="http://schemas.microsoft.com/office/drawing/2014/main" id="{FE98DE5C-B569-7648-E2FB-99A95A883F43}"/>
              </a:ext>
            </a:extLst>
          </p:cNvPr>
          <p:cNvGrpSpPr/>
          <p:nvPr/>
        </p:nvGrpSpPr>
        <p:grpSpPr>
          <a:xfrm>
            <a:off x="573770" y="4488988"/>
            <a:ext cx="162972" cy="162972"/>
            <a:chOff x="3515360" y="848360"/>
            <a:chExt cx="5161280" cy="5161280"/>
          </a:xfrm>
        </p:grpSpPr>
        <p:sp>
          <p:nvSpPr>
            <p:cNvPr id="69" name="Forma libre: forma 68">
              <a:extLst>
                <a:ext uri="{FF2B5EF4-FFF2-40B4-BE49-F238E27FC236}">
                  <a16:creationId xmlns:a16="http://schemas.microsoft.com/office/drawing/2014/main" id="{E142AA1A-CBF6-A50F-7D1C-5C8A68AE099F}"/>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orma libre: forma 69">
              <a:extLst>
                <a:ext uri="{FF2B5EF4-FFF2-40B4-BE49-F238E27FC236}">
                  <a16:creationId xmlns:a16="http://schemas.microsoft.com/office/drawing/2014/main" id="{7036A78D-86D0-F3DE-6CEA-E8BF2C2BDD4B}"/>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 name="Grupo 70">
            <a:extLst>
              <a:ext uri="{FF2B5EF4-FFF2-40B4-BE49-F238E27FC236}">
                <a16:creationId xmlns:a16="http://schemas.microsoft.com/office/drawing/2014/main" id="{610F0965-1706-DF2F-6AF3-5616EFFFC780}"/>
              </a:ext>
            </a:extLst>
          </p:cNvPr>
          <p:cNvGrpSpPr/>
          <p:nvPr/>
        </p:nvGrpSpPr>
        <p:grpSpPr>
          <a:xfrm>
            <a:off x="573770" y="5462382"/>
            <a:ext cx="162972" cy="162972"/>
            <a:chOff x="3515360" y="848360"/>
            <a:chExt cx="5161280" cy="5161280"/>
          </a:xfrm>
        </p:grpSpPr>
        <p:sp>
          <p:nvSpPr>
            <p:cNvPr id="72" name="Forma libre: forma 71">
              <a:extLst>
                <a:ext uri="{FF2B5EF4-FFF2-40B4-BE49-F238E27FC236}">
                  <a16:creationId xmlns:a16="http://schemas.microsoft.com/office/drawing/2014/main" id="{C1460689-E8A4-9C10-CB73-1558BCA4D847}"/>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orma libre: forma 73">
              <a:extLst>
                <a:ext uri="{FF2B5EF4-FFF2-40B4-BE49-F238E27FC236}">
                  <a16:creationId xmlns:a16="http://schemas.microsoft.com/office/drawing/2014/main" id="{7A26E4B3-2183-F5BB-FDD0-E1E16F48EF15}"/>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411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4978553" y="1188845"/>
            <a:ext cx="3278067" cy="2780503"/>
          </a:xfrm>
          <a:prstGeom prst="rect">
            <a:avLst/>
          </a:prstGeom>
        </p:spPr>
      </p:pic>
      <p:sp>
        <p:nvSpPr>
          <p:cNvPr id="49" name="Rectángulo 48">
            <a:extLst>
              <a:ext uri="{FF2B5EF4-FFF2-40B4-BE49-F238E27FC236}">
                <a16:creationId xmlns:a16="http://schemas.microsoft.com/office/drawing/2014/main" id="{6299D8AD-AE4E-FD6A-8E31-CF53BCD6F033}"/>
              </a:ext>
            </a:extLst>
          </p:cNvPr>
          <p:cNvSpPr/>
          <p:nvPr/>
        </p:nvSpPr>
        <p:spPr>
          <a:xfrm>
            <a:off x="9113219" y="0"/>
            <a:ext cx="1235708" cy="6858000"/>
          </a:xfrm>
          <a:prstGeom prst="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250041" y="348594"/>
            <a:ext cx="383713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Why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Health</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Icon?</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386885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7504839"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41" name="CuadroTexto 40">
            <a:extLst>
              <a:ext uri="{FF2B5EF4-FFF2-40B4-BE49-F238E27FC236}">
                <a16:creationId xmlns:a16="http://schemas.microsoft.com/office/drawing/2014/main" id="{8034C89F-02E8-80A5-3A1A-71EA59F25C0A}"/>
              </a:ext>
            </a:extLst>
          </p:cNvPr>
          <p:cNvSpPr txBox="1"/>
          <p:nvPr/>
        </p:nvSpPr>
        <p:spPr>
          <a:xfrm>
            <a:off x="763204" y="1251671"/>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Transparency  </a:t>
            </a:r>
          </a:p>
        </p:txBody>
      </p:sp>
      <p:sp>
        <p:nvSpPr>
          <p:cNvPr id="42" name="CuadroTexto 41">
            <a:extLst>
              <a:ext uri="{FF2B5EF4-FFF2-40B4-BE49-F238E27FC236}">
                <a16:creationId xmlns:a16="http://schemas.microsoft.com/office/drawing/2014/main" id="{A4F2B4FA-9E11-EBFA-331E-7100CB6FFF1C}"/>
              </a:ext>
            </a:extLst>
          </p:cNvPr>
          <p:cNvSpPr txBox="1"/>
          <p:nvPr/>
        </p:nvSpPr>
        <p:spPr>
          <a:xfrm>
            <a:off x="763206" y="1505637"/>
            <a:ext cx="7072632"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200" dirty="0">
                <a:solidFill>
                  <a:srgbClr val="E7E6E6">
                    <a:lumMod val="25000"/>
                  </a:srgbClr>
                </a:solidFill>
                <a:latin typeface="Poppins Light" panose="00000400000000000000" pitchFamily="2" charset="0"/>
                <a:cs typeface="Poppins Light" panose="00000400000000000000" pitchFamily="2" charset="0"/>
              </a:rPr>
              <a:t>Risk free business model by  which Abdi Ibrahim will be the sole owner of the MA’s and will not bare any hidden costs. Reimbursement of regulatory cost will only be due after actual commercialization of the portfolio in the form of free of charge goods.</a:t>
            </a:r>
            <a:endPar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sp>
        <p:nvSpPr>
          <p:cNvPr id="50" name="CuadroTexto 49">
            <a:extLst>
              <a:ext uri="{FF2B5EF4-FFF2-40B4-BE49-F238E27FC236}">
                <a16:creationId xmlns:a16="http://schemas.microsoft.com/office/drawing/2014/main" id="{216E28E3-2EC9-6686-CAD0-9C8DF0F3EBA1}"/>
              </a:ext>
            </a:extLst>
          </p:cNvPr>
          <p:cNvSpPr txBox="1"/>
          <p:nvPr/>
        </p:nvSpPr>
        <p:spPr>
          <a:xfrm>
            <a:off x="763204" y="2470486"/>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2AEF1"/>
                </a:solidFill>
                <a:latin typeface="Oswald SemiBold" pitchFamily="2" charset="0"/>
                <a:cs typeface="Poppins Light" panose="00000400000000000000" pitchFamily="2" charset="0"/>
              </a:rPr>
              <a:t>Market Diversity </a:t>
            </a:r>
            <a:endPar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endParaRPr>
          </a:p>
        </p:txBody>
      </p:sp>
      <p:sp>
        <p:nvSpPr>
          <p:cNvPr id="51" name="CuadroTexto 50">
            <a:extLst>
              <a:ext uri="{FF2B5EF4-FFF2-40B4-BE49-F238E27FC236}">
                <a16:creationId xmlns:a16="http://schemas.microsoft.com/office/drawing/2014/main" id="{0A231543-A554-D1EB-8FF6-D076D4E086F0}"/>
              </a:ext>
            </a:extLst>
          </p:cNvPr>
          <p:cNvSpPr txBox="1"/>
          <p:nvPr/>
        </p:nvSpPr>
        <p:spPr>
          <a:xfrm>
            <a:off x="763206" y="2767994"/>
            <a:ext cx="7072632"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Safety in numbers. As we operate in 6 markets at once, this approach will minimize the negative effect of any challenges that the project may encounter down the road. As there may be risks, there will be opportunities as well.</a:t>
            </a:r>
          </a:p>
        </p:txBody>
      </p:sp>
      <p:sp>
        <p:nvSpPr>
          <p:cNvPr id="5" name="CuadroTexto 4">
            <a:extLst>
              <a:ext uri="{FF2B5EF4-FFF2-40B4-BE49-F238E27FC236}">
                <a16:creationId xmlns:a16="http://schemas.microsoft.com/office/drawing/2014/main" id="{08648D78-077B-2B81-2084-39977AD7FE99}"/>
              </a:ext>
            </a:extLst>
          </p:cNvPr>
          <p:cNvSpPr txBox="1"/>
          <p:nvPr/>
        </p:nvSpPr>
        <p:spPr>
          <a:xfrm>
            <a:off x="763204" y="3708223"/>
            <a:ext cx="691896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2AEF1"/>
                </a:solidFill>
                <a:latin typeface="Oswald SemiBold" pitchFamily="2" charset="0"/>
                <a:cs typeface="Poppins Light" panose="00000400000000000000" pitchFamily="2" charset="0"/>
              </a:rPr>
              <a:t>Versatility </a:t>
            </a:r>
            <a:endPar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endParaRPr>
          </a:p>
        </p:txBody>
      </p:sp>
      <p:sp>
        <p:nvSpPr>
          <p:cNvPr id="37" name="CuadroTexto 36">
            <a:extLst>
              <a:ext uri="{FF2B5EF4-FFF2-40B4-BE49-F238E27FC236}">
                <a16:creationId xmlns:a16="http://schemas.microsoft.com/office/drawing/2014/main" id="{14A03FFF-2F1C-118F-8E01-67EA5B07337F}"/>
              </a:ext>
            </a:extLst>
          </p:cNvPr>
          <p:cNvSpPr txBox="1"/>
          <p:nvPr/>
        </p:nvSpPr>
        <p:spPr>
          <a:xfrm>
            <a:off x="763206" y="3962189"/>
            <a:ext cx="7072632" cy="62017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a:t>
            </a:r>
            <a:r>
              <a:rPr lang="en-US" sz="1200" dirty="0">
                <a:solidFill>
                  <a:srgbClr val="E7E6E6">
                    <a:lumMod val="25000"/>
                  </a:srgbClr>
                </a:solidFill>
                <a:latin typeface="Poppins Light" panose="00000400000000000000" pitchFamily="2" charset="0"/>
                <a:cs typeface="Poppins Light" panose="00000400000000000000" pitchFamily="2" charset="0"/>
              </a:rPr>
              <a:t>has strong presence in other major markets in the region which will allow us to present Abdi Ibrahim with new growth opportunities.</a:t>
            </a:r>
            <a:endPar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p:txBody>
      </p:sp>
      <p:pic>
        <p:nvPicPr>
          <p:cNvPr id="46" name="Imagen 45" descr="Personas sentadas alrededor de una mesa&#10;&#10;Descripción generada automáticamente con confianza media">
            <a:extLst>
              <a:ext uri="{FF2B5EF4-FFF2-40B4-BE49-F238E27FC236}">
                <a16:creationId xmlns:a16="http://schemas.microsoft.com/office/drawing/2014/main" id="{828815BE-CF8B-74E2-BF6A-8FB13924AF7E}"/>
              </a:ext>
            </a:extLst>
          </p:cNvPr>
          <p:cNvPicPr>
            <a:picLocks noChangeAspect="1"/>
          </p:cNvPicPr>
          <p:nvPr/>
        </p:nvPicPr>
        <p:blipFill rotWithShape="1">
          <a:blip r:embed="rId4">
            <a:extLst>
              <a:ext uri="{28A0092B-C50C-407E-A947-70E740481C1C}">
                <a14:useLocalDpi xmlns:a14="http://schemas.microsoft.com/office/drawing/2010/main" val="0"/>
              </a:ext>
            </a:extLst>
          </a:blip>
          <a:srcRect l="1554" r="1984"/>
          <a:stretch/>
        </p:blipFill>
        <p:spPr>
          <a:xfrm>
            <a:off x="8059944" y="701438"/>
            <a:ext cx="3507216" cy="5455124"/>
          </a:xfrm>
          <a:prstGeom prst="round2DiagRect">
            <a:avLst/>
          </a:prstGeom>
          <a:solidFill>
            <a:schemeClr val="bg1"/>
          </a:solidFill>
          <a:ln>
            <a:noFill/>
          </a:ln>
          <a:effectLst>
            <a:outerShdw blurRad="381000" dist="381000" dir="2700000" algn="tl" rotWithShape="0">
              <a:prstClr val="black">
                <a:alpha val="20000"/>
              </a:prstClr>
            </a:outerShdw>
          </a:effectLst>
        </p:spPr>
      </p:pic>
      <p:grpSp>
        <p:nvGrpSpPr>
          <p:cNvPr id="61" name="Grupo 60">
            <a:extLst>
              <a:ext uri="{FF2B5EF4-FFF2-40B4-BE49-F238E27FC236}">
                <a16:creationId xmlns:a16="http://schemas.microsoft.com/office/drawing/2014/main" id="{58D309A1-19EA-03D1-555A-3BE1C5AC1E2A}"/>
              </a:ext>
            </a:extLst>
          </p:cNvPr>
          <p:cNvGrpSpPr/>
          <p:nvPr/>
        </p:nvGrpSpPr>
        <p:grpSpPr>
          <a:xfrm>
            <a:off x="573770" y="1342665"/>
            <a:ext cx="162972" cy="162972"/>
            <a:chOff x="3515360" y="848360"/>
            <a:chExt cx="5161280" cy="5161280"/>
          </a:xfrm>
        </p:grpSpPr>
        <p:sp>
          <p:nvSpPr>
            <p:cNvPr id="59" name="Forma libre: forma 58">
              <a:extLst>
                <a:ext uri="{FF2B5EF4-FFF2-40B4-BE49-F238E27FC236}">
                  <a16:creationId xmlns:a16="http://schemas.microsoft.com/office/drawing/2014/main" id="{1851DDC9-26A3-13A7-D2B8-7E273D80A6C6}"/>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orma libre: forma 59">
              <a:extLst>
                <a:ext uri="{FF2B5EF4-FFF2-40B4-BE49-F238E27FC236}">
                  <a16:creationId xmlns:a16="http://schemas.microsoft.com/office/drawing/2014/main" id="{62C28A0D-F4D9-2CAE-A736-5ADF55E41A5C}"/>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 name="Grupo 64">
            <a:extLst>
              <a:ext uri="{FF2B5EF4-FFF2-40B4-BE49-F238E27FC236}">
                <a16:creationId xmlns:a16="http://schemas.microsoft.com/office/drawing/2014/main" id="{4C1BE75E-3D77-6C04-E9BA-FC19793195AE}"/>
              </a:ext>
            </a:extLst>
          </p:cNvPr>
          <p:cNvGrpSpPr/>
          <p:nvPr/>
        </p:nvGrpSpPr>
        <p:grpSpPr>
          <a:xfrm>
            <a:off x="573770" y="2533471"/>
            <a:ext cx="162972" cy="162972"/>
            <a:chOff x="3515360" y="848360"/>
            <a:chExt cx="5161280" cy="5161280"/>
          </a:xfrm>
        </p:grpSpPr>
        <p:sp>
          <p:nvSpPr>
            <p:cNvPr id="66" name="Forma libre: forma 65">
              <a:extLst>
                <a:ext uri="{FF2B5EF4-FFF2-40B4-BE49-F238E27FC236}">
                  <a16:creationId xmlns:a16="http://schemas.microsoft.com/office/drawing/2014/main" id="{D7B78727-48A1-6720-4EFA-EAA50F29614C}"/>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orma libre: forma 66">
              <a:extLst>
                <a:ext uri="{FF2B5EF4-FFF2-40B4-BE49-F238E27FC236}">
                  <a16:creationId xmlns:a16="http://schemas.microsoft.com/office/drawing/2014/main" id="{5FE84A25-5DB3-89A5-AB3F-01CF09DB990F}"/>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Grupo 67">
            <a:extLst>
              <a:ext uri="{FF2B5EF4-FFF2-40B4-BE49-F238E27FC236}">
                <a16:creationId xmlns:a16="http://schemas.microsoft.com/office/drawing/2014/main" id="{FE98DE5C-B569-7648-E2FB-99A95A883F43}"/>
              </a:ext>
            </a:extLst>
          </p:cNvPr>
          <p:cNvGrpSpPr/>
          <p:nvPr/>
        </p:nvGrpSpPr>
        <p:grpSpPr>
          <a:xfrm>
            <a:off x="573770" y="3782631"/>
            <a:ext cx="162972" cy="162972"/>
            <a:chOff x="3515360" y="848360"/>
            <a:chExt cx="5161280" cy="5161280"/>
          </a:xfrm>
        </p:grpSpPr>
        <p:sp>
          <p:nvSpPr>
            <p:cNvPr id="69" name="Forma libre: forma 68">
              <a:extLst>
                <a:ext uri="{FF2B5EF4-FFF2-40B4-BE49-F238E27FC236}">
                  <a16:creationId xmlns:a16="http://schemas.microsoft.com/office/drawing/2014/main" id="{E142AA1A-CBF6-A50F-7D1C-5C8A68AE099F}"/>
                </a:ext>
              </a:extLst>
            </p:cNvPr>
            <p:cNvSpPr/>
            <p:nvPr/>
          </p:nvSpPr>
          <p:spPr>
            <a:xfrm>
              <a:off x="3515360" y="848360"/>
              <a:ext cx="5161280" cy="5161280"/>
            </a:xfrm>
            <a:custGeom>
              <a:avLst/>
              <a:gdLst>
                <a:gd name="connsiteX0" fmla="*/ 6000750 w 6000750"/>
                <a:gd name="connsiteY0" fmla="*/ 3000375 h 6000750"/>
                <a:gd name="connsiteX1" fmla="*/ 3000375 w 6000750"/>
                <a:gd name="connsiteY1" fmla="*/ 6000750 h 6000750"/>
                <a:gd name="connsiteX2" fmla="*/ 0 w 6000750"/>
                <a:gd name="connsiteY2" fmla="*/ 3000375 h 6000750"/>
                <a:gd name="connsiteX3" fmla="*/ 3000375 w 6000750"/>
                <a:gd name="connsiteY3" fmla="*/ 0 h 6000750"/>
                <a:gd name="connsiteX4" fmla="*/ 6000750 w 6000750"/>
                <a:gd name="connsiteY4" fmla="*/ 3000375 h 600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0" h="6000750">
                  <a:moveTo>
                    <a:pt x="6000750" y="3000375"/>
                  </a:moveTo>
                  <a:cubicBezTo>
                    <a:pt x="6000750" y="4657437"/>
                    <a:pt x="4657437" y="6000750"/>
                    <a:pt x="3000375" y="6000750"/>
                  </a:cubicBezTo>
                  <a:cubicBezTo>
                    <a:pt x="1343314" y="6000750"/>
                    <a:pt x="0" y="4657437"/>
                    <a:pt x="0" y="3000375"/>
                  </a:cubicBezTo>
                  <a:cubicBezTo>
                    <a:pt x="0" y="1343314"/>
                    <a:pt x="1343314" y="0"/>
                    <a:pt x="3000375" y="0"/>
                  </a:cubicBezTo>
                  <a:cubicBezTo>
                    <a:pt x="4657437" y="0"/>
                    <a:pt x="6000750" y="1343314"/>
                    <a:pt x="6000750" y="3000375"/>
                  </a:cubicBezTo>
                  <a:close/>
                </a:path>
              </a:pathLst>
            </a:custGeom>
            <a:solidFill>
              <a:srgbClr val="0F142A"/>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orma libre: forma 69">
              <a:extLst>
                <a:ext uri="{FF2B5EF4-FFF2-40B4-BE49-F238E27FC236}">
                  <a16:creationId xmlns:a16="http://schemas.microsoft.com/office/drawing/2014/main" id="{7036A78D-86D0-F3DE-6CEA-E8BF2C2BDD4B}"/>
                </a:ext>
              </a:extLst>
            </p:cNvPr>
            <p:cNvSpPr/>
            <p:nvPr/>
          </p:nvSpPr>
          <p:spPr>
            <a:xfrm>
              <a:off x="4673495" y="2437219"/>
              <a:ext cx="2847432" cy="1991944"/>
            </a:xfrm>
            <a:custGeom>
              <a:avLst/>
              <a:gdLst>
                <a:gd name="connsiteX0" fmla="*/ 1049601 w 2847432"/>
                <a:gd name="connsiteY0" fmla="*/ 1991906 h 1991944"/>
                <a:gd name="connsiteX1" fmla="*/ 851005 w 2847432"/>
                <a:gd name="connsiteY1" fmla="*/ 1906181 h 1991944"/>
                <a:gd name="connsiteX2" fmla="*/ 80908 w 2847432"/>
                <a:gd name="connsiteY2" fmla="*/ 1116082 h 1991944"/>
                <a:gd name="connsiteX3" fmla="*/ 86623 w 2847432"/>
                <a:gd name="connsiteY3" fmla="*/ 711746 h 1991944"/>
                <a:gd name="connsiteX4" fmla="*/ 490960 w 2847432"/>
                <a:gd name="connsiteY4" fmla="*/ 717461 h 1991944"/>
                <a:gd name="connsiteX5" fmla="*/ 1062460 w 2847432"/>
                <a:gd name="connsiteY5" fmla="*/ 1306106 h 1991944"/>
                <a:gd name="connsiteX6" fmla="*/ 2374052 w 2847432"/>
                <a:gd name="connsiteY6" fmla="*/ 70237 h 1991944"/>
                <a:gd name="connsiteX7" fmla="*/ 2777203 w 2847432"/>
                <a:gd name="connsiteY7" fmla="*/ 98126 h 1991944"/>
                <a:gd name="connsiteX8" fmla="*/ 2765530 w 2847432"/>
                <a:gd name="connsiteY8" fmla="*/ 486003 h 1991944"/>
                <a:gd name="connsiteX9" fmla="*/ 1249626 w 2847432"/>
                <a:gd name="connsiteY9" fmla="*/ 1914753 h 1991944"/>
                <a:gd name="connsiteX10" fmla="*/ 1049601 w 2847432"/>
                <a:gd name="connsiteY10" fmla="*/ 1991906 h 1991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7432" h="1991944">
                  <a:moveTo>
                    <a:pt x="1049601" y="1991906"/>
                  </a:moveTo>
                  <a:cubicBezTo>
                    <a:pt x="974720" y="1990463"/>
                    <a:pt x="903411" y="1959673"/>
                    <a:pt x="851005" y="1906181"/>
                  </a:cubicBezTo>
                  <a:lnTo>
                    <a:pt x="80908" y="1116082"/>
                  </a:lnTo>
                  <a:cubicBezTo>
                    <a:pt x="-29162" y="1002854"/>
                    <a:pt x="-26605" y="821817"/>
                    <a:pt x="86623" y="711746"/>
                  </a:cubicBezTo>
                  <a:cubicBezTo>
                    <a:pt x="199852" y="601675"/>
                    <a:pt x="380889" y="604233"/>
                    <a:pt x="490960" y="717461"/>
                  </a:cubicBezTo>
                  <a:lnTo>
                    <a:pt x="1062460" y="1306106"/>
                  </a:lnTo>
                  <a:lnTo>
                    <a:pt x="2374052" y="70237"/>
                  </a:lnTo>
                  <a:cubicBezTo>
                    <a:pt x="2493081" y="-33390"/>
                    <a:pt x="2673576" y="-20903"/>
                    <a:pt x="2777203" y="98126"/>
                  </a:cubicBezTo>
                  <a:cubicBezTo>
                    <a:pt x="2875158" y="210640"/>
                    <a:pt x="2870071" y="379576"/>
                    <a:pt x="2765530" y="486003"/>
                  </a:cubicBezTo>
                  <a:lnTo>
                    <a:pt x="1249626" y="1914753"/>
                  </a:lnTo>
                  <a:cubicBezTo>
                    <a:pt x="1195491" y="1965460"/>
                    <a:pt x="1123767" y="1993120"/>
                    <a:pt x="1049601" y="1991906"/>
                  </a:cubicBezTo>
                  <a:close/>
                </a:path>
              </a:pathLst>
            </a:custGeom>
            <a:solidFill>
              <a:schemeClr val="bg1"/>
            </a:solidFill>
            <a:ln w="142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27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DA7C4BBE-EA2C-C5E0-B561-ECF85AB1FC50}"/>
              </a:ext>
            </a:extLst>
          </p:cNvPr>
          <p:cNvGrpSpPr/>
          <p:nvPr/>
        </p:nvGrpSpPr>
        <p:grpSpPr>
          <a:xfrm flipV="1">
            <a:off x="10481853" y="5924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a:off x="945294" y="82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2"/>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pic>
        <p:nvPicPr>
          <p:cNvPr id="355" name="Imagen 354" descr="Un dibujo animado con letras&#10;&#10;Descripción generada automáticamente con confianza baja">
            <a:extLst>
              <a:ext uri="{FF2B5EF4-FFF2-40B4-BE49-F238E27FC236}">
                <a16:creationId xmlns:a16="http://schemas.microsoft.com/office/drawing/2014/main" id="{C3998447-125B-0B2C-44E6-8D3D88D7B374}"/>
              </a:ext>
            </a:extLst>
          </p:cNvPr>
          <p:cNvPicPr>
            <a:picLocks noChangeAspect="1"/>
          </p:cNvPicPr>
          <p:nvPr/>
        </p:nvPicPr>
        <p:blipFill>
          <a:blip r:embed="rId3">
            <a:grayscl/>
            <a:alphaModFix amt="5000"/>
            <a:extLst>
              <a:ext uri="{28A0092B-C50C-407E-A947-70E740481C1C}">
                <a14:useLocalDpi xmlns:a14="http://schemas.microsoft.com/office/drawing/2010/main" val="0"/>
              </a:ext>
            </a:extLst>
          </a:blip>
          <a:stretch>
            <a:fillRect/>
          </a:stretch>
        </p:blipFill>
        <p:spPr>
          <a:xfrm>
            <a:off x="69803" y="-86605"/>
            <a:ext cx="3278067" cy="2780503"/>
          </a:xfrm>
          <a:prstGeom prst="rect">
            <a:avLst/>
          </a:prstGeom>
        </p:spPr>
      </p:pic>
      <p:sp>
        <p:nvSpPr>
          <p:cNvPr id="5" name="CuadroTexto 4">
            <a:extLst>
              <a:ext uri="{FF2B5EF4-FFF2-40B4-BE49-F238E27FC236}">
                <a16:creationId xmlns:a16="http://schemas.microsoft.com/office/drawing/2014/main" id="{EEE5E3A8-A0F5-BAA3-81C8-A08861B7E99C}"/>
              </a:ext>
            </a:extLst>
          </p:cNvPr>
          <p:cNvSpPr txBox="1"/>
          <p:nvPr/>
        </p:nvSpPr>
        <p:spPr>
          <a:xfrm>
            <a:off x="1542046" y="328332"/>
            <a:ext cx="824513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Oswald SemiBold" pitchFamily="2" charset="0"/>
                <a:ea typeface="+mn-ea"/>
                <a:cs typeface="Poppins Light" panose="00000400000000000000" pitchFamily="2" charset="0"/>
              </a:rPr>
              <a:t>HEALTH</a:t>
            </a:r>
            <a:r>
              <a:rPr kumimoji="0" lang="en-US" sz="3200" b="0" i="0" u="none" strike="noStrike" kern="1200" cap="none" spc="0" normalizeH="0" baseline="0" noProof="0" dirty="0">
                <a:ln>
                  <a:noFill/>
                </a:ln>
                <a:solidFill>
                  <a:srgbClr val="00B0F0"/>
                </a:solidFill>
                <a:effectLst/>
                <a:uLnTx/>
                <a:uFillTx/>
                <a:latin typeface="Oswald SemiBold" pitchFamily="2" charset="0"/>
                <a:ea typeface="+mn-ea"/>
                <a:cs typeface="Poppins Light" panose="00000400000000000000" pitchFamily="2" charset="0"/>
              </a:rPr>
              <a:t>ICON</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vs TRADITIONAL </a:t>
            </a:r>
            <a:r>
              <a:rPr kumimoji="0" lang="en-US" sz="3200" b="0" i="0" u="none" strike="noStrike" kern="1200" cap="none" spc="0" normalizeH="0" baseline="0" noProof="0" dirty="0">
                <a:ln>
                  <a:noFill/>
                </a:ln>
                <a:solidFill>
                  <a:srgbClr val="FF0000"/>
                </a:solidFill>
                <a:effectLst/>
                <a:uLnTx/>
                <a:uFillTx/>
                <a:latin typeface="Oswald SemiBold" pitchFamily="2" charset="0"/>
                <a:ea typeface="+mn-ea"/>
                <a:cs typeface="Poppins Light" panose="00000400000000000000" pitchFamily="2" charset="0"/>
              </a:rPr>
              <a:t>BUSINESS </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MODELS</a:t>
            </a:r>
            <a:endPar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endParaRPr>
          </a:p>
        </p:txBody>
      </p:sp>
      <p:sp>
        <p:nvSpPr>
          <p:cNvPr id="74" name="CuadroTexto 73">
            <a:extLst>
              <a:ext uri="{FF2B5EF4-FFF2-40B4-BE49-F238E27FC236}">
                <a16:creationId xmlns:a16="http://schemas.microsoft.com/office/drawing/2014/main" id="{91D94FFE-856F-EC7B-B52D-02326C98BBE4}"/>
              </a:ext>
            </a:extLst>
          </p:cNvPr>
          <p:cNvSpPr txBox="1"/>
          <p:nvPr/>
        </p:nvSpPr>
        <p:spPr>
          <a:xfrm>
            <a:off x="8121769" y="2431220"/>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2</a:t>
            </a:r>
          </a:p>
        </p:txBody>
      </p:sp>
      <p:sp>
        <p:nvSpPr>
          <p:cNvPr id="84" name="CuadroTexto 83">
            <a:extLst>
              <a:ext uri="{FF2B5EF4-FFF2-40B4-BE49-F238E27FC236}">
                <a16:creationId xmlns:a16="http://schemas.microsoft.com/office/drawing/2014/main" id="{9F0C2FC2-BE0F-5454-B9A2-AFB1E6C59FE2}"/>
              </a:ext>
            </a:extLst>
          </p:cNvPr>
          <p:cNvSpPr txBox="1"/>
          <p:nvPr/>
        </p:nvSpPr>
        <p:spPr>
          <a:xfrm>
            <a:off x="8059251" y="3961590"/>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3</a:t>
            </a:r>
          </a:p>
        </p:txBody>
      </p:sp>
      <p:sp>
        <p:nvSpPr>
          <p:cNvPr id="119" name="CuadroTexto 118">
            <a:extLst>
              <a:ext uri="{FF2B5EF4-FFF2-40B4-BE49-F238E27FC236}">
                <a16:creationId xmlns:a16="http://schemas.microsoft.com/office/drawing/2014/main" id="{B6AD17AA-DA49-7F4F-21A9-5C01D9C19BE4}"/>
              </a:ext>
            </a:extLst>
          </p:cNvPr>
          <p:cNvSpPr txBox="1"/>
          <p:nvPr/>
        </p:nvSpPr>
        <p:spPr>
          <a:xfrm>
            <a:off x="6834319" y="5065017"/>
            <a:ext cx="59398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4</a:t>
            </a:r>
          </a:p>
        </p:txBody>
      </p:sp>
      <p:grpSp>
        <p:nvGrpSpPr>
          <p:cNvPr id="1273" name="Grupo 1272">
            <a:extLst>
              <a:ext uri="{FF2B5EF4-FFF2-40B4-BE49-F238E27FC236}">
                <a16:creationId xmlns:a16="http://schemas.microsoft.com/office/drawing/2014/main" id="{CA737FB2-99D4-34D1-D198-F5839B005D29}"/>
              </a:ext>
            </a:extLst>
          </p:cNvPr>
          <p:cNvGrpSpPr/>
          <p:nvPr/>
        </p:nvGrpSpPr>
        <p:grpSpPr>
          <a:xfrm>
            <a:off x="3347870" y="1502103"/>
            <a:ext cx="660352" cy="367200"/>
            <a:chOff x="4902438" y="2953084"/>
            <a:chExt cx="507572" cy="282245"/>
          </a:xfrm>
        </p:grpSpPr>
        <p:pic>
          <p:nvPicPr>
            <p:cNvPr id="1272" name="Imagen 1271" descr="Imagen que contiene objeto, reloj, dibujo, señal&#10;&#10;Descripción generada automáticamente">
              <a:extLst>
                <a:ext uri="{FF2B5EF4-FFF2-40B4-BE49-F238E27FC236}">
                  <a16:creationId xmlns:a16="http://schemas.microsoft.com/office/drawing/2014/main" id="{D32020E3-D9BC-4400-B817-E3403E2F16B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18651"/>
            <a:stretch>
              <a:fillRect/>
            </a:stretch>
          </p:blipFill>
          <p:spPr>
            <a:xfrm>
              <a:off x="4902438" y="3122639"/>
              <a:ext cx="507572" cy="112690"/>
            </a:xfrm>
            <a:custGeom>
              <a:avLst/>
              <a:gdLst>
                <a:gd name="connsiteX0" fmla="*/ 143675 w 2588535"/>
                <a:gd name="connsiteY0" fmla="*/ 0 h 574700"/>
                <a:gd name="connsiteX1" fmla="*/ 2588535 w 2588535"/>
                <a:gd name="connsiteY1" fmla="*/ 0 h 574700"/>
                <a:gd name="connsiteX2" fmla="*/ 2588535 w 2588535"/>
                <a:gd name="connsiteY2" fmla="*/ 539762 h 574700"/>
                <a:gd name="connsiteX3" fmla="*/ 2579801 w 2588535"/>
                <a:gd name="connsiteY3" fmla="*/ 574700 h 574700"/>
                <a:gd name="connsiteX4" fmla="*/ 0 w 2588535"/>
                <a:gd name="connsiteY4" fmla="*/ 574700 h 574700"/>
                <a:gd name="connsiteX5" fmla="*/ 143675 w 2588535"/>
                <a:gd name="connsiteY5" fmla="*/ 0 h 5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8535" h="574700">
                  <a:moveTo>
                    <a:pt x="143675" y="0"/>
                  </a:moveTo>
                  <a:lnTo>
                    <a:pt x="2588535" y="0"/>
                  </a:lnTo>
                  <a:lnTo>
                    <a:pt x="2588535" y="539762"/>
                  </a:lnTo>
                  <a:lnTo>
                    <a:pt x="2579801" y="574700"/>
                  </a:lnTo>
                  <a:lnTo>
                    <a:pt x="0" y="574700"/>
                  </a:lnTo>
                  <a:lnTo>
                    <a:pt x="143675" y="0"/>
                  </a:lnTo>
                  <a:close/>
                </a:path>
              </a:pathLst>
            </a:custGeom>
          </p:spPr>
        </p:pic>
        <p:pic>
          <p:nvPicPr>
            <p:cNvPr id="1270" name="Imagen 1269" descr="Imagen que contiene objeto, reloj, dibujo, señal&#10;&#10;Descripción generada automáticamente">
              <a:extLst>
                <a:ext uri="{FF2B5EF4-FFF2-40B4-BE49-F238E27FC236}">
                  <a16:creationId xmlns:a16="http://schemas.microsoft.com/office/drawing/2014/main" id="{D2AFDA42-A9EE-B362-7E08-D3757F04D6D5}"/>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r="76833"/>
            <a:stretch>
              <a:fillRect/>
            </a:stretch>
          </p:blipFill>
          <p:spPr>
            <a:xfrm>
              <a:off x="5051586" y="2953084"/>
              <a:ext cx="209276" cy="163153"/>
            </a:xfrm>
            <a:custGeom>
              <a:avLst/>
              <a:gdLst>
                <a:gd name="connsiteX0" fmla="*/ 0 w 737166"/>
                <a:gd name="connsiteY0" fmla="*/ 0 h 574700"/>
                <a:gd name="connsiteX1" fmla="*/ 737166 w 737166"/>
                <a:gd name="connsiteY1" fmla="*/ 0 h 574700"/>
                <a:gd name="connsiteX2" fmla="*/ 593491 w 737166"/>
                <a:gd name="connsiteY2" fmla="*/ 574700 h 574700"/>
                <a:gd name="connsiteX3" fmla="*/ 0 w 737166"/>
                <a:gd name="connsiteY3" fmla="*/ 574700 h 574700"/>
                <a:gd name="connsiteX4" fmla="*/ 0 w 737166"/>
                <a:gd name="connsiteY4" fmla="*/ 0 h 57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166" h="574700">
                  <a:moveTo>
                    <a:pt x="0" y="0"/>
                  </a:moveTo>
                  <a:lnTo>
                    <a:pt x="737166" y="0"/>
                  </a:lnTo>
                  <a:lnTo>
                    <a:pt x="593491" y="574700"/>
                  </a:lnTo>
                  <a:lnTo>
                    <a:pt x="0" y="574700"/>
                  </a:lnTo>
                  <a:lnTo>
                    <a:pt x="0" y="0"/>
                  </a:lnTo>
                  <a:close/>
                </a:path>
              </a:pathLst>
            </a:custGeom>
          </p:spPr>
        </p:pic>
      </p:grpSp>
      <p:grpSp>
        <p:nvGrpSpPr>
          <p:cNvPr id="2" name="Group 1">
            <a:extLst>
              <a:ext uri="{FF2B5EF4-FFF2-40B4-BE49-F238E27FC236}">
                <a16:creationId xmlns:a16="http://schemas.microsoft.com/office/drawing/2014/main" id="{201BB802-929A-497A-F3EB-EAA6FCD55822}"/>
              </a:ext>
            </a:extLst>
          </p:cNvPr>
          <p:cNvGrpSpPr/>
          <p:nvPr/>
        </p:nvGrpSpPr>
        <p:grpSpPr>
          <a:xfrm>
            <a:off x="5536082" y="1365250"/>
            <a:ext cx="234713" cy="4701148"/>
            <a:chOff x="5759311" y="1474755"/>
            <a:chExt cx="406116" cy="4831156"/>
          </a:xfrm>
        </p:grpSpPr>
        <p:sp>
          <p:nvSpPr>
            <p:cNvPr id="3" name="Freeform: Shape 2">
              <a:extLst>
                <a:ext uri="{FF2B5EF4-FFF2-40B4-BE49-F238E27FC236}">
                  <a16:creationId xmlns:a16="http://schemas.microsoft.com/office/drawing/2014/main" id="{FBBE537B-DF2A-AD2E-0010-4CBCFA064AD1}"/>
                </a:ext>
              </a:extLst>
            </p:cNvPr>
            <p:cNvSpPr/>
            <p:nvPr/>
          </p:nvSpPr>
          <p:spPr>
            <a:xfrm>
              <a:off x="5759311" y="1474755"/>
              <a:ext cx="406116" cy="4831156"/>
            </a:xfrm>
            <a:custGeom>
              <a:avLst/>
              <a:gdLst>
                <a:gd name="connsiteX0" fmla="*/ 21478 w 406116"/>
                <a:gd name="connsiteY0" fmla="*/ 0 h 4831156"/>
                <a:gd name="connsiteX1" fmla="*/ 250471 w 406116"/>
                <a:gd name="connsiteY1" fmla="*/ 0 h 4831156"/>
                <a:gd name="connsiteX2" fmla="*/ 406116 w 406116"/>
                <a:gd name="connsiteY2" fmla="*/ 4831156 h 4831156"/>
                <a:gd name="connsiteX3" fmla="*/ 0 w 406116"/>
                <a:gd name="connsiteY3" fmla="*/ 4831156 h 4831156"/>
              </a:gdLst>
              <a:ahLst/>
              <a:cxnLst>
                <a:cxn ang="0">
                  <a:pos x="connsiteX0" y="connsiteY0"/>
                </a:cxn>
                <a:cxn ang="0">
                  <a:pos x="connsiteX1" y="connsiteY1"/>
                </a:cxn>
                <a:cxn ang="0">
                  <a:pos x="connsiteX2" y="connsiteY2"/>
                </a:cxn>
                <a:cxn ang="0">
                  <a:pos x="connsiteX3" y="connsiteY3"/>
                </a:cxn>
              </a:cxnLst>
              <a:rect l="l" t="t" r="r" b="b"/>
              <a:pathLst>
                <a:path w="406116" h="4831156">
                  <a:moveTo>
                    <a:pt x="21478" y="0"/>
                  </a:moveTo>
                  <a:lnTo>
                    <a:pt x="250471" y="0"/>
                  </a:lnTo>
                  <a:lnTo>
                    <a:pt x="406116" y="4831156"/>
                  </a:lnTo>
                  <a:lnTo>
                    <a:pt x="0" y="4831156"/>
                  </a:lnTo>
                  <a:close/>
                </a:path>
              </a:pathLst>
            </a:custGeom>
            <a:solidFill>
              <a:schemeClr val="bg2">
                <a:lumMod val="50000"/>
              </a:schemeClr>
            </a:solid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350"/>
            </a:p>
          </p:txBody>
        </p:sp>
        <p:sp>
          <p:nvSpPr>
            <p:cNvPr id="38" name="Freeform: Shape 37">
              <a:extLst>
                <a:ext uri="{FF2B5EF4-FFF2-40B4-BE49-F238E27FC236}">
                  <a16:creationId xmlns:a16="http://schemas.microsoft.com/office/drawing/2014/main" id="{CAB77EA1-681F-BA09-44AC-5DDE7679AC39}"/>
                </a:ext>
              </a:extLst>
            </p:cNvPr>
            <p:cNvSpPr/>
            <p:nvPr/>
          </p:nvSpPr>
          <p:spPr>
            <a:xfrm>
              <a:off x="5759311" y="1474755"/>
              <a:ext cx="125233" cy="4831156"/>
            </a:xfrm>
            <a:custGeom>
              <a:avLst/>
              <a:gdLst>
                <a:gd name="connsiteX0" fmla="*/ 21478 w 125233"/>
                <a:gd name="connsiteY0" fmla="*/ 0 h 4831156"/>
                <a:gd name="connsiteX1" fmla="*/ 125233 w 125233"/>
                <a:gd name="connsiteY1" fmla="*/ 0 h 4831156"/>
                <a:gd name="connsiteX2" fmla="*/ 125233 w 125233"/>
                <a:gd name="connsiteY2" fmla="*/ 4831156 h 4831156"/>
                <a:gd name="connsiteX3" fmla="*/ 0 w 125233"/>
                <a:gd name="connsiteY3" fmla="*/ 4831156 h 4831156"/>
              </a:gdLst>
              <a:ahLst/>
              <a:cxnLst>
                <a:cxn ang="0">
                  <a:pos x="connsiteX0" y="connsiteY0"/>
                </a:cxn>
                <a:cxn ang="0">
                  <a:pos x="connsiteX1" y="connsiteY1"/>
                </a:cxn>
                <a:cxn ang="0">
                  <a:pos x="connsiteX2" y="connsiteY2"/>
                </a:cxn>
                <a:cxn ang="0">
                  <a:pos x="connsiteX3" y="connsiteY3"/>
                </a:cxn>
              </a:cxnLst>
              <a:rect l="l" t="t" r="r" b="b"/>
              <a:pathLst>
                <a:path w="125233" h="4831156">
                  <a:moveTo>
                    <a:pt x="21478" y="0"/>
                  </a:moveTo>
                  <a:lnTo>
                    <a:pt x="125233" y="0"/>
                  </a:lnTo>
                  <a:lnTo>
                    <a:pt x="125233" y="4831156"/>
                  </a:lnTo>
                  <a:lnTo>
                    <a:pt x="0" y="4831156"/>
                  </a:lnTo>
                  <a:close/>
                </a:path>
              </a:pathLst>
            </a:custGeom>
            <a:solidFill>
              <a:srgbClr val="00000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p>
          </p:txBody>
        </p:sp>
      </p:grpSp>
      <p:grpSp>
        <p:nvGrpSpPr>
          <p:cNvPr id="42" name="Group 41">
            <a:extLst>
              <a:ext uri="{FF2B5EF4-FFF2-40B4-BE49-F238E27FC236}">
                <a16:creationId xmlns:a16="http://schemas.microsoft.com/office/drawing/2014/main" id="{E8E8FE28-02B4-9981-7E98-95B5E6E675AD}"/>
              </a:ext>
            </a:extLst>
          </p:cNvPr>
          <p:cNvGrpSpPr/>
          <p:nvPr/>
        </p:nvGrpSpPr>
        <p:grpSpPr>
          <a:xfrm>
            <a:off x="4789409" y="1869303"/>
            <a:ext cx="1771280" cy="770038"/>
            <a:chOff x="4686292" y="1551946"/>
            <a:chExt cx="2963099" cy="1246835"/>
          </a:xfrm>
        </p:grpSpPr>
        <p:grpSp>
          <p:nvGrpSpPr>
            <p:cNvPr id="43" name="Group 42">
              <a:extLst>
                <a:ext uri="{FF2B5EF4-FFF2-40B4-BE49-F238E27FC236}">
                  <a16:creationId xmlns:a16="http://schemas.microsoft.com/office/drawing/2014/main" id="{B376F624-D8AB-3FC1-EF8C-B8B530D0CF5F}"/>
                </a:ext>
              </a:extLst>
            </p:cNvPr>
            <p:cNvGrpSpPr/>
            <p:nvPr/>
          </p:nvGrpSpPr>
          <p:grpSpPr>
            <a:xfrm>
              <a:off x="4686292" y="1551946"/>
              <a:ext cx="2963099" cy="1246835"/>
              <a:chOff x="4686292" y="1551946"/>
              <a:chExt cx="2963099" cy="1246835"/>
            </a:xfrm>
          </p:grpSpPr>
          <p:sp>
            <p:nvSpPr>
              <p:cNvPr id="45" name="Freeform: Shape 44">
                <a:extLst>
                  <a:ext uri="{FF2B5EF4-FFF2-40B4-BE49-F238E27FC236}">
                    <a16:creationId xmlns:a16="http://schemas.microsoft.com/office/drawing/2014/main" id="{DB150F01-ECB9-425D-0018-CC86AA1F3D3B}"/>
                  </a:ext>
                </a:extLst>
              </p:cNvPr>
              <p:cNvSpPr/>
              <p:nvPr/>
            </p:nvSpPr>
            <p:spPr>
              <a:xfrm>
                <a:off x="4686302" y="2581071"/>
                <a:ext cx="2495239" cy="217710"/>
              </a:xfrm>
              <a:custGeom>
                <a:avLst/>
                <a:gdLst>
                  <a:gd name="connsiteX0" fmla="*/ 0 w 1264362"/>
                  <a:gd name="connsiteY0" fmla="*/ 0 h 39114"/>
                  <a:gd name="connsiteX1" fmla="*/ 1264362 w 1264362"/>
                  <a:gd name="connsiteY1" fmla="*/ 0 h 39114"/>
                  <a:gd name="connsiteX2" fmla="*/ 1264362 w 1264362"/>
                  <a:gd name="connsiteY2" fmla="*/ 39114 h 39114"/>
                  <a:gd name="connsiteX3" fmla="*/ 0 w 1264362"/>
                  <a:gd name="connsiteY3" fmla="*/ 39114 h 39114"/>
                  <a:gd name="connsiteX0" fmla="*/ 0 w 1264362"/>
                  <a:gd name="connsiteY0" fmla="*/ 0 h 39114"/>
                  <a:gd name="connsiteX1" fmla="*/ 645300 w 1264362"/>
                  <a:gd name="connsiteY1" fmla="*/ 1092 h 39114"/>
                  <a:gd name="connsiteX2" fmla="*/ 1264362 w 1264362"/>
                  <a:gd name="connsiteY2" fmla="*/ 0 h 39114"/>
                  <a:gd name="connsiteX3" fmla="*/ 1264362 w 1264362"/>
                  <a:gd name="connsiteY3" fmla="*/ 39114 h 39114"/>
                  <a:gd name="connsiteX4" fmla="*/ 0 w 1264362"/>
                  <a:gd name="connsiteY4" fmla="*/ 39114 h 39114"/>
                  <a:gd name="connsiteX5" fmla="*/ 0 w 1264362"/>
                  <a:gd name="connsiteY5" fmla="*/ 0 h 39114"/>
                  <a:gd name="connsiteX0" fmla="*/ 0 w 1264362"/>
                  <a:gd name="connsiteY0" fmla="*/ 71202 h 110316"/>
                  <a:gd name="connsiteX1" fmla="*/ 651872 w 1264362"/>
                  <a:gd name="connsiteY1" fmla="*/ 0 h 110316"/>
                  <a:gd name="connsiteX2" fmla="*/ 1264362 w 1264362"/>
                  <a:gd name="connsiteY2" fmla="*/ 71202 h 110316"/>
                  <a:gd name="connsiteX3" fmla="*/ 1264362 w 1264362"/>
                  <a:gd name="connsiteY3" fmla="*/ 110316 h 110316"/>
                  <a:gd name="connsiteX4" fmla="*/ 0 w 1264362"/>
                  <a:gd name="connsiteY4" fmla="*/ 110316 h 110316"/>
                  <a:gd name="connsiteX5" fmla="*/ 0 w 1264362"/>
                  <a:gd name="connsiteY5" fmla="*/ 71202 h 11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4362" h="110316">
                    <a:moveTo>
                      <a:pt x="0" y="71202"/>
                    </a:moveTo>
                    <a:lnTo>
                      <a:pt x="651872" y="0"/>
                    </a:lnTo>
                    <a:lnTo>
                      <a:pt x="1264362" y="71202"/>
                    </a:lnTo>
                    <a:lnTo>
                      <a:pt x="1264362" y="110316"/>
                    </a:lnTo>
                    <a:lnTo>
                      <a:pt x="0" y="110316"/>
                    </a:lnTo>
                    <a:lnTo>
                      <a:pt x="0" y="71202"/>
                    </a:lnTo>
                    <a:close/>
                  </a:path>
                </a:pathLst>
              </a:custGeom>
              <a:solidFill>
                <a:schemeClr val="accent6">
                  <a:lumMod val="75000"/>
                </a:schemeClr>
              </a:solid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sp>
            <p:nvSpPr>
              <p:cNvPr id="46" name="Freeform: Shape 45">
                <a:extLst>
                  <a:ext uri="{FF2B5EF4-FFF2-40B4-BE49-F238E27FC236}">
                    <a16:creationId xmlns:a16="http://schemas.microsoft.com/office/drawing/2014/main" id="{D42D2D61-F920-7643-9A0D-4A08BEA14963}"/>
                  </a:ext>
                </a:extLst>
              </p:cNvPr>
              <p:cNvSpPr/>
              <p:nvPr/>
            </p:nvSpPr>
            <p:spPr>
              <a:xfrm>
                <a:off x="7181541" y="2071785"/>
                <a:ext cx="467850" cy="726996"/>
              </a:xfrm>
              <a:custGeom>
                <a:avLst/>
                <a:gdLst>
                  <a:gd name="connsiteX0" fmla="*/ 0 w 237063"/>
                  <a:gd name="connsiteY0" fmla="*/ 329262 h 368376"/>
                  <a:gd name="connsiteX1" fmla="*/ 237064 w 237063"/>
                  <a:gd name="connsiteY1" fmla="*/ 0 h 368376"/>
                  <a:gd name="connsiteX2" fmla="*/ 237064 w 237063"/>
                  <a:gd name="connsiteY2" fmla="*/ 39114 h 368376"/>
                  <a:gd name="connsiteX3" fmla="*/ 0 w 237063"/>
                  <a:gd name="connsiteY3" fmla="*/ 368376 h 368376"/>
                  <a:gd name="connsiteX0" fmla="*/ 0 w 237064"/>
                  <a:gd name="connsiteY0" fmla="*/ 329262 h 368376"/>
                  <a:gd name="connsiteX1" fmla="*/ 103873 w 237064"/>
                  <a:gd name="connsiteY1" fmla="*/ 172623 h 368376"/>
                  <a:gd name="connsiteX2" fmla="*/ 237064 w 237064"/>
                  <a:gd name="connsiteY2" fmla="*/ 0 h 368376"/>
                  <a:gd name="connsiteX3" fmla="*/ 237064 w 237064"/>
                  <a:gd name="connsiteY3" fmla="*/ 39114 h 368376"/>
                  <a:gd name="connsiteX4" fmla="*/ 0 w 237064"/>
                  <a:gd name="connsiteY4" fmla="*/ 368376 h 368376"/>
                  <a:gd name="connsiteX5" fmla="*/ 0 w 237064"/>
                  <a:gd name="connsiteY5" fmla="*/ 329262 h 368376"/>
                  <a:gd name="connsiteX0" fmla="*/ 0 w 237064"/>
                  <a:gd name="connsiteY0" fmla="*/ 329262 h 368376"/>
                  <a:gd name="connsiteX1" fmla="*/ 64440 w 237064"/>
                  <a:gd name="connsiteY1" fmla="*/ 149621 h 368376"/>
                  <a:gd name="connsiteX2" fmla="*/ 237064 w 237064"/>
                  <a:gd name="connsiteY2" fmla="*/ 0 h 368376"/>
                  <a:gd name="connsiteX3" fmla="*/ 237064 w 237064"/>
                  <a:gd name="connsiteY3" fmla="*/ 39114 h 368376"/>
                  <a:gd name="connsiteX4" fmla="*/ 0 w 237064"/>
                  <a:gd name="connsiteY4" fmla="*/ 368376 h 368376"/>
                  <a:gd name="connsiteX5" fmla="*/ 0 w 237064"/>
                  <a:gd name="connsiteY5" fmla="*/ 329262 h 36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064" h="368376">
                    <a:moveTo>
                      <a:pt x="0" y="329262"/>
                    </a:moveTo>
                    <a:lnTo>
                      <a:pt x="64440" y="149621"/>
                    </a:lnTo>
                    <a:lnTo>
                      <a:pt x="237064" y="0"/>
                    </a:lnTo>
                    <a:lnTo>
                      <a:pt x="237064" y="39114"/>
                    </a:lnTo>
                    <a:lnTo>
                      <a:pt x="0" y="368376"/>
                    </a:lnTo>
                    <a:lnTo>
                      <a:pt x="0" y="329262"/>
                    </a:lnTo>
                    <a:close/>
                  </a:path>
                </a:pathLst>
              </a:custGeom>
              <a:solidFill>
                <a:schemeClr val="accent6">
                  <a:lumMod val="50000"/>
                </a:schemeClr>
              </a:solid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sp>
            <p:nvSpPr>
              <p:cNvPr id="47" name="Freeform: Shape 46">
                <a:extLst>
                  <a:ext uri="{FF2B5EF4-FFF2-40B4-BE49-F238E27FC236}">
                    <a16:creationId xmlns:a16="http://schemas.microsoft.com/office/drawing/2014/main" id="{770BAA06-FFFE-5B53-CB9A-1C5DF8E7038C}"/>
                  </a:ext>
                </a:extLst>
              </p:cNvPr>
              <p:cNvSpPr/>
              <p:nvPr/>
            </p:nvSpPr>
            <p:spPr>
              <a:xfrm>
                <a:off x="4686292" y="1551946"/>
                <a:ext cx="2963089" cy="1169643"/>
              </a:xfrm>
              <a:custGeom>
                <a:avLst/>
                <a:gdLst>
                  <a:gd name="connsiteX0" fmla="*/ 39512 w 1501425"/>
                  <a:gd name="connsiteY0" fmla="*/ 158047 h 592669"/>
                  <a:gd name="connsiteX1" fmla="*/ 0 w 1501425"/>
                  <a:gd name="connsiteY1" fmla="*/ 592669 h 592669"/>
                  <a:gd name="connsiteX2" fmla="*/ 1264362 w 1501425"/>
                  <a:gd name="connsiteY2" fmla="*/ 592669 h 592669"/>
                  <a:gd name="connsiteX3" fmla="*/ 1501426 w 1501425"/>
                  <a:gd name="connsiteY3" fmla="*/ 263407 h 592669"/>
                  <a:gd name="connsiteX4" fmla="*/ 1501426 w 1501425"/>
                  <a:gd name="connsiteY4" fmla="*/ 263407 h 592669"/>
                  <a:gd name="connsiteX5" fmla="*/ 1145827 w 1501425"/>
                  <a:gd name="connsiteY5" fmla="*/ 0 h 592669"/>
                  <a:gd name="connsiteX0" fmla="*/ 39512 w 1501426"/>
                  <a:gd name="connsiteY0" fmla="*/ 158047 h 592669"/>
                  <a:gd name="connsiteX1" fmla="*/ 0 w 1501426"/>
                  <a:gd name="connsiteY1" fmla="*/ 592669 h 592669"/>
                  <a:gd name="connsiteX2" fmla="*/ 1264362 w 1501426"/>
                  <a:gd name="connsiteY2" fmla="*/ 592669 h 592669"/>
                  <a:gd name="connsiteX3" fmla="*/ 1501426 w 1501426"/>
                  <a:gd name="connsiteY3" fmla="*/ 263407 h 592669"/>
                  <a:gd name="connsiteX4" fmla="*/ 1479995 w 1501426"/>
                  <a:gd name="connsiteY4" fmla="*/ 303888 h 592669"/>
                  <a:gd name="connsiteX5" fmla="*/ 1145827 w 1501426"/>
                  <a:gd name="connsiteY5" fmla="*/ 0 h 592669"/>
                  <a:gd name="connsiteX6" fmla="*/ 39512 w 1501426"/>
                  <a:gd name="connsiteY6" fmla="*/ 158047 h 592669"/>
                  <a:gd name="connsiteX0" fmla="*/ 39512 w 1506189"/>
                  <a:gd name="connsiteY0" fmla="*/ 158047 h 592669"/>
                  <a:gd name="connsiteX1" fmla="*/ 0 w 1506189"/>
                  <a:gd name="connsiteY1" fmla="*/ 592669 h 592669"/>
                  <a:gd name="connsiteX2" fmla="*/ 1264362 w 1506189"/>
                  <a:gd name="connsiteY2" fmla="*/ 592669 h 592669"/>
                  <a:gd name="connsiteX3" fmla="*/ 1501426 w 1506189"/>
                  <a:gd name="connsiteY3" fmla="*/ 263407 h 592669"/>
                  <a:gd name="connsiteX4" fmla="*/ 1506189 w 1506189"/>
                  <a:gd name="connsiteY4" fmla="*/ 270551 h 592669"/>
                  <a:gd name="connsiteX5" fmla="*/ 1145827 w 1506189"/>
                  <a:gd name="connsiteY5" fmla="*/ 0 h 592669"/>
                  <a:gd name="connsiteX6" fmla="*/ 39512 w 1506189"/>
                  <a:gd name="connsiteY6" fmla="*/ 158047 h 592669"/>
                  <a:gd name="connsiteX0" fmla="*/ 39512 w 1501426"/>
                  <a:gd name="connsiteY0" fmla="*/ 158047 h 592669"/>
                  <a:gd name="connsiteX1" fmla="*/ 0 w 1501426"/>
                  <a:gd name="connsiteY1" fmla="*/ 592669 h 592669"/>
                  <a:gd name="connsiteX2" fmla="*/ 1264362 w 1501426"/>
                  <a:gd name="connsiteY2" fmla="*/ 592669 h 592669"/>
                  <a:gd name="connsiteX3" fmla="*/ 1501426 w 1501426"/>
                  <a:gd name="connsiteY3" fmla="*/ 263407 h 592669"/>
                  <a:gd name="connsiteX4" fmla="*/ 1145827 w 1501426"/>
                  <a:gd name="connsiteY4" fmla="*/ 0 h 592669"/>
                  <a:gd name="connsiteX5" fmla="*/ 39512 w 1501426"/>
                  <a:gd name="connsiteY5" fmla="*/ 158047 h 59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1426" h="592669">
                    <a:moveTo>
                      <a:pt x="39512" y="158047"/>
                    </a:moveTo>
                    <a:lnTo>
                      <a:pt x="0" y="592669"/>
                    </a:lnTo>
                    <a:lnTo>
                      <a:pt x="1264362" y="592669"/>
                    </a:lnTo>
                    <a:lnTo>
                      <a:pt x="1501426" y="263407"/>
                    </a:lnTo>
                    <a:lnTo>
                      <a:pt x="1145827" y="0"/>
                    </a:lnTo>
                    <a:lnTo>
                      <a:pt x="39512" y="158047"/>
                    </a:lnTo>
                    <a:close/>
                  </a:path>
                </a:pathLst>
              </a:custGeom>
              <a:solidFill>
                <a:schemeClr val="accent1">
                  <a:lumMod val="50000"/>
                </a:schemeClr>
              </a:solid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grpSp>
        <p:sp>
          <p:nvSpPr>
            <p:cNvPr id="44" name="TextBox 43">
              <a:extLst>
                <a:ext uri="{FF2B5EF4-FFF2-40B4-BE49-F238E27FC236}">
                  <a16:creationId xmlns:a16="http://schemas.microsoft.com/office/drawing/2014/main" id="{F40BCD17-3F0D-FC9B-B369-EB47F689B024}"/>
                </a:ext>
              </a:extLst>
            </p:cNvPr>
            <p:cNvSpPr txBox="1"/>
            <p:nvPr/>
          </p:nvSpPr>
          <p:spPr>
            <a:xfrm rot="21441207">
              <a:off x="5027868" y="1897982"/>
              <a:ext cx="2245032" cy="598017"/>
            </a:xfrm>
            <a:prstGeom prst="rect">
              <a:avLst/>
            </a:prstGeom>
            <a:noFill/>
          </p:spPr>
          <p:txBody>
            <a:bodyPr wrap="none" rtlCol="0" anchor="ctr">
              <a:spAutoFit/>
            </a:bodyPr>
            <a:lstStyle/>
            <a:p>
              <a:r>
                <a:rPr kumimoji="0" lang="en-US" b="0" i="0" u="none" strike="noStrike" kern="1200" cap="none" spc="0" normalizeH="0" baseline="0" noProof="0" dirty="0">
                  <a:ln>
                    <a:noFill/>
                  </a:ln>
                  <a:solidFill>
                    <a:srgbClr val="FF0000"/>
                  </a:solidFill>
                  <a:effectLst/>
                  <a:uLnTx/>
                  <a:uFillTx/>
                  <a:latin typeface="Oswald SemiBold" pitchFamily="2" charset="0"/>
                  <a:ea typeface="+mn-ea"/>
                  <a:cs typeface="Poppins Light" panose="00000400000000000000" pitchFamily="2" charset="0"/>
                </a:rPr>
                <a:t>HEALTH</a:t>
              </a:r>
              <a:r>
                <a:rPr kumimoji="0" lang="en-US" b="0" i="0" u="none" strike="noStrike" kern="1200" cap="none" spc="0" normalizeH="0" baseline="0" noProof="0" dirty="0">
                  <a:ln>
                    <a:noFill/>
                  </a:ln>
                  <a:solidFill>
                    <a:srgbClr val="00B0F0"/>
                  </a:solidFill>
                  <a:effectLst/>
                  <a:uLnTx/>
                  <a:uFillTx/>
                  <a:latin typeface="Oswald SemiBold" pitchFamily="2" charset="0"/>
                  <a:ea typeface="+mn-ea"/>
                  <a:cs typeface="Poppins Light" panose="00000400000000000000" pitchFamily="2" charset="0"/>
                </a:rPr>
                <a:t>ICON</a:t>
              </a:r>
              <a:endParaRPr lang="en-US" sz="2400" b="1" dirty="0">
                <a:solidFill>
                  <a:schemeClr val="tx1">
                    <a:lumMod val="85000"/>
                    <a:lumOff val="15000"/>
                  </a:schemeClr>
                </a:solidFill>
              </a:endParaRPr>
            </a:p>
          </p:txBody>
        </p:sp>
      </p:grpSp>
      <p:grpSp>
        <p:nvGrpSpPr>
          <p:cNvPr id="48" name="Group 47">
            <a:extLst>
              <a:ext uri="{FF2B5EF4-FFF2-40B4-BE49-F238E27FC236}">
                <a16:creationId xmlns:a16="http://schemas.microsoft.com/office/drawing/2014/main" id="{151EC2CB-3689-8EFE-5BE2-7616BF989644}"/>
              </a:ext>
            </a:extLst>
          </p:cNvPr>
          <p:cNvGrpSpPr/>
          <p:nvPr/>
        </p:nvGrpSpPr>
        <p:grpSpPr>
          <a:xfrm>
            <a:off x="4633539" y="2965172"/>
            <a:ext cx="1949841" cy="787590"/>
            <a:chOff x="4014331" y="2967174"/>
            <a:chExt cx="3142895" cy="1418793"/>
          </a:xfrm>
          <a:solidFill>
            <a:schemeClr val="accent1">
              <a:lumMod val="20000"/>
              <a:lumOff val="80000"/>
            </a:schemeClr>
          </a:solidFill>
        </p:grpSpPr>
        <p:grpSp>
          <p:nvGrpSpPr>
            <p:cNvPr id="49" name="Group 48">
              <a:extLst>
                <a:ext uri="{FF2B5EF4-FFF2-40B4-BE49-F238E27FC236}">
                  <a16:creationId xmlns:a16="http://schemas.microsoft.com/office/drawing/2014/main" id="{A19D3B98-8188-A17A-33DB-B04CA3E64183}"/>
                </a:ext>
              </a:extLst>
            </p:cNvPr>
            <p:cNvGrpSpPr/>
            <p:nvPr/>
          </p:nvGrpSpPr>
          <p:grpSpPr>
            <a:xfrm>
              <a:off x="4014331" y="2967174"/>
              <a:ext cx="3142895" cy="1418793"/>
              <a:chOff x="4014331" y="2967174"/>
              <a:chExt cx="3142895" cy="1418793"/>
            </a:xfrm>
            <a:grpFill/>
          </p:grpSpPr>
          <p:sp>
            <p:nvSpPr>
              <p:cNvPr id="51" name="Freeform: Shape 50">
                <a:extLst>
                  <a:ext uri="{FF2B5EF4-FFF2-40B4-BE49-F238E27FC236}">
                    <a16:creationId xmlns:a16="http://schemas.microsoft.com/office/drawing/2014/main" id="{25BB1F68-698C-6B9F-A797-8D12C1EEDE1D}"/>
                  </a:ext>
                </a:extLst>
              </p:cNvPr>
              <p:cNvSpPr/>
              <p:nvPr/>
            </p:nvSpPr>
            <p:spPr>
              <a:xfrm>
                <a:off x="4014345" y="3683890"/>
                <a:ext cx="827065" cy="702077"/>
              </a:xfrm>
              <a:custGeom>
                <a:avLst/>
                <a:gdLst>
                  <a:gd name="connsiteX0" fmla="*/ 33 w 419081"/>
                  <a:gd name="connsiteY0" fmla="*/ -8 h 355748"/>
                  <a:gd name="connsiteX1" fmla="*/ 419115 w 419081"/>
                  <a:gd name="connsiteY1" fmla="*/ 316627 h 355748"/>
                  <a:gd name="connsiteX2" fmla="*/ 419115 w 419081"/>
                  <a:gd name="connsiteY2" fmla="*/ 355741 h 355748"/>
                  <a:gd name="connsiteX3" fmla="*/ 33 w 419081"/>
                  <a:gd name="connsiteY3" fmla="*/ 39106 h 355748"/>
                  <a:gd name="connsiteX0" fmla="*/ 0 w 419082"/>
                  <a:gd name="connsiteY0" fmla="*/ 0 h 355749"/>
                  <a:gd name="connsiteX1" fmla="*/ 220134 w 419082"/>
                  <a:gd name="connsiteY1" fmla="*/ 167412 h 355749"/>
                  <a:gd name="connsiteX2" fmla="*/ 419082 w 419082"/>
                  <a:gd name="connsiteY2" fmla="*/ 316635 h 355749"/>
                  <a:gd name="connsiteX3" fmla="*/ 419082 w 419082"/>
                  <a:gd name="connsiteY3" fmla="*/ 355749 h 355749"/>
                  <a:gd name="connsiteX4" fmla="*/ 0 w 419082"/>
                  <a:gd name="connsiteY4" fmla="*/ 39114 h 355749"/>
                  <a:gd name="connsiteX5" fmla="*/ 0 w 419082"/>
                  <a:gd name="connsiteY5" fmla="*/ 0 h 355749"/>
                  <a:gd name="connsiteX0" fmla="*/ 0 w 419082"/>
                  <a:gd name="connsiteY0" fmla="*/ 0 h 355749"/>
                  <a:gd name="connsiteX1" fmla="*/ 269425 w 419082"/>
                  <a:gd name="connsiteY1" fmla="*/ 124693 h 355749"/>
                  <a:gd name="connsiteX2" fmla="*/ 419082 w 419082"/>
                  <a:gd name="connsiteY2" fmla="*/ 316635 h 355749"/>
                  <a:gd name="connsiteX3" fmla="*/ 419082 w 419082"/>
                  <a:gd name="connsiteY3" fmla="*/ 355749 h 355749"/>
                  <a:gd name="connsiteX4" fmla="*/ 0 w 419082"/>
                  <a:gd name="connsiteY4" fmla="*/ 39114 h 355749"/>
                  <a:gd name="connsiteX5" fmla="*/ 0 w 419082"/>
                  <a:gd name="connsiteY5" fmla="*/ 0 h 3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082" h="355749">
                    <a:moveTo>
                      <a:pt x="0" y="0"/>
                    </a:moveTo>
                    <a:lnTo>
                      <a:pt x="269425" y="124693"/>
                    </a:lnTo>
                    <a:lnTo>
                      <a:pt x="419082" y="316635"/>
                    </a:lnTo>
                    <a:lnTo>
                      <a:pt x="419082" y="355749"/>
                    </a:lnTo>
                    <a:lnTo>
                      <a:pt x="0" y="39114"/>
                    </a:lnTo>
                    <a:lnTo>
                      <a:pt x="0" y="0"/>
                    </a:lnTo>
                    <a:close/>
                  </a:path>
                </a:pathLst>
              </a:custGeom>
              <a:grp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sp>
            <p:nvSpPr>
              <p:cNvPr id="52" name="Freeform: Shape 51">
                <a:extLst>
                  <a:ext uri="{FF2B5EF4-FFF2-40B4-BE49-F238E27FC236}">
                    <a16:creationId xmlns:a16="http://schemas.microsoft.com/office/drawing/2014/main" id="{1821CD10-DD6A-224F-D656-A6277BBAE82D}"/>
                  </a:ext>
                </a:extLst>
              </p:cNvPr>
              <p:cNvSpPr/>
              <p:nvPr/>
            </p:nvSpPr>
            <p:spPr>
              <a:xfrm>
                <a:off x="4841459" y="4098587"/>
                <a:ext cx="2315767" cy="287366"/>
              </a:xfrm>
              <a:custGeom>
                <a:avLst/>
                <a:gdLst>
                  <a:gd name="connsiteX0" fmla="*/ 33 w 1173421"/>
                  <a:gd name="connsiteY0" fmla="*/ 102432 h 141553"/>
                  <a:gd name="connsiteX1" fmla="*/ 1173455 w 1173421"/>
                  <a:gd name="connsiteY1" fmla="*/ -8 h 141553"/>
                  <a:gd name="connsiteX2" fmla="*/ 1173455 w 1173421"/>
                  <a:gd name="connsiteY2" fmla="*/ 39106 h 141553"/>
                  <a:gd name="connsiteX3" fmla="*/ 33 w 1173421"/>
                  <a:gd name="connsiteY3" fmla="*/ 141546 h 141553"/>
                  <a:gd name="connsiteX0" fmla="*/ 0 w 1173422"/>
                  <a:gd name="connsiteY0" fmla="*/ 102440 h 141554"/>
                  <a:gd name="connsiteX1" fmla="*/ 543679 w 1173422"/>
                  <a:gd name="connsiteY1" fmla="*/ 48520 h 141554"/>
                  <a:gd name="connsiteX2" fmla="*/ 1173422 w 1173422"/>
                  <a:gd name="connsiteY2" fmla="*/ 0 h 141554"/>
                  <a:gd name="connsiteX3" fmla="*/ 1173422 w 1173422"/>
                  <a:gd name="connsiteY3" fmla="*/ 39114 h 141554"/>
                  <a:gd name="connsiteX4" fmla="*/ 0 w 1173422"/>
                  <a:gd name="connsiteY4" fmla="*/ 141554 h 141554"/>
                  <a:gd name="connsiteX5" fmla="*/ 0 w 1173422"/>
                  <a:gd name="connsiteY5" fmla="*/ 102440 h 141554"/>
                  <a:gd name="connsiteX0" fmla="*/ 0 w 1173422"/>
                  <a:gd name="connsiteY0" fmla="*/ 106497 h 145611"/>
                  <a:gd name="connsiteX1" fmla="*/ 533821 w 1173422"/>
                  <a:gd name="connsiteY1" fmla="*/ 0 h 145611"/>
                  <a:gd name="connsiteX2" fmla="*/ 1173422 w 1173422"/>
                  <a:gd name="connsiteY2" fmla="*/ 4057 h 145611"/>
                  <a:gd name="connsiteX3" fmla="*/ 1173422 w 1173422"/>
                  <a:gd name="connsiteY3" fmla="*/ 43171 h 145611"/>
                  <a:gd name="connsiteX4" fmla="*/ 0 w 1173422"/>
                  <a:gd name="connsiteY4" fmla="*/ 145611 h 145611"/>
                  <a:gd name="connsiteX5" fmla="*/ 0 w 1173422"/>
                  <a:gd name="connsiteY5" fmla="*/ 106497 h 14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422" h="145611">
                    <a:moveTo>
                      <a:pt x="0" y="106497"/>
                    </a:moveTo>
                    <a:lnTo>
                      <a:pt x="533821" y="0"/>
                    </a:lnTo>
                    <a:lnTo>
                      <a:pt x="1173422" y="4057"/>
                    </a:lnTo>
                    <a:lnTo>
                      <a:pt x="1173422" y="43171"/>
                    </a:lnTo>
                    <a:lnTo>
                      <a:pt x="0" y="145611"/>
                    </a:lnTo>
                    <a:lnTo>
                      <a:pt x="0" y="106497"/>
                    </a:lnTo>
                    <a:close/>
                  </a:path>
                </a:pathLst>
              </a:custGeom>
              <a:grp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sp>
            <p:nvSpPr>
              <p:cNvPr id="53" name="Freeform: Shape 52">
                <a:extLst>
                  <a:ext uri="{FF2B5EF4-FFF2-40B4-BE49-F238E27FC236}">
                    <a16:creationId xmlns:a16="http://schemas.microsoft.com/office/drawing/2014/main" id="{271712FA-2865-A0F8-A7DD-CCB2A0EEC7E8}"/>
                  </a:ext>
                </a:extLst>
              </p:cNvPr>
              <p:cNvSpPr/>
              <p:nvPr/>
            </p:nvSpPr>
            <p:spPr>
              <a:xfrm>
                <a:off x="4014331" y="2967174"/>
                <a:ext cx="3142829" cy="1341666"/>
              </a:xfrm>
              <a:custGeom>
                <a:avLst/>
                <a:gdLst>
                  <a:gd name="connsiteX0" fmla="*/ 1518024 w 1592502"/>
                  <a:gd name="connsiteY0" fmla="*/ 65182 h 679835"/>
                  <a:gd name="connsiteX1" fmla="*/ 353924 w 1592502"/>
                  <a:gd name="connsiteY1" fmla="*/ -8 h 679835"/>
                  <a:gd name="connsiteX2" fmla="*/ 33 w 1592502"/>
                  <a:gd name="connsiteY2" fmla="*/ 363192 h 679835"/>
                  <a:gd name="connsiteX3" fmla="*/ 419115 w 1592502"/>
                  <a:gd name="connsiteY3" fmla="*/ 679827 h 679835"/>
                  <a:gd name="connsiteX4" fmla="*/ 419115 w 1592502"/>
                  <a:gd name="connsiteY4" fmla="*/ 679827 h 679835"/>
                  <a:gd name="connsiteX5" fmla="*/ 1592536 w 1592502"/>
                  <a:gd name="connsiteY5" fmla="*/ 577387 h 679835"/>
                  <a:gd name="connsiteX6" fmla="*/ 1592536 w 1592502"/>
                  <a:gd name="connsiteY6" fmla="*/ 577387 h 67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2502" h="679835">
                    <a:moveTo>
                      <a:pt x="1518024" y="65182"/>
                    </a:moveTo>
                    <a:lnTo>
                      <a:pt x="353924" y="-8"/>
                    </a:lnTo>
                    <a:lnTo>
                      <a:pt x="33" y="363192"/>
                    </a:lnTo>
                    <a:lnTo>
                      <a:pt x="419115" y="679827"/>
                    </a:lnTo>
                    <a:lnTo>
                      <a:pt x="419115" y="679827"/>
                    </a:lnTo>
                    <a:lnTo>
                      <a:pt x="1592536" y="577387"/>
                    </a:lnTo>
                    <a:lnTo>
                      <a:pt x="1592536" y="577387"/>
                    </a:lnTo>
                    <a:close/>
                  </a:path>
                </a:pathLst>
              </a:custGeom>
              <a:grpFill/>
              <a:ln w="6516"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endParaRPr lang="en-US" sz="1400"/>
              </a:p>
            </p:txBody>
          </p:sp>
        </p:grpSp>
        <p:sp>
          <p:nvSpPr>
            <p:cNvPr id="50" name="TextBox 49">
              <a:extLst>
                <a:ext uri="{FF2B5EF4-FFF2-40B4-BE49-F238E27FC236}">
                  <a16:creationId xmlns:a16="http://schemas.microsoft.com/office/drawing/2014/main" id="{78837CE2-F520-C57A-AFD2-CD799A441B80}"/>
                </a:ext>
              </a:extLst>
            </p:cNvPr>
            <p:cNvSpPr txBox="1"/>
            <p:nvPr/>
          </p:nvSpPr>
          <p:spPr>
            <a:xfrm rot="21441207">
              <a:off x="4510045" y="3293090"/>
              <a:ext cx="2408653" cy="665328"/>
            </a:xfrm>
            <a:prstGeom prst="rect">
              <a:avLst/>
            </a:prstGeom>
            <a:grpFill/>
          </p:spPr>
          <p:txBody>
            <a:bodyPr wrap="none" rtlCol="0" anchor="ctr">
              <a:spAutoFit/>
            </a:bodyPr>
            <a:lstStyle/>
            <a:p>
              <a:r>
                <a:rPr lang="en-US" b="1" dirty="0">
                  <a:solidFill>
                    <a:schemeClr val="tx1">
                      <a:lumMod val="85000"/>
                      <a:lumOff val="15000"/>
                    </a:schemeClr>
                  </a:solidFill>
                </a:rPr>
                <a:t>TRADITIONAL</a:t>
              </a:r>
              <a:endParaRPr lang="en-US" sz="2400" b="1" dirty="0">
                <a:solidFill>
                  <a:schemeClr val="tx1">
                    <a:lumMod val="85000"/>
                    <a:lumOff val="15000"/>
                  </a:schemeClr>
                </a:solidFill>
              </a:endParaRPr>
            </a:p>
          </p:txBody>
        </p:sp>
      </p:grpSp>
      <p:grpSp>
        <p:nvGrpSpPr>
          <p:cNvPr id="66" name="Group 65">
            <a:extLst>
              <a:ext uri="{FF2B5EF4-FFF2-40B4-BE49-F238E27FC236}">
                <a16:creationId xmlns:a16="http://schemas.microsoft.com/office/drawing/2014/main" id="{8426E81B-8A47-8503-C900-A64237F9F571}"/>
              </a:ext>
            </a:extLst>
          </p:cNvPr>
          <p:cNvGrpSpPr/>
          <p:nvPr/>
        </p:nvGrpSpPr>
        <p:grpSpPr>
          <a:xfrm>
            <a:off x="7166065" y="1272968"/>
            <a:ext cx="4225190" cy="4222355"/>
            <a:chOff x="8921977" y="1066615"/>
            <a:chExt cx="2926080" cy="5629806"/>
          </a:xfrm>
        </p:grpSpPr>
        <p:sp>
          <p:nvSpPr>
            <p:cNvPr id="67" name="TextBox 66">
              <a:extLst>
                <a:ext uri="{FF2B5EF4-FFF2-40B4-BE49-F238E27FC236}">
                  <a16:creationId xmlns:a16="http://schemas.microsoft.com/office/drawing/2014/main" id="{97B0882A-E9B5-AB83-DA28-41EE97F8CAAB}"/>
                </a:ext>
              </a:extLst>
            </p:cNvPr>
            <p:cNvSpPr txBox="1"/>
            <p:nvPr/>
          </p:nvSpPr>
          <p:spPr>
            <a:xfrm>
              <a:off x="8921977" y="1066615"/>
              <a:ext cx="2926080" cy="861775"/>
            </a:xfrm>
            <a:prstGeom prst="rect">
              <a:avLst/>
            </a:prstGeom>
            <a:noFill/>
          </p:spPr>
          <p:txBody>
            <a:bodyPr wrap="square" lIns="0" rIns="0" rtlCol="0" anchor="b">
              <a:spAutoFit/>
            </a:bodyPr>
            <a:lstStyle/>
            <a:p>
              <a:r>
                <a:rPr lang="en-US" b="1" cap="all" noProof="1">
                  <a:solidFill>
                    <a:schemeClr val="accent6">
                      <a:lumMod val="50000"/>
                    </a:schemeClr>
                  </a:solidFill>
                </a:rPr>
                <a:t>Marketing Driven SALES</a:t>
              </a:r>
            </a:p>
          </p:txBody>
        </p:sp>
        <p:sp>
          <p:nvSpPr>
            <p:cNvPr id="68" name="TextBox 67">
              <a:extLst>
                <a:ext uri="{FF2B5EF4-FFF2-40B4-BE49-F238E27FC236}">
                  <a16:creationId xmlns:a16="http://schemas.microsoft.com/office/drawing/2014/main" id="{F2066A1A-3D5A-B3C4-1694-9047A2A5ABE6}"/>
                </a:ext>
              </a:extLst>
            </p:cNvPr>
            <p:cNvSpPr txBox="1"/>
            <p:nvPr/>
          </p:nvSpPr>
          <p:spPr>
            <a:xfrm>
              <a:off x="8921977" y="1925884"/>
              <a:ext cx="2926080" cy="4770537"/>
            </a:xfrm>
            <a:prstGeom prst="rect">
              <a:avLst/>
            </a:prstGeom>
            <a:noFill/>
          </p:spPr>
          <p:txBody>
            <a:bodyPr wrap="square" lIns="0" rIns="0" rtlCol="0" anchor="t">
              <a:spAutoFit/>
            </a:bodyPr>
            <a:lstStyle/>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Optimized portfolio from both OTC and speciality medication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Builds brand loyalty and equity.</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Healthy sales and distribution channels focusing on private market &amp; capitalizing on tender opportunitie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Healthy ROI and capability to grow the busines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Long term strategy with sustainable growth.</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Better equipped to handle competition.</a:t>
              </a:r>
            </a:p>
            <a:p>
              <a:pPr algn="just">
                <a:lnSpc>
                  <a:spcPct val="200000"/>
                </a:lnSpc>
              </a:pPr>
              <a:endParaRPr lang="en-US" sz="1200" noProof="1">
                <a:solidFill>
                  <a:srgbClr val="E7E6E6">
                    <a:lumMod val="25000"/>
                  </a:srgbClr>
                </a:solidFill>
                <a:latin typeface="Poppins Light" panose="00000400000000000000" pitchFamily="2" charset="0"/>
                <a:cs typeface="Poppins Light" panose="00000400000000000000" pitchFamily="2" charset="0"/>
              </a:endParaRPr>
            </a:p>
            <a:p>
              <a:pPr algn="just"/>
              <a:endParaRPr lang="en-US" sz="1050" noProof="1">
                <a:solidFill>
                  <a:srgbClr val="E7E6E6">
                    <a:lumMod val="25000"/>
                  </a:srgbClr>
                </a:solidFill>
                <a:latin typeface="Poppins Light" panose="00000400000000000000" pitchFamily="2" charset="0"/>
                <a:cs typeface="Poppins Light" panose="00000400000000000000" pitchFamily="2" charset="0"/>
              </a:endParaRPr>
            </a:p>
          </p:txBody>
        </p:sp>
      </p:grpSp>
      <p:grpSp>
        <p:nvGrpSpPr>
          <p:cNvPr id="69" name="Group 68">
            <a:extLst>
              <a:ext uri="{FF2B5EF4-FFF2-40B4-BE49-F238E27FC236}">
                <a16:creationId xmlns:a16="http://schemas.microsoft.com/office/drawing/2014/main" id="{2F9B8084-382E-2729-D2CB-64DF05285FAB}"/>
              </a:ext>
            </a:extLst>
          </p:cNvPr>
          <p:cNvGrpSpPr/>
          <p:nvPr/>
        </p:nvGrpSpPr>
        <p:grpSpPr>
          <a:xfrm>
            <a:off x="689120" y="1594559"/>
            <a:ext cx="4169915" cy="3183607"/>
            <a:chOff x="733350" y="1549968"/>
            <a:chExt cx="1877978" cy="3183607"/>
          </a:xfrm>
        </p:grpSpPr>
        <p:sp>
          <p:nvSpPr>
            <p:cNvPr id="70" name="TextBox 69">
              <a:extLst>
                <a:ext uri="{FF2B5EF4-FFF2-40B4-BE49-F238E27FC236}">
                  <a16:creationId xmlns:a16="http://schemas.microsoft.com/office/drawing/2014/main" id="{3C0627F0-D3E4-6480-C29A-53513DD6E23A}"/>
                </a:ext>
              </a:extLst>
            </p:cNvPr>
            <p:cNvSpPr txBox="1"/>
            <p:nvPr/>
          </p:nvSpPr>
          <p:spPr>
            <a:xfrm>
              <a:off x="733350" y="1549968"/>
              <a:ext cx="1877978" cy="369332"/>
            </a:xfrm>
            <a:prstGeom prst="rect">
              <a:avLst/>
            </a:prstGeom>
            <a:noFill/>
          </p:spPr>
          <p:txBody>
            <a:bodyPr wrap="square" lIns="0" rIns="0" rtlCol="0" anchor="b">
              <a:spAutoFit/>
            </a:bodyPr>
            <a:lstStyle/>
            <a:p>
              <a:r>
                <a:rPr lang="en-US" b="1" cap="all" noProof="1">
                  <a:solidFill>
                    <a:schemeClr val="accent2">
                      <a:lumMod val="75000"/>
                    </a:schemeClr>
                  </a:solidFill>
                </a:rPr>
                <a:t>Commercial discounts driven sales</a:t>
              </a:r>
            </a:p>
          </p:txBody>
        </p:sp>
        <p:sp>
          <p:nvSpPr>
            <p:cNvPr id="71" name="TextBox 70">
              <a:extLst>
                <a:ext uri="{FF2B5EF4-FFF2-40B4-BE49-F238E27FC236}">
                  <a16:creationId xmlns:a16="http://schemas.microsoft.com/office/drawing/2014/main" id="{7BDB1E0C-B33C-1C5F-ABF3-C1880D166431}"/>
                </a:ext>
              </a:extLst>
            </p:cNvPr>
            <p:cNvSpPr txBox="1"/>
            <p:nvPr/>
          </p:nvSpPr>
          <p:spPr>
            <a:xfrm>
              <a:off x="733350" y="1917419"/>
              <a:ext cx="1877978" cy="2816156"/>
            </a:xfrm>
            <a:prstGeom prst="rect">
              <a:avLst/>
            </a:prstGeom>
            <a:noFill/>
          </p:spPr>
          <p:txBody>
            <a:bodyPr wrap="square" lIns="0" rIns="0" rtlCol="0" anchor="t">
              <a:spAutoFit/>
            </a:bodyPr>
            <a:lstStyle/>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Focused on OTC and traditional product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Low brand loyalty (commodity perception).</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Focus on tender sector and wholesaller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Low profit margins.</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Red-ocean strategy with limited growth-potential.</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Vulnerabile towards competition.</a:t>
              </a:r>
            </a:p>
            <a:p>
              <a:pPr marL="171450" indent="-171450" algn="just">
                <a:lnSpc>
                  <a:spcPct val="200000"/>
                </a:lnSpc>
                <a:buFont typeface="Arial" panose="020B0604020202020204" pitchFamily="34" charset="0"/>
                <a:buChar char="•"/>
              </a:pPr>
              <a:r>
                <a:rPr lang="en-US" sz="1200" noProof="1">
                  <a:solidFill>
                    <a:srgbClr val="E7E6E6">
                      <a:lumMod val="25000"/>
                    </a:srgbClr>
                  </a:solidFill>
                  <a:latin typeface="Poppins Light" panose="00000400000000000000" pitchFamily="2" charset="0"/>
                  <a:cs typeface="Poppins Light" panose="00000400000000000000" pitchFamily="2" charset="0"/>
                </a:rPr>
                <a:t>Limited investment with modest customer base.</a:t>
              </a:r>
            </a:p>
            <a:p>
              <a:pPr algn="just"/>
              <a:endParaRPr lang="en-US" sz="900" noProof="1">
                <a:solidFill>
                  <a:schemeClr val="tx1">
                    <a:lumMod val="65000"/>
                    <a:lumOff val="35000"/>
                  </a:schemeClr>
                </a:solidFill>
              </a:endParaRPr>
            </a:p>
          </p:txBody>
        </p:sp>
      </p:grpSp>
      <p:pic>
        <p:nvPicPr>
          <p:cNvPr id="72" name="Graphic 71" descr="Checkmark with solid fill">
            <a:extLst>
              <a:ext uri="{FF2B5EF4-FFF2-40B4-BE49-F238E27FC236}">
                <a16:creationId xmlns:a16="http://schemas.microsoft.com/office/drawing/2014/main" id="{05505AE5-E4A9-BA77-B9B7-A0497E1D322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79778" y="1594559"/>
            <a:ext cx="359538" cy="359538"/>
          </a:xfrm>
          <a:prstGeom prst="rect">
            <a:avLst/>
          </a:prstGeom>
        </p:spPr>
      </p:pic>
      <p:pic>
        <p:nvPicPr>
          <p:cNvPr id="79" name="Graphic 78" descr="Close with solid fill">
            <a:extLst>
              <a:ext uri="{FF2B5EF4-FFF2-40B4-BE49-F238E27FC236}">
                <a16:creationId xmlns:a16="http://schemas.microsoft.com/office/drawing/2014/main" id="{A9B24CC8-A358-0E34-E61C-B4EE897080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8588" y="1611331"/>
            <a:ext cx="369333" cy="369333"/>
          </a:xfrm>
          <a:prstGeom prst="rect">
            <a:avLst/>
          </a:prstGeom>
        </p:spPr>
      </p:pic>
    </p:spTree>
    <p:extLst>
      <p:ext uri="{BB962C8B-B14F-4D97-AF65-F5344CB8AC3E}">
        <p14:creationId xmlns:p14="http://schemas.microsoft.com/office/powerpoint/2010/main" val="37813965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BC5CC8-C821-2806-DE0C-1A431D8CE6B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53" name="Picture Placeholder 52" descr="A close-up of people shaking hands&#10;&#10;Description automatically generated with medium confidence">
            <a:extLst>
              <a:ext uri="{FF2B5EF4-FFF2-40B4-BE49-F238E27FC236}">
                <a16:creationId xmlns:a16="http://schemas.microsoft.com/office/drawing/2014/main" id="{174D94CB-1DF6-199B-0761-E2A21E683A98}"/>
              </a:ext>
            </a:extLst>
          </p:cNvPr>
          <p:cNvPicPr>
            <a:picLocks noGrp="1" noChangeAspect="1"/>
          </p:cNvPicPr>
          <p:nvPr>
            <p:ph type="pic" sz="quarter" idx="13"/>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22094" r="22094"/>
          <a:stretch>
            <a:fillRect/>
          </a:stretch>
        </p:blipFill>
        <p:spPr>
          <a:xfrm>
            <a:off x="7843123" y="2189516"/>
            <a:ext cx="4314466" cy="4349396"/>
          </a:xfrm>
        </p:spPr>
      </p:pic>
      <p:sp>
        <p:nvSpPr>
          <p:cNvPr id="3" name="TextBox 2">
            <a:extLst>
              <a:ext uri="{FF2B5EF4-FFF2-40B4-BE49-F238E27FC236}">
                <a16:creationId xmlns:a16="http://schemas.microsoft.com/office/drawing/2014/main" id="{8BEEAEC8-31FC-7540-C9F7-638DA8281D92}"/>
              </a:ext>
            </a:extLst>
          </p:cNvPr>
          <p:cNvSpPr txBox="1"/>
          <p:nvPr/>
        </p:nvSpPr>
        <p:spPr>
          <a:xfrm>
            <a:off x="944147" y="1165673"/>
            <a:ext cx="4043489" cy="584775"/>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2400" b="0" i="0" u="none" strike="noStrike" cap="none" spc="0" normalizeH="0" baseline="0">
                <a:ln>
                  <a:noFill/>
                </a:ln>
                <a:solidFill>
                  <a:prstClr val="black"/>
                </a:solidFill>
                <a:effectLst/>
                <a:uLnTx/>
                <a:uFillTx/>
                <a:latin typeface="Jost Extra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schemeClr val="tx1"/>
                </a:solidFill>
                <a:latin typeface="Oswald SemiBold" pitchFamily="2" charset="0"/>
                <a:cs typeface="Poppins Light" panose="00000400000000000000" pitchFamily="2" charset="0"/>
              </a:rPr>
              <a:t>OUR</a:t>
            </a:r>
            <a:r>
              <a:rPr lang="en-US" sz="3200" dirty="0">
                <a:solidFill>
                  <a:srgbClr val="EC2129"/>
                </a:solidFill>
                <a:latin typeface="Oswald SemiBold" pitchFamily="2" charset="0"/>
                <a:cs typeface="Poppins Light" panose="00000400000000000000" pitchFamily="2" charset="0"/>
              </a:rPr>
              <a:t> PARTNERS </a:t>
            </a:r>
          </a:p>
        </p:txBody>
      </p:sp>
      <p:grpSp>
        <p:nvGrpSpPr>
          <p:cNvPr id="38" name="Group 37">
            <a:extLst>
              <a:ext uri="{FF2B5EF4-FFF2-40B4-BE49-F238E27FC236}">
                <a16:creationId xmlns:a16="http://schemas.microsoft.com/office/drawing/2014/main" id="{F38384E0-1506-1CC6-CEFF-8E40F2F4C06F}"/>
              </a:ext>
            </a:extLst>
          </p:cNvPr>
          <p:cNvGrpSpPr/>
          <p:nvPr/>
        </p:nvGrpSpPr>
        <p:grpSpPr>
          <a:xfrm>
            <a:off x="4978332" y="2189516"/>
            <a:ext cx="1656723" cy="1025510"/>
            <a:chOff x="574413" y="2193178"/>
            <a:chExt cx="1656723" cy="1025510"/>
          </a:xfrm>
        </p:grpSpPr>
        <p:sp>
          <p:nvSpPr>
            <p:cNvPr id="18" name="Rectangle 17">
              <a:extLst>
                <a:ext uri="{FF2B5EF4-FFF2-40B4-BE49-F238E27FC236}">
                  <a16:creationId xmlns:a16="http://schemas.microsoft.com/office/drawing/2014/main" id="{17542060-2CE6-AF6F-EF0E-7EE60748037C}"/>
                </a:ext>
              </a:extLst>
            </p:cNvPr>
            <p:cNvSpPr/>
            <p:nvPr/>
          </p:nvSpPr>
          <p:spPr>
            <a:xfrm>
              <a:off x="574413" y="2193178"/>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4" name="Picture 3" descr="Icon&#10;&#10;Description automatically generated">
              <a:extLst>
                <a:ext uri="{FF2B5EF4-FFF2-40B4-BE49-F238E27FC236}">
                  <a16:creationId xmlns:a16="http://schemas.microsoft.com/office/drawing/2014/main" id="{4E7C6705-C367-9DC9-6902-103EE50D98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6272" y="2382653"/>
              <a:ext cx="653005" cy="646561"/>
            </a:xfrm>
            <a:prstGeom prst="rect">
              <a:avLst/>
            </a:prstGeom>
          </p:spPr>
        </p:pic>
      </p:grpSp>
      <p:grpSp>
        <p:nvGrpSpPr>
          <p:cNvPr id="39" name="Group 38">
            <a:extLst>
              <a:ext uri="{FF2B5EF4-FFF2-40B4-BE49-F238E27FC236}">
                <a16:creationId xmlns:a16="http://schemas.microsoft.com/office/drawing/2014/main" id="{EF4D5A7B-C82C-01FD-0B51-D29C54DBCBF1}"/>
              </a:ext>
            </a:extLst>
          </p:cNvPr>
          <p:cNvGrpSpPr/>
          <p:nvPr/>
        </p:nvGrpSpPr>
        <p:grpSpPr>
          <a:xfrm>
            <a:off x="3008696" y="3593850"/>
            <a:ext cx="1656723" cy="1025510"/>
            <a:chOff x="574413" y="3429000"/>
            <a:chExt cx="1656723" cy="1025510"/>
          </a:xfrm>
        </p:grpSpPr>
        <p:sp>
          <p:nvSpPr>
            <p:cNvPr id="24" name="Rectangle 23">
              <a:extLst>
                <a:ext uri="{FF2B5EF4-FFF2-40B4-BE49-F238E27FC236}">
                  <a16:creationId xmlns:a16="http://schemas.microsoft.com/office/drawing/2014/main" id="{D4CAF059-362A-3E0C-62B3-D87A9C9951E8}"/>
                </a:ext>
              </a:extLst>
            </p:cNvPr>
            <p:cNvSpPr/>
            <p:nvPr/>
          </p:nvSpPr>
          <p:spPr>
            <a:xfrm>
              <a:off x="574413" y="3429000"/>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5" name="Picture 4">
              <a:extLst>
                <a:ext uri="{FF2B5EF4-FFF2-40B4-BE49-F238E27FC236}">
                  <a16:creationId xmlns:a16="http://schemas.microsoft.com/office/drawing/2014/main" id="{920739A0-7886-0C67-1FE5-020CAEC33BD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15549" y="3798220"/>
              <a:ext cx="974451" cy="287070"/>
            </a:xfrm>
            <a:prstGeom prst="rect">
              <a:avLst/>
            </a:prstGeom>
          </p:spPr>
        </p:pic>
      </p:grpSp>
      <p:sp>
        <p:nvSpPr>
          <p:cNvPr id="25" name="Rectangle 24">
            <a:extLst>
              <a:ext uri="{FF2B5EF4-FFF2-40B4-BE49-F238E27FC236}">
                <a16:creationId xmlns:a16="http://schemas.microsoft.com/office/drawing/2014/main" id="{9F313AC8-30C1-F148-888D-A34982632A93}"/>
              </a:ext>
            </a:extLst>
          </p:cNvPr>
          <p:cNvSpPr/>
          <p:nvPr/>
        </p:nvSpPr>
        <p:spPr>
          <a:xfrm>
            <a:off x="4978331" y="4932854"/>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grpSp>
        <p:nvGrpSpPr>
          <p:cNvPr id="37" name="Group 36">
            <a:extLst>
              <a:ext uri="{FF2B5EF4-FFF2-40B4-BE49-F238E27FC236}">
                <a16:creationId xmlns:a16="http://schemas.microsoft.com/office/drawing/2014/main" id="{247F74A0-746F-D874-4261-20D1A51FD3CA}"/>
              </a:ext>
            </a:extLst>
          </p:cNvPr>
          <p:cNvGrpSpPr/>
          <p:nvPr/>
        </p:nvGrpSpPr>
        <p:grpSpPr>
          <a:xfrm>
            <a:off x="1047965" y="4929158"/>
            <a:ext cx="1656723" cy="1025510"/>
            <a:chOff x="2373846" y="2193178"/>
            <a:chExt cx="1656723" cy="1025510"/>
          </a:xfrm>
        </p:grpSpPr>
        <p:sp>
          <p:nvSpPr>
            <p:cNvPr id="23" name="Rectangle 22">
              <a:extLst>
                <a:ext uri="{FF2B5EF4-FFF2-40B4-BE49-F238E27FC236}">
                  <a16:creationId xmlns:a16="http://schemas.microsoft.com/office/drawing/2014/main" id="{30E8EC94-92A0-8196-6709-B637EB2E1965}"/>
                </a:ext>
              </a:extLst>
            </p:cNvPr>
            <p:cNvSpPr/>
            <p:nvPr/>
          </p:nvSpPr>
          <p:spPr>
            <a:xfrm>
              <a:off x="2373846" y="2193178"/>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7" name="Picture 6">
              <a:extLst>
                <a:ext uri="{FF2B5EF4-FFF2-40B4-BE49-F238E27FC236}">
                  <a16:creationId xmlns:a16="http://schemas.microsoft.com/office/drawing/2014/main" id="{5843C122-DBB8-ABD1-468A-27DBFC84032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719457" y="2560616"/>
              <a:ext cx="965500" cy="290634"/>
            </a:xfrm>
            <a:prstGeom prst="rect">
              <a:avLst/>
            </a:prstGeom>
          </p:spPr>
        </p:pic>
      </p:grpSp>
      <p:grpSp>
        <p:nvGrpSpPr>
          <p:cNvPr id="42" name="Group 41">
            <a:extLst>
              <a:ext uri="{FF2B5EF4-FFF2-40B4-BE49-F238E27FC236}">
                <a16:creationId xmlns:a16="http://schemas.microsoft.com/office/drawing/2014/main" id="{50145BD1-F39E-515B-126B-DF858580DCB1}"/>
              </a:ext>
            </a:extLst>
          </p:cNvPr>
          <p:cNvGrpSpPr/>
          <p:nvPr/>
        </p:nvGrpSpPr>
        <p:grpSpPr>
          <a:xfrm>
            <a:off x="1043837" y="2189516"/>
            <a:ext cx="1638116" cy="1025510"/>
            <a:chOff x="2392453" y="3429000"/>
            <a:chExt cx="1638116" cy="1025510"/>
          </a:xfrm>
        </p:grpSpPr>
        <p:sp>
          <p:nvSpPr>
            <p:cNvPr id="26" name="Rectangle 25">
              <a:extLst>
                <a:ext uri="{FF2B5EF4-FFF2-40B4-BE49-F238E27FC236}">
                  <a16:creationId xmlns:a16="http://schemas.microsoft.com/office/drawing/2014/main" id="{0D74CDD7-0087-ED2C-CB74-19CA2E466225}"/>
                </a:ext>
              </a:extLst>
            </p:cNvPr>
            <p:cNvSpPr/>
            <p:nvPr/>
          </p:nvSpPr>
          <p:spPr>
            <a:xfrm>
              <a:off x="2392453" y="3429000"/>
              <a:ext cx="1638116"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8" name="Picture 7">
              <a:extLst>
                <a:ext uri="{FF2B5EF4-FFF2-40B4-BE49-F238E27FC236}">
                  <a16:creationId xmlns:a16="http://schemas.microsoft.com/office/drawing/2014/main" id="{9E51873C-72D5-3367-A83D-B0EE3C041E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716562" y="3798220"/>
              <a:ext cx="989899" cy="287070"/>
            </a:xfrm>
            <a:prstGeom prst="rect">
              <a:avLst/>
            </a:prstGeom>
          </p:spPr>
        </p:pic>
      </p:grpSp>
      <p:grpSp>
        <p:nvGrpSpPr>
          <p:cNvPr id="41" name="Group 40">
            <a:extLst>
              <a:ext uri="{FF2B5EF4-FFF2-40B4-BE49-F238E27FC236}">
                <a16:creationId xmlns:a16="http://schemas.microsoft.com/office/drawing/2014/main" id="{86BD235C-8F67-9263-9125-CD3FB31447C4}"/>
              </a:ext>
            </a:extLst>
          </p:cNvPr>
          <p:cNvGrpSpPr/>
          <p:nvPr/>
        </p:nvGrpSpPr>
        <p:grpSpPr>
          <a:xfrm>
            <a:off x="4992163" y="3578818"/>
            <a:ext cx="1656723" cy="1025510"/>
            <a:chOff x="2519944" y="4803690"/>
            <a:chExt cx="1656723" cy="1025510"/>
          </a:xfrm>
        </p:grpSpPr>
        <p:sp>
          <p:nvSpPr>
            <p:cNvPr id="27" name="Rectangle 26">
              <a:extLst>
                <a:ext uri="{FF2B5EF4-FFF2-40B4-BE49-F238E27FC236}">
                  <a16:creationId xmlns:a16="http://schemas.microsoft.com/office/drawing/2014/main" id="{730AC3B9-336D-F8F2-04A8-098BC4842BCA}"/>
                </a:ext>
              </a:extLst>
            </p:cNvPr>
            <p:cNvSpPr/>
            <p:nvPr/>
          </p:nvSpPr>
          <p:spPr>
            <a:xfrm>
              <a:off x="2519944" y="4803690"/>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9" name="Picture 8">
              <a:extLst>
                <a:ext uri="{FF2B5EF4-FFF2-40B4-BE49-F238E27FC236}">
                  <a16:creationId xmlns:a16="http://schemas.microsoft.com/office/drawing/2014/main" id="{5FD2CB86-53E2-2373-B693-9D43047FC9B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735816" y="5183121"/>
              <a:ext cx="1224978" cy="266649"/>
            </a:xfrm>
            <a:prstGeom prst="rect">
              <a:avLst/>
            </a:prstGeom>
          </p:spPr>
        </p:pic>
      </p:grpSp>
      <p:grpSp>
        <p:nvGrpSpPr>
          <p:cNvPr id="36" name="Group 35">
            <a:extLst>
              <a:ext uri="{FF2B5EF4-FFF2-40B4-BE49-F238E27FC236}">
                <a16:creationId xmlns:a16="http://schemas.microsoft.com/office/drawing/2014/main" id="{D4BB65F7-B76E-C497-0674-EAB574B6EF98}"/>
              </a:ext>
            </a:extLst>
          </p:cNvPr>
          <p:cNvGrpSpPr/>
          <p:nvPr/>
        </p:nvGrpSpPr>
        <p:grpSpPr>
          <a:xfrm>
            <a:off x="3033998" y="4929158"/>
            <a:ext cx="1638116" cy="1025510"/>
            <a:chOff x="3934422" y="2193178"/>
            <a:chExt cx="1638116" cy="1025510"/>
          </a:xfrm>
        </p:grpSpPr>
        <p:sp>
          <p:nvSpPr>
            <p:cNvPr id="28" name="Rectangle 27">
              <a:extLst>
                <a:ext uri="{FF2B5EF4-FFF2-40B4-BE49-F238E27FC236}">
                  <a16:creationId xmlns:a16="http://schemas.microsoft.com/office/drawing/2014/main" id="{0187F192-9EC2-C12C-5671-BAC86B006D45}"/>
                </a:ext>
              </a:extLst>
            </p:cNvPr>
            <p:cNvSpPr/>
            <p:nvPr/>
          </p:nvSpPr>
          <p:spPr>
            <a:xfrm>
              <a:off x="3934422" y="2193178"/>
              <a:ext cx="1638116"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0" name="Picture 9">
              <a:extLst>
                <a:ext uri="{FF2B5EF4-FFF2-40B4-BE49-F238E27FC236}">
                  <a16:creationId xmlns:a16="http://schemas.microsoft.com/office/drawing/2014/main" id="{9E8BBD21-7D3E-19E6-8637-EB2D881FA2B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105576" y="2602089"/>
              <a:ext cx="1295809" cy="207689"/>
            </a:xfrm>
            <a:prstGeom prst="rect">
              <a:avLst/>
            </a:prstGeom>
          </p:spPr>
        </p:pic>
      </p:grpSp>
      <p:sp>
        <p:nvSpPr>
          <p:cNvPr id="12" name="Rectangle 11">
            <a:extLst>
              <a:ext uri="{FF2B5EF4-FFF2-40B4-BE49-F238E27FC236}">
                <a16:creationId xmlns:a16="http://schemas.microsoft.com/office/drawing/2014/main" id="{12D6EC84-3434-AF37-CAF9-D0570B186B3F}"/>
              </a:ext>
            </a:extLst>
          </p:cNvPr>
          <p:cNvSpPr/>
          <p:nvPr/>
        </p:nvSpPr>
        <p:spPr>
          <a:xfrm>
            <a:off x="1025230" y="3582464"/>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15" name="Rectangle 14">
            <a:extLst>
              <a:ext uri="{FF2B5EF4-FFF2-40B4-BE49-F238E27FC236}">
                <a16:creationId xmlns:a16="http://schemas.microsoft.com/office/drawing/2014/main" id="{E1ACB389-DEF0-AE6C-D5DF-A8060F53A41F}"/>
              </a:ext>
            </a:extLst>
          </p:cNvPr>
          <p:cNvSpPr/>
          <p:nvPr/>
        </p:nvSpPr>
        <p:spPr>
          <a:xfrm>
            <a:off x="2988144" y="2164625"/>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1" name="Grafik 17">
            <a:extLst>
              <a:ext uri="{FF2B5EF4-FFF2-40B4-BE49-F238E27FC236}">
                <a16:creationId xmlns:a16="http://schemas.microsoft.com/office/drawing/2014/main" id="{9688774D-1211-44AB-A0CD-69E9EF13D5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75960" y="2425078"/>
            <a:ext cx="1048323" cy="504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Zyphars Pharmaceutics">
            <a:extLst>
              <a:ext uri="{FF2B5EF4-FFF2-40B4-BE49-F238E27FC236}">
                <a16:creationId xmlns:a16="http://schemas.microsoft.com/office/drawing/2014/main" id="{5A45BC0B-6ACC-13A7-A591-E4234FF0949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73291" y="3687942"/>
            <a:ext cx="1275446" cy="73583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6621FBD2-8C78-7AF4-1E58-5B9B7ED47F79}"/>
              </a:ext>
            </a:extLst>
          </p:cNvPr>
          <p:cNvPicPr>
            <a:picLocks noChangeAspect="1"/>
          </p:cNvPicPr>
          <p:nvPr/>
        </p:nvPicPr>
        <p:blipFill>
          <a:blip r:embed="rId14"/>
          <a:stretch>
            <a:fillRect/>
          </a:stretch>
        </p:blipFill>
        <p:spPr>
          <a:xfrm>
            <a:off x="5295321" y="4999508"/>
            <a:ext cx="1050406" cy="777506"/>
          </a:xfrm>
          <a:prstGeom prst="rect">
            <a:avLst/>
          </a:prstGeom>
        </p:spPr>
      </p:pic>
      <p:grpSp>
        <p:nvGrpSpPr>
          <p:cNvPr id="6" name="Group 5">
            <a:extLst>
              <a:ext uri="{FF2B5EF4-FFF2-40B4-BE49-F238E27FC236}">
                <a16:creationId xmlns:a16="http://schemas.microsoft.com/office/drawing/2014/main" id="{911670B3-FA4C-519E-8CCC-0D12CC7C488E}"/>
              </a:ext>
            </a:extLst>
          </p:cNvPr>
          <p:cNvGrpSpPr/>
          <p:nvPr/>
        </p:nvGrpSpPr>
        <p:grpSpPr>
          <a:xfrm>
            <a:off x="6828897" y="3586226"/>
            <a:ext cx="1656723" cy="1025510"/>
            <a:chOff x="574413" y="4803690"/>
            <a:chExt cx="1656723" cy="1025510"/>
          </a:xfrm>
        </p:grpSpPr>
        <p:sp>
          <p:nvSpPr>
            <p:cNvPr id="14" name="Rectangle 13">
              <a:extLst>
                <a:ext uri="{FF2B5EF4-FFF2-40B4-BE49-F238E27FC236}">
                  <a16:creationId xmlns:a16="http://schemas.microsoft.com/office/drawing/2014/main" id="{994C3E9C-64A8-B40B-4AE1-1A05F76DB8E8}"/>
                </a:ext>
              </a:extLst>
            </p:cNvPr>
            <p:cNvSpPr/>
            <p:nvPr/>
          </p:nvSpPr>
          <p:spPr>
            <a:xfrm>
              <a:off x="574413" y="4803690"/>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6" name="Picture 15">
              <a:extLst>
                <a:ext uri="{FF2B5EF4-FFF2-40B4-BE49-F238E27FC236}">
                  <a16:creationId xmlns:a16="http://schemas.microsoft.com/office/drawing/2014/main" id="{8314D1B9-54C0-265B-21CA-7076E1FA6579}"/>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926458" y="5095299"/>
              <a:ext cx="952633" cy="442292"/>
            </a:xfrm>
            <a:prstGeom prst="rect">
              <a:avLst/>
            </a:prstGeom>
          </p:spPr>
        </p:pic>
      </p:grpSp>
      <p:sp>
        <p:nvSpPr>
          <p:cNvPr id="20" name="Rectangle 19">
            <a:extLst>
              <a:ext uri="{FF2B5EF4-FFF2-40B4-BE49-F238E27FC236}">
                <a16:creationId xmlns:a16="http://schemas.microsoft.com/office/drawing/2014/main" id="{399C63A6-6AAB-1D69-FDF1-146EA003F9AC}"/>
              </a:ext>
            </a:extLst>
          </p:cNvPr>
          <p:cNvSpPr/>
          <p:nvPr/>
        </p:nvSpPr>
        <p:spPr>
          <a:xfrm>
            <a:off x="6860721" y="2201225"/>
            <a:ext cx="1656723" cy="1025510"/>
          </a:xfrm>
          <a:prstGeom prst="rect">
            <a:avLst/>
          </a:prstGeom>
          <a:solidFill>
            <a:schemeClr val="bg1"/>
          </a:solidFill>
          <a:ln>
            <a:noFill/>
          </a:ln>
          <a:effectLst>
            <a:outerShdw blurRad="381000" dist="38100" dir="5400000" algn="t" rotWithShape="0">
              <a:schemeClr val="accent4">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026" name="Picture 2">
            <a:extLst>
              <a:ext uri="{FF2B5EF4-FFF2-40B4-BE49-F238E27FC236}">
                <a16:creationId xmlns:a16="http://schemas.microsoft.com/office/drawing/2014/main" id="{178FA0B5-60FB-EA7C-373F-6AAFF93E5831}"/>
              </a:ext>
            </a:extLst>
          </p:cNvPr>
          <p:cNvPicPr>
            <a:picLocks noChangeAspect="1" noChangeArrowheads="1"/>
          </p:cNvPicPr>
          <p:nvPr/>
        </p:nvPicPr>
        <p:blipFill>
          <a:blip r:link="rId16">
            <a:extLst>
              <a:ext uri="{28A0092B-C50C-407E-A947-70E740481C1C}">
                <a14:useLocalDpi xmlns:a14="http://schemas.microsoft.com/office/drawing/2010/main" val="0"/>
              </a:ext>
            </a:extLst>
          </a:blip>
          <a:srcRect/>
          <a:stretch>
            <a:fillRect/>
          </a:stretch>
        </p:blipFill>
        <p:spPr bwMode="auto">
          <a:xfrm>
            <a:off x="7018254" y="2343536"/>
            <a:ext cx="1206113" cy="68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9494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down)">
                                      <p:cBhvr>
                                        <p:cTn id="7" dur="1000"/>
                                        <p:tgtEl>
                                          <p:spTgt spid="53"/>
                                        </p:tgtEl>
                                      </p:cBhvr>
                                    </p:animEffect>
                                  </p:childTnLst>
                                </p:cTn>
                              </p:par>
                              <p:par>
                                <p:cTn id="8" presetID="2" presetClass="entr" presetSubtype="8" decel="100000" fill="hold" grpId="0" nodeType="withEffect">
                                  <p:stCondLst>
                                    <p:cond delay="20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4" decel="100000" fill="hold" nodeType="withEffect">
                                  <p:stCondLst>
                                    <p:cond delay="400"/>
                                  </p:stCondLst>
                                  <p:childTnLst>
                                    <p:set>
                                      <p:cBhvr>
                                        <p:cTn id="13" dur="1" fill="hold">
                                          <p:stCondLst>
                                            <p:cond delay="0"/>
                                          </p:stCondLst>
                                        </p:cTn>
                                        <p:tgtEl>
                                          <p:spTgt spid="38"/>
                                        </p:tgtEl>
                                        <p:attrNameLst>
                                          <p:attrName>style.visibility</p:attrName>
                                        </p:attrNameLst>
                                      </p:cBhvr>
                                      <p:to>
                                        <p:strVal val="visible"/>
                                      </p:to>
                                    </p:set>
                                    <p:anim calcmode="lin" valueType="num">
                                      <p:cBhvr additive="base">
                                        <p:cTn id="14" dur="1000" fill="hold"/>
                                        <p:tgtEl>
                                          <p:spTgt spid="38"/>
                                        </p:tgtEl>
                                        <p:attrNameLst>
                                          <p:attrName>ppt_x</p:attrName>
                                        </p:attrNameLst>
                                      </p:cBhvr>
                                      <p:tavLst>
                                        <p:tav tm="0">
                                          <p:val>
                                            <p:strVal val="#ppt_x"/>
                                          </p:val>
                                        </p:tav>
                                        <p:tav tm="100000">
                                          <p:val>
                                            <p:strVal val="#ppt_x"/>
                                          </p:val>
                                        </p:tav>
                                      </p:tavLst>
                                    </p:anim>
                                    <p:anim calcmode="lin" valueType="num">
                                      <p:cBhvr additive="base">
                                        <p:cTn id="15" dur="1000" fill="hold"/>
                                        <p:tgtEl>
                                          <p:spTgt spid="38"/>
                                        </p:tgtEl>
                                        <p:attrNameLst>
                                          <p:attrName>ppt_y</p:attrName>
                                        </p:attrNameLst>
                                      </p:cBhvr>
                                      <p:tavLst>
                                        <p:tav tm="0">
                                          <p:val>
                                            <p:strVal val="1+#ppt_h/2"/>
                                          </p:val>
                                        </p:tav>
                                        <p:tav tm="100000">
                                          <p:val>
                                            <p:strVal val="#ppt_y"/>
                                          </p:val>
                                        </p:tav>
                                      </p:tavLst>
                                    </p:anim>
                                  </p:childTnLst>
                                </p:cTn>
                              </p:par>
                              <p:par>
                                <p:cTn id="16" presetID="2" presetClass="entr" presetSubtype="4" decel="100000" fill="hold" nodeType="withEffect">
                                  <p:stCondLst>
                                    <p:cond delay="600"/>
                                  </p:stCondLst>
                                  <p:childTnLst>
                                    <p:set>
                                      <p:cBhvr>
                                        <p:cTn id="17" dur="1" fill="hold">
                                          <p:stCondLst>
                                            <p:cond delay="0"/>
                                          </p:stCondLst>
                                        </p:cTn>
                                        <p:tgtEl>
                                          <p:spTgt spid="39"/>
                                        </p:tgtEl>
                                        <p:attrNameLst>
                                          <p:attrName>style.visibility</p:attrName>
                                        </p:attrNameLst>
                                      </p:cBhvr>
                                      <p:to>
                                        <p:strVal val="visible"/>
                                      </p:to>
                                    </p:set>
                                    <p:anim calcmode="lin" valueType="num">
                                      <p:cBhvr additive="base">
                                        <p:cTn id="18" dur="1000" fill="hold"/>
                                        <p:tgtEl>
                                          <p:spTgt spid="39"/>
                                        </p:tgtEl>
                                        <p:attrNameLst>
                                          <p:attrName>ppt_x</p:attrName>
                                        </p:attrNameLst>
                                      </p:cBhvr>
                                      <p:tavLst>
                                        <p:tav tm="0">
                                          <p:val>
                                            <p:strVal val="#ppt_x"/>
                                          </p:val>
                                        </p:tav>
                                        <p:tav tm="100000">
                                          <p:val>
                                            <p:strVal val="#ppt_x"/>
                                          </p:val>
                                        </p:tav>
                                      </p:tavLst>
                                    </p:anim>
                                    <p:anim calcmode="lin" valueType="num">
                                      <p:cBhvr additive="base">
                                        <p:cTn id="19" dur="1000" fill="hold"/>
                                        <p:tgtEl>
                                          <p:spTgt spid="39"/>
                                        </p:tgtEl>
                                        <p:attrNameLst>
                                          <p:attrName>ppt_y</p:attrName>
                                        </p:attrNameLst>
                                      </p:cBhvr>
                                      <p:tavLst>
                                        <p:tav tm="0">
                                          <p:val>
                                            <p:strVal val="1+#ppt_h/2"/>
                                          </p:val>
                                        </p:tav>
                                        <p:tav tm="100000">
                                          <p:val>
                                            <p:strVal val="#ppt_y"/>
                                          </p:val>
                                        </p:tav>
                                      </p:tavLst>
                                    </p:anim>
                                  </p:childTnLst>
                                </p:cTn>
                              </p:par>
                              <p:par>
                                <p:cTn id="20" presetID="2" presetClass="entr" presetSubtype="4" decel="100000" fill="hold" nodeType="withEffect">
                                  <p:stCondLst>
                                    <p:cond delay="1000"/>
                                  </p:stCondLst>
                                  <p:childTnLst>
                                    <p:set>
                                      <p:cBhvr>
                                        <p:cTn id="21" dur="1" fill="hold">
                                          <p:stCondLst>
                                            <p:cond delay="0"/>
                                          </p:stCondLst>
                                        </p:cTn>
                                        <p:tgtEl>
                                          <p:spTgt spid="37"/>
                                        </p:tgtEl>
                                        <p:attrNameLst>
                                          <p:attrName>style.visibility</p:attrName>
                                        </p:attrNameLst>
                                      </p:cBhvr>
                                      <p:to>
                                        <p:strVal val="visible"/>
                                      </p:to>
                                    </p:set>
                                    <p:anim calcmode="lin" valueType="num">
                                      <p:cBhvr additive="base">
                                        <p:cTn id="22" dur="1000" fill="hold"/>
                                        <p:tgtEl>
                                          <p:spTgt spid="37"/>
                                        </p:tgtEl>
                                        <p:attrNameLst>
                                          <p:attrName>ppt_x</p:attrName>
                                        </p:attrNameLst>
                                      </p:cBhvr>
                                      <p:tavLst>
                                        <p:tav tm="0">
                                          <p:val>
                                            <p:strVal val="#ppt_x"/>
                                          </p:val>
                                        </p:tav>
                                        <p:tav tm="100000">
                                          <p:val>
                                            <p:strVal val="#ppt_x"/>
                                          </p:val>
                                        </p:tav>
                                      </p:tavLst>
                                    </p:anim>
                                    <p:anim calcmode="lin" valueType="num">
                                      <p:cBhvr additive="base">
                                        <p:cTn id="23" dur="1000" fill="hold"/>
                                        <p:tgtEl>
                                          <p:spTgt spid="37"/>
                                        </p:tgtEl>
                                        <p:attrNameLst>
                                          <p:attrName>ppt_y</p:attrName>
                                        </p:attrNameLst>
                                      </p:cBhvr>
                                      <p:tavLst>
                                        <p:tav tm="0">
                                          <p:val>
                                            <p:strVal val="1+#ppt_h/2"/>
                                          </p:val>
                                        </p:tav>
                                        <p:tav tm="100000">
                                          <p:val>
                                            <p:strVal val="#ppt_y"/>
                                          </p:val>
                                        </p:tav>
                                      </p:tavLst>
                                    </p:anim>
                                  </p:childTnLst>
                                </p:cTn>
                              </p:par>
                              <p:par>
                                <p:cTn id="24" presetID="2" presetClass="entr" presetSubtype="4" decel="100000" fill="hold" nodeType="withEffect">
                                  <p:stCondLst>
                                    <p:cond delay="1200"/>
                                  </p:stCondLst>
                                  <p:childTnLst>
                                    <p:set>
                                      <p:cBhvr>
                                        <p:cTn id="25" dur="1" fill="hold">
                                          <p:stCondLst>
                                            <p:cond delay="0"/>
                                          </p:stCondLst>
                                        </p:cTn>
                                        <p:tgtEl>
                                          <p:spTgt spid="42"/>
                                        </p:tgtEl>
                                        <p:attrNameLst>
                                          <p:attrName>style.visibility</p:attrName>
                                        </p:attrNameLst>
                                      </p:cBhvr>
                                      <p:to>
                                        <p:strVal val="visible"/>
                                      </p:to>
                                    </p:set>
                                    <p:anim calcmode="lin" valueType="num">
                                      <p:cBhvr additive="base">
                                        <p:cTn id="26" dur="1000" fill="hold"/>
                                        <p:tgtEl>
                                          <p:spTgt spid="42"/>
                                        </p:tgtEl>
                                        <p:attrNameLst>
                                          <p:attrName>ppt_x</p:attrName>
                                        </p:attrNameLst>
                                      </p:cBhvr>
                                      <p:tavLst>
                                        <p:tav tm="0">
                                          <p:val>
                                            <p:strVal val="#ppt_x"/>
                                          </p:val>
                                        </p:tav>
                                        <p:tav tm="100000">
                                          <p:val>
                                            <p:strVal val="#ppt_x"/>
                                          </p:val>
                                        </p:tav>
                                      </p:tavLst>
                                    </p:anim>
                                    <p:anim calcmode="lin" valueType="num">
                                      <p:cBhvr additive="base">
                                        <p:cTn id="27" dur="1000" fill="hold"/>
                                        <p:tgtEl>
                                          <p:spTgt spid="42"/>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1400"/>
                                  </p:stCondLst>
                                  <p:childTnLst>
                                    <p:set>
                                      <p:cBhvr>
                                        <p:cTn id="29" dur="1" fill="hold">
                                          <p:stCondLst>
                                            <p:cond delay="0"/>
                                          </p:stCondLst>
                                        </p:cTn>
                                        <p:tgtEl>
                                          <p:spTgt spid="41"/>
                                        </p:tgtEl>
                                        <p:attrNameLst>
                                          <p:attrName>style.visibility</p:attrName>
                                        </p:attrNameLst>
                                      </p:cBhvr>
                                      <p:to>
                                        <p:strVal val="visible"/>
                                      </p:to>
                                    </p:set>
                                    <p:anim calcmode="lin" valueType="num">
                                      <p:cBhvr additive="base">
                                        <p:cTn id="30" dur="1000" fill="hold"/>
                                        <p:tgtEl>
                                          <p:spTgt spid="41"/>
                                        </p:tgtEl>
                                        <p:attrNameLst>
                                          <p:attrName>ppt_x</p:attrName>
                                        </p:attrNameLst>
                                      </p:cBhvr>
                                      <p:tavLst>
                                        <p:tav tm="0">
                                          <p:val>
                                            <p:strVal val="#ppt_x"/>
                                          </p:val>
                                        </p:tav>
                                        <p:tav tm="100000">
                                          <p:val>
                                            <p:strVal val="#ppt_x"/>
                                          </p:val>
                                        </p:tav>
                                      </p:tavLst>
                                    </p:anim>
                                    <p:anim calcmode="lin" valueType="num">
                                      <p:cBhvr additive="base">
                                        <p:cTn id="31" dur="1000" fill="hold"/>
                                        <p:tgtEl>
                                          <p:spTgt spid="41"/>
                                        </p:tgtEl>
                                        <p:attrNameLst>
                                          <p:attrName>ppt_y</p:attrName>
                                        </p:attrNameLst>
                                      </p:cBhvr>
                                      <p:tavLst>
                                        <p:tav tm="0">
                                          <p:val>
                                            <p:strVal val="1+#ppt_h/2"/>
                                          </p:val>
                                        </p:tav>
                                        <p:tav tm="100000">
                                          <p:val>
                                            <p:strVal val="#ppt_y"/>
                                          </p:val>
                                        </p:tav>
                                      </p:tavLst>
                                    </p:anim>
                                  </p:childTnLst>
                                </p:cTn>
                              </p:par>
                              <p:par>
                                <p:cTn id="32" presetID="2" presetClass="entr" presetSubtype="4" decel="100000" fill="hold" nodeType="withEffect">
                                  <p:stCondLst>
                                    <p:cond delay="1600"/>
                                  </p:stCondLst>
                                  <p:childTnLst>
                                    <p:set>
                                      <p:cBhvr>
                                        <p:cTn id="33" dur="1" fill="hold">
                                          <p:stCondLst>
                                            <p:cond delay="0"/>
                                          </p:stCondLst>
                                        </p:cTn>
                                        <p:tgtEl>
                                          <p:spTgt spid="36"/>
                                        </p:tgtEl>
                                        <p:attrNameLst>
                                          <p:attrName>style.visibility</p:attrName>
                                        </p:attrNameLst>
                                      </p:cBhvr>
                                      <p:to>
                                        <p:strVal val="visible"/>
                                      </p:to>
                                    </p:set>
                                    <p:anim calcmode="lin" valueType="num">
                                      <p:cBhvr additive="base">
                                        <p:cTn id="34" dur="1000" fill="hold"/>
                                        <p:tgtEl>
                                          <p:spTgt spid="36"/>
                                        </p:tgtEl>
                                        <p:attrNameLst>
                                          <p:attrName>ppt_x</p:attrName>
                                        </p:attrNameLst>
                                      </p:cBhvr>
                                      <p:tavLst>
                                        <p:tav tm="0">
                                          <p:val>
                                            <p:strVal val="#ppt_x"/>
                                          </p:val>
                                        </p:tav>
                                        <p:tav tm="100000">
                                          <p:val>
                                            <p:strVal val="#ppt_x"/>
                                          </p:val>
                                        </p:tav>
                                      </p:tavLst>
                                    </p:anim>
                                    <p:anim calcmode="lin" valueType="num">
                                      <p:cBhvr additive="base">
                                        <p:cTn id="35" dur="1000" fill="hold"/>
                                        <p:tgtEl>
                                          <p:spTgt spid="36"/>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800"/>
                                  </p:stCondLst>
                                  <p:childTnLst>
                                    <p:set>
                                      <p:cBhvr>
                                        <p:cTn id="37" dur="1" fill="hold">
                                          <p:stCondLst>
                                            <p:cond delay="0"/>
                                          </p:stCondLst>
                                        </p:cTn>
                                        <p:tgtEl>
                                          <p:spTgt spid="6"/>
                                        </p:tgtEl>
                                        <p:attrNameLst>
                                          <p:attrName>style.visibility</p:attrName>
                                        </p:attrNameLst>
                                      </p:cBhvr>
                                      <p:to>
                                        <p:strVal val="visible"/>
                                      </p:to>
                                    </p:set>
                                    <p:anim calcmode="lin" valueType="num">
                                      <p:cBhvr additive="base">
                                        <p:cTn id="38" dur="1000" fill="hold"/>
                                        <p:tgtEl>
                                          <p:spTgt spid="6"/>
                                        </p:tgtEl>
                                        <p:attrNameLst>
                                          <p:attrName>ppt_x</p:attrName>
                                        </p:attrNameLst>
                                      </p:cBhvr>
                                      <p:tavLst>
                                        <p:tav tm="0">
                                          <p:val>
                                            <p:strVal val="#ppt_x"/>
                                          </p:val>
                                        </p:tav>
                                        <p:tav tm="100000">
                                          <p:val>
                                            <p:strVal val="#ppt_x"/>
                                          </p:val>
                                        </p:tav>
                                      </p:tavLst>
                                    </p:anim>
                                    <p:anim calcmode="lin" valueType="num">
                                      <p:cBhvr additive="base">
                                        <p:cTn id="39"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Imagen 41" descr="Una flor morada&#10;&#10;Descripción generada automáticamente con confianza baja">
            <a:extLst>
              <a:ext uri="{FF2B5EF4-FFF2-40B4-BE49-F238E27FC236}">
                <a16:creationId xmlns:a16="http://schemas.microsoft.com/office/drawing/2014/main" id="{FFA58EDF-892F-EDAF-322A-45F693839212}"/>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 r="-1" b="15541"/>
          <a:stretch/>
        </p:blipFill>
        <p:spPr>
          <a:xfrm>
            <a:off x="0" y="0"/>
            <a:ext cx="12192000" cy="6858000"/>
          </a:xfrm>
          <a:prstGeom prst="rect">
            <a:avLst/>
          </a:prstGeom>
        </p:spPr>
      </p:pic>
      <p:grpSp>
        <p:nvGrpSpPr>
          <p:cNvPr id="3" name="Grupo 2">
            <a:extLst>
              <a:ext uri="{FF2B5EF4-FFF2-40B4-BE49-F238E27FC236}">
                <a16:creationId xmlns:a16="http://schemas.microsoft.com/office/drawing/2014/main" id="{340019F1-2A98-E40F-CBF2-3DB94C7BB7D4}"/>
              </a:ext>
            </a:extLst>
          </p:cNvPr>
          <p:cNvGrpSpPr/>
          <p:nvPr/>
        </p:nvGrpSpPr>
        <p:grpSpPr>
          <a:xfrm>
            <a:off x="141258" y="1109177"/>
            <a:ext cx="11803815" cy="4856526"/>
            <a:chOff x="141258" y="1109177"/>
            <a:chExt cx="11803815" cy="4856526"/>
          </a:xfrm>
        </p:grpSpPr>
        <p:pic>
          <p:nvPicPr>
            <p:cNvPr id="59" name="Imagen 58" descr="La luz del sol&#10;&#10;Descripción generada automáticamente con confianza media">
              <a:extLst>
                <a:ext uri="{FF2B5EF4-FFF2-40B4-BE49-F238E27FC236}">
                  <a16:creationId xmlns:a16="http://schemas.microsoft.com/office/drawing/2014/main" id="{271D6C72-9192-EA6C-8799-0985AF64CEF8}"/>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1644833">
              <a:off x="1987379" y="4870879"/>
              <a:ext cx="1104910" cy="1094824"/>
            </a:xfrm>
            <a:prstGeom prst="rect">
              <a:avLst/>
            </a:prstGeom>
          </p:spPr>
        </p:pic>
        <p:pic>
          <p:nvPicPr>
            <p:cNvPr id="50" name="Imagen 49" descr="La luz del sol&#10;&#10;Descripción generada automáticamente con confianza media">
              <a:extLst>
                <a:ext uri="{FF2B5EF4-FFF2-40B4-BE49-F238E27FC236}">
                  <a16:creationId xmlns:a16="http://schemas.microsoft.com/office/drawing/2014/main" id="{998CB3D7-C260-D285-CA84-EA2F97B070DE}"/>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21301" y="1109177"/>
              <a:ext cx="1423772" cy="1410776"/>
            </a:xfrm>
            <a:prstGeom prst="rect">
              <a:avLst/>
            </a:prstGeom>
          </p:spPr>
        </p:pic>
        <p:pic>
          <p:nvPicPr>
            <p:cNvPr id="51" name="Imagen 50" descr="La luz del sol&#10;&#10;Descripción generada automáticamente con confianza media">
              <a:extLst>
                <a:ext uri="{FF2B5EF4-FFF2-40B4-BE49-F238E27FC236}">
                  <a16:creationId xmlns:a16="http://schemas.microsoft.com/office/drawing/2014/main" id="{BBC4BB02-4634-462D-D106-0ABD18A7779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1644833">
              <a:off x="9406063" y="2664005"/>
              <a:ext cx="835236" cy="827612"/>
            </a:xfrm>
            <a:prstGeom prst="rect">
              <a:avLst/>
            </a:prstGeom>
          </p:spPr>
        </p:pic>
        <p:pic>
          <p:nvPicPr>
            <p:cNvPr id="52" name="Imagen 51" descr="La luz del sol&#10;&#10;Descripción generada automáticamente con confianza media">
              <a:extLst>
                <a:ext uri="{FF2B5EF4-FFF2-40B4-BE49-F238E27FC236}">
                  <a16:creationId xmlns:a16="http://schemas.microsoft.com/office/drawing/2014/main" id="{28609495-27C9-4770-91E8-6755719747A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2901403">
              <a:off x="7753861" y="2282499"/>
              <a:ext cx="835236" cy="827612"/>
            </a:xfrm>
            <a:prstGeom prst="rect">
              <a:avLst/>
            </a:prstGeom>
          </p:spPr>
        </p:pic>
        <p:pic>
          <p:nvPicPr>
            <p:cNvPr id="55" name="Imagen 54" descr="La luz del sol&#10;&#10;Descripción generada automáticamente con confianza media">
              <a:extLst>
                <a:ext uri="{FF2B5EF4-FFF2-40B4-BE49-F238E27FC236}">
                  <a16:creationId xmlns:a16="http://schemas.microsoft.com/office/drawing/2014/main" id="{3AFF04A6-86F4-E1AB-1BA7-30158E70CFAB}"/>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1644833">
              <a:off x="6844112" y="3438244"/>
              <a:ext cx="835236" cy="827612"/>
            </a:xfrm>
            <a:prstGeom prst="rect">
              <a:avLst/>
            </a:prstGeom>
          </p:spPr>
        </p:pic>
        <p:pic>
          <p:nvPicPr>
            <p:cNvPr id="56" name="Imagen 55" descr="La luz del sol&#10;&#10;Descripción generada automáticamente con confianza media">
              <a:extLst>
                <a:ext uri="{FF2B5EF4-FFF2-40B4-BE49-F238E27FC236}">
                  <a16:creationId xmlns:a16="http://schemas.microsoft.com/office/drawing/2014/main" id="{C54770DB-E93A-B48B-3136-AF3D0BB7570D}"/>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2901403">
              <a:off x="5291790" y="3080715"/>
              <a:ext cx="835236" cy="827612"/>
            </a:xfrm>
            <a:prstGeom prst="rect">
              <a:avLst/>
            </a:prstGeom>
          </p:spPr>
        </p:pic>
        <p:pic>
          <p:nvPicPr>
            <p:cNvPr id="57" name="Imagen 56" descr="La luz del sol&#10;&#10;Descripción generada automáticamente con confianza media">
              <a:extLst>
                <a:ext uri="{FF2B5EF4-FFF2-40B4-BE49-F238E27FC236}">
                  <a16:creationId xmlns:a16="http://schemas.microsoft.com/office/drawing/2014/main" id="{041D47CC-8593-AC6B-65B3-64CDB9EAB37C}"/>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1644833">
              <a:off x="4449457" y="4257376"/>
              <a:ext cx="835236" cy="827612"/>
            </a:xfrm>
            <a:prstGeom prst="rect">
              <a:avLst/>
            </a:prstGeom>
          </p:spPr>
        </p:pic>
        <p:pic>
          <p:nvPicPr>
            <p:cNvPr id="58" name="Imagen 57" descr="La luz del sol&#10;&#10;Descripción generada automáticamente con confianza media">
              <a:extLst>
                <a:ext uri="{FF2B5EF4-FFF2-40B4-BE49-F238E27FC236}">
                  <a16:creationId xmlns:a16="http://schemas.microsoft.com/office/drawing/2014/main" id="{4C1F4636-4C6B-0D3B-BD4C-C8CDAE6BA039}"/>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2901403">
              <a:off x="2864669" y="3850747"/>
              <a:ext cx="835236" cy="827612"/>
            </a:xfrm>
            <a:prstGeom prst="rect">
              <a:avLst/>
            </a:prstGeom>
          </p:spPr>
        </p:pic>
        <p:pic>
          <p:nvPicPr>
            <p:cNvPr id="60" name="Imagen 59" descr="La luz del sol&#10;&#10;Descripción generada automáticamente con confianza media">
              <a:extLst>
                <a:ext uri="{FF2B5EF4-FFF2-40B4-BE49-F238E27FC236}">
                  <a16:creationId xmlns:a16="http://schemas.microsoft.com/office/drawing/2014/main" id="{81487A33-F5CB-CD2F-568C-570A81619BCA}"/>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3855108">
              <a:off x="137446" y="4555608"/>
              <a:ext cx="835236" cy="827612"/>
            </a:xfrm>
            <a:prstGeom prst="rect">
              <a:avLst/>
            </a:prstGeom>
          </p:spPr>
        </p:pic>
      </p:grpSp>
      <p:sp>
        <p:nvSpPr>
          <p:cNvPr id="43" name="Rectángulo 42">
            <a:extLst>
              <a:ext uri="{FF2B5EF4-FFF2-40B4-BE49-F238E27FC236}">
                <a16:creationId xmlns:a16="http://schemas.microsoft.com/office/drawing/2014/main" id="{A1E3EA0C-97AD-9BA4-2C6F-0E338A4139E3}"/>
              </a:ext>
            </a:extLst>
          </p:cNvPr>
          <p:cNvSpPr/>
          <p:nvPr/>
        </p:nvSpPr>
        <p:spPr>
          <a:xfrm>
            <a:off x="0" y="0"/>
            <a:ext cx="12192000" cy="6858000"/>
          </a:xfrm>
          <a:prstGeom prst="rect">
            <a:avLst/>
          </a:prstGeom>
          <a:gradFill flip="none" rotWithShape="1">
            <a:gsLst>
              <a:gs pos="0">
                <a:srgbClr val="0F142A">
                  <a:alpha val="40000"/>
                </a:srgbClr>
              </a:gs>
              <a:gs pos="64000">
                <a:srgbClr val="0F142A">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6">
            <a:grayscl/>
            <a:alphaModFix amt="5000"/>
            <a:extLst>
              <a:ext uri="{28A0092B-C50C-407E-A947-70E740481C1C}">
                <a14:useLocalDpi xmlns:a14="http://schemas.microsoft.com/office/drawing/2010/main" val="0"/>
              </a:ext>
            </a:extLst>
          </a:blip>
          <a:stretch>
            <a:fillRect/>
          </a:stretch>
        </p:blipFill>
        <p:spPr>
          <a:xfrm>
            <a:off x="7807751" y="-19082"/>
            <a:ext cx="3278067" cy="2780503"/>
          </a:xfrm>
          <a:prstGeom prst="rect">
            <a:avLst/>
          </a:prstGeom>
        </p:spPr>
      </p:pic>
      <p:sp>
        <p:nvSpPr>
          <p:cNvPr id="2" name="CuadroTexto 1">
            <a:extLst>
              <a:ext uri="{FF2B5EF4-FFF2-40B4-BE49-F238E27FC236}">
                <a16:creationId xmlns:a16="http://schemas.microsoft.com/office/drawing/2014/main" id="{1017713D-0228-8D28-37CE-DDCD0C4D116A}"/>
              </a:ext>
            </a:extLst>
          </p:cNvPr>
          <p:cNvSpPr txBox="1"/>
          <p:nvPr/>
        </p:nvSpPr>
        <p:spPr>
          <a:xfrm>
            <a:off x="555065" y="1946478"/>
            <a:ext cx="5323869"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A commitment to deliver</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4689749" y="82631"/>
            <a:ext cx="354651" cy="850738"/>
            <a:chOff x="-683062" y="-16463286"/>
            <a:chExt cx="14194073" cy="34048790"/>
          </a:xfrm>
          <a:solidFill>
            <a:schemeClr val="bg1"/>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7084404" y="5924631"/>
            <a:ext cx="354651" cy="850738"/>
            <a:chOff x="-683062" y="-16463286"/>
            <a:chExt cx="14194073" cy="34048790"/>
          </a:xfrm>
          <a:solidFill>
            <a:schemeClr val="bg1"/>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7"/>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02AEF1">
                    <a:alpha val="0"/>
                  </a:srgbClr>
                </a:gs>
                <a:gs pos="100000">
                  <a:srgbClr val="02AEF1"/>
                </a:gs>
              </a:gsLst>
              <a:lin ang="10800000" scaled="1"/>
              <a:tileRect/>
            </a:gradFill>
            <a:round/>
          </a:ln>
        </p:spPr>
        <p:style>
          <a:lnRef idx="1">
            <a:schemeClr val="accent1"/>
          </a:lnRef>
          <a:fillRef idx="0">
            <a:schemeClr val="accent1"/>
          </a:fillRef>
          <a:effectRef idx="0">
            <a:schemeClr val="accent1"/>
          </a:effectRef>
          <a:fontRef idx="minor">
            <a:schemeClr val="tx1"/>
          </a:fontRef>
        </p:style>
      </p:cxnSp>
      <p:sp>
        <p:nvSpPr>
          <p:cNvPr id="44" name="CuadroTexto 43">
            <a:extLst>
              <a:ext uri="{FF2B5EF4-FFF2-40B4-BE49-F238E27FC236}">
                <a16:creationId xmlns:a16="http://schemas.microsoft.com/office/drawing/2014/main" id="{E68B65F5-5B46-0D70-BC01-7890E02877CB}"/>
              </a:ext>
            </a:extLst>
          </p:cNvPr>
          <p:cNvSpPr txBox="1"/>
          <p:nvPr/>
        </p:nvSpPr>
        <p:spPr>
          <a:xfrm>
            <a:off x="555065" y="2696305"/>
            <a:ext cx="5675247" cy="400110"/>
          </a:xfrm>
          <a:prstGeom prst="rect">
            <a:avLst/>
          </a:prstGeom>
          <a:noFill/>
        </p:spPr>
        <p:txBody>
          <a:bodyPr wrap="square">
            <a:spAutoFit/>
          </a:bodyPr>
          <a:lstStyle>
            <a:defPPr>
              <a:defRPr lang="es-CL"/>
            </a:defPPr>
            <a:lvl1pPr>
              <a:lnSpc>
                <a:spcPct val="150000"/>
              </a:lnSpc>
              <a:defRPr sz="2000">
                <a:solidFill>
                  <a:schemeClr val="bg2">
                    <a:lumMod val="25000"/>
                  </a:schemeClr>
                </a:solidFill>
                <a:latin typeface="Poppins Medium" panose="00000600000000000000" pitchFamily="2" charset="0"/>
                <a:cs typeface="Poppins Medium" panose="00000600000000000000"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200" normalizeH="0" baseline="0" noProof="0" dirty="0">
                <a:ln>
                  <a:noFill/>
                </a:ln>
                <a:solidFill>
                  <a:srgbClr val="02AEF1"/>
                </a:solidFill>
                <a:effectLst/>
                <a:uLnTx/>
                <a:uFillTx/>
                <a:latin typeface="Poppins Medium" panose="00000600000000000000" pitchFamily="2" charset="0"/>
                <a:ea typeface="+mn-ea"/>
                <a:cs typeface="Poppins Medium" panose="00000600000000000000" pitchFamily="2" charset="0"/>
              </a:rPr>
              <a:t>Profitable and Sustainable Growth</a:t>
            </a:r>
          </a:p>
        </p:txBody>
      </p:sp>
      <p:grpSp>
        <p:nvGrpSpPr>
          <p:cNvPr id="46" name="Grupo 45">
            <a:extLst>
              <a:ext uri="{FF2B5EF4-FFF2-40B4-BE49-F238E27FC236}">
                <a16:creationId xmlns:a16="http://schemas.microsoft.com/office/drawing/2014/main" id="{BB229E5F-439A-5842-611C-7CC4CD98CC82}"/>
              </a:ext>
            </a:extLst>
          </p:cNvPr>
          <p:cNvGrpSpPr/>
          <p:nvPr/>
        </p:nvGrpSpPr>
        <p:grpSpPr>
          <a:xfrm>
            <a:off x="555065" y="3255634"/>
            <a:ext cx="5005793" cy="434231"/>
            <a:chOff x="6057176" y="5737861"/>
            <a:chExt cx="3311842" cy="287288"/>
          </a:xfrm>
        </p:grpSpPr>
        <p:sp>
          <p:nvSpPr>
            <p:cNvPr id="47" name="Rectángulo: esquinas redondeadas 46">
              <a:extLst>
                <a:ext uri="{FF2B5EF4-FFF2-40B4-BE49-F238E27FC236}">
                  <a16:creationId xmlns:a16="http://schemas.microsoft.com/office/drawing/2014/main" id="{1767AD7F-2EA8-ECBC-FC8E-366D1BFE3E55}"/>
                </a:ext>
              </a:extLst>
            </p:cNvPr>
            <p:cNvSpPr/>
            <p:nvPr/>
          </p:nvSpPr>
          <p:spPr>
            <a:xfrm>
              <a:off x="6101043" y="5737861"/>
              <a:ext cx="3216490" cy="287288"/>
            </a:xfrm>
            <a:prstGeom prst="round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CuadroTexto 47">
              <a:extLst>
                <a:ext uri="{FF2B5EF4-FFF2-40B4-BE49-F238E27FC236}">
                  <a16:creationId xmlns:a16="http://schemas.microsoft.com/office/drawing/2014/main" id="{D1021C3F-4235-80C8-3293-9413E1EFCC04}"/>
                </a:ext>
              </a:extLst>
            </p:cNvPr>
            <p:cNvSpPr txBox="1"/>
            <p:nvPr/>
          </p:nvSpPr>
          <p:spPr>
            <a:xfrm>
              <a:off x="6057176" y="5758394"/>
              <a:ext cx="3311842" cy="223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dirty="0">
                  <a:ln>
                    <a:noFill/>
                  </a:ln>
                  <a:solidFill>
                    <a:prstClr val="white">
                      <a:lumMod val="95000"/>
                    </a:prstClr>
                  </a:solidFill>
                  <a:effectLst/>
                  <a:uLnTx/>
                  <a:uFillTx/>
                  <a:latin typeface="Poppins Medium" panose="00000600000000000000" pitchFamily="2" charset="0"/>
                  <a:ea typeface="+mn-ea"/>
                  <a:cs typeface="Poppins Medium" panose="00000600000000000000" pitchFamily="2" charset="0"/>
                </a:rPr>
                <a:t>Let us work together to shape the future</a:t>
              </a:r>
            </a:p>
          </p:txBody>
        </p:sp>
      </p:grpSp>
      <p:pic>
        <p:nvPicPr>
          <p:cNvPr id="49" name="Imagen 48" descr="Imagen que contiene objeto, reloj, dibujo, señal&#10;&#10;Descripción generada automáticamente">
            <a:extLst>
              <a:ext uri="{FF2B5EF4-FFF2-40B4-BE49-F238E27FC236}">
                <a16:creationId xmlns:a16="http://schemas.microsoft.com/office/drawing/2014/main" id="{B836AA3C-A4E2-EF7F-0941-49DAB4FC17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7098" y="1321980"/>
            <a:ext cx="2430590" cy="438984"/>
          </a:xfrm>
          <a:prstGeom prst="rect">
            <a:avLst/>
          </a:prstGeom>
        </p:spPr>
      </p:pic>
    </p:spTree>
    <p:extLst>
      <p:ext uri="{BB962C8B-B14F-4D97-AF65-F5344CB8AC3E}">
        <p14:creationId xmlns:p14="http://schemas.microsoft.com/office/powerpoint/2010/main" val="76073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3" name="Picture 12" descr="A planet in space&#10;&#10;Description automatically generated with low confidence">
            <a:extLst>
              <a:ext uri="{FF2B5EF4-FFF2-40B4-BE49-F238E27FC236}">
                <a16:creationId xmlns:a16="http://schemas.microsoft.com/office/drawing/2014/main" id="{6002F56D-FBA4-7F32-3BB3-410FE390DBBE}"/>
              </a:ext>
            </a:extLst>
          </p:cNvPr>
          <p:cNvPicPr>
            <a:picLocks noChangeAspect="1"/>
          </p:cNvPicPr>
          <p:nvPr/>
        </p:nvPicPr>
        <p:blipFill>
          <a:blip r:embed="rId2">
            <a:grayscl/>
            <a:alphaModFix amt="70000"/>
            <a:extLst>
              <a:ext uri="{28A0092B-C50C-407E-A947-70E740481C1C}">
                <a14:useLocalDpi xmlns:a14="http://schemas.microsoft.com/office/drawing/2010/main" val="0"/>
              </a:ext>
            </a:extLst>
          </a:blip>
          <a:stretch>
            <a:fillRect/>
          </a:stretch>
        </p:blipFill>
        <p:spPr>
          <a:xfrm>
            <a:off x="-1342911" y="1844597"/>
            <a:ext cx="10801100" cy="6075620"/>
          </a:xfrm>
          <a:prstGeom prst="rect">
            <a:avLst/>
          </a:prstGeom>
          <a:effectLst>
            <a:softEdge rad="1270000"/>
          </a:effectLst>
        </p:spPr>
      </p:pic>
      <p:sp>
        <p:nvSpPr>
          <p:cNvPr id="2" name="Slide Number Placeholder 1">
            <a:extLst>
              <a:ext uri="{FF2B5EF4-FFF2-40B4-BE49-F238E27FC236}">
                <a16:creationId xmlns:a16="http://schemas.microsoft.com/office/drawing/2014/main" id="{3E616E21-87CA-DFD5-6FB4-959920CC7DB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14" name="Picture Placeholder 13" descr="A few women in scrubs looking at a tablet&#10;&#10;Description automatically generated with low confidence">
            <a:extLst>
              <a:ext uri="{FF2B5EF4-FFF2-40B4-BE49-F238E27FC236}">
                <a16:creationId xmlns:a16="http://schemas.microsoft.com/office/drawing/2014/main" id="{0D09C0BC-B3DA-ECD7-14D6-CA1493D2A91A}"/>
              </a:ext>
            </a:extLst>
          </p:cNvPr>
          <p:cNvPicPr>
            <a:picLocks noGrp="1" noChangeAspect="1"/>
          </p:cNvPicPr>
          <p:nvPr>
            <p:ph type="pic" sz="quarter" idx="13"/>
          </p:nvPr>
        </p:nvPicPr>
        <p:blipFill rotWithShape="1">
          <a:blip r:embed="rId3" cstate="hqprint">
            <a:extLst>
              <a:ext uri="{28A0092B-C50C-407E-A947-70E740481C1C}">
                <a14:useLocalDpi xmlns:a14="http://schemas.microsoft.com/office/drawing/2010/main"/>
              </a:ext>
            </a:extLst>
          </a:blip>
          <a:srcRect l="11" r="11"/>
          <a:stretch/>
        </p:blipFill>
        <p:spPr/>
      </p:pic>
      <p:pic>
        <p:nvPicPr>
          <p:cNvPr id="23" name="Picture Placeholder 22">
            <a:extLst>
              <a:ext uri="{FF2B5EF4-FFF2-40B4-BE49-F238E27FC236}">
                <a16:creationId xmlns:a16="http://schemas.microsoft.com/office/drawing/2014/main" id="{FEEE725F-A869-B0AF-672F-87B7CD9ECB65}"/>
              </a:ext>
            </a:extLst>
          </p:cNvPr>
          <p:cNvPicPr>
            <a:picLocks noGrp="1" noChangeAspect="1"/>
          </p:cNvPicPr>
          <p:nvPr>
            <p:ph type="pic" sz="quarter" idx="14"/>
          </p:nvPr>
        </p:nvPicPr>
        <p:blipFill rotWithShape="1">
          <a:blip r:embed="rId4" cstate="hqprint">
            <a:extLst>
              <a:ext uri="{28A0092B-C50C-407E-A947-70E740481C1C}">
                <a14:useLocalDpi xmlns:a14="http://schemas.microsoft.com/office/drawing/2010/main"/>
              </a:ext>
            </a:extLst>
          </a:blip>
          <a:srcRect l="23" r="23"/>
          <a:stretch/>
        </p:blipFill>
        <p:spPr/>
      </p:pic>
      <p:pic>
        <p:nvPicPr>
          <p:cNvPr id="10" name="Graphic 9">
            <a:extLst>
              <a:ext uri="{FF2B5EF4-FFF2-40B4-BE49-F238E27FC236}">
                <a16:creationId xmlns:a16="http://schemas.microsoft.com/office/drawing/2014/main" id="{99C159C0-138C-1901-EC57-8D43C3F19A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4591" y="4699527"/>
            <a:ext cx="365760" cy="365760"/>
          </a:xfrm>
          <a:prstGeom prst="rect">
            <a:avLst/>
          </a:prstGeom>
        </p:spPr>
      </p:pic>
      <p:pic>
        <p:nvPicPr>
          <p:cNvPr id="11" name="Graphic 10">
            <a:extLst>
              <a:ext uri="{FF2B5EF4-FFF2-40B4-BE49-F238E27FC236}">
                <a16:creationId xmlns:a16="http://schemas.microsoft.com/office/drawing/2014/main" id="{E8C6ED41-5872-447D-3FE3-D99DC83A3F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24591" y="3819678"/>
            <a:ext cx="365760" cy="365760"/>
          </a:xfrm>
          <a:prstGeom prst="rect">
            <a:avLst/>
          </a:prstGeom>
        </p:spPr>
      </p:pic>
      <p:pic>
        <p:nvPicPr>
          <p:cNvPr id="12" name="Graphic 11">
            <a:extLst>
              <a:ext uri="{FF2B5EF4-FFF2-40B4-BE49-F238E27FC236}">
                <a16:creationId xmlns:a16="http://schemas.microsoft.com/office/drawing/2014/main" id="{5E8247FB-5C6A-3022-0334-006D1E79064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24591" y="2952831"/>
            <a:ext cx="365760" cy="365760"/>
          </a:xfrm>
          <a:prstGeom prst="rect">
            <a:avLst/>
          </a:prstGeom>
        </p:spPr>
      </p:pic>
      <p:sp>
        <p:nvSpPr>
          <p:cNvPr id="21" name="TextBox 20">
            <a:extLst>
              <a:ext uri="{FF2B5EF4-FFF2-40B4-BE49-F238E27FC236}">
                <a16:creationId xmlns:a16="http://schemas.microsoft.com/office/drawing/2014/main" id="{DFC72D36-4C14-28C9-837F-D433FFEEA929}"/>
              </a:ext>
            </a:extLst>
          </p:cNvPr>
          <p:cNvSpPr txBox="1"/>
          <p:nvPr/>
        </p:nvSpPr>
        <p:spPr>
          <a:xfrm>
            <a:off x="8689217" y="4697741"/>
            <a:ext cx="173581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Jost"/>
                <a:ea typeface="+mn-ea"/>
                <a:cs typeface="+mn-cs"/>
              </a:rPr>
              <a:t>Amman - Jordan</a:t>
            </a:r>
          </a:p>
        </p:txBody>
      </p:sp>
      <p:sp>
        <p:nvSpPr>
          <p:cNvPr id="3" name="Rectangle 2">
            <a:extLst>
              <a:ext uri="{FF2B5EF4-FFF2-40B4-BE49-F238E27FC236}">
                <a16:creationId xmlns:a16="http://schemas.microsoft.com/office/drawing/2014/main" id="{12CA8619-D816-8722-5499-A3774CB403C4}"/>
              </a:ext>
            </a:extLst>
          </p:cNvPr>
          <p:cNvSpPr/>
          <p:nvPr/>
        </p:nvSpPr>
        <p:spPr>
          <a:xfrm rot="2261073">
            <a:off x="10667860" y="4863440"/>
            <a:ext cx="3371751" cy="1614640"/>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4" name="Rectangle 3">
            <a:extLst>
              <a:ext uri="{FF2B5EF4-FFF2-40B4-BE49-F238E27FC236}">
                <a16:creationId xmlns:a16="http://schemas.microsoft.com/office/drawing/2014/main" id="{8D80DA26-B2BA-AD3C-AD8E-4DF82828E8D3}"/>
              </a:ext>
            </a:extLst>
          </p:cNvPr>
          <p:cNvSpPr/>
          <p:nvPr/>
        </p:nvSpPr>
        <p:spPr>
          <a:xfrm rot="2261073">
            <a:off x="10668071" y="5785638"/>
            <a:ext cx="3279571" cy="1671199"/>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5" name="Rectangle 4">
            <a:extLst>
              <a:ext uri="{FF2B5EF4-FFF2-40B4-BE49-F238E27FC236}">
                <a16:creationId xmlns:a16="http://schemas.microsoft.com/office/drawing/2014/main" id="{F1FFAFF0-BEF0-E7A9-C276-6B9389ED47E5}"/>
              </a:ext>
            </a:extLst>
          </p:cNvPr>
          <p:cNvSpPr/>
          <p:nvPr/>
        </p:nvSpPr>
        <p:spPr>
          <a:xfrm rot="2261073">
            <a:off x="-1241565" y="2642411"/>
            <a:ext cx="3371751" cy="1614640"/>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6" name="Rectangle 5">
            <a:extLst>
              <a:ext uri="{FF2B5EF4-FFF2-40B4-BE49-F238E27FC236}">
                <a16:creationId xmlns:a16="http://schemas.microsoft.com/office/drawing/2014/main" id="{E21AFECE-E602-A005-20D8-05731843E226}"/>
              </a:ext>
            </a:extLst>
          </p:cNvPr>
          <p:cNvSpPr/>
          <p:nvPr/>
        </p:nvSpPr>
        <p:spPr>
          <a:xfrm rot="2261073">
            <a:off x="-1241356" y="3564611"/>
            <a:ext cx="3279571" cy="1671199"/>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8" name="Rectangle 7">
            <a:extLst>
              <a:ext uri="{FF2B5EF4-FFF2-40B4-BE49-F238E27FC236}">
                <a16:creationId xmlns:a16="http://schemas.microsoft.com/office/drawing/2014/main" id="{56AC8620-E6CF-C2BA-303F-1D1E7BE2E554}"/>
              </a:ext>
            </a:extLst>
          </p:cNvPr>
          <p:cNvSpPr/>
          <p:nvPr/>
        </p:nvSpPr>
        <p:spPr>
          <a:xfrm>
            <a:off x="370703" y="111211"/>
            <a:ext cx="11689492" cy="11679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9" name="Picture 8" descr="A picture containing text, clock, clipart&#10;&#10;Description automatically generated">
            <a:extLst>
              <a:ext uri="{FF2B5EF4-FFF2-40B4-BE49-F238E27FC236}">
                <a16:creationId xmlns:a16="http://schemas.microsoft.com/office/drawing/2014/main" id="{240FFBC5-4285-78D4-F480-E56A2D02DE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66629" y="1058223"/>
            <a:ext cx="3899766" cy="704330"/>
          </a:xfrm>
          <a:prstGeom prst="rect">
            <a:avLst/>
          </a:prstGeom>
        </p:spPr>
      </p:pic>
      <p:sp>
        <p:nvSpPr>
          <p:cNvPr id="15" name="CuadroTexto 36">
            <a:extLst>
              <a:ext uri="{FF2B5EF4-FFF2-40B4-BE49-F238E27FC236}">
                <a16:creationId xmlns:a16="http://schemas.microsoft.com/office/drawing/2014/main" id="{1539BA22-2CCB-D48A-48F3-863C7C0E9082}"/>
              </a:ext>
            </a:extLst>
          </p:cNvPr>
          <p:cNvSpPr txBox="1"/>
          <p:nvPr/>
        </p:nvSpPr>
        <p:spPr>
          <a:xfrm>
            <a:off x="8024591" y="1842811"/>
            <a:ext cx="2222940" cy="646331"/>
          </a:xfrm>
          <a:prstGeom prst="rect">
            <a:avLst/>
          </a:prstGeom>
          <a:noFill/>
        </p:spPr>
        <p:txBody>
          <a:bodyPr wrap="square">
            <a:spAutoFit/>
          </a:bodyPr>
          <a:lstStyle/>
          <a:p>
            <a:r>
              <a:rPr lang="en-US" sz="3600" dirty="0">
                <a:solidFill>
                  <a:prstClr val="white">
                    <a:lumMod val="95000"/>
                  </a:prstClr>
                </a:solidFill>
                <a:latin typeface="Oswald SemiBold" pitchFamily="2" charset="0"/>
                <a:cs typeface="Poppins Light" panose="00000400000000000000" pitchFamily="2" charset="0"/>
              </a:rPr>
              <a:t>Contact Us</a:t>
            </a:r>
          </a:p>
        </p:txBody>
      </p:sp>
      <p:sp>
        <p:nvSpPr>
          <p:cNvPr id="16" name="CuadroTexto 2">
            <a:hlinkClick r:id="rId12"/>
            <a:extLst>
              <a:ext uri="{FF2B5EF4-FFF2-40B4-BE49-F238E27FC236}">
                <a16:creationId xmlns:a16="http://schemas.microsoft.com/office/drawing/2014/main" id="{E8059722-3AE2-565C-2AC8-4AB18A73E566}"/>
              </a:ext>
            </a:extLst>
          </p:cNvPr>
          <p:cNvSpPr txBox="1"/>
          <p:nvPr/>
        </p:nvSpPr>
        <p:spPr>
          <a:xfrm>
            <a:off x="8684907" y="3052812"/>
            <a:ext cx="2974903" cy="738664"/>
          </a:xfrm>
          <a:prstGeom prst="rect">
            <a:avLst/>
          </a:prstGeom>
          <a:noFill/>
        </p:spPr>
        <p:txBody>
          <a:bodyPr wrap="square">
            <a:spAutoFit/>
          </a:bodyPr>
          <a:lstStyle/>
          <a:p>
            <a:r>
              <a:rPr lang="en-US" sz="1400" dirty="0">
                <a:solidFill>
                  <a:schemeClr val="bg1"/>
                </a:solidFill>
                <a:latin typeface="Poppins" panose="00000500000000000000" pitchFamily="2" charset="0"/>
                <a:cs typeface="Poppins" panose="00000500000000000000" pitchFamily="2" charset="0"/>
              </a:rPr>
              <a:t>lkhaled@healthicon.co</a:t>
            </a:r>
          </a:p>
          <a:p>
            <a:r>
              <a:rPr lang="en-US" sz="1400" dirty="0">
                <a:solidFill>
                  <a:schemeClr val="bg1"/>
                </a:solidFill>
                <a:latin typeface="Poppins" panose="00000500000000000000" pitchFamily="2" charset="0"/>
                <a:cs typeface="Poppins" panose="00000500000000000000" pitchFamily="2" charset="0"/>
              </a:rPr>
              <a:t>Managing Director</a:t>
            </a:r>
          </a:p>
          <a:p>
            <a:r>
              <a:rPr lang="en-US" sz="1400" dirty="0">
                <a:solidFill>
                  <a:schemeClr val="bg1"/>
                </a:solidFill>
                <a:latin typeface="Poppins" panose="00000500000000000000" pitchFamily="2" charset="0"/>
                <a:cs typeface="Poppins" panose="00000500000000000000" pitchFamily="2" charset="0"/>
              </a:rPr>
              <a:t>+962 7 9936 6644</a:t>
            </a:r>
          </a:p>
        </p:txBody>
      </p:sp>
      <p:sp>
        <p:nvSpPr>
          <p:cNvPr id="17" name="CuadroTexto 43">
            <a:hlinkClick r:id="rId13"/>
            <a:extLst>
              <a:ext uri="{FF2B5EF4-FFF2-40B4-BE49-F238E27FC236}">
                <a16:creationId xmlns:a16="http://schemas.microsoft.com/office/drawing/2014/main" id="{D229E1C8-78BA-01ED-18B6-8DF2477A59DE}"/>
              </a:ext>
            </a:extLst>
          </p:cNvPr>
          <p:cNvSpPr txBox="1"/>
          <p:nvPr/>
        </p:nvSpPr>
        <p:spPr>
          <a:xfrm>
            <a:off x="8684906" y="3877661"/>
            <a:ext cx="3137587" cy="738664"/>
          </a:xfrm>
          <a:prstGeom prst="rect">
            <a:avLst/>
          </a:prstGeom>
          <a:noFill/>
        </p:spPr>
        <p:txBody>
          <a:bodyPr wrap="square">
            <a:spAutoFit/>
          </a:bodyPr>
          <a:lstStyle/>
          <a:p>
            <a:r>
              <a:rPr lang="en-US" sz="1400" dirty="0">
                <a:solidFill>
                  <a:schemeClr val="bg1"/>
                </a:solidFill>
                <a:latin typeface="Poppins" panose="00000500000000000000" pitchFamily="2" charset="0"/>
                <a:cs typeface="Poppins" panose="00000500000000000000" pitchFamily="2" charset="0"/>
              </a:rPr>
              <a:t>sharif.zahdeh@healthicon.co</a:t>
            </a:r>
          </a:p>
          <a:p>
            <a:r>
              <a:rPr lang="en-US" sz="1400" dirty="0">
                <a:solidFill>
                  <a:schemeClr val="bg1"/>
                </a:solidFill>
                <a:latin typeface="Poppins" panose="00000500000000000000" pitchFamily="2" charset="0"/>
                <a:cs typeface="Poppins" panose="00000500000000000000" pitchFamily="2" charset="0"/>
              </a:rPr>
              <a:t>Business Development Manager</a:t>
            </a:r>
            <a:endParaRPr lang="en-US" sz="1400" dirty="0">
              <a:solidFill>
                <a:prstClr val="white">
                  <a:lumMod val="95000"/>
                </a:prstClr>
              </a:solidFill>
              <a:latin typeface="Poppins" panose="00000500000000000000" pitchFamily="2" charset="0"/>
              <a:cs typeface="Poppins" panose="00000500000000000000" pitchFamily="2" charset="0"/>
            </a:endParaRPr>
          </a:p>
          <a:p>
            <a:r>
              <a:rPr lang="en-US" sz="1400" dirty="0">
                <a:solidFill>
                  <a:prstClr val="white">
                    <a:lumMod val="95000"/>
                  </a:prstClr>
                </a:solidFill>
                <a:latin typeface="Poppins" panose="00000500000000000000" pitchFamily="2" charset="0"/>
                <a:cs typeface="Poppins" panose="00000500000000000000" pitchFamily="2" charset="0"/>
              </a:rPr>
              <a:t>+962 7 9666 6672</a:t>
            </a:r>
          </a:p>
        </p:txBody>
      </p:sp>
      <p:grpSp>
        <p:nvGrpSpPr>
          <p:cNvPr id="18" name="Grupo 88">
            <a:extLst>
              <a:ext uri="{FF2B5EF4-FFF2-40B4-BE49-F238E27FC236}">
                <a16:creationId xmlns:a16="http://schemas.microsoft.com/office/drawing/2014/main" id="{F0E199FF-3A6A-09CA-836D-22EC607CE52A}"/>
              </a:ext>
            </a:extLst>
          </p:cNvPr>
          <p:cNvGrpSpPr/>
          <p:nvPr/>
        </p:nvGrpSpPr>
        <p:grpSpPr>
          <a:xfrm>
            <a:off x="8024590" y="5445072"/>
            <a:ext cx="2851447" cy="369332"/>
            <a:chOff x="6002020" y="5737861"/>
            <a:chExt cx="2291080" cy="287288"/>
          </a:xfrm>
        </p:grpSpPr>
        <p:sp>
          <p:nvSpPr>
            <p:cNvPr id="19" name="Rectángulo: esquinas redondeadas 89">
              <a:extLst>
                <a:ext uri="{FF2B5EF4-FFF2-40B4-BE49-F238E27FC236}">
                  <a16:creationId xmlns:a16="http://schemas.microsoft.com/office/drawing/2014/main" id="{97A4DD4C-426D-7647-F27D-7F300F26D09B}"/>
                </a:ext>
              </a:extLst>
            </p:cNvPr>
            <p:cNvSpPr/>
            <p:nvPr/>
          </p:nvSpPr>
          <p:spPr>
            <a:xfrm>
              <a:off x="6002020" y="5737861"/>
              <a:ext cx="2291080" cy="287288"/>
            </a:xfrm>
            <a:prstGeom prst="roundRect">
              <a:avLst/>
            </a:prstGeom>
            <a:solidFill>
              <a:srgbClr val="EC212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CuadroTexto 90">
              <a:hlinkClick r:id="rId14"/>
              <a:extLst>
                <a:ext uri="{FF2B5EF4-FFF2-40B4-BE49-F238E27FC236}">
                  <a16:creationId xmlns:a16="http://schemas.microsoft.com/office/drawing/2014/main" id="{2DDF7695-0A74-794A-DB8C-4154C1E214D0}"/>
                </a:ext>
              </a:extLst>
            </p:cNvPr>
            <p:cNvSpPr txBox="1"/>
            <p:nvPr/>
          </p:nvSpPr>
          <p:spPr>
            <a:xfrm>
              <a:off x="6090920" y="5758394"/>
              <a:ext cx="2172570" cy="21546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300" normalizeH="0" baseline="0" noProof="0" dirty="0">
                  <a:ln>
                    <a:noFill/>
                  </a:ln>
                  <a:solidFill>
                    <a:prstClr val="white">
                      <a:lumMod val="95000"/>
                    </a:prstClr>
                  </a:solidFill>
                  <a:effectLst/>
                  <a:uLnTx/>
                  <a:uFillTx/>
                  <a:latin typeface="Poppins Light" panose="00000400000000000000" pitchFamily="2" charset="0"/>
                  <a:cs typeface="Poppins Light" panose="00000400000000000000" pitchFamily="2" charset="0"/>
                </a:rPr>
                <a:t>www.healthicon.co</a:t>
              </a:r>
            </a:p>
          </p:txBody>
        </p:sp>
      </p:grpSp>
    </p:spTree>
    <p:extLst>
      <p:ext uri="{BB962C8B-B14F-4D97-AF65-F5344CB8AC3E}">
        <p14:creationId xmlns:p14="http://schemas.microsoft.com/office/powerpoint/2010/main" val="40511730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40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Effect transition="in" filter="fade">
                                      <p:cBhvr>
                                        <p:cTn id="9" dur="1000"/>
                                        <p:tgtEl>
                                          <p:spTgt spid="12"/>
                                        </p:tgtEl>
                                      </p:cBhvr>
                                    </p:animEffect>
                                  </p:childTnLst>
                                </p:cTn>
                              </p:par>
                              <p:par>
                                <p:cTn id="10" presetID="53" presetClass="entr" presetSubtype="16" fill="hold" nodeType="withEffect">
                                  <p:stCondLst>
                                    <p:cond delay="500"/>
                                  </p:stCondLst>
                                  <p:childTnLst>
                                    <p:set>
                                      <p:cBhvr>
                                        <p:cTn id="11" dur="1" fill="hold">
                                          <p:stCondLst>
                                            <p:cond delay="0"/>
                                          </p:stCondLst>
                                        </p:cTn>
                                        <p:tgtEl>
                                          <p:spTgt spid="11"/>
                                        </p:tgtEl>
                                        <p:attrNameLst>
                                          <p:attrName>style.visibility</p:attrName>
                                        </p:attrNameLst>
                                      </p:cBhvr>
                                      <p:to>
                                        <p:strVal val="visible"/>
                                      </p:to>
                                    </p:set>
                                    <p:anim calcmode="lin" valueType="num">
                                      <p:cBhvr>
                                        <p:cTn id="12" dur="1000" fill="hold"/>
                                        <p:tgtEl>
                                          <p:spTgt spid="11"/>
                                        </p:tgtEl>
                                        <p:attrNameLst>
                                          <p:attrName>ppt_w</p:attrName>
                                        </p:attrNameLst>
                                      </p:cBhvr>
                                      <p:tavLst>
                                        <p:tav tm="0">
                                          <p:val>
                                            <p:fltVal val="0"/>
                                          </p:val>
                                        </p:tav>
                                        <p:tav tm="100000">
                                          <p:val>
                                            <p:strVal val="#ppt_w"/>
                                          </p:val>
                                        </p:tav>
                                      </p:tavLst>
                                    </p:anim>
                                    <p:anim calcmode="lin" valueType="num">
                                      <p:cBhvr>
                                        <p:cTn id="13" dur="1000" fill="hold"/>
                                        <p:tgtEl>
                                          <p:spTgt spid="11"/>
                                        </p:tgtEl>
                                        <p:attrNameLst>
                                          <p:attrName>ppt_h</p:attrName>
                                        </p:attrNameLst>
                                      </p:cBhvr>
                                      <p:tavLst>
                                        <p:tav tm="0">
                                          <p:val>
                                            <p:fltVal val="0"/>
                                          </p:val>
                                        </p:tav>
                                        <p:tav tm="100000">
                                          <p:val>
                                            <p:strVal val="#ppt_h"/>
                                          </p:val>
                                        </p:tav>
                                      </p:tavLst>
                                    </p:anim>
                                    <p:animEffect transition="in" filter="fade">
                                      <p:cBhvr>
                                        <p:cTn id="14" dur="1000"/>
                                        <p:tgtEl>
                                          <p:spTgt spid="11"/>
                                        </p:tgtEl>
                                      </p:cBhvr>
                                    </p:animEffect>
                                  </p:childTnLst>
                                </p:cTn>
                              </p:par>
                              <p:par>
                                <p:cTn id="15" presetID="53" presetClass="entr" presetSubtype="16" fill="hold" nodeType="withEffect">
                                  <p:stCondLst>
                                    <p:cond delay="6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fltVal val="0"/>
                                          </p:val>
                                        </p:tav>
                                        <p:tav tm="100000">
                                          <p:val>
                                            <p:strVal val="#ppt_w"/>
                                          </p:val>
                                        </p:tav>
                                      </p:tavLst>
                                    </p:anim>
                                    <p:anim calcmode="lin" valueType="num">
                                      <p:cBhvr>
                                        <p:cTn id="18" dur="1000" fill="hold"/>
                                        <p:tgtEl>
                                          <p:spTgt spid="10"/>
                                        </p:tgtEl>
                                        <p:attrNameLst>
                                          <p:attrName>ppt_h</p:attrName>
                                        </p:attrNameLst>
                                      </p:cBhvr>
                                      <p:tavLst>
                                        <p:tav tm="0">
                                          <p:val>
                                            <p:fltVal val="0"/>
                                          </p:val>
                                        </p:tav>
                                        <p:tav tm="100000">
                                          <p:val>
                                            <p:strVal val="#ppt_h"/>
                                          </p:val>
                                        </p:tav>
                                      </p:tavLst>
                                    </p:anim>
                                    <p:animEffect transition="in" filter="fade">
                                      <p:cBhvr>
                                        <p:cTn id="19" dur="1000"/>
                                        <p:tgtEl>
                                          <p:spTgt spid="10"/>
                                        </p:tgtEl>
                                      </p:cBhvr>
                                    </p:animEffect>
                                  </p:childTnLst>
                                </p:cTn>
                              </p:par>
                              <p:par>
                                <p:cTn id="20" presetID="2" presetClass="entr" presetSubtype="2" decel="100000" fill="hold" grpId="0" nodeType="withEffect">
                                  <p:stCondLst>
                                    <p:cond delay="900"/>
                                  </p:stCondLst>
                                  <p:childTnLst>
                                    <p:set>
                                      <p:cBhvr>
                                        <p:cTn id="21" dur="1" fill="hold">
                                          <p:stCondLst>
                                            <p:cond delay="0"/>
                                          </p:stCondLst>
                                        </p:cTn>
                                        <p:tgtEl>
                                          <p:spTgt spid="21"/>
                                        </p:tgtEl>
                                        <p:attrNameLst>
                                          <p:attrName>style.visibility</p:attrName>
                                        </p:attrNameLst>
                                      </p:cBhvr>
                                      <p:to>
                                        <p:strVal val="visible"/>
                                      </p:to>
                                    </p:set>
                                    <p:anim calcmode="lin" valueType="num">
                                      <p:cBhvr additive="base">
                                        <p:cTn id="22" dur="1000" fill="hold"/>
                                        <p:tgtEl>
                                          <p:spTgt spid="21"/>
                                        </p:tgtEl>
                                        <p:attrNameLst>
                                          <p:attrName>ppt_x</p:attrName>
                                        </p:attrNameLst>
                                      </p:cBhvr>
                                      <p:tavLst>
                                        <p:tav tm="0">
                                          <p:val>
                                            <p:strVal val="1+#ppt_w/2"/>
                                          </p:val>
                                        </p:tav>
                                        <p:tav tm="100000">
                                          <p:val>
                                            <p:strVal val="#ppt_x"/>
                                          </p:val>
                                        </p:tav>
                                      </p:tavLst>
                                    </p:anim>
                                    <p:anim calcmode="lin" valueType="num">
                                      <p:cBhvr additive="base">
                                        <p:cTn id="23" dur="1000" fill="hold"/>
                                        <p:tgtEl>
                                          <p:spTgt spid="21"/>
                                        </p:tgtEl>
                                        <p:attrNameLst>
                                          <p:attrName>ppt_y</p:attrName>
                                        </p:attrNameLst>
                                      </p:cBhvr>
                                      <p:tavLst>
                                        <p:tav tm="0">
                                          <p:val>
                                            <p:strVal val="#ppt_y"/>
                                          </p:val>
                                        </p:tav>
                                        <p:tav tm="100000">
                                          <p:val>
                                            <p:strVal val="#ppt_y"/>
                                          </p:val>
                                        </p:tav>
                                      </p:tavLst>
                                    </p:anim>
                                  </p:childTnLst>
                                </p:cTn>
                              </p:par>
                              <p:par>
                                <p:cTn id="24" presetID="22" presetClass="entr" presetSubtype="4" fill="hold" grpId="0" nodeType="withEffect">
                                  <p:stCondLst>
                                    <p:cond delay="1000"/>
                                  </p:stCondLst>
                                  <p:childTnLst>
                                    <p:set>
                                      <p:cBhvr>
                                        <p:cTn id="25" dur="1" fill="hold">
                                          <p:stCondLst>
                                            <p:cond delay="0"/>
                                          </p:stCondLst>
                                        </p:cTn>
                                        <p:tgtEl>
                                          <p:spTgt spid="4"/>
                                        </p:tgtEl>
                                        <p:attrNameLst>
                                          <p:attrName>style.visibility</p:attrName>
                                        </p:attrNameLst>
                                      </p:cBhvr>
                                      <p:to>
                                        <p:strVal val="visible"/>
                                      </p:to>
                                    </p:set>
                                    <p:animEffect transition="in" filter="wipe(down)">
                                      <p:cBhvr>
                                        <p:cTn id="26" dur="1000"/>
                                        <p:tgtEl>
                                          <p:spTgt spid="4"/>
                                        </p:tgtEl>
                                      </p:cBhvr>
                                    </p:animEffect>
                                  </p:childTnLst>
                                </p:cTn>
                              </p:par>
                              <p:par>
                                <p:cTn id="27" presetID="22" presetClass="entr" presetSubtype="4" fill="hold" grpId="0" nodeType="withEffect">
                                  <p:stCondLst>
                                    <p:cond delay="1100"/>
                                  </p:stCondLst>
                                  <p:childTnLst>
                                    <p:set>
                                      <p:cBhvr>
                                        <p:cTn id="28" dur="1" fill="hold">
                                          <p:stCondLst>
                                            <p:cond delay="0"/>
                                          </p:stCondLst>
                                        </p:cTn>
                                        <p:tgtEl>
                                          <p:spTgt spid="3"/>
                                        </p:tgtEl>
                                        <p:attrNameLst>
                                          <p:attrName>style.visibility</p:attrName>
                                        </p:attrNameLst>
                                      </p:cBhvr>
                                      <p:to>
                                        <p:strVal val="visible"/>
                                      </p:to>
                                    </p:set>
                                    <p:animEffect transition="in" filter="wipe(down)">
                                      <p:cBhvr>
                                        <p:cTn id="29" dur="1000"/>
                                        <p:tgtEl>
                                          <p:spTgt spid="3"/>
                                        </p:tgtEl>
                                      </p:cBhvr>
                                    </p:animEffect>
                                  </p:childTnLst>
                                </p:cTn>
                              </p:par>
                              <p:par>
                                <p:cTn id="30" presetID="22" presetClass="entr" presetSubtype="4" fill="hold" grpId="0" nodeType="withEffect">
                                  <p:stCondLst>
                                    <p:cond delay="1200"/>
                                  </p:stCondLst>
                                  <p:childTnLst>
                                    <p:set>
                                      <p:cBhvr>
                                        <p:cTn id="31" dur="1" fill="hold">
                                          <p:stCondLst>
                                            <p:cond delay="0"/>
                                          </p:stCondLst>
                                        </p:cTn>
                                        <p:tgtEl>
                                          <p:spTgt spid="6"/>
                                        </p:tgtEl>
                                        <p:attrNameLst>
                                          <p:attrName>style.visibility</p:attrName>
                                        </p:attrNameLst>
                                      </p:cBhvr>
                                      <p:to>
                                        <p:strVal val="visible"/>
                                      </p:to>
                                    </p:set>
                                    <p:animEffect transition="in" filter="wipe(down)">
                                      <p:cBhvr>
                                        <p:cTn id="32" dur="1000"/>
                                        <p:tgtEl>
                                          <p:spTgt spid="6"/>
                                        </p:tgtEl>
                                      </p:cBhvr>
                                    </p:animEffect>
                                  </p:childTnLst>
                                </p:cTn>
                              </p:par>
                              <p:par>
                                <p:cTn id="33" presetID="22" presetClass="entr" presetSubtype="4" fill="hold" grpId="0" nodeType="withEffect">
                                  <p:stCondLst>
                                    <p:cond delay="1300"/>
                                  </p:stCondLst>
                                  <p:childTnLst>
                                    <p:set>
                                      <p:cBhvr>
                                        <p:cTn id="34" dur="1" fill="hold">
                                          <p:stCondLst>
                                            <p:cond delay="0"/>
                                          </p:stCondLst>
                                        </p:cTn>
                                        <p:tgtEl>
                                          <p:spTgt spid="5"/>
                                        </p:tgtEl>
                                        <p:attrNameLst>
                                          <p:attrName>style.visibility</p:attrName>
                                        </p:attrNameLst>
                                      </p:cBhvr>
                                      <p:to>
                                        <p:strVal val="visible"/>
                                      </p:to>
                                    </p:set>
                                    <p:animEffect transition="in" filter="wipe(down)">
                                      <p:cBhvr>
                                        <p:cTn id="35" dur="1000"/>
                                        <p:tgtEl>
                                          <p:spTgt spid="5"/>
                                        </p:tgtEl>
                                      </p:cBhvr>
                                    </p:animEffect>
                                  </p:childTnLst>
                                </p:cTn>
                              </p:par>
                              <p:par>
                                <p:cTn id="36" presetID="10" presetClass="entr" presetSubtype="0" fill="hold" nodeType="withEffect">
                                  <p:stCondLst>
                                    <p:cond delay="140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1000"/>
                                        <p:tgtEl>
                                          <p:spTgt spid="13"/>
                                        </p:tgtEl>
                                      </p:cBhvr>
                                    </p:animEffect>
                                  </p:childTnLst>
                                </p:cTn>
                              </p:par>
                              <p:par>
                                <p:cTn id="39" presetID="53" presetClass="entr" presetSubtype="16" fill="hold" nodeType="withEffect">
                                  <p:stCondLst>
                                    <p:cond delay="1500"/>
                                  </p:stCondLst>
                                  <p:childTnLst>
                                    <p:set>
                                      <p:cBhvr>
                                        <p:cTn id="40" dur="1" fill="hold">
                                          <p:stCondLst>
                                            <p:cond delay="0"/>
                                          </p:stCondLst>
                                        </p:cTn>
                                        <p:tgtEl>
                                          <p:spTgt spid="9"/>
                                        </p:tgtEl>
                                        <p:attrNameLst>
                                          <p:attrName>style.visibility</p:attrName>
                                        </p:attrNameLst>
                                      </p:cBhvr>
                                      <p:to>
                                        <p:strVal val="visible"/>
                                      </p:to>
                                    </p:set>
                                    <p:anim calcmode="lin" valueType="num">
                                      <p:cBhvr>
                                        <p:cTn id="41" dur="1000" fill="hold"/>
                                        <p:tgtEl>
                                          <p:spTgt spid="9"/>
                                        </p:tgtEl>
                                        <p:attrNameLst>
                                          <p:attrName>ppt_w</p:attrName>
                                        </p:attrNameLst>
                                      </p:cBhvr>
                                      <p:tavLst>
                                        <p:tav tm="0">
                                          <p:val>
                                            <p:fltVal val="0"/>
                                          </p:val>
                                        </p:tav>
                                        <p:tav tm="100000">
                                          <p:val>
                                            <p:strVal val="#ppt_w"/>
                                          </p:val>
                                        </p:tav>
                                      </p:tavLst>
                                    </p:anim>
                                    <p:anim calcmode="lin" valueType="num">
                                      <p:cBhvr>
                                        <p:cTn id="42" dur="1000" fill="hold"/>
                                        <p:tgtEl>
                                          <p:spTgt spid="9"/>
                                        </p:tgtEl>
                                        <p:attrNameLst>
                                          <p:attrName>ppt_h</p:attrName>
                                        </p:attrNameLst>
                                      </p:cBhvr>
                                      <p:tavLst>
                                        <p:tav tm="0">
                                          <p:val>
                                            <p:fltVal val="0"/>
                                          </p:val>
                                        </p:tav>
                                        <p:tav tm="100000">
                                          <p:val>
                                            <p:strVal val="#ppt_h"/>
                                          </p:val>
                                        </p:tav>
                                      </p:tavLst>
                                    </p:anim>
                                    <p:animEffect transition="in" filter="fade">
                                      <p:cBhvr>
                                        <p:cTn id="4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 grpId="0" animBg="1"/>
      <p:bldP spid="4" grpId="0" animBg="1"/>
      <p:bldP spid="5" grpId="0" animBg="1"/>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08228F47-309D-79CC-D97A-B4F634E4F84A}"/>
              </a:ext>
            </a:extLst>
          </p:cNvPr>
          <p:cNvSpPr/>
          <p:nvPr/>
        </p:nvSpPr>
        <p:spPr>
          <a:xfrm>
            <a:off x="5222094" y="2076811"/>
            <a:ext cx="2672324" cy="2393589"/>
          </a:xfrm>
          <a:custGeom>
            <a:avLst/>
            <a:gdLst>
              <a:gd name="connsiteX0" fmla="*/ 2062626 w 2672324"/>
              <a:gd name="connsiteY0" fmla="*/ 5989 h 2393589"/>
              <a:gd name="connsiteX1" fmla="*/ 2194706 w 2672324"/>
              <a:gd name="connsiteY1" fmla="*/ 158389 h 2393589"/>
              <a:gd name="connsiteX2" fmla="*/ 2225186 w 2672324"/>
              <a:gd name="connsiteY2" fmla="*/ 209189 h 2393589"/>
              <a:gd name="connsiteX3" fmla="*/ 2255666 w 2672324"/>
              <a:gd name="connsiteY3" fmla="*/ 219349 h 2393589"/>
              <a:gd name="connsiteX4" fmla="*/ 2347106 w 2672324"/>
              <a:gd name="connsiteY4" fmla="*/ 290469 h 2393589"/>
              <a:gd name="connsiteX5" fmla="*/ 2357266 w 2672324"/>
              <a:gd name="connsiteY5" fmla="*/ 320949 h 2393589"/>
              <a:gd name="connsiteX6" fmla="*/ 2469026 w 2672324"/>
              <a:gd name="connsiteY6" fmla="*/ 351429 h 2393589"/>
              <a:gd name="connsiteX7" fmla="*/ 2499506 w 2672324"/>
              <a:gd name="connsiteY7" fmla="*/ 361589 h 2393589"/>
              <a:gd name="connsiteX8" fmla="*/ 2590946 w 2672324"/>
              <a:gd name="connsiteY8" fmla="*/ 381909 h 2393589"/>
              <a:gd name="connsiteX9" fmla="*/ 2631586 w 2672324"/>
              <a:gd name="connsiteY9" fmla="*/ 412389 h 2393589"/>
              <a:gd name="connsiteX10" fmla="*/ 2662066 w 2672324"/>
              <a:gd name="connsiteY10" fmla="*/ 432709 h 2393589"/>
              <a:gd name="connsiteX11" fmla="*/ 2672226 w 2672324"/>
              <a:gd name="connsiteY11" fmla="*/ 463189 h 2393589"/>
              <a:gd name="connsiteX12" fmla="*/ 2641746 w 2672324"/>
              <a:gd name="connsiteY12" fmla="*/ 635909 h 2393589"/>
              <a:gd name="connsiteX13" fmla="*/ 2570626 w 2672324"/>
              <a:gd name="connsiteY13" fmla="*/ 656229 h 2393589"/>
              <a:gd name="connsiteX14" fmla="*/ 2499506 w 2672324"/>
              <a:gd name="connsiteY14" fmla="*/ 666389 h 2393589"/>
              <a:gd name="connsiteX15" fmla="*/ 2397906 w 2672324"/>
              <a:gd name="connsiteY15" fmla="*/ 696869 h 2393589"/>
              <a:gd name="connsiteX16" fmla="*/ 2326786 w 2672324"/>
              <a:gd name="connsiteY16" fmla="*/ 757829 h 2393589"/>
              <a:gd name="connsiteX17" fmla="*/ 2306466 w 2672324"/>
              <a:gd name="connsiteY17" fmla="*/ 788309 h 2393589"/>
              <a:gd name="connsiteX18" fmla="*/ 2316626 w 2672324"/>
              <a:gd name="connsiteY18" fmla="*/ 828949 h 2393589"/>
              <a:gd name="connsiteX19" fmla="*/ 2499506 w 2672324"/>
              <a:gd name="connsiteY19" fmla="*/ 839109 h 2393589"/>
              <a:gd name="connsiteX20" fmla="*/ 2469026 w 2672324"/>
              <a:gd name="connsiteY20" fmla="*/ 940709 h 2393589"/>
              <a:gd name="connsiteX21" fmla="*/ 2438546 w 2672324"/>
              <a:gd name="connsiteY21" fmla="*/ 1011829 h 2393589"/>
              <a:gd name="connsiteX22" fmla="*/ 2428386 w 2672324"/>
              <a:gd name="connsiteY22" fmla="*/ 1042309 h 2393589"/>
              <a:gd name="connsiteX23" fmla="*/ 2408066 w 2672324"/>
              <a:gd name="connsiteY23" fmla="*/ 1072789 h 2393589"/>
              <a:gd name="connsiteX24" fmla="*/ 2397906 w 2672324"/>
              <a:gd name="connsiteY24" fmla="*/ 1103269 h 2393589"/>
              <a:gd name="connsiteX25" fmla="*/ 2377586 w 2672324"/>
              <a:gd name="connsiteY25" fmla="*/ 1133749 h 2393589"/>
              <a:gd name="connsiteX26" fmla="*/ 2357266 w 2672324"/>
              <a:gd name="connsiteY26" fmla="*/ 1184549 h 2393589"/>
              <a:gd name="connsiteX27" fmla="*/ 2306466 w 2672324"/>
              <a:gd name="connsiteY27" fmla="*/ 1204869 h 2393589"/>
              <a:gd name="connsiteX28" fmla="*/ 2225186 w 2672324"/>
              <a:gd name="connsiteY28" fmla="*/ 1245509 h 2393589"/>
              <a:gd name="connsiteX29" fmla="*/ 2194706 w 2672324"/>
              <a:gd name="connsiteY29" fmla="*/ 1286149 h 2393589"/>
              <a:gd name="connsiteX30" fmla="*/ 2184546 w 2672324"/>
              <a:gd name="connsiteY30" fmla="*/ 1316629 h 2393589"/>
              <a:gd name="connsiteX31" fmla="*/ 2164226 w 2672324"/>
              <a:gd name="connsiteY31" fmla="*/ 1357269 h 2393589"/>
              <a:gd name="connsiteX32" fmla="*/ 2154066 w 2672324"/>
              <a:gd name="connsiteY32" fmla="*/ 1418229 h 2393589"/>
              <a:gd name="connsiteX33" fmla="*/ 2133746 w 2672324"/>
              <a:gd name="connsiteY33" fmla="*/ 1458869 h 2393589"/>
              <a:gd name="connsiteX34" fmla="*/ 2143906 w 2672324"/>
              <a:gd name="connsiteY34" fmla="*/ 1489349 h 2393589"/>
              <a:gd name="connsiteX35" fmla="*/ 2174386 w 2672324"/>
              <a:gd name="connsiteY35" fmla="*/ 1560469 h 2393589"/>
              <a:gd name="connsiteX36" fmla="*/ 2184546 w 2672324"/>
              <a:gd name="connsiteY36" fmla="*/ 1692549 h 2393589"/>
              <a:gd name="connsiteX37" fmla="*/ 2469026 w 2672324"/>
              <a:gd name="connsiteY37" fmla="*/ 1733189 h 2393589"/>
              <a:gd name="connsiteX38" fmla="*/ 2499506 w 2672324"/>
              <a:gd name="connsiteY38" fmla="*/ 1702709 h 2393589"/>
              <a:gd name="connsiteX39" fmla="*/ 2560466 w 2672324"/>
              <a:gd name="connsiteY39" fmla="*/ 1682389 h 2393589"/>
              <a:gd name="connsiteX40" fmla="*/ 2590946 w 2672324"/>
              <a:gd name="connsiteY40" fmla="*/ 1662069 h 2393589"/>
              <a:gd name="connsiteX41" fmla="*/ 2621426 w 2672324"/>
              <a:gd name="connsiteY41" fmla="*/ 1682389 h 2393589"/>
              <a:gd name="connsiteX42" fmla="*/ 2580786 w 2672324"/>
              <a:gd name="connsiteY42" fmla="*/ 1855109 h 2393589"/>
              <a:gd name="connsiteX43" fmla="*/ 2550306 w 2672324"/>
              <a:gd name="connsiteY43" fmla="*/ 1956709 h 2393589"/>
              <a:gd name="connsiteX44" fmla="*/ 2509666 w 2672324"/>
              <a:gd name="connsiteY44" fmla="*/ 2058309 h 2393589"/>
              <a:gd name="connsiteX45" fmla="*/ 2479186 w 2672324"/>
              <a:gd name="connsiteY45" fmla="*/ 2088789 h 2393589"/>
              <a:gd name="connsiteX46" fmla="*/ 2458866 w 2672324"/>
              <a:gd name="connsiteY46" fmla="*/ 2119269 h 2393589"/>
              <a:gd name="connsiteX47" fmla="*/ 2408066 w 2672324"/>
              <a:gd name="connsiteY47" fmla="*/ 2129429 h 2393589"/>
              <a:gd name="connsiteX48" fmla="*/ 2326786 w 2672324"/>
              <a:gd name="connsiteY48" fmla="*/ 2078629 h 2393589"/>
              <a:gd name="connsiteX49" fmla="*/ 2296306 w 2672324"/>
              <a:gd name="connsiteY49" fmla="*/ 2007509 h 2393589"/>
              <a:gd name="connsiteX50" fmla="*/ 2275986 w 2672324"/>
              <a:gd name="connsiteY50" fmla="*/ 1977029 h 2393589"/>
              <a:gd name="connsiteX51" fmla="*/ 2265826 w 2672324"/>
              <a:gd name="connsiteY51" fmla="*/ 1926229 h 2393589"/>
              <a:gd name="connsiteX52" fmla="*/ 2235346 w 2672324"/>
              <a:gd name="connsiteY52" fmla="*/ 1895749 h 2393589"/>
              <a:gd name="connsiteX53" fmla="*/ 2164226 w 2672324"/>
              <a:gd name="connsiteY53" fmla="*/ 1855109 h 2393589"/>
              <a:gd name="connsiteX54" fmla="*/ 2052466 w 2672324"/>
              <a:gd name="connsiteY54" fmla="*/ 1885589 h 2393589"/>
              <a:gd name="connsiteX55" fmla="*/ 1991506 w 2672324"/>
              <a:gd name="connsiteY55" fmla="*/ 1946549 h 2393589"/>
              <a:gd name="connsiteX56" fmla="*/ 1961026 w 2672324"/>
              <a:gd name="connsiteY56" fmla="*/ 2027829 h 2393589"/>
              <a:gd name="connsiteX57" fmla="*/ 1950866 w 2672324"/>
              <a:gd name="connsiteY57" fmla="*/ 2058309 h 2393589"/>
              <a:gd name="connsiteX58" fmla="*/ 1920386 w 2672324"/>
              <a:gd name="connsiteY58" fmla="*/ 2088789 h 2393589"/>
              <a:gd name="connsiteX59" fmla="*/ 1900066 w 2672324"/>
              <a:gd name="connsiteY59" fmla="*/ 2119269 h 2393589"/>
              <a:gd name="connsiteX60" fmla="*/ 1859426 w 2672324"/>
              <a:gd name="connsiteY60" fmla="*/ 2139589 h 2393589"/>
              <a:gd name="connsiteX61" fmla="*/ 1788306 w 2672324"/>
              <a:gd name="connsiteY61" fmla="*/ 2220869 h 2393589"/>
              <a:gd name="connsiteX62" fmla="*/ 1757826 w 2672324"/>
              <a:gd name="connsiteY62" fmla="*/ 2241189 h 2393589"/>
              <a:gd name="connsiteX63" fmla="*/ 1727346 w 2672324"/>
              <a:gd name="connsiteY63" fmla="*/ 2271669 h 2393589"/>
              <a:gd name="connsiteX64" fmla="*/ 1686706 w 2672324"/>
              <a:gd name="connsiteY64" fmla="*/ 2332629 h 2393589"/>
              <a:gd name="connsiteX65" fmla="*/ 1646066 w 2672324"/>
              <a:gd name="connsiteY65" fmla="*/ 2342789 h 2393589"/>
              <a:gd name="connsiteX66" fmla="*/ 1615586 w 2672324"/>
              <a:gd name="connsiteY66" fmla="*/ 2363109 h 2393589"/>
              <a:gd name="connsiteX67" fmla="*/ 1554626 w 2672324"/>
              <a:gd name="connsiteY67" fmla="*/ 2393589 h 2393589"/>
              <a:gd name="connsiteX68" fmla="*/ 1331106 w 2672324"/>
              <a:gd name="connsiteY68" fmla="*/ 2383429 h 2393589"/>
              <a:gd name="connsiteX69" fmla="*/ 1300626 w 2672324"/>
              <a:gd name="connsiteY69" fmla="*/ 2352949 h 2393589"/>
              <a:gd name="connsiteX70" fmla="*/ 1239666 w 2672324"/>
              <a:gd name="connsiteY70" fmla="*/ 2302149 h 2393589"/>
              <a:gd name="connsiteX71" fmla="*/ 1178706 w 2672324"/>
              <a:gd name="connsiteY71" fmla="*/ 2200549 h 2393589"/>
              <a:gd name="connsiteX72" fmla="*/ 1168546 w 2672324"/>
              <a:gd name="connsiteY72" fmla="*/ 2170069 h 2393589"/>
              <a:gd name="connsiteX73" fmla="*/ 1138066 w 2672324"/>
              <a:gd name="connsiteY73" fmla="*/ 2139589 h 2393589"/>
              <a:gd name="connsiteX74" fmla="*/ 1127906 w 2672324"/>
              <a:gd name="connsiteY74" fmla="*/ 2078629 h 2393589"/>
              <a:gd name="connsiteX75" fmla="*/ 1107586 w 2672324"/>
              <a:gd name="connsiteY75" fmla="*/ 2037989 h 2393589"/>
              <a:gd name="connsiteX76" fmla="*/ 1097426 w 2672324"/>
              <a:gd name="connsiteY76" fmla="*/ 1905909 h 2393589"/>
              <a:gd name="connsiteX77" fmla="*/ 1117746 w 2672324"/>
              <a:gd name="connsiteY77" fmla="*/ 1651909 h 2393589"/>
              <a:gd name="connsiteX78" fmla="*/ 1127906 w 2672324"/>
              <a:gd name="connsiteY78" fmla="*/ 1601109 h 2393589"/>
              <a:gd name="connsiteX79" fmla="*/ 1148226 w 2672324"/>
              <a:gd name="connsiteY79" fmla="*/ 1560469 h 2393589"/>
              <a:gd name="connsiteX80" fmla="*/ 1138066 w 2672324"/>
              <a:gd name="connsiteY80" fmla="*/ 1499509 h 2393589"/>
              <a:gd name="connsiteX81" fmla="*/ 1107586 w 2672324"/>
              <a:gd name="connsiteY81" fmla="*/ 1489349 h 2393589"/>
              <a:gd name="connsiteX82" fmla="*/ 1005986 w 2672324"/>
              <a:gd name="connsiteY82" fmla="*/ 1458869 h 2393589"/>
              <a:gd name="connsiteX83" fmla="*/ 965346 w 2672324"/>
              <a:gd name="connsiteY83" fmla="*/ 1387749 h 2393589"/>
              <a:gd name="connsiteX84" fmla="*/ 904386 w 2672324"/>
              <a:gd name="connsiteY84" fmla="*/ 1316629 h 2393589"/>
              <a:gd name="connsiteX85" fmla="*/ 884066 w 2672324"/>
              <a:gd name="connsiteY85" fmla="*/ 1286149 h 2393589"/>
              <a:gd name="connsiteX86" fmla="*/ 894226 w 2672324"/>
              <a:gd name="connsiteY86" fmla="*/ 1204869 h 2393589"/>
              <a:gd name="connsiteX87" fmla="*/ 924706 w 2672324"/>
              <a:gd name="connsiteY87" fmla="*/ 1184549 h 2393589"/>
              <a:gd name="connsiteX88" fmla="*/ 955186 w 2672324"/>
              <a:gd name="connsiteY88" fmla="*/ 1143909 h 2393589"/>
              <a:gd name="connsiteX89" fmla="*/ 965346 w 2672324"/>
              <a:gd name="connsiteY89" fmla="*/ 1113429 h 2393589"/>
              <a:gd name="connsiteX90" fmla="*/ 894226 w 2672324"/>
              <a:gd name="connsiteY90" fmla="*/ 1103269 h 2393589"/>
              <a:gd name="connsiteX91" fmla="*/ 731666 w 2672324"/>
              <a:gd name="connsiteY91" fmla="*/ 1042309 h 2393589"/>
              <a:gd name="connsiteX92" fmla="*/ 81426 w 2672324"/>
              <a:gd name="connsiteY92" fmla="*/ 1032149 h 2393589"/>
              <a:gd name="connsiteX93" fmla="*/ 50946 w 2672324"/>
              <a:gd name="connsiteY93" fmla="*/ 981349 h 2393589"/>
              <a:gd name="connsiteX94" fmla="*/ 40786 w 2672324"/>
              <a:gd name="connsiteY94" fmla="*/ 940709 h 2393589"/>
              <a:gd name="connsiteX95" fmla="*/ 20466 w 2672324"/>
              <a:gd name="connsiteY95" fmla="*/ 879749 h 2393589"/>
              <a:gd name="connsiteX96" fmla="*/ 146 w 2672324"/>
              <a:gd name="connsiteY96" fmla="*/ 696869 h 2393589"/>
              <a:gd name="connsiteX97" fmla="*/ 30626 w 2672324"/>
              <a:gd name="connsiteY97" fmla="*/ 402229 h 2393589"/>
              <a:gd name="connsiteX98" fmla="*/ 91586 w 2672324"/>
              <a:gd name="connsiteY98" fmla="*/ 320949 h 2393589"/>
              <a:gd name="connsiteX99" fmla="*/ 162706 w 2672324"/>
              <a:gd name="connsiteY99" fmla="*/ 229509 h 2393589"/>
              <a:gd name="connsiteX100" fmla="*/ 183026 w 2672324"/>
              <a:gd name="connsiteY100" fmla="*/ 199029 h 2393589"/>
              <a:gd name="connsiteX101" fmla="*/ 233826 w 2672324"/>
              <a:gd name="connsiteY101" fmla="*/ 158389 h 2393589"/>
              <a:gd name="connsiteX102" fmla="*/ 264306 w 2672324"/>
              <a:gd name="connsiteY102" fmla="*/ 127909 h 2393589"/>
              <a:gd name="connsiteX103" fmla="*/ 315106 w 2672324"/>
              <a:gd name="connsiteY103" fmla="*/ 87269 h 2393589"/>
              <a:gd name="connsiteX104" fmla="*/ 345586 w 2672324"/>
              <a:gd name="connsiteY104" fmla="*/ 56789 h 2393589"/>
              <a:gd name="connsiteX105" fmla="*/ 386226 w 2672324"/>
              <a:gd name="connsiteY105" fmla="*/ 46629 h 2393589"/>
              <a:gd name="connsiteX106" fmla="*/ 467506 w 2672324"/>
              <a:gd name="connsiteY106" fmla="*/ 16149 h 2393589"/>
              <a:gd name="connsiteX107" fmla="*/ 548786 w 2672324"/>
              <a:gd name="connsiteY107" fmla="*/ 5989 h 2393589"/>
              <a:gd name="connsiteX108" fmla="*/ 1117746 w 2672324"/>
              <a:gd name="connsiteY108" fmla="*/ 16149 h 2393589"/>
              <a:gd name="connsiteX109" fmla="*/ 1158386 w 2672324"/>
              <a:gd name="connsiteY109" fmla="*/ 46629 h 2393589"/>
              <a:gd name="connsiteX110" fmla="*/ 1239666 w 2672324"/>
              <a:gd name="connsiteY110" fmla="*/ 97429 h 2393589"/>
              <a:gd name="connsiteX111" fmla="*/ 1300626 w 2672324"/>
              <a:gd name="connsiteY111" fmla="*/ 138069 h 2393589"/>
              <a:gd name="connsiteX112" fmla="*/ 1331106 w 2672324"/>
              <a:gd name="connsiteY112" fmla="*/ 148229 h 2393589"/>
              <a:gd name="connsiteX113" fmla="*/ 1402226 w 2672324"/>
              <a:gd name="connsiteY113" fmla="*/ 168549 h 2393589"/>
              <a:gd name="connsiteX114" fmla="*/ 1635906 w 2672324"/>
              <a:gd name="connsiteY114" fmla="*/ 148229 h 2393589"/>
              <a:gd name="connsiteX115" fmla="*/ 1686706 w 2672324"/>
              <a:gd name="connsiteY115" fmla="*/ 127909 h 2393589"/>
              <a:gd name="connsiteX116" fmla="*/ 1747666 w 2672324"/>
              <a:gd name="connsiteY116" fmla="*/ 107589 h 2393589"/>
              <a:gd name="connsiteX117" fmla="*/ 1818786 w 2672324"/>
              <a:gd name="connsiteY117" fmla="*/ 77109 h 2393589"/>
              <a:gd name="connsiteX118" fmla="*/ 2062626 w 2672324"/>
              <a:gd name="connsiteY118" fmla="*/ 5989 h 239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672324" h="2393589">
                <a:moveTo>
                  <a:pt x="2062626" y="5989"/>
                </a:moveTo>
                <a:cubicBezTo>
                  <a:pt x="2125279" y="19536"/>
                  <a:pt x="2152712" y="105896"/>
                  <a:pt x="2194706" y="158389"/>
                </a:cubicBezTo>
                <a:cubicBezTo>
                  <a:pt x="2207042" y="173809"/>
                  <a:pt x="2211222" y="195225"/>
                  <a:pt x="2225186" y="209189"/>
                </a:cubicBezTo>
                <a:cubicBezTo>
                  <a:pt x="2232759" y="216762"/>
                  <a:pt x="2245506" y="215962"/>
                  <a:pt x="2255666" y="219349"/>
                </a:cubicBezTo>
                <a:cubicBezTo>
                  <a:pt x="2324199" y="287882"/>
                  <a:pt x="2289364" y="271222"/>
                  <a:pt x="2347106" y="290469"/>
                </a:cubicBezTo>
                <a:cubicBezTo>
                  <a:pt x="2350493" y="300629"/>
                  <a:pt x="2349693" y="313376"/>
                  <a:pt x="2357266" y="320949"/>
                </a:cubicBezTo>
                <a:cubicBezTo>
                  <a:pt x="2383124" y="346807"/>
                  <a:pt x="2440152" y="347304"/>
                  <a:pt x="2469026" y="351429"/>
                </a:cubicBezTo>
                <a:cubicBezTo>
                  <a:pt x="2479186" y="354816"/>
                  <a:pt x="2489116" y="358992"/>
                  <a:pt x="2499506" y="361589"/>
                </a:cubicBezTo>
                <a:cubicBezTo>
                  <a:pt x="2529797" y="369162"/>
                  <a:pt x="2561804" y="370700"/>
                  <a:pt x="2590946" y="381909"/>
                </a:cubicBezTo>
                <a:cubicBezTo>
                  <a:pt x="2606751" y="387988"/>
                  <a:pt x="2617807" y="402547"/>
                  <a:pt x="2631586" y="412389"/>
                </a:cubicBezTo>
                <a:cubicBezTo>
                  <a:pt x="2641522" y="419486"/>
                  <a:pt x="2651906" y="425936"/>
                  <a:pt x="2662066" y="432709"/>
                </a:cubicBezTo>
                <a:cubicBezTo>
                  <a:pt x="2665453" y="442869"/>
                  <a:pt x="2673292" y="452533"/>
                  <a:pt x="2672226" y="463189"/>
                </a:cubicBezTo>
                <a:cubicBezTo>
                  <a:pt x="2666409" y="521362"/>
                  <a:pt x="2668975" y="584174"/>
                  <a:pt x="2641746" y="635909"/>
                </a:cubicBezTo>
                <a:cubicBezTo>
                  <a:pt x="2630263" y="657727"/>
                  <a:pt x="2594734" y="651063"/>
                  <a:pt x="2570626" y="656229"/>
                </a:cubicBezTo>
                <a:cubicBezTo>
                  <a:pt x="2547210" y="661247"/>
                  <a:pt x="2522922" y="661371"/>
                  <a:pt x="2499506" y="666389"/>
                </a:cubicBezTo>
                <a:cubicBezTo>
                  <a:pt x="2466939" y="673368"/>
                  <a:pt x="2430557" y="685985"/>
                  <a:pt x="2397906" y="696869"/>
                </a:cubicBezTo>
                <a:cubicBezTo>
                  <a:pt x="2351477" y="766512"/>
                  <a:pt x="2412565" y="684304"/>
                  <a:pt x="2326786" y="757829"/>
                </a:cubicBezTo>
                <a:cubicBezTo>
                  <a:pt x="2317515" y="765776"/>
                  <a:pt x="2313239" y="778149"/>
                  <a:pt x="2306466" y="788309"/>
                </a:cubicBezTo>
                <a:cubicBezTo>
                  <a:pt x="2309853" y="801856"/>
                  <a:pt x="2303122" y="825395"/>
                  <a:pt x="2316626" y="828949"/>
                </a:cubicBezTo>
                <a:cubicBezTo>
                  <a:pt x="2375670" y="844487"/>
                  <a:pt x="2450272" y="803004"/>
                  <a:pt x="2499506" y="839109"/>
                </a:cubicBezTo>
                <a:cubicBezTo>
                  <a:pt x="2528019" y="860018"/>
                  <a:pt x="2479424" y="906915"/>
                  <a:pt x="2469026" y="940709"/>
                </a:cubicBezTo>
                <a:cubicBezTo>
                  <a:pt x="2451697" y="997027"/>
                  <a:pt x="2467020" y="945389"/>
                  <a:pt x="2438546" y="1011829"/>
                </a:cubicBezTo>
                <a:cubicBezTo>
                  <a:pt x="2434327" y="1021673"/>
                  <a:pt x="2433175" y="1032730"/>
                  <a:pt x="2428386" y="1042309"/>
                </a:cubicBezTo>
                <a:cubicBezTo>
                  <a:pt x="2422925" y="1053231"/>
                  <a:pt x="2413527" y="1061867"/>
                  <a:pt x="2408066" y="1072789"/>
                </a:cubicBezTo>
                <a:cubicBezTo>
                  <a:pt x="2403277" y="1082368"/>
                  <a:pt x="2402695" y="1093690"/>
                  <a:pt x="2397906" y="1103269"/>
                </a:cubicBezTo>
                <a:cubicBezTo>
                  <a:pt x="2392445" y="1114191"/>
                  <a:pt x="2383047" y="1122827"/>
                  <a:pt x="2377586" y="1133749"/>
                </a:cubicBezTo>
                <a:cubicBezTo>
                  <a:pt x="2369430" y="1150061"/>
                  <a:pt x="2370162" y="1171653"/>
                  <a:pt x="2357266" y="1184549"/>
                </a:cubicBezTo>
                <a:cubicBezTo>
                  <a:pt x="2344370" y="1197445"/>
                  <a:pt x="2323543" y="1198465"/>
                  <a:pt x="2306466" y="1204869"/>
                </a:cubicBezTo>
                <a:cubicBezTo>
                  <a:pt x="2248138" y="1226742"/>
                  <a:pt x="2301974" y="1199436"/>
                  <a:pt x="2225186" y="1245509"/>
                </a:cubicBezTo>
                <a:cubicBezTo>
                  <a:pt x="2215026" y="1259056"/>
                  <a:pt x="2203107" y="1271447"/>
                  <a:pt x="2194706" y="1286149"/>
                </a:cubicBezTo>
                <a:cubicBezTo>
                  <a:pt x="2189393" y="1295448"/>
                  <a:pt x="2188765" y="1306785"/>
                  <a:pt x="2184546" y="1316629"/>
                </a:cubicBezTo>
                <a:cubicBezTo>
                  <a:pt x="2178580" y="1330550"/>
                  <a:pt x="2170999" y="1343722"/>
                  <a:pt x="2164226" y="1357269"/>
                </a:cubicBezTo>
                <a:cubicBezTo>
                  <a:pt x="2160839" y="1377589"/>
                  <a:pt x="2159985" y="1398498"/>
                  <a:pt x="2154066" y="1418229"/>
                </a:cubicBezTo>
                <a:cubicBezTo>
                  <a:pt x="2149714" y="1432736"/>
                  <a:pt x="2135888" y="1443876"/>
                  <a:pt x="2133746" y="1458869"/>
                </a:cubicBezTo>
                <a:cubicBezTo>
                  <a:pt x="2132231" y="1469471"/>
                  <a:pt x="2139929" y="1479405"/>
                  <a:pt x="2143906" y="1489349"/>
                </a:cubicBezTo>
                <a:cubicBezTo>
                  <a:pt x="2153485" y="1513296"/>
                  <a:pt x="2164226" y="1536762"/>
                  <a:pt x="2174386" y="1560469"/>
                </a:cubicBezTo>
                <a:cubicBezTo>
                  <a:pt x="2177773" y="1604496"/>
                  <a:pt x="2174967" y="1649444"/>
                  <a:pt x="2184546" y="1692549"/>
                </a:cubicBezTo>
                <a:cubicBezTo>
                  <a:pt x="2212392" y="1817857"/>
                  <a:pt x="2393659" y="1736204"/>
                  <a:pt x="2469026" y="1733189"/>
                </a:cubicBezTo>
                <a:cubicBezTo>
                  <a:pt x="2479186" y="1723029"/>
                  <a:pt x="2486946" y="1709687"/>
                  <a:pt x="2499506" y="1702709"/>
                </a:cubicBezTo>
                <a:cubicBezTo>
                  <a:pt x="2518230" y="1692307"/>
                  <a:pt x="2542644" y="1694270"/>
                  <a:pt x="2560466" y="1682389"/>
                </a:cubicBezTo>
                <a:lnTo>
                  <a:pt x="2590946" y="1662069"/>
                </a:lnTo>
                <a:cubicBezTo>
                  <a:pt x="2601106" y="1668842"/>
                  <a:pt x="2620664" y="1670202"/>
                  <a:pt x="2621426" y="1682389"/>
                </a:cubicBezTo>
                <a:cubicBezTo>
                  <a:pt x="2628355" y="1793253"/>
                  <a:pt x="2620286" y="1795859"/>
                  <a:pt x="2580786" y="1855109"/>
                </a:cubicBezTo>
                <a:cubicBezTo>
                  <a:pt x="2558494" y="2011156"/>
                  <a:pt x="2589215" y="1869163"/>
                  <a:pt x="2550306" y="1956709"/>
                </a:cubicBezTo>
                <a:cubicBezTo>
                  <a:pt x="2532888" y="1995899"/>
                  <a:pt x="2534126" y="2024065"/>
                  <a:pt x="2509666" y="2058309"/>
                </a:cubicBezTo>
                <a:cubicBezTo>
                  <a:pt x="2501315" y="2070001"/>
                  <a:pt x="2488384" y="2077751"/>
                  <a:pt x="2479186" y="2088789"/>
                </a:cubicBezTo>
                <a:cubicBezTo>
                  <a:pt x="2471369" y="2098170"/>
                  <a:pt x="2469468" y="2113211"/>
                  <a:pt x="2458866" y="2119269"/>
                </a:cubicBezTo>
                <a:cubicBezTo>
                  <a:pt x="2443873" y="2127837"/>
                  <a:pt x="2424999" y="2126042"/>
                  <a:pt x="2408066" y="2129429"/>
                </a:cubicBezTo>
                <a:cubicBezTo>
                  <a:pt x="2380973" y="2112496"/>
                  <a:pt x="2350534" y="2100002"/>
                  <a:pt x="2326786" y="2078629"/>
                </a:cubicBezTo>
                <a:cubicBezTo>
                  <a:pt x="2307566" y="2061331"/>
                  <a:pt x="2307091" y="2029079"/>
                  <a:pt x="2296306" y="2007509"/>
                </a:cubicBezTo>
                <a:cubicBezTo>
                  <a:pt x="2290845" y="1996587"/>
                  <a:pt x="2282759" y="1987189"/>
                  <a:pt x="2275986" y="1977029"/>
                </a:cubicBezTo>
                <a:cubicBezTo>
                  <a:pt x="2272599" y="1960096"/>
                  <a:pt x="2273549" y="1941675"/>
                  <a:pt x="2265826" y="1926229"/>
                </a:cubicBezTo>
                <a:cubicBezTo>
                  <a:pt x="2259400" y="1913378"/>
                  <a:pt x="2246384" y="1904947"/>
                  <a:pt x="2235346" y="1895749"/>
                </a:cubicBezTo>
                <a:cubicBezTo>
                  <a:pt x="2213805" y="1877798"/>
                  <a:pt x="2189069" y="1867531"/>
                  <a:pt x="2164226" y="1855109"/>
                </a:cubicBezTo>
                <a:cubicBezTo>
                  <a:pt x="2126973" y="1865269"/>
                  <a:pt x="2086593" y="1867522"/>
                  <a:pt x="2052466" y="1885589"/>
                </a:cubicBezTo>
                <a:cubicBezTo>
                  <a:pt x="2027069" y="1899035"/>
                  <a:pt x="1991506" y="1946549"/>
                  <a:pt x="1991506" y="1946549"/>
                </a:cubicBezTo>
                <a:cubicBezTo>
                  <a:pt x="1972774" y="2021476"/>
                  <a:pt x="1992904" y="1953448"/>
                  <a:pt x="1961026" y="2027829"/>
                </a:cubicBezTo>
                <a:cubicBezTo>
                  <a:pt x="1956807" y="2037673"/>
                  <a:pt x="1956807" y="2049398"/>
                  <a:pt x="1950866" y="2058309"/>
                </a:cubicBezTo>
                <a:cubicBezTo>
                  <a:pt x="1942896" y="2070264"/>
                  <a:pt x="1929584" y="2077751"/>
                  <a:pt x="1920386" y="2088789"/>
                </a:cubicBezTo>
                <a:cubicBezTo>
                  <a:pt x="1912569" y="2098170"/>
                  <a:pt x="1909447" y="2111452"/>
                  <a:pt x="1900066" y="2119269"/>
                </a:cubicBezTo>
                <a:cubicBezTo>
                  <a:pt x="1888431" y="2128965"/>
                  <a:pt x="1871751" y="2130786"/>
                  <a:pt x="1859426" y="2139589"/>
                </a:cubicBezTo>
                <a:cubicBezTo>
                  <a:pt x="1830660" y="2160136"/>
                  <a:pt x="1812192" y="2196983"/>
                  <a:pt x="1788306" y="2220869"/>
                </a:cubicBezTo>
                <a:cubicBezTo>
                  <a:pt x="1779672" y="2229503"/>
                  <a:pt x="1767207" y="2233372"/>
                  <a:pt x="1757826" y="2241189"/>
                </a:cubicBezTo>
                <a:cubicBezTo>
                  <a:pt x="1746788" y="2250387"/>
                  <a:pt x="1737506" y="2261509"/>
                  <a:pt x="1727346" y="2271669"/>
                </a:cubicBezTo>
                <a:cubicBezTo>
                  <a:pt x="1717648" y="2300764"/>
                  <a:pt x="1718044" y="2314722"/>
                  <a:pt x="1686706" y="2332629"/>
                </a:cubicBezTo>
                <a:cubicBezTo>
                  <a:pt x="1674582" y="2339557"/>
                  <a:pt x="1659613" y="2339402"/>
                  <a:pt x="1646066" y="2342789"/>
                </a:cubicBezTo>
                <a:cubicBezTo>
                  <a:pt x="1635906" y="2349562"/>
                  <a:pt x="1626508" y="2357648"/>
                  <a:pt x="1615586" y="2363109"/>
                </a:cubicBezTo>
                <a:cubicBezTo>
                  <a:pt x="1531458" y="2405173"/>
                  <a:pt x="1641977" y="2335355"/>
                  <a:pt x="1554626" y="2393589"/>
                </a:cubicBezTo>
                <a:cubicBezTo>
                  <a:pt x="1480119" y="2390202"/>
                  <a:pt x="1404753" y="2395212"/>
                  <a:pt x="1331106" y="2383429"/>
                </a:cubicBezTo>
                <a:cubicBezTo>
                  <a:pt x="1316918" y="2381159"/>
                  <a:pt x="1311664" y="2362147"/>
                  <a:pt x="1300626" y="2352949"/>
                </a:cubicBezTo>
                <a:cubicBezTo>
                  <a:pt x="1270793" y="2328088"/>
                  <a:pt x="1263952" y="2337228"/>
                  <a:pt x="1239666" y="2302149"/>
                </a:cubicBezTo>
                <a:cubicBezTo>
                  <a:pt x="1217185" y="2269677"/>
                  <a:pt x="1191195" y="2238017"/>
                  <a:pt x="1178706" y="2200549"/>
                </a:cubicBezTo>
                <a:cubicBezTo>
                  <a:pt x="1175319" y="2190389"/>
                  <a:pt x="1174487" y="2178980"/>
                  <a:pt x="1168546" y="2170069"/>
                </a:cubicBezTo>
                <a:cubicBezTo>
                  <a:pt x="1160576" y="2158114"/>
                  <a:pt x="1148226" y="2149749"/>
                  <a:pt x="1138066" y="2139589"/>
                </a:cubicBezTo>
                <a:cubicBezTo>
                  <a:pt x="1134679" y="2119269"/>
                  <a:pt x="1133825" y="2098360"/>
                  <a:pt x="1127906" y="2078629"/>
                </a:cubicBezTo>
                <a:cubicBezTo>
                  <a:pt x="1123554" y="2064122"/>
                  <a:pt x="1110218" y="2052904"/>
                  <a:pt x="1107586" y="2037989"/>
                </a:cubicBezTo>
                <a:cubicBezTo>
                  <a:pt x="1099912" y="1994504"/>
                  <a:pt x="1100813" y="1949936"/>
                  <a:pt x="1097426" y="1905909"/>
                </a:cubicBezTo>
                <a:cubicBezTo>
                  <a:pt x="1104199" y="1821242"/>
                  <a:pt x="1109294" y="1736425"/>
                  <a:pt x="1117746" y="1651909"/>
                </a:cubicBezTo>
                <a:cubicBezTo>
                  <a:pt x="1119464" y="1634726"/>
                  <a:pt x="1122445" y="1617492"/>
                  <a:pt x="1127906" y="1601109"/>
                </a:cubicBezTo>
                <a:cubicBezTo>
                  <a:pt x="1132695" y="1586741"/>
                  <a:pt x="1141453" y="1574016"/>
                  <a:pt x="1148226" y="1560469"/>
                </a:cubicBezTo>
                <a:cubicBezTo>
                  <a:pt x="1144839" y="1540149"/>
                  <a:pt x="1148287" y="1517395"/>
                  <a:pt x="1138066" y="1499509"/>
                </a:cubicBezTo>
                <a:cubicBezTo>
                  <a:pt x="1132753" y="1490210"/>
                  <a:pt x="1117884" y="1492291"/>
                  <a:pt x="1107586" y="1489349"/>
                </a:cubicBezTo>
                <a:cubicBezTo>
                  <a:pt x="1000102" y="1458639"/>
                  <a:pt x="1150853" y="1507158"/>
                  <a:pt x="1005986" y="1458869"/>
                </a:cubicBezTo>
                <a:cubicBezTo>
                  <a:pt x="937551" y="1390434"/>
                  <a:pt x="1006281" y="1469618"/>
                  <a:pt x="965346" y="1387749"/>
                </a:cubicBezTo>
                <a:cubicBezTo>
                  <a:pt x="946321" y="1349699"/>
                  <a:pt x="929804" y="1347131"/>
                  <a:pt x="904386" y="1316629"/>
                </a:cubicBezTo>
                <a:cubicBezTo>
                  <a:pt x="896569" y="1307248"/>
                  <a:pt x="890839" y="1296309"/>
                  <a:pt x="884066" y="1286149"/>
                </a:cubicBezTo>
                <a:cubicBezTo>
                  <a:pt x="887453" y="1259056"/>
                  <a:pt x="884085" y="1230220"/>
                  <a:pt x="894226" y="1204869"/>
                </a:cubicBezTo>
                <a:cubicBezTo>
                  <a:pt x="898761" y="1193532"/>
                  <a:pt x="916072" y="1193183"/>
                  <a:pt x="924706" y="1184549"/>
                </a:cubicBezTo>
                <a:cubicBezTo>
                  <a:pt x="936680" y="1172575"/>
                  <a:pt x="945026" y="1157456"/>
                  <a:pt x="955186" y="1143909"/>
                </a:cubicBezTo>
                <a:cubicBezTo>
                  <a:pt x="958573" y="1133749"/>
                  <a:pt x="974257" y="1119370"/>
                  <a:pt x="965346" y="1113429"/>
                </a:cubicBezTo>
                <a:cubicBezTo>
                  <a:pt x="945421" y="1100145"/>
                  <a:pt x="917252" y="1109848"/>
                  <a:pt x="894226" y="1103269"/>
                </a:cubicBezTo>
                <a:cubicBezTo>
                  <a:pt x="849792" y="1090573"/>
                  <a:pt x="777547" y="1043026"/>
                  <a:pt x="731666" y="1042309"/>
                </a:cubicBezTo>
                <a:lnTo>
                  <a:pt x="81426" y="1032149"/>
                </a:lnTo>
                <a:cubicBezTo>
                  <a:pt x="71266" y="1015216"/>
                  <a:pt x="58966" y="999394"/>
                  <a:pt x="50946" y="981349"/>
                </a:cubicBezTo>
                <a:cubicBezTo>
                  <a:pt x="45275" y="968589"/>
                  <a:pt x="44798" y="954084"/>
                  <a:pt x="40786" y="940709"/>
                </a:cubicBezTo>
                <a:cubicBezTo>
                  <a:pt x="34631" y="920193"/>
                  <a:pt x="27239" y="900069"/>
                  <a:pt x="20466" y="879749"/>
                </a:cubicBezTo>
                <a:cubicBezTo>
                  <a:pt x="14077" y="835028"/>
                  <a:pt x="-1680" y="733397"/>
                  <a:pt x="146" y="696869"/>
                </a:cubicBezTo>
                <a:cubicBezTo>
                  <a:pt x="5077" y="598255"/>
                  <a:pt x="7289" y="498169"/>
                  <a:pt x="30626" y="402229"/>
                </a:cubicBezTo>
                <a:cubicBezTo>
                  <a:pt x="38630" y="369322"/>
                  <a:pt x="76440" y="351240"/>
                  <a:pt x="91586" y="320949"/>
                </a:cubicBezTo>
                <a:cubicBezTo>
                  <a:pt x="129099" y="245922"/>
                  <a:pt x="90945" y="311522"/>
                  <a:pt x="162706" y="229509"/>
                </a:cubicBezTo>
                <a:cubicBezTo>
                  <a:pt x="170747" y="220319"/>
                  <a:pt x="174392" y="207663"/>
                  <a:pt x="183026" y="199029"/>
                </a:cubicBezTo>
                <a:cubicBezTo>
                  <a:pt x="198360" y="183695"/>
                  <a:pt x="217506" y="172669"/>
                  <a:pt x="233826" y="158389"/>
                </a:cubicBezTo>
                <a:cubicBezTo>
                  <a:pt x="244639" y="148927"/>
                  <a:pt x="253493" y="137371"/>
                  <a:pt x="264306" y="127909"/>
                </a:cubicBezTo>
                <a:cubicBezTo>
                  <a:pt x="280626" y="113629"/>
                  <a:pt x="298786" y="101549"/>
                  <a:pt x="315106" y="87269"/>
                </a:cubicBezTo>
                <a:cubicBezTo>
                  <a:pt x="325919" y="77807"/>
                  <a:pt x="333111" y="63918"/>
                  <a:pt x="345586" y="56789"/>
                </a:cubicBezTo>
                <a:cubicBezTo>
                  <a:pt x="357710" y="49861"/>
                  <a:pt x="372979" y="51045"/>
                  <a:pt x="386226" y="46629"/>
                </a:cubicBezTo>
                <a:cubicBezTo>
                  <a:pt x="392327" y="44595"/>
                  <a:pt x="451811" y="19003"/>
                  <a:pt x="467506" y="16149"/>
                </a:cubicBezTo>
                <a:cubicBezTo>
                  <a:pt x="494370" y="11265"/>
                  <a:pt x="521693" y="9376"/>
                  <a:pt x="548786" y="5989"/>
                </a:cubicBezTo>
                <a:cubicBezTo>
                  <a:pt x="738439" y="9376"/>
                  <a:pt x="928483" y="3531"/>
                  <a:pt x="1117746" y="16149"/>
                </a:cubicBezTo>
                <a:cubicBezTo>
                  <a:pt x="1134642" y="17275"/>
                  <a:pt x="1144297" y="37236"/>
                  <a:pt x="1158386" y="46629"/>
                </a:cubicBezTo>
                <a:cubicBezTo>
                  <a:pt x="1184970" y="64352"/>
                  <a:pt x="1213082" y="79706"/>
                  <a:pt x="1239666" y="97429"/>
                </a:cubicBezTo>
                <a:cubicBezTo>
                  <a:pt x="1259986" y="110976"/>
                  <a:pt x="1279278" y="126209"/>
                  <a:pt x="1300626" y="138069"/>
                </a:cubicBezTo>
                <a:cubicBezTo>
                  <a:pt x="1309988" y="143270"/>
                  <a:pt x="1320848" y="145152"/>
                  <a:pt x="1331106" y="148229"/>
                </a:cubicBezTo>
                <a:cubicBezTo>
                  <a:pt x="1354721" y="155314"/>
                  <a:pt x="1378519" y="161776"/>
                  <a:pt x="1402226" y="168549"/>
                </a:cubicBezTo>
                <a:cubicBezTo>
                  <a:pt x="1480119" y="161776"/>
                  <a:pt x="1558505" y="159286"/>
                  <a:pt x="1635906" y="148229"/>
                </a:cubicBezTo>
                <a:cubicBezTo>
                  <a:pt x="1653960" y="145650"/>
                  <a:pt x="1669566" y="134142"/>
                  <a:pt x="1686706" y="127909"/>
                </a:cubicBezTo>
                <a:cubicBezTo>
                  <a:pt x="1706836" y="120589"/>
                  <a:pt x="1729844" y="119470"/>
                  <a:pt x="1747666" y="107589"/>
                </a:cubicBezTo>
                <a:cubicBezTo>
                  <a:pt x="1789764" y="79523"/>
                  <a:pt x="1766300" y="90231"/>
                  <a:pt x="1818786" y="77109"/>
                </a:cubicBezTo>
                <a:cubicBezTo>
                  <a:pt x="1899555" y="-3660"/>
                  <a:pt x="1999973" y="-7558"/>
                  <a:pt x="2062626" y="5989"/>
                </a:cubicBezTo>
                <a:close/>
              </a:path>
            </a:pathLst>
          </a:custGeom>
          <a:pattFill prst="wdDnDiag">
            <a:fgClr>
              <a:schemeClr val="accent1"/>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Imagen 72" descr="Un dibujo animado con letras&#10;&#10;Descripción generada automáticamente con confianza baja">
            <a:extLst>
              <a:ext uri="{FF2B5EF4-FFF2-40B4-BE49-F238E27FC236}">
                <a16:creationId xmlns:a16="http://schemas.microsoft.com/office/drawing/2014/main" id="{C343507E-06F4-A674-B101-8FFC150AB49B}"/>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7138380" y="4599472"/>
            <a:ext cx="3278067" cy="2780503"/>
          </a:xfrm>
          <a:prstGeom prst="rect">
            <a:avLst/>
          </a:prstGeom>
        </p:spPr>
      </p:pic>
      <p:grpSp>
        <p:nvGrpSpPr>
          <p:cNvPr id="4" name="Grupo 3">
            <a:extLst>
              <a:ext uri="{FF2B5EF4-FFF2-40B4-BE49-F238E27FC236}">
                <a16:creationId xmlns:a16="http://schemas.microsoft.com/office/drawing/2014/main" id="{DA7C4BBE-EA2C-C5E0-B561-ECF85AB1FC50}"/>
              </a:ext>
            </a:extLst>
          </p:cNvPr>
          <p:cNvGrpSpPr/>
          <p:nvPr/>
        </p:nvGrpSpPr>
        <p:grpSpPr>
          <a:xfrm flipH="1">
            <a:off x="553042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V="1">
            <a:off x="2851712"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pic>
        <p:nvPicPr>
          <p:cNvPr id="40" name="Gráfico 39">
            <a:extLst>
              <a:ext uri="{FF2B5EF4-FFF2-40B4-BE49-F238E27FC236}">
                <a16:creationId xmlns:a16="http://schemas.microsoft.com/office/drawing/2014/main" id="{F3207B98-4D1F-57C3-C689-CAACDD699C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2992" y="938562"/>
            <a:ext cx="11815808" cy="4871586"/>
          </a:xfrm>
          <a:prstGeom prst="rect">
            <a:avLst/>
          </a:prstGeom>
        </p:spPr>
      </p:pic>
      <p:grpSp>
        <p:nvGrpSpPr>
          <p:cNvPr id="53" name="Gráfico 41">
            <a:extLst>
              <a:ext uri="{FF2B5EF4-FFF2-40B4-BE49-F238E27FC236}">
                <a16:creationId xmlns:a16="http://schemas.microsoft.com/office/drawing/2014/main" id="{C2B1DE6C-08FA-F8D4-C030-C956550887EB}"/>
              </a:ext>
            </a:extLst>
          </p:cNvPr>
          <p:cNvGrpSpPr/>
          <p:nvPr/>
        </p:nvGrpSpPr>
        <p:grpSpPr>
          <a:xfrm>
            <a:off x="2061743" y="1228151"/>
            <a:ext cx="1615642" cy="1705628"/>
            <a:chOff x="6945158" y="971603"/>
            <a:chExt cx="2777576" cy="2932279"/>
          </a:xfrm>
        </p:grpSpPr>
        <p:pic>
          <p:nvPicPr>
            <p:cNvPr id="54" name="Imagen 53">
              <a:extLst>
                <a:ext uri="{FF2B5EF4-FFF2-40B4-BE49-F238E27FC236}">
                  <a16:creationId xmlns:a16="http://schemas.microsoft.com/office/drawing/2014/main" id="{4CCA9B39-620B-8DB6-CE34-7C0128697B75}"/>
                </a:ext>
              </a:extLst>
            </p:cNvPr>
            <p:cNvPicPr>
              <a:picLocks noChangeAspect="1"/>
            </p:cNvPicPr>
            <p:nvPr/>
          </p:nvPicPr>
          <p:blipFill>
            <a:blip r:embed="rId6">
              <a:alphaModFix amt="50000"/>
              <a:grayscl/>
            </a:blip>
            <a:stretch>
              <a:fillRect/>
            </a:stretch>
          </p:blipFill>
          <p:spPr>
            <a:xfrm>
              <a:off x="6945158" y="1552066"/>
              <a:ext cx="2777576" cy="2351816"/>
            </a:xfrm>
            <a:custGeom>
              <a:avLst/>
              <a:gdLst>
                <a:gd name="connsiteX0" fmla="*/ 0 w 2777576"/>
                <a:gd name="connsiteY0" fmla="*/ 29 h 2351816"/>
                <a:gd name="connsiteX1" fmla="*/ 2777576 w 2777576"/>
                <a:gd name="connsiteY1" fmla="*/ 29 h 2351816"/>
                <a:gd name="connsiteX2" fmla="*/ 2777576 w 2777576"/>
                <a:gd name="connsiteY2" fmla="*/ 2351845 h 2351816"/>
                <a:gd name="connsiteX3" fmla="*/ 0 w 2777576"/>
                <a:gd name="connsiteY3" fmla="*/ 2351845 h 2351816"/>
              </a:gdLst>
              <a:ahLst/>
              <a:cxnLst>
                <a:cxn ang="0">
                  <a:pos x="connsiteX0" y="connsiteY0"/>
                </a:cxn>
                <a:cxn ang="0">
                  <a:pos x="connsiteX1" y="connsiteY1"/>
                </a:cxn>
                <a:cxn ang="0">
                  <a:pos x="connsiteX2" y="connsiteY2"/>
                </a:cxn>
                <a:cxn ang="0">
                  <a:pos x="connsiteX3" y="connsiteY3"/>
                </a:cxn>
              </a:cxnLst>
              <a:rect l="l" t="t" r="r" b="b"/>
              <a:pathLst>
                <a:path w="2777576" h="2351816">
                  <a:moveTo>
                    <a:pt x="0" y="29"/>
                  </a:moveTo>
                  <a:lnTo>
                    <a:pt x="2777576" y="29"/>
                  </a:lnTo>
                  <a:lnTo>
                    <a:pt x="2777576" y="2351845"/>
                  </a:lnTo>
                  <a:lnTo>
                    <a:pt x="0" y="2351845"/>
                  </a:lnTo>
                  <a:close/>
                </a:path>
              </a:pathLst>
            </a:custGeom>
          </p:spPr>
        </p:pic>
        <p:sp>
          <p:nvSpPr>
            <p:cNvPr id="55" name="Forma libre: forma 54">
              <a:extLst>
                <a:ext uri="{FF2B5EF4-FFF2-40B4-BE49-F238E27FC236}">
                  <a16:creationId xmlns:a16="http://schemas.microsoft.com/office/drawing/2014/main" id="{5103C1B3-B703-8CF8-42C1-2303BA8E589A}"/>
                </a:ext>
              </a:extLst>
            </p:cNvPr>
            <p:cNvSpPr/>
            <p:nvPr/>
          </p:nvSpPr>
          <p:spPr>
            <a:xfrm>
              <a:off x="7268927" y="971603"/>
              <a:ext cx="827408" cy="1343181"/>
            </a:xfrm>
            <a:custGeom>
              <a:avLst/>
              <a:gdLst>
                <a:gd name="connsiteX0" fmla="*/ 410970 w 827408"/>
                <a:gd name="connsiteY0" fmla="*/ 11 h 1343181"/>
                <a:gd name="connsiteX1" fmla="*/ 11 w 827408"/>
                <a:gd name="connsiteY1" fmla="*/ 416647 h 1343181"/>
                <a:gd name="connsiteX2" fmla="*/ 420094 w 827408"/>
                <a:gd name="connsiteY2" fmla="*/ 1343181 h 1343181"/>
                <a:gd name="connsiteX3" fmla="*/ 827404 w 827408"/>
                <a:gd name="connsiteY3" fmla="*/ 410970 h 1343181"/>
                <a:gd name="connsiteX4" fmla="*/ 410970 w 827408"/>
                <a:gd name="connsiteY4" fmla="*/ 11 h 1343181"/>
                <a:gd name="connsiteX5" fmla="*/ 415025 w 827408"/>
                <a:gd name="connsiteY5" fmla="*/ 599116 h 1343181"/>
                <a:gd name="connsiteX6" fmla="*/ 215323 w 827408"/>
                <a:gd name="connsiteY6" fmla="*/ 402252 h 1343181"/>
                <a:gd name="connsiteX7" fmla="*/ 412187 w 827408"/>
                <a:gd name="connsiteY7" fmla="*/ 202551 h 1343181"/>
                <a:gd name="connsiteX8" fmla="*/ 611888 w 827408"/>
                <a:gd name="connsiteY8" fmla="*/ 399414 h 1343181"/>
                <a:gd name="connsiteX9" fmla="*/ 415025 w 827408"/>
                <a:gd name="connsiteY9" fmla="*/ 599116 h 134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408" h="1343181">
                  <a:moveTo>
                    <a:pt x="410970" y="11"/>
                  </a:moveTo>
                  <a:cubicBezTo>
                    <a:pt x="182479" y="1633"/>
                    <a:pt x="-1611" y="188156"/>
                    <a:pt x="11" y="416647"/>
                  </a:cubicBezTo>
                  <a:cubicBezTo>
                    <a:pt x="1633" y="645138"/>
                    <a:pt x="420094" y="1343181"/>
                    <a:pt x="420094" y="1343181"/>
                  </a:cubicBezTo>
                  <a:cubicBezTo>
                    <a:pt x="420094" y="1343181"/>
                    <a:pt x="829026" y="639461"/>
                    <a:pt x="827404" y="410970"/>
                  </a:cubicBezTo>
                  <a:cubicBezTo>
                    <a:pt x="825782" y="182479"/>
                    <a:pt x="639461" y="-1611"/>
                    <a:pt x="410970" y="11"/>
                  </a:cubicBezTo>
                  <a:close/>
                  <a:moveTo>
                    <a:pt x="415025" y="599116"/>
                  </a:moveTo>
                  <a:cubicBezTo>
                    <a:pt x="305544" y="599926"/>
                    <a:pt x="216134" y="511733"/>
                    <a:pt x="215323" y="402252"/>
                  </a:cubicBezTo>
                  <a:cubicBezTo>
                    <a:pt x="214512" y="292771"/>
                    <a:pt x="302706" y="203362"/>
                    <a:pt x="412187" y="202551"/>
                  </a:cubicBezTo>
                  <a:cubicBezTo>
                    <a:pt x="521668" y="201740"/>
                    <a:pt x="611077" y="289933"/>
                    <a:pt x="611888" y="399414"/>
                  </a:cubicBezTo>
                  <a:cubicBezTo>
                    <a:pt x="612699" y="508895"/>
                    <a:pt x="524506" y="598305"/>
                    <a:pt x="415025" y="599116"/>
                  </a:cubicBezTo>
                  <a:close/>
                </a:path>
              </a:pathLst>
            </a:custGeom>
            <a:solidFill>
              <a:srgbClr val="02AEF1"/>
            </a:solidFill>
            <a:ln w="202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Elipse 55">
              <a:extLst>
                <a:ext uri="{FF2B5EF4-FFF2-40B4-BE49-F238E27FC236}">
                  <a16:creationId xmlns:a16="http://schemas.microsoft.com/office/drawing/2014/main" id="{BA1FA686-0188-4DED-14D4-A13523E533E2}"/>
                </a:ext>
              </a:extLst>
            </p:cNvPr>
            <p:cNvSpPr/>
            <p:nvPr/>
          </p:nvSpPr>
          <p:spPr>
            <a:xfrm>
              <a:off x="7365623" y="1063323"/>
              <a:ext cx="634017" cy="634017"/>
            </a:xfrm>
            <a:prstGeom prst="ellipse">
              <a:avLst/>
            </a:prstGeom>
            <a:solidFill>
              <a:schemeClr val="bg1"/>
            </a:solidFill>
            <a:ln w="202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0" name="Grupo 69">
            <a:extLst>
              <a:ext uri="{FF2B5EF4-FFF2-40B4-BE49-F238E27FC236}">
                <a16:creationId xmlns:a16="http://schemas.microsoft.com/office/drawing/2014/main" id="{E3C61305-0DBC-C7A6-39E0-94BB6A8A114C}"/>
              </a:ext>
            </a:extLst>
          </p:cNvPr>
          <p:cNvGrpSpPr/>
          <p:nvPr/>
        </p:nvGrpSpPr>
        <p:grpSpPr>
          <a:xfrm>
            <a:off x="579120" y="2009443"/>
            <a:ext cx="1911591" cy="1887606"/>
            <a:chOff x="1689090" y="2394923"/>
            <a:chExt cx="1911591" cy="1322311"/>
          </a:xfrm>
        </p:grpSpPr>
        <p:cxnSp>
          <p:nvCxnSpPr>
            <p:cNvPr id="66" name="Conector recto 65">
              <a:extLst>
                <a:ext uri="{FF2B5EF4-FFF2-40B4-BE49-F238E27FC236}">
                  <a16:creationId xmlns:a16="http://schemas.microsoft.com/office/drawing/2014/main" id="{40FBD71E-31F3-820A-69A1-F41BAF893A6C}"/>
                </a:ext>
              </a:extLst>
            </p:cNvPr>
            <p:cNvCxnSpPr>
              <a:cxnSpLocks/>
            </p:cNvCxnSpPr>
            <p:nvPr/>
          </p:nvCxnSpPr>
          <p:spPr>
            <a:xfrm>
              <a:off x="1689090" y="2394923"/>
              <a:ext cx="1911591" cy="0"/>
            </a:xfrm>
            <a:prstGeom prst="line">
              <a:avLst/>
            </a:prstGeom>
            <a:ln cap="rnd">
              <a:solidFill>
                <a:srgbClr val="02AEF1"/>
              </a:solidFill>
              <a:prstDash val="solid"/>
              <a:round/>
            </a:ln>
          </p:spPr>
          <p:style>
            <a:lnRef idx="1">
              <a:schemeClr val="accent1"/>
            </a:lnRef>
            <a:fillRef idx="0">
              <a:schemeClr val="accent1"/>
            </a:fillRef>
            <a:effectRef idx="0">
              <a:schemeClr val="accent1"/>
            </a:effectRef>
            <a:fontRef idx="minor">
              <a:schemeClr val="tx1"/>
            </a:fontRef>
          </p:style>
        </p:cxnSp>
        <p:cxnSp>
          <p:nvCxnSpPr>
            <p:cNvPr id="69" name="Conector recto 68">
              <a:extLst>
                <a:ext uri="{FF2B5EF4-FFF2-40B4-BE49-F238E27FC236}">
                  <a16:creationId xmlns:a16="http://schemas.microsoft.com/office/drawing/2014/main" id="{FF6A0F80-22FC-4C44-FFEE-2B025B70A0CE}"/>
                </a:ext>
              </a:extLst>
            </p:cNvPr>
            <p:cNvCxnSpPr>
              <a:cxnSpLocks/>
            </p:cNvCxnSpPr>
            <p:nvPr/>
          </p:nvCxnSpPr>
          <p:spPr>
            <a:xfrm rot="5400000">
              <a:off x="1027935" y="3056079"/>
              <a:ext cx="1322311" cy="0"/>
            </a:xfrm>
            <a:prstGeom prst="line">
              <a:avLst/>
            </a:prstGeom>
            <a:ln cap="rnd">
              <a:solidFill>
                <a:srgbClr val="02AEF1"/>
              </a:solidFill>
              <a:prstDash val="solid"/>
              <a:round/>
              <a:tailEnd type="oval" w="sm" len="sm"/>
            </a:ln>
          </p:spPr>
          <p:style>
            <a:lnRef idx="1">
              <a:schemeClr val="accent1"/>
            </a:lnRef>
            <a:fillRef idx="0">
              <a:schemeClr val="accent1"/>
            </a:fillRef>
            <a:effectRef idx="0">
              <a:schemeClr val="accent1"/>
            </a:effectRef>
            <a:fontRef idx="minor">
              <a:schemeClr val="tx1"/>
            </a:fontRef>
          </p:style>
        </p:cxnSp>
      </p:grpSp>
      <p:sp>
        <p:nvSpPr>
          <p:cNvPr id="71" name="CuadroTexto 70">
            <a:extLst>
              <a:ext uri="{FF2B5EF4-FFF2-40B4-BE49-F238E27FC236}">
                <a16:creationId xmlns:a16="http://schemas.microsoft.com/office/drawing/2014/main" id="{79854D64-2FDA-5706-C62C-62260635616C}"/>
              </a:ext>
            </a:extLst>
          </p:cNvPr>
          <p:cNvSpPr txBox="1"/>
          <p:nvPr/>
        </p:nvSpPr>
        <p:spPr>
          <a:xfrm>
            <a:off x="810776" y="3914084"/>
            <a:ext cx="20815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Canada - Toronto, ON</a:t>
            </a:r>
          </a:p>
        </p:txBody>
      </p:sp>
      <p:sp>
        <p:nvSpPr>
          <p:cNvPr id="72" name="CuadroTexto 71">
            <a:extLst>
              <a:ext uri="{FF2B5EF4-FFF2-40B4-BE49-F238E27FC236}">
                <a16:creationId xmlns:a16="http://schemas.microsoft.com/office/drawing/2014/main" id="{241B2B18-B330-A9FB-9C01-2997E41F3F86}"/>
              </a:ext>
            </a:extLst>
          </p:cNvPr>
          <p:cNvSpPr txBox="1"/>
          <p:nvPr/>
        </p:nvSpPr>
        <p:spPr>
          <a:xfrm>
            <a:off x="810778" y="4200395"/>
            <a:ext cx="216541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Business Number (B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7822635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Registry 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9640592</a:t>
            </a:r>
          </a:p>
        </p:txBody>
      </p:sp>
      <p:grpSp>
        <p:nvGrpSpPr>
          <p:cNvPr id="80" name="Gráfico 41">
            <a:extLst>
              <a:ext uri="{FF2B5EF4-FFF2-40B4-BE49-F238E27FC236}">
                <a16:creationId xmlns:a16="http://schemas.microsoft.com/office/drawing/2014/main" id="{C2B7CECF-A41F-ACE6-F9C1-5D5289773916}"/>
              </a:ext>
            </a:extLst>
          </p:cNvPr>
          <p:cNvGrpSpPr/>
          <p:nvPr/>
        </p:nvGrpSpPr>
        <p:grpSpPr>
          <a:xfrm>
            <a:off x="6795789" y="1319759"/>
            <a:ext cx="1615642" cy="1705628"/>
            <a:chOff x="6945158" y="971603"/>
            <a:chExt cx="2777576" cy="2932279"/>
          </a:xfrm>
        </p:grpSpPr>
        <p:pic>
          <p:nvPicPr>
            <p:cNvPr id="81" name="Imagen 80">
              <a:extLst>
                <a:ext uri="{FF2B5EF4-FFF2-40B4-BE49-F238E27FC236}">
                  <a16:creationId xmlns:a16="http://schemas.microsoft.com/office/drawing/2014/main" id="{E7D69A48-9F9E-48F4-883E-0BF5982538B3}"/>
                </a:ext>
              </a:extLst>
            </p:cNvPr>
            <p:cNvPicPr>
              <a:picLocks noChangeAspect="1"/>
            </p:cNvPicPr>
            <p:nvPr/>
          </p:nvPicPr>
          <p:blipFill>
            <a:blip r:embed="rId6">
              <a:alphaModFix amt="50000"/>
              <a:grayscl/>
            </a:blip>
            <a:stretch>
              <a:fillRect/>
            </a:stretch>
          </p:blipFill>
          <p:spPr>
            <a:xfrm>
              <a:off x="6945158" y="1552066"/>
              <a:ext cx="2777576" cy="2351816"/>
            </a:xfrm>
            <a:custGeom>
              <a:avLst/>
              <a:gdLst>
                <a:gd name="connsiteX0" fmla="*/ 0 w 2777576"/>
                <a:gd name="connsiteY0" fmla="*/ 29 h 2351816"/>
                <a:gd name="connsiteX1" fmla="*/ 2777576 w 2777576"/>
                <a:gd name="connsiteY1" fmla="*/ 29 h 2351816"/>
                <a:gd name="connsiteX2" fmla="*/ 2777576 w 2777576"/>
                <a:gd name="connsiteY2" fmla="*/ 2351845 h 2351816"/>
                <a:gd name="connsiteX3" fmla="*/ 0 w 2777576"/>
                <a:gd name="connsiteY3" fmla="*/ 2351845 h 2351816"/>
              </a:gdLst>
              <a:ahLst/>
              <a:cxnLst>
                <a:cxn ang="0">
                  <a:pos x="connsiteX0" y="connsiteY0"/>
                </a:cxn>
                <a:cxn ang="0">
                  <a:pos x="connsiteX1" y="connsiteY1"/>
                </a:cxn>
                <a:cxn ang="0">
                  <a:pos x="connsiteX2" y="connsiteY2"/>
                </a:cxn>
                <a:cxn ang="0">
                  <a:pos x="connsiteX3" y="connsiteY3"/>
                </a:cxn>
              </a:cxnLst>
              <a:rect l="l" t="t" r="r" b="b"/>
              <a:pathLst>
                <a:path w="2777576" h="2351816">
                  <a:moveTo>
                    <a:pt x="0" y="29"/>
                  </a:moveTo>
                  <a:lnTo>
                    <a:pt x="2777576" y="29"/>
                  </a:lnTo>
                  <a:lnTo>
                    <a:pt x="2777576" y="2351845"/>
                  </a:lnTo>
                  <a:lnTo>
                    <a:pt x="0" y="2351845"/>
                  </a:lnTo>
                  <a:close/>
                </a:path>
              </a:pathLst>
            </a:custGeom>
          </p:spPr>
        </p:pic>
        <p:sp>
          <p:nvSpPr>
            <p:cNvPr id="82" name="Forma libre: forma 81">
              <a:extLst>
                <a:ext uri="{FF2B5EF4-FFF2-40B4-BE49-F238E27FC236}">
                  <a16:creationId xmlns:a16="http://schemas.microsoft.com/office/drawing/2014/main" id="{C7A6575D-ED03-4FED-A20F-5A75AA287DD0}"/>
                </a:ext>
              </a:extLst>
            </p:cNvPr>
            <p:cNvSpPr/>
            <p:nvPr/>
          </p:nvSpPr>
          <p:spPr>
            <a:xfrm>
              <a:off x="7268927" y="971603"/>
              <a:ext cx="827408" cy="1343181"/>
            </a:xfrm>
            <a:custGeom>
              <a:avLst/>
              <a:gdLst>
                <a:gd name="connsiteX0" fmla="*/ 410970 w 827408"/>
                <a:gd name="connsiteY0" fmla="*/ 11 h 1343181"/>
                <a:gd name="connsiteX1" fmla="*/ 11 w 827408"/>
                <a:gd name="connsiteY1" fmla="*/ 416647 h 1343181"/>
                <a:gd name="connsiteX2" fmla="*/ 420094 w 827408"/>
                <a:gd name="connsiteY2" fmla="*/ 1343181 h 1343181"/>
                <a:gd name="connsiteX3" fmla="*/ 827404 w 827408"/>
                <a:gd name="connsiteY3" fmla="*/ 410970 h 1343181"/>
                <a:gd name="connsiteX4" fmla="*/ 410970 w 827408"/>
                <a:gd name="connsiteY4" fmla="*/ 11 h 1343181"/>
                <a:gd name="connsiteX5" fmla="*/ 415025 w 827408"/>
                <a:gd name="connsiteY5" fmla="*/ 599116 h 1343181"/>
                <a:gd name="connsiteX6" fmla="*/ 215323 w 827408"/>
                <a:gd name="connsiteY6" fmla="*/ 402252 h 1343181"/>
                <a:gd name="connsiteX7" fmla="*/ 412187 w 827408"/>
                <a:gd name="connsiteY7" fmla="*/ 202551 h 1343181"/>
                <a:gd name="connsiteX8" fmla="*/ 611888 w 827408"/>
                <a:gd name="connsiteY8" fmla="*/ 399414 h 1343181"/>
                <a:gd name="connsiteX9" fmla="*/ 415025 w 827408"/>
                <a:gd name="connsiteY9" fmla="*/ 599116 h 134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7408" h="1343181">
                  <a:moveTo>
                    <a:pt x="410970" y="11"/>
                  </a:moveTo>
                  <a:cubicBezTo>
                    <a:pt x="182479" y="1633"/>
                    <a:pt x="-1611" y="188156"/>
                    <a:pt x="11" y="416647"/>
                  </a:cubicBezTo>
                  <a:cubicBezTo>
                    <a:pt x="1633" y="645138"/>
                    <a:pt x="420094" y="1343181"/>
                    <a:pt x="420094" y="1343181"/>
                  </a:cubicBezTo>
                  <a:cubicBezTo>
                    <a:pt x="420094" y="1343181"/>
                    <a:pt x="829026" y="639461"/>
                    <a:pt x="827404" y="410970"/>
                  </a:cubicBezTo>
                  <a:cubicBezTo>
                    <a:pt x="825782" y="182479"/>
                    <a:pt x="639461" y="-1611"/>
                    <a:pt x="410970" y="11"/>
                  </a:cubicBezTo>
                  <a:close/>
                  <a:moveTo>
                    <a:pt x="415025" y="599116"/>
                  </a:moveTo>
                  <a:cubicBezTo>
                    <a:pt x="305544" y="599926"/>
                    <a:pt x="216134" y="511733"/>
                    <a:pt x="215323" y="402252"/>
                  </a:cubicBezTo>
                  <a:cubicBezTo>
                    <a:pt x="214512" y="292771"/>
                    <a:pt x="302706" y="203362"/>
                    <a:pt x="412187" y="202551"/>
                  </a:cubicBezTo>
                  <a:cubicBezTo>
                    <a:pt x="521668" y="201740"/>
                    <a:pt x="611077" y="289933"/>
                    <a:pt x="611888" y="399414"/>
                  </a:cubicBezTo>
                  <a:cubicBezTo>
                    <a:pt x="612699" y="508895"/>
                    <a:pt x="524506" y="598305"/>
                    <a:pt x="415025" y="599116"/>
                  </a:cubicBezTo>
                  <a:close/>
                </a:path>
              </a:pathLst>
            </a:custGeom>
            <a:solidFill>
              <a:srgbClr val="EC2129"/>
            </a:solidFill>
            <a:ln w="202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Elipse 82">
              <a:extLst>
                <a:ext uri="{FF2B5EF4-FFF2-40B4-BE49-F238E27FC236}">
                  <a16:creationId xmlns:a16="http://schemas.microsoft.com/office/drawing/2014/main" id="{5746F1D3-ABC8-5CEF-98FE-B72A45BF443B}"/>
                </a:ext>
              </a:extLst>
            </p:cNvPr>
            <p:cNvSpPr/>
            <p:nvPr/>
          </p:nvSpPr>
          <p:spPr>
            <a:xfrm>
              <a:off x="7365623" y="1063323"/>
              <a:ext cx="634017" cy="634017"/>
            </a:xfrm>
            <a:prstGeom prst="ellipse">
              <a:avLst/>
            </a:prstGeom>
            <a:solidFill>
              <a:schemeClr val="bg1"/>
            </a:solidFill>
            <a:ln w="2023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4" name="Grupo 83">
            <a:extLst>
              <a:ext uri="{FF2B5EF4-FFF2-40B4-BE49-F238E27FC236}">
                <a16:creationId xmlns:a16="http://schemas.microsoft.com/office/drawing/2014/main" id="{6EFCBDBD-A393-B499-EB2C-28D06436C476}"/>
              </a:ext>
            </a:extLst>
          </p:cNvPr>
          <p:cNvGrpSpPr/>
          <p:nvPr/>
        </p:nvGrpSpPr>
        <p:grpSpPr>
          <a:xfrm>
            <a:off x="5801256" y="2101051"/>
            <a:ext cx="1423501" cy="2559268"/>
            <a:chOff x="1168400" y="2394923"/>
            <a:chExt cx="1322311" cy="1322311"/>
          </a:xfrm>
        </p:grpSpPr>
        <p:cxnSp>
          <p:nvCxnSpPr>
            <p:cNvPr id="85" name="Conector recto 84">
              <a:extLst>
                <a:ext uri="{FF2B5EF4-FFF2-40B4-BE49-F238E27FC236}">
                  <a16:creationId xmlns:a16="http://schemas.microsoft.com/office/drawing/2014/main" id="{8C42B44D-3149-BA57-CFD1-0CBB2F95F78F}"/>
                </a:ext>
              </a:extLst>
            </p:cNvPr>
            <p:cNvCxnSpPr>
              <a:cxnSpLocks/>
            </p:cNvCxnSpPr>
            <p:nvPr/>
          </p:nvCxnSpPr>
          <p:spPr>
            <a:xfrm>
              <a:off x="1168400" y="2394923"/>
              <a:ext cx="1322311" cy="0"/>
            </a:xfrm>
            <a:prstGeom prst="line">
              <a:avLst/>
            </a:prstGeom>
            <a:ln cap="rnd">
              <a:solidFill>
                <a:srgbClr val="EC2129"/>
              </a:solidFill>
              <a:prstDash val="solid"/>
              <a:round/>
            </a:ln>
          </p:spPr>
          <p:style>
            <a:lnRef idx="1">
              <a:schemeClr val="accent1"/>
            </a:lnRef>
            <a:fillRef idx="0">
              <a:schemeClr val="accent1"/>
            </a:fillRef>
            <a:effectRef idx="0">
              <a:schemeClr val="accent1"/>
            </a:effectRef>
            <a:fontRef idx="minor">
              <a:schemeClr val="tx1"/>
            </a:fontRef>
          </p:style>
        </p:cxnSp>
        <p:cxnSp>
          <p:nvCxnSpPr>
            <p:cNvPr id="86" name="Conector recto 85">
              <a:extLst>
                <a:ext uri="{FF2B5EF4-FFF2-40B4-BE49-F238E27FC236}">
                  <a16:creationId xmlns:a16="http://schemas.microsoft.com/office/drawing/2014/main" id="{647C02E7-E53F-3F36-DAD7-86DC52D95719}"/>
                </a:ext>
              </a:extLst>
            </p:cNvPr>
            <p:cNvCxnSpPr>
              <a:cxnSpLocks/>
            </p:cNvCxnSpPr>
            <p:nvPr/>
          </p:nvCxnSpPr>
          <p:spPr>
            <a:xfrm rot="5400000">
              <a:off x="511810" y="3056079"/>
              <a:ext cx="1322311" cy="0"/>
            </a:xfrm>
            <a:prstGeom prst="line">
              <a:avLst/>
            </a:prstGeom>
            <a:ln cap="rnd">
              <a:solidFill>
                <a:srgbClr val="EC2129"/>
              </a:solidFill>
              <a:prstDash val="solid"/>
              <a:round/>
              <a:tailEnd type="oval" w="sm" len="sm"/>
            </a:ln>
          </p:spPr>
          <p:style>
            <a:lnRef idx="1">
              <a:schemeClr val="accent1"/>
            </a:lnRef>
            <a:fillRef idx="0">
              <a:schemeClr val="accent1"/>
            </a:fillRef>
            <a:effectRef idx="0">
              <a:schemeClr val="accent1"/>
            </a:effectRef>
            <a:fontRef idx="minor">
              <a:schemeClr val="tx1"/>
            </a:fontRef>
          </p:style>
        </p:cxnSp>
      </p:grpSp>
      <p:sp>
        <p:nvSpPr>
          <p:cNvPr id="88" name="CuadroTexto 87">
            <a:extLst>
              <a:ext uri="{FF2B5EF4-FFF2-40B4-BE49-F238E27FC236}">
                <a16:creationId xmlns:a16="http://schemas.microsoft.com/office/drawing/2014/main" id="{C5803BEB-9E7D-A549-0C30-517A7BBD0636}"/>
              </a:ext>
            </a:extLst>
          </p:cNvPr>
          <p:cNvSpPr txBox="1"/>
          <p:nvPr/>
        </p:nvSpPr>
        <p:spPr>
          <a:xfrm>
            <a:off x="6030492" y="4699602"/>
            <a:ext cx="165655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Jordan - Amman</a:t>
            </a:r>
          </a:p>
        </p:txBody>
      </p:sp>
      <p:sp>
        <p:nvSpPr>
          <p:cNvPr id="89" name="CuadroTexto 88">
            <a:extLst>
              <a:ext uri="{FF2B5EF4-FFF2-40B4-BE49-F238E27FC236}">
                <a16:creationId xmlns:a16="http://schemas.microsoft.com/office/drawing/2014/main" id="{A281D2B0-D8E5-2278-3962-EB4415D3FDA0}"/>
              </a:ext>
            </a:extLst>
          </p:cNvPr>
          <p:cNvSpPr txBox="1"/>
          <p:nvPr/>
        </p:nvSpPr>
        <p:spPr>
          <a:xfrm>
            <a:off x="6030494" y="4985913"/>
            <a:ext cx="26526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Institution's National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20014088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Medium" panose="00000600000000000000" pitchFamily="2" charset="0"/>
                <a:ea typeface="+mn-ea"/>
                <a:cs typeface="Poppins Medium" panose="00000600000000000000" pitchFamily="2" charset="0"/>
              </a:rPr>
              <a:t>Company's Number</a:t>
            </a:r>
            <a:endParaRPr kumimoji="0" lang="en-US" sz="1200" b="0"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36533</a:t>
            </a:r>
          </a:p>
        </p:txBody>
      </p:sp>
      <p:grpSp>
        <p:nvGrpSpPr>
          <p:cNvPr id="90" name="Grupo 89">
            <a:extLst>
              <a:ext uri="{FF2B5EF4-FFF2-40B4-BE49-F238E27FC236}">
                <a16:creationId xmlns:a16="http://schemas.microsoft.com/office/drawing/2014/main" id="{0137D45F-A52E-5F48-D327-A2DC54CDEB0B}"/>
              </a:ext>
            </a:extLst>
          </p:cNvPr>
          <p:cNvGrpSpPr/>
          <p:nvPr/>
        </p:nvGrpSpPr>
        <p:grpSpPr>
          <a:xfrm>
            <a:off x="362050" y="3958945"/>
            <a:ext cx="420871" cy="275748"/>
            <a:chOff x="-5127585" y="1831400"/>
            <a:chExt cx="4876800" cy="3195199"/>
          </a:xfrm>
        </p:grpSpPr>
        <p:sp>
          <p:nvSpPr>
            <p:cNvPr id="91" name="Forma libre: forma 90">
              <a:extLst>
                <a:ext uri="{FF2B5EF4-FFF2-40B4-BE49-F238E27FC236}">
                  <a16:creationId xmlns:a16="http://schemas.microsoft.com/office/drawing/2014/main" id="{5CC0A30D-2B12-5CF1-F82F-72A8740A354E}"/>
                </a:ext>
              </a:extLst>
            </p:cNvPr>
            <p:cNvSpPr/>
            <p:nvPr/>
          </p:nvSpPr>
          <p:spPr>
            <a:xfrm>
              <a:off x="-4034496" y="1831438"/>
              <a:ext cx="2690622" cy="3195161"/>
            </a:xfrm>
            <a:custGeom>
              <a:avLst/>
              <a:gdLst>
                <a:gd name="connsiteX0" fmla="*/ 0 w 2690622"/>
                <a:gd name="connsiteY0" fmla="*/ 0 h 3195161"/>
                <a:gd name="connsiteX1" fmla="*/ 2690622 w 2690622"/>
                <a:gd name="connsiteY1" fmla="*/ 0 h 3195161"/>
                <a:gd name="connsiteX2" fmla="*/ 2690622 w 2690622"/>
                <a:gd name="connsiteY2" fmla="*/ 3195161 h 3195161"/>
                <a:gd name="connsiteX3" fmla="*/ 0 w 2690622"/>
                <a:gd name="connsiteY3" fmla="*/ 3195161 h 3195161"/>
              </a:gdLst>
              <a:ahLst/>
              <a:cxnLst>
                <a:cxn ang="0">
                  <a:pos x="connsiteX0" y="connsiteY0"/>
                </a:cxn>
                <a:cxn ang="0">
                  <a:pos x="connsiteX1" y="connsiteY1"/>
                </a:cxn>
                <a:cxn ang="0">
                  <a:pos x="connsiteX2" y="connsiteY2"/>
                </a:cxn>
                <a:cxn ang="0">
                  <a:pos x="connsiteX3" y="connsiteY3"/>
                </a:cxn>
              </a:cxnLst>
              <a:rect l="l" t="t" r="r" b="b"/>
              <a:pathLst>
                <a:path w="2690622" h="3195161">
                  <a:moveTo>
                    <a:pt x="0" y="0"/>
                  </a:moveTo>
                  <a:lnTo>
                    <a:pt x="2690622" y="0"/>
                  </a:lnTo>
                  <a:lnTo>
                    <a:pt x="2690622" y="3195161"/>
                  </a:lnTo>
                  <a:lnTo>
                    <a:pt x="0" y="3195161"/>
                  </a:lnTo>
                  <a:close/>
                </a:path>
              </a:pathLst>
            </a:custGeom>
            <a:solidFill>
              <a:srgbClr val="F5F5F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2" name="Gráfico 7">
              <a:extLst>
                <a:ext uri="{FF2B5EF4-FFF2-40B4-BE49-F238E27FC236}">
                  <a16:creationId xmlns:a16="http://schemas.microsoft.com/office/drawing/2014/main" id="{4E0E61F0-B4A6-C9B7-80B9-E5BCC1B1ACCD}"/>
                </a:ext>
              </a:extLst>
            </p:cNvPr>
            <p:cNvGrpSpPr/>
            <p:nvPr/>
          </p:nvGrpSpPr>
          <p:grpSpPr>
            <a:xfrm>
              <a:off x="-5127585" y="1831400"/>
              <a:ext cx="4876800" cy="3195151"/>
              <a:chOff x="-5127585" y="1831400"/>
              <a:chExt cx="4876800" cy="3195151"/>
            </a:xfrm>
            <a:solidFill>
              <a:srgbClr val="FF4B55"/>
            </a:solidFill>
          </p:grpSpPr>
          <p:sp>
            <p:nvSpPr>
              <p:cNvPr id="93" name="Forma libre: forma 92">
                <a:extLst>
                  <a:ext uri="{FF2B5EF4-FFF2-40B4-BE49-F238E27FC236}">
                    <a16:creationId xmlns:a16="http://schemas.microsoft.com/office/drawing/2014/main" id="{A05ED726-925B-2F3D-9C43-683F866E3DDD}"/>
                  </a:ext>
                </a:extLst>
              </p:cNvPr>
              <p:cNvSpPr/>
              <p:nvPr/>
            </p:nvSpPr>
            <p:spPr>
              <a:xfrm>
                <a:off x="-5127585" y="1831400"/>
                <a:ext cx="1093079" cy="3195151"/>
              </a:xfrm>
              <a:custGeom>
                <a:avLst/>
                <a:gdLst>
                  <a:gd name="connsiteX0" fmla="*/ 365236 w 1093079"/>
                  <a:gd name="connsiteY0" fmla="*/ 0 h 3195151"/>
                  <a:gd name="connsiteX1" fmla="*/ 0 w 1093079"/>
                  <a:gd name="connsiteY1" fmla="*/ 365236 h 3195151"/>
                  <a:gd name="connsiteX2" fmla="*/ 0 w 1093079"/>
                  <a:gd name="connsiteY2" fmla="*/ 2829916 h 3195151"/>
                  <a:gd name="connsiteX3" fmla="*/ 365236 w 1093079"/>
                  <a:gd name="connsiteY3" fmla="*/ 3195152 h 3195151"/>
                  <a:gd name="connsiteX4" fmla="*/ 1093080 w 1093079"/>
                  <a:gd name="connsiteY4" fmla="*/ 3195152 h 3195151"/>
                  <a:gd name="connsiteX5" fmla="*/ 1093080 w 1093079"/>
                  <a:gd name="connsiteY5" fmla="*/ 0 h 3195151"/>
                  <a:gd name="connsiteX6" fmla="*/ 365236 w 1093079"/>
                  <a:gd name="connsiteY6" fmla="*/ 0 h 319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079" h="3195151">
                    <a:moveTo>
                      <a:pt x="365236" y="0"/>
                    </a:moveTo>
                    <a:cubicBezTo>
                      <a:pt x="163516" y="0"/>
                      <a:pt x="0" y="163516"/>
                      <a:pt x="0" y="365236"/>
                    </a:cubicBezTo>
                    <a:lnTo>
                      <a:pt x="0" y="2829916"/>
                    </a:lnTo>
                    <a:cubicBezTo>
                      <a:pt x="0" y="3031626"/>
                      <a:pt x="163516" y="3195152"/>
                      <a:pt x="365236" y="3195152"/>
                    </a:cubicBezTo>
                    <a:lnTo>
                      <a:pt x="1093080" y="3195152"/>
                    </a:lnTo>
                    <a:lnTo>
                      <a:pt x="1093080" y="0"/>
                    </a:lnTo>
                    <a:lnTo>
                      <a:pt x="365236" y="0"/>
                    </a:lnTo>
                    <a:close/>
                  </a:path>
                </a:pathLst>
              </a:custGeom>
              <a:solidFill>
                <a:srgbClr val="CE112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orma libre: forma 93">
                <a:extLst>
                  <a:ext uri="{FF2B5EF4-FFF2-40B4-BE49-F238E27FC236}">
                    <a16:creationId xmlns:a16="http://schemas.microsoft.com/office/drawing/2014/main" id="{F9746F18-F8BB-C1C3-8D2B-E3304FBE46C9}"/>
                  </a:ext>
                </a:extLst>
              </p:cNvPr>
              <p:cNvSpPr/>
              <p:nvPr/>
            </p:nvSpPr>
            <p:spPr>
              <a:xfrm>
                <a:off x="-1343864" y="1831400"/>
                <a:ext cx="1093079" cy="3195142"/>
              </a:xfrm>
              <a:custGeom>
                <a:avLst/>
                <a:gdLst>
                  <a:gd name="connsiteX0" fmla="*/ 727843 w 1093079"/>
                  <a:gd name="connsiteY0" fmla="*/ 0 h 3195142"/>
                  <a:gd name="connsiteX1" fmla="*/ 0 w 1093079"/>
                  <a:gd name="connsiteY1" fmla="*/ 0 h 3195142"/>
                  <a:gd name="connsiteX2" fmla="*/ 0 w 1093079"/>
                  <a:gd name="connsiteY2" fmla="*/ 3195142 h 3195142"/>
                  <a:gd name="connsiteX3" fmla="*/ 727843 w 1093079"/>
                  <a:gd name="connsiteY3" fmla="*/ 3195142 h 3195142"/>
                  <a:gd name="connsiteX4" fmla="*/ 1093080 w 1093079"/>
                  <a:gd name="connsiteY4" fmla="*/ 2829906 h 3195142"/>
                  <a:gd name="connsiteX5" fmla="*/ 1093080 w 1093079"/>
                  <a:gd name="connsiteY5" fmla="*/ 365236 h 3195142"/>
                  <a:gd name="connsiteX6" fmla="*/ 727843 w 1093079"/>
                  <a:gd name="connsiteY6" fmla="*/ 0 h 319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079" h="3195142">
                    <a:moveTo>
                      <a:pt x="727843" y="0"/>
                    </a:moveTo>
                    <a:lnTo>
                      <a:pt x="0" y="0"/>
                    </a:lnTo>
                    <a:lnTo>
                      <a:pt x="0" y="3195142"/>
                    </a:lnTo>
                    <a:lnTo>
                      <a:pt x="727843" y="3195142"/>
                    </a:lnTo>
                    <a:cubicBezTo>
                      <a:pt x="929554" y="3195142"/>
                      <a:pt x="1093080" y="3031626"/>
                      <a:pt x="1093080" y="2829906"/>
                    </a:cubicBezTo>
                    <a:lnTo>
                      <a:pt x="1093080" y="365236"/>
                    </a:lnTo>
                    <a:cubicBezTo>
                      <a:pt x="1093080" y="163516"/>
                      <a:pt x="929564" y="0"/>
                      <a:pt x="727843" y="0"/>
                    </a:cubicBezTo>
                    <a:close/>
                  </a:path>
                </a:pathLst>
              </a:custGeom>
              <a:solidFill>
                <a:srgbClr val="CE112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orma libre: forma 94">
                <a:extLst>
                  <a:ext uri="{FF2B5EF4-FFF2-40B4-BE49-F238E27FC236}">
                    <a16:creationId xmlns:a16="http://schemas.microsoft.com/office/drawing/2014/main" id="{E71E1F03-A4AA-1976-B904-871CFCB11B3E}"/>
                  </a:ext>
                </a:extLst>
              </p:cNvPr>
              <p:cNvSpPr/>
              <p:nvPr/>
            </p:nvSpPr>
            <p:spPr>
              <a:xfrm>
                <a:off x="-3698149" y="2440743"/>
                <a:ext cx="2018156" cy="2081307"/>
              </a:xfrm>
              <a:custGeom>
                <a:avLst/>
                <a:gdLst>
                  <a:gd name="connsiteX0" fmla="*/ 1519209 w 2018156"/>
                  <a:gd name="connsiteY0" fmla="*/ 1357417 h 2081307"/>
                  <a:gd name="connsiteX1" fmla="*/ 2018157 w 2018156"/>
                  <a:gd name="connsiteY1" fmla="*/ 1072315 h 2081307"/>
                  <a:gd name="connsiteX2" fmla="*/ 1903667 w 2018156"/>
                  <a:gd name="connsiteY2" fmla="*/ 1015070 h 2081307"/>
                  <a:gd name="connsiteX3" fmla="*/ 1857927 w 2018156"/>
                  <a:gd name="connsiteY3" fmla="*/ 928745 h 2081307"/>
                  <a:gd name="connsiteX4" fmla="*/ 1895180 w 2018156"/>
                  <a:gd name="connsiteY4" fmla="*/ 649453 h 2081307"/>
                  <a:gd name="connsiteX5" fmla="*/ 1683944 w 2018156"/>
                  <a:gd name="connsiteY5" fmla="*/ 710908 h 2081307"/>
                  <a:gd name="connsiteX6" fmla="*/ 1578359 w 2018156"/>
                  <a:gd name="connsiteY6" fmla="*/ 648338 h 2081307"/>
                  <a:gd name="connsiteX7" fmla="*/ 1558128 w 2018156"/>
                  <a:gd name="connsiteY7" fmla="*/ 556898 h 2081307"/>
                  <a:gd name="connsiteX8" fmla="*/ 1359789 w 2018156"/>
                  <a:gd name="connsiteY8" fmla="*/ 789022 h 2081307"/>
                  <a:gd name="connsiteX9" fmla="*/ 1287085 w 2018156"/>
                  <a:gd name="connsiteY9" fmla="*/ 754913 h 2081307"/>
                  <a:gd name="connsiteX10" fmla="*/ 1371791 w 2018156"/>
                  <a:gd name="connsiteY10" fmla="*/ 262395 h 2081307"/>
                  <a:gd name="connsiteX11" fmla="*/ 1242108 w 2018156"/>
                  <a:gd name="connsiteY11" fmla="*/ 297856 h 2081307"/>
                  <a:gd name="connsiteX12" fmla="*/ 1145753 w 2018156"/>
                  <a:gd name="connsiteY12" fmla="*/ 256327 h 2081307"/>
                  <a:gd name="connsiteX13" fmla="*/ 1009193 w 2018156"/>
                  <a:gd name="connsiteY13" fmla="*/ 381 h 2081307"/>
                  <a:gd name="connsiteX14" fmla="*/ 1009193 w 2018156"/>
                  <a:gd name="connsiteY14" fmla="*/ 0 h 2081307"/>
                  <a:gd name="connsiteX15" fmla="*/ 1009098 w 2018156"/>
                  <a:gd name="connsiteY15" fmla="*/ 191 h 2081307"/>
                  <a:gd name="connsiteX16" fmla="*/ 1008993 w 2018156"/>
                  <a:gd name="connsiteY16" fmla="*/ 0 h 2081307"/>
                  <a:gd name="connsiteX17" fmla="*/ 1008993 w 2018156"/>
                  <a:gd name="connsiteY17" fmla="*/ 381 h 2081307"/>
                  <a:gd name="connsiteX18" fmla="*/ 872433 w 2018156"/>
                  <a:gd name="connsiteY18" fmla="*/ 256327 h 2081307"/>
                  <a:gd name="connsiteX19" fmla="*/ 776059 w 2018156"/>
                  <a:gd name="connsiteY19" fmla="*/ 297856 h 2081307"/>
                  <a:gd name="connsiteX20" fmla="*/ 646376 w 2018156"/>
                  <a:gd name="connsiteY20" fmla="*/ 262395 h 2081307"/>
                  <a:gd name="connsiteX21" fmla="*/ 731082 w 2018156"/>
                  <a:gd name="connsiteY21" fmla="*/ 754913 h 2081307"/>
                  <a:gd name="connsiteX22" fmla="*/ 658368 w 2018156"/>
                  <a:gd name="connsiteY22" fmla="*/ 789032 h 2081307"/>
                  <a:gd name="connsiteX23" fmla="*/ 460029 w 2018156"/>
                  <a:gd name="connsiteY23" fmla="*/ 556908 h 2081307"/>
                  <a:gd name="connsiteX24" fmla="*/ 439798 w 2018156"/>
                  <a:gd name="connsiteY24" fmla="*/ 648348 h 2081307"/>
                  <a:gd name="connsiteX25" fmla="*/ 334213 w 2018156"/>
                  <a:gd name="connsiteY25" fmla="*/ 710917 h 2081307"/>
                  <a:gd name="connsiteX26" fmla="*/ 122977 w 2018156"/>
                  <a:gd name="connsiteY26" fmla="*/ 649462 h 2081307"/>
                  <a:gd name="connsiteX27" fmla="*/ 160229 w 2018156"/>
                  <a:gd name="connsiteY27" fmla="*/ 928754 h 2081307"/>
                  <a:gd name="connsiteX28" fmla="*/ 114490 w 2018156"/>
                  <a:gd name="connsiteY28" fmla="*/ 1015079 h 2081307"/>
                  <a:gd name="connsiteX29" fmla="*/ 0 w 2018156"/>
                  <a:gd name="connsiteY29" fmla="*/ 1072315 h 2081307"/>
                  <a:gd name="connsiteX30" fmla="*/ 498948 w 2018156"/>
                  <a:gd name="connsiteY30" fmla="*/ 1357427 h 2081307"/>
                  <a:gd name="connsiteX31" fmla="*/ 552431 w 2018156"/>
                  <a:gd name="connsiteY31" fmla="*/ 1505350 h 2081307"/>
                  <a:gd name="connsiteX32" fmla="*/ 509778 w 2018156"/>
                  <a:gd name="connsiteY32" fmla="*/ 1619431 h 2081307"/>
                  <a:gd name="connsiteX33" fmla="*/ 937308 w 2018156"/>
                  <a:gd name="connsiteY33" fmla="*/ 1582931 h 2081307"/>
                  <a:gd name="connsiteX34" fmla="*/ 980408 w 2018156"/>
                  <a:gd name="connsiteY34" fmla="*/ 1623689 h 2081307"/>
                  <a:gd name="connsiteX35" fmla="*/ 966940 w 2018156"/>
                  <a:gd name="connsiteY35" fmla="*/ 2081308 h 2081307"/>
                  <a:gd name="connsiteX36" fmla="*/ 1051026 w 2018156"/>
                  <a:gd name="connsiteY36" fmla="*/ 2081308 h 2081307"/>
                  <a:gd name="connsiteX37" fmla="*/ 1037539 w 2018156"/>
                  <a:gd name="connsiteY37" fmla="*/ 1623670 h 2081307"/>
                  <a:gd name="connsiteX38" fmla="*/ 1080640 w 2018156"/>
                  <a:gd name="connsiteY38" fmla="*/ 1582912 h 2081307"/>
                  <a:gd name="connsiteX39" fmla="*/ 1508369 w 2018156"/>
                  <a:gd name="connsiteY39" fmla="*/ 1619431 h 2081307"/>
                  <a:gd name="connsiteX40" fmla="*/ 1465717 w 2018156"/>
                  <a:gd name="connsiteY40" fmla="*/ 1505350 h 2081307"/>
                  <a:gd name="connsiteX41" fmla="*/ 1519209 w 2018156"/>
                  <a:gd name="connsiteY41" fmla="*/ 1357417 h 20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18156" h="2081307">
                    <a:moveTo>
                      <a:pt x="1519209" y="1357417"/>
                    </a:moveTo>
                    <a:lnTo>
                      <a:pt x="2018157" y="1072315"/>
                    </a:lnTo>
                    <a:lnTo>
                      <a:pt x="1903667" y="1015070"/>
                    </a:lnTo>
                    <a:cubicBezTo>
                      <a:pt x="1871558" y="999011"/>
                      <a:pt x="1853175" y="964340"/>
                      <a:pt x="1857927" y="928745"/>
                    </a:cubicBezTo>
                    <a:lnTo>
                      <a:pt x="1895180" y="649453"/>
                    </a:lnTo>
                    <a:lnTo>
                      <a:pt x="1683944" y="710908"/>
                    </a:lnTo>
                    <a:cubicBezTo>
                      <a:pt x="1637281" y="724491"/>
                      <a:pt x="1588856" y="695782"/>
                      <a:pt x="1578359" y="648338"/>
                    </a:cubicBezTo>
                    <a:lnTo>
                      <a:pt x="1558128" y="556898"/>
                    </a:lnTo>
                    <a:lnTo>
                      <a:pt x="1359789" y="789022"/>
                    </a:lnTo>
                    <a:cubicBezTo>
                      <a:pt x="1332300" y="821198"/>
                      <a:pt x="1279912" y="796623"/>
                      <a:pt x="1287085" y="754913"/>
                    </a:cubicBezTo>
                    <a:lnTo>
                      <a:pt x="1371791" y="262395"/>
                    </a:lnTo>
                    <a:lnTo>
                      <a:pt x="1242108" y="297856"/>
                    </a:lnTo>
                    <a:cubicBezTo>
                      <a:pt x="1204227" y="308219"/>
                      <a:pt x="1164222" y="290979"/>
                      <a:pt x="1145753" y="256327"/>
                    </a:cubicBezTo>
                    <a:lnTo>
                      <a:pt x="1009193" y="381"/>
                    </a:lnTo>
                    <a:lnTo>
                      <a:pt x="1009193" y="0"/>
                    </a:lnTo>
                    <a:lnTo>
                      <a:pt x="1009098" y="191"/>
                    </a:lnTo>
                    <a:lnTo>
                      <a:pt x="1008993" y="0"/>
                    </a:lnTo>
                    <a:lnTo>
                      <a:pt x="1008993" y="381"/>
                    </a:lnTo>
                    <a:lnTo>
                      <a:pt x="872433" y="256327"/>
                    </a:lnTo>
                    <a:cubicBezTo>
                      <a:pt x="853945" y="290970"/>
                      <a:pt x="813940" y="308210"/>
                      <a:pt x="776059" y="297856"/>
                    </a:cubicBezTo>
                    <a:lnTo>
                      <a:pt x="646376" y="262395"/>
                    </a:lnTo>
                    <a:lnTo>
                      <a:pt x="731082" y="754913"/>
                    </a:lnTo>
                    <a:cubicBezTo>
                      <a:pt x="738254" y="796614"/>
                      <a:pt x="685867" y="821198"/>
                      <a:pt x="658368" y="789032"/>
                    </a:cubicBezTo>
                    <a:lnTo>
                      <a:pt x="460029" y="556908"/>
                    </a:lnTo>
                    <a:lnTo>
                      <a:pt x="439798" y="648348"/>
                    </a:lnTo>
                    <a:cubicBezTo>
                      <a:pt x="429301" y="695801"/>
                      <a:pt x="380876" y="724491"/>
                      <a:pt x="334213" y="710917"/>
                    </a:cubicBezTo>
                    <a:lnTo>
                      <a:pt x="122977" y="649462"/>
                    </a:lnTo>
                    <a:lnTo>
                      <a:pt x="160229" y="928754"/>
                    </a:lnTo>
                    <a:cubicBezTo>
                      <a:pt x="164983" y="964340"/>
                      <a:pt x="146599" y="999020"/>
                      <a:pt x="114490" y="1015079"/>
                    </a:cubicBezTo>
                    <a:lnTo>
                      <a:pt x="0" y="1072315"/>
                    </a:lnTo>
                    <a:lnTo>
                      <a:pt x="498948" y="1357427"/>
                    </a:lnTo>
                    <a:cubicBezTo>
                      <a:pt x="550631" y="1386964"/>
                      <a:pt x="573281" y="1449600"/>
                      <a:pt x="552431" y="1505350"/>
                    </a:cubicBezTo>
                    <a:lnTo>
                      <a:pt x="509778" y="1619431"/>
                    </a:lnTo>
                    <a:lnTo>
                      <a:pt x="937308" y="1582931"/>
                    </a:lnTo>
                    <a:cubicBezTo>
                      <a:pt x="960968" y="1580912"/>
                      <a:pt x="981104" y="1599962"/>
                      <a:pt x="980408" y="1623689"/>
                    </a:cubicBezTo>
                    <a:lnTo>
                      <a:pt x="966940" y="2081308"/>
                    </a:lnTo>
                    <a:lnTo>
                      <a:pt x="1051026" y="2081308"/>
                    </a:lnTo>
                    <a:lnTo>
                      <a:pt x="1037539" y="1623670"/>
                    </a:lnTo>
                    <a:cubicBezTo>
                      <a:pt x="1036844" y="1599933"/>
                      <a:pt x="1056980" y="1580893"/>
                      <a:pt x="1080640" y="1582912"/>
                    </a:cubicBezTo>
                    <a:lnTo>
                      <a:pt x="1508369" y="1619431"/>
                    </a:lnTo>
                    <a:lnTo>
                      <a:pt x="1465717" y="1505350"/>
                    </a:lnTo>
                    <a:cubicBezTo>
                      <a:pt x="1444885" y="1449591"/>
                      <a:pt x="1467526" y="1386945"/>
                      <a:pt x="1519209" y="1357417"/>
                    </a:cubicBezTo>
                    <a:close/>
                  </a:path>
                </a:pathLst>
              </a:custGeom>
              <a:solidFill>
                <a:srgbClr val="CE112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96" name="Grupo 95">
            <a:extLst>
              <a:ext uri="{FF2B5EF4-FFF2-40B4-BE49-F238E27FC236}">
                <a16:creationId xmlns:a16="http://schemas.microsoft.com/office/drawing/2014/main" id="{CD64CA31-CD82-96D0-48A0-95C3AAB6ECD8}"/>
              </a:ext>
            </a:extLst>
          </p:cNvPr>
          <p:cNvGrpSpPr/>
          <p:nvPr/>
        </p:nvGrpSpPr>
        <p:grpSpPr>
          <a:xfrm>
            <a:off x="5614536" y="4755377"/>
            <a:ext cx="420871" cy="275748"/>
            <a:chOff x="-5127585" y="5407663"/>
            <a:chExt cx="4876801" cy="3195199"/>
          </a:xfrm>
        </p:grpSpPr>
        <p:sp>
          <p:nvSpPr>
            <p:cNvPr id="97" name="Forma libre: forma 96">
              <a:extLst>
                <a:ext uri="{FF2B5EF4-FFF2-40B4-BE49-F238E27FC236}">
                  <a16:creationId xmlns:a16="http://schemas.microsoft.com/office/drawing/2014/main" id="{0A1A3E3F-F43E-7807-C438-633A337C1A22}"/>
                </a:ext>
              </a:extLst>
            </p:cNvPr>
            <p:cNvSpPr/>
            <p:nvPr/>
          </p:nvSpPr>
          <p:spPr>
            <a:xfrm>
              <a:off x="-5127585" y="5407663"/>
              <a:ext cx="4876801" cy="1061811"/>
            </a:xfrm>
            <a:custGeom>
              <a:avLst/>
              <a:gdLst>
                <a:gd name="connsiteX0" fmla="*/ 370004 w 4876801"/>
                <a:gd name="connsiteY0" fmla="*/ 0 h 1061811"/>
                <a:gd name="connsiteX1" fmla="*/ 4506797 w 4876801"/>
                <a:gd name="connsiteY1" fmla="*/ 0 h 1061811"/>
                <a:gd name="connsiteX2" fmla="*/ 4876801 w 4876801"/>
                <a:gd name="connsiteY2" fmla="*/ 370004 h 1061811"/>
                <a:gd name="connsiteX3" fmla="*/ 4876801 w 4876801"/>
                <a:gd name="connsiteY3" fmla="*/ 1061811 h 1061811"/>
                <a:gd name="connsiteX4" fmla="*/ 0 w 4876801"/>
                <a:gd name="connsiteY4" fmla="*/ 1061811 h 1061811"/>
                <a:gd name="connsiteX5" fmla="*/ 0 w 4876801"/>
                <a:gd name="connsiteY5" fmla="*/ 370004 h 1061811"/>
                <a:gd name="connsiteX6" fmla="*/ 370004 w 4876801"/>
                <a:gd name="connsiteY6" fmla="*/ 0 h 106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6801" h="1061811">
                  <a:moveTo>
                    <a:pt x="370004" y="0"/>
                  </a:moveTo>
                  <a:lnTo>
                    <a:pt x="4506797" y="0"/>
                  </a:lnTo>
                  <a:cubicBezTo>
                    <a:pt x="4711145" y="0"/>
                    <a:pt x="4876801" y="165656"/>
                    <a:pt x="4876801" y="370004"/>
                  </a:cubicBezTo>
                  <a:lnTo>
                    <a:pt x="4876801" y="1061811"/>
                  </a:lnTo>
                  <a:lnTo>
                    <a:pt x="0" y="1061811"/>
                  </a:lnTo>
                  <a:lnTo>
                    <a:pt x="0" y="370004"/>
                  </a:lnTo>
                  <a:cubicBezTo>
                    <a:pt x="0" y="165656"/>
                    <a:pt x="165656" y="0"/>
                    <a:pt x="370004" y="0"/>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orma libre: forma 97">
              <a:extLst>
                <a:ext uri="{FF2B5EF4-FFF2-40B4-BE49-F238E27FC236}">
                  <a16:creationId xmlns:a16="http://schemas.microsoft.com/office/drawing/2014/main" id="{BC71DF45-EACC-ACBC-C223-41EC9C923F2F}"/>
                </a:ext>
              </a:extLst>
            </p:cNvPr>
            <p:cNvSpPr/>
            <p:nvPr/>
          </p:nvSpPr>
          <p:spPr>
            <a:xfrm>
              <a:off x="-5127585" y="6469536"/>
              <a:ext cx="4876801" cy="1079918"/>
            </a:xfrm>
            <a:custGeom>
              <a:avLst/>
              <a:gdLst>
                <a:gd name="connsiteX0" fmla="*/ 0 w 4876801"/>
                <a:gd name="connsiteY0" fmla="*/ 0 h 1079918"/>
                <a:gd name="connsiteX1" fmla="*/ 4876801 w 4876801"/>
                <a:gd name="connsiteY1" fmla="*/ 0 h 1079918"/>
                <a:gd name="connsiteX2" fmla="*/ 4876801 w 4876801"/>
                <a:gd name="connsiteY2" fmla="*/ 1079918 h 1079918"/>
                <a:gd name="connsiteX3" fmla="*/ 0 w 4876801"/>
                <a:gd name="connsiteY3" fmla="*/ 1079918 h 1079918"/>
                <a:gd name="connsiteX4" fmla="*/ 0 w 4876801"/>
                <a:gd name="connsiteY4" fmla="*/ 0 h 1079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1" h="1079918">
                  <a:moveTo>
                    <a:pt x="0" y="0"/>
                  </a:moveTo>
                  <a:lnTo>
                    <a:pt x="4876801" y="0"/>
                  </a:lnTo>
                  <a:lnTo>
                    <a:pt x="4876801" y="1079918"/>
                  </a:lnTo>
                  <a:lnTo>
                    <a:pt x="0" y="1079918"/>
                  </a:lnTo>
                  <a:lnTo>
                    <a:pt x="0" y="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orma libre: forma 98">
              <a:extLst>
                <a:ext uri="{FF2B5EF4-FFF2-40B4-BE49-F238E27FC236}">
                  <a16:creationId xmlns:a16="http://schemas.microsoft.com/office/drawing/2014/main" id="{54F0ADD2-A9CA-61CE-D0CE-EF780938AC74}"/>
                </a:ext>
              </a:extLst>
            </p:cNvPr>
            <p:cNvSpPr/>
            <p:nvPr/>
          </p:nvSpPr>
          <p:spPr>
            <a:xfrm>
              <a:off x="-5127585" y="7549515"/>
              <a:ext cx="4876801" cy="1053347"/>
            </a:xfrm>
            <a:custGeom>
              <a:avLst/>
              <a:gdLst>
                <a:gd name="connsiteX0" fmla="*/ 0 w 4876801"/>
                <a:gd name="connsiteY0" fmla="*/ 0 h 1053347"/>
                <a:gd name="connsiteX1" fmla="*/ 4876801 w 4876801"/>
                <a:gd name="connsiteY1" fmla="*/ 0 h 1053347"/>
                <a:gd name="connsiteX2" fmla="*/ 4876801 w 4876801"/>
                <a:gd name="connsiteY2" fmla="*/ 683343 h 1053347"/>
                <a:gd name="connsiteX3" fmla="*/ 4506797 w 4876801"/>
                <a:gd name="connsiteY3" fmla="*/ 1053347 h 1053347"/>
                <a:gd name="connsiteX4" fmla="*/ 370004 w 4876801"/>
                <a:gd name="connsiteY4" fmla="*/ 1053347 h 1053347"/>
                <a:gd name="connsiteX5" fmla="*/ 0 w 4876801"/>
                <a:gd name="connsiteY5" fmla="*/ 683343 h 1053347"/>
                <a:gd name="connsiteX6" fmla="*/ 0 w 4876801"/>
                <a:gd name="connsiteY6" fmla="*/ 0 h 105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6801" h="1053347">
                  <a:moveTo>
                    <a:pt x="0" y="0"/>
                  </a:moveTo>
                  <a:lnTo>
                    <a:pt x="4876801" y="0"/>
                  </a:lnTo>
                  <a:lnTo>
                    <a:pt x="4876801" y="683343"/>
                  </a:lnTo>
                  <a:cubicBezTo>
                    <a:pt x="4876801" y="887691"/>
                    <a:pt x="4711145" y="1053347"/>
                    <a:pt x="4506797" y="1053347"/>
                  </a:cubicBezTo>
                  <a:lnTo>
                    <a:pt x="370004" y="1053347"/>
                  </a:lnTo>
                  <a:cubicBezTo>
                    <a:pt x="165656" y="1053347"/>
                    <a:pt x="0" y="887691"/>
                    <a:pt x="0" y="683343"/>
                  </a:cubicBezTo>
                  <a:lnTo>
                    <a:pt x="0" y="0"/>
                  </a:lnTo>
                  <a:close/>
                </a:path>
              </a:pathLst>
            </a:custGeom>
            <a:solidFill>
              <a:srgbClr val="007A3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orma libre: forma 99">
              <a:extLst>
                <a:ext uri="{FF2B5EF4-FFF2-40B4-BE49-F238E27FC236}">
                  <a16:creationId xmlns:a16="http://schemas.microsoft.com/office/drawing/2014/main" id="{8E48E19B-8F75-7378-4D80-EC007B9E0369}"/>
                </a:ext>
              </a:extLst>
            </p:cNvPr>
            <p:cNvSpPr/>
            <p:nvPr/>
          </p:nvSpPr>
          <p:spPr>
            <a:xfrm>
              <a:off x="-5127585" y="5452965"/>
              <a:ext cx="2372343" cy="3104594"/>
            </a:xfrm>
            <a:custGeom>
              <a:avLst/>
              <a:gdLst>
                <a:gd name="connsiteX0" fmla="*/ 0 w 2372343"/>
                <a:gd name="connsiteY0" fmla="*/ 2096550 h 3104594"/>
                <a:gd name="connsiteX1" fmla="*/ 1609324 w 2372343"/>
                <a:gd name="connsiteY1" fmla="*/ 2096550 h 3104594"/>
                <a:gd name="connsiteX2" fmla="*/ 196088 w 2372343"/>
                <a:gd name="connsiteY2" fmla="*/ 3104594 h 3104594"/>
                <a:gd name="connsiteX3" fmla="*/ 163131 w 2372343"/>
                <a:gd name="connsiteY3" fmla="*/ 3086706 h 3104594"/>
                <a:gd name="connsiteX4" fmla="*/ 0 w 2372343"/>
                <a:gd name="connsiteY4" fmla="*/ 2779893 h 3104594"/>
                <a:gd name="connsiteX5" fmla="*/ 0 w 2372343"/>
                <a:gd name="connsiteY5" fmla="*/ 1016571 h 3104594"/>
                <a:gd name="connsiteX6" fmla="*/ 1621278 w 2372343"/>
                <a:gd name="connsiteY6" fmla="*/ 1016571 h 3104594"/>
                <a:gd name="connsiteX7" fmla="*/ 2372343 w 2372343"/>
                <a:gd name="connsiteY7" fmla="*/ 1552297 h 3104594"/>
                <a:gd name="connsiteX8" fmla="*/ 1609409 w 2372343"/>
                <a:gd name="connsiteY8" fmla="*/ 2096489 h 3104594"/>
                <a:gd name="connsiteX9" fmla="*/ 0 w 2372343"/>
                <a:gd name="connsiteY9" fmla="*/ 2096489 h 3104594"/>
                <a:gd name="connsiteX10" fmla="*/ 196089 w 2372343"/>
                <a:gd name="connsiteY10" fmla="*/ 0 h 3104594"/>
                <a:gd name="connsiteX11" fmla="*/ 1621191 w 2372343"/>
                <a:gd name="connsiteY11" fmla="*/ 1016509 h 3104594"/>
                <a:gd name="connsiteX12" fmla="*/ 0 w 2372343"/>
                <a:gd name="connsiteY12" fmla="*/ 1016509 h 3104594"/>
                <a:gd name="connsiteX13" fmla="*/ 0 w 2372343"/>
                <a:gd name="connsiteY13" fmla="*/ 324702 h 3104594"/>
                <a:gd name="connsiteX14" fmla="*/ 163131 w 2372343"/>
                <a:gd name="connsiteY14" fmla="*/ 17889 h 310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72343" h="3104594">
                  <a:moveTo>
                    <a:pt x="0" y="2096550"/>
                  </a:moveTo>
                  <a:lnTo>
                    <a:pt x="1609324" y="2096550"/>
                  </a:lnTo>
                  <a:lnTo>
                    <a:pt x="196088" y="3104594"/>
                  </a:lnTo>
                  <a:lnTo>
                    <a:pt x="163131" y="3086706"/>
                  </a:lnTo>
                  <a:cubicBezTo>
                    <a:pt x="64710" y="3020214"/>
                    <a:pt x="0" y="2907611"/>
                    <a:pt x="0" y="2779893"/>
                  </a:cubicBezTo>
                  <a:close/>
                  <a:moveTo>
                    <a:pt x="0" y="1016571"/>
                  </a:moveTo>
                  <a:lnTo>
                    <a:pt x="1621278" y="1016571"/>
                  </a:lnTo>
                  <a:lnTo>
                    <a:pt x="2372343" y="1552297"/>
                  </a:lnTo>
                  <a:lnTo>
                    <a:pt x="1609409" y="2096489"/>
                  </a:lnTo>
                  <a:lnTo>
                    <a:pt x="0" y="2096489"/>
                  </a:lnTo>
                  <a:close/>
                  <a:moveTo>
                    <a:pt x="196089" y="0"/>
                  </a:moveTo>
                  <a:lnTo>
                    <a:pt x="1621191" y="1016509"/>
                  </a:lnTo>
                  <a:lnTo>
                    <a:pt x="0" y="1016509"/>
                  </a:lnTo>
                  <a:lnTo>
                    <a:pt x="0" y="324702"/>
                  </a:lnTo>
                  <a:cubicBezTo>
                    <a:pt x="0" y="196985"/>
                    <a:pt x="64710" y="84381"/>
                    <a:pt x="163131" y="17889"/>
                  </a:cubicBezTo>
                  <a:close/>
                </a:path>
              </a:pathLst>
            </a:custGeom>
            <a:solidFill>
              <a:srgbClr val="CE112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Estrella: 7 puntas 100">
              <a:extLst>
                <a:ext uri="{FF2B5EF4-FFF2-40B4-BE49-F238E27FC236}">
                  <a16:creationId xmlns:a16="http://schemas.microsoft.com/office/drawing/2014/main" id="{D53B6F2D-0977-621D-2628-DD58A979893E}"/>
                </a:ext>
              </a:extLst>
            </p:cNvPr>
            <p:cNvSpPr/>
            <p:nvPr/>
          </p:nvSpPr>
          <p:spPr>
            <a:xfrm>
              <a:off x="-4704080" y="6520274"/>
              <a:ext cx="812800" cy="812800"/>
            </a:xfrm>
            <a:prstGeom prst="star7">
              <a:avLst>
                <a:gd name="adj" fmla="val 17704"/>
                <a:gd name="hf" fmla="val 102572"/>
                <a:gd name="vf" fmla="val 1052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3" name="CuadroTexto 70">
            <a:extLst>
              <a:ext uri="{FF2B5EF4-FFF2-40B4-BE49-F238E27FC236}">
                <a16:creationId xmlns:a16="http://schemas.microsoft.com/office/drawing/2014/main" id="{1C775778-ED60-12EA-5731-AD847FE3DEC2}"/>
              </a:ext>
            </a:extLst>
          </p:cNvPr>
          <p:cNvSpPr txBox="1"/>
          <p:nvPr/>
        </p:nvSpPr>
        <p:spPr>
          <a:xfrm>
            <a:off x="7519726" y="3253571"/>
            <a:ext cx="208159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rPr>
              <a:t>MENA and </a:t>
            </a:r>
            <a:r>
              <a:rPr kumimoji="0" lang="en-US" sz="1600" b="0" i="0" u="none" strike="noStrike" kern="1200" cap="none" spc="0" normalizeH="0" baseline="0" noProof="0" dirty="0" err="1">
                <a:ln>
                  <a:noFill/>
                </a:ln>
                <a:solidFill>
                  <a:srgbClr val="02AEF1"/>
                </a:solidFill>
                <a:effectLst/>
                <a:uLnTx/>
                <a:uFillTx/>
                <a:latin typeface="Oswald SemiBold" pitchFamily="2" charset="0"/>
                <a:ea typeface="+mn-ea"/>
                <a:cs typeface="Poppins Light" panose="00000400000000000000" pitchFamily="2" charset="0"/>
              </a:rPr>
              <a:t>Subsahara</a:t>
            </a:r>
            <a:endParaRPr kumimoji="0" lang="en-US" sz="1600" b="0" i="0" u="none" strike="noStrike" kern="1200" cap="none" spc="0" normalizeH="0" baseline="0" noProof="0" dirty="0">
              <a:ln>
                <a:noFill/>
              </a:ln>
              <a:solidFill>
                <a:srgbClr val="02AEF1"/>
              </a:solidFill>
              <a:effectLst/>
              <a:uLnTx/>
              <a:uFillTx/>
              <a:latin typeface="Oswald SemiBold" pitchFamily="2" charset="0"/>
              <a:ea typeface="+mn-ea"/>
              <a:cs typeface="Poppins Light" panose="00000400000000000000" pitchFamily="2" charset="0"/>
            </a:endParaRPr>
          </a:p>
        </p:txBody>
      </p:sp>
    </p:spTree>
    <p:extLst>
      <p:ext uri="{BB962C8B-B14F-4D97-AF65-F5344CB8AC3E}">
        <p14:creationId xmlns:p14="http://schemas.microsoft.com/office/powerpoint/2010/main" val="334571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9C7CFD0-C6EF-E9F8-B925-B2D13C046423}"/>
              </a:ext>
            </a:extLst>
          </p:cNvPr>
          <p:cNvSpPr/>
          <p:nvPr/>
        </p:nvSpPr>
        <p:spPr>
          <a:xfrm rot="1535220">
            <a:off x="-1061906" y="1956146"/>
            <a:ext cx="2996598" cy="3600986"/>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1" name="Rectangle 20">
            <a:extLst>
              <a:ext uri="{FF2B5EF4-FFF2-40B4-BE49-F238E27FC236}">
                <a16:creationId xmlns:a16="http://schemas.microsoft.com/office/drawing/2014/main" id="{DD515903-9F7A-222C-B767-76E4373800C2}"/>
              </a:ext>
            </a:extLst>
          </p:cNvPr>
          <p:cNvSpPr/>
          <p:nvPr/>
        </p:nvSpPr>
        <p:spPr>
          <a:xfrm rot="1535220">
            <a:off x="11232541" y="3497307"/>
            <a:ext cx="2996598" cy="3600986"/>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2" name="Rectangle 21">
            <a:extLst>
              <a:ext uri="{FF2B5EF4-FFF2-40B4-BE49-F238E27FC236}">
                <a16:creationId xmlns:a16="http://schemas.microsoft.com/office/drawing/2014/main" id="{D3849C21-84B9-61BB-4F9A-AC395062B1B5}"/>
              </a:ext>
            </a:extLst>
          </p:cNvPr>
          <p:cNvSpPr/>
          <p:nvPr/>
        </p:nvSpPr>
        <p:spPr>
          <a:xfrm rot="1535220">
            <a:off x="9660124" y="5981699"/>
            <a:ext cx="2341543" cy="2103786"/>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25" name="Picture Placeholder 24" descr="Graphical user interface, website&#10;&#10;Description automatically generated">
            <a:extLst>
              <a:ext uri="{FF2B5EF4-FFF2-40B4-BE49-F238E27FC236}">
                <a16:creationId xmlns:a16="http://schemas.microsoft.com/office/drawing/2014/main" id="{7D726F45-318C-4B7F-F6B2-BCF544F0FAB0}"/>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a:stretch/>
        </p:blipFill>
        <p:spPr>
          <a:xfrm>
            <a:off x="1711234" y="1110343"/>
            <a:ext cx="3145364" cy="2553789"/>
          </a:xfrm>
        </p:spPr>
      </p:pic>
      <p:pic>
        <p:nvPicPr>
          <p:cNvPr id="33" name="Picture Placeholder 32" descr="A group of people standing together&#10;&#10;Description automatically generated with low confidence">
            <a:extLst>
              <a:ext uri="{FF2B5EF4-FFF2-40B4-BE49-F238E27FC236}">
                <a16:creationId xmlns:a16="http://schemas.microsoft.com/office/drawing/2014/main" id="{59AA043C-C1CF-C8F7-B4D1-2FFBD2066B55}"/>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a:stretch/>
        </p:blipFill>
        <p:spPr>
          <a:xfrm>
            <a:off x="8001961" y="1110343"/>
            <a:ext cx="3145364" cy="2553789"/>
          </a:xfrm>
        </p:spPr>
      </p:pic>
      <p:pic>
        <p:nvPicPr>
          <p:cNvPr id="30" name="Picture Placeholder 29" descr="A picture containing diagram&#10;&#10;Description automatically generated">
            <a:extLst>
              <a:ext uri="{FF2B5EF4-FFF2-40B4-BE49-F238E27FC236}">
                <a16:creationId xmlns:a16="http://schemas.microsoft.com/office/drawing/2014/main" id="{5D3AE161-C47D-EA54-1833-8B8478464B79}"/>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Lst>
          </a:blip>
          <a:srcRect/>
          <a:stretch/>
        </p:blipFill>
        <p:spPr>
          <a:xfrm>
            <a:off x="4856598" y="3664132"/>
            <a:ext cx="3145364" cy="2553789"/>
          </a:xfrm>
        </p:spPr>
      </p:pic>
      <p:sp>
        <p:nvSpPr>
          <p:cNvPr id="2" name="Slide Number Placeholder 1">
            <a:extLst>
              <a:ext uri="{FF2B5EF4-FFF2-40B4-BE49-F238E27FC236}">
                <a16:creationId xmlns:a16="http://schemas.microsoft.com/office/drawing/2014/main" id="{AB75D67C-9571-5567-4BB2-62ACC459612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sp>
        <p:nvSpPr>
          <p:cNvPr id="3" name="TextBox 2">
            <a:extLst>
              <a:ext uri="{FF2B5EF4-FFF2-40B4-BE49-F238E27FC236}">
                <a16:creationId xmlns:a16="http://schemas.microsoft.com/office/drawing/2014/main" id="{ADFF34AC-A8DB-00E1-6880-9EFCB8CAE8B8}"/>
              </a:ext>
            </a:extLst>
          </p:cNvPr>
          <p:cNvSpPr txBox="1"/>
          <p:nvPr/>
        </p:nvSpPr>
        <p:spPr>
          <a:xfrm rot="16200000">
            <a:off x="-1048737" y="3013502"/>
            <a:ext cx="4186823" cy="830997"/>
          </a:xfrm>
          <a:prstGeom prst="rect">
            <a:avLst/>
          </a:prstGeom>
          <a:noFill/>
        </p:spPr>
        <p:txBody>
          <a:bodyPr wrap="square" rtlCol="0">
            <a:spAutoFit/>
          </a:bodyPr>
          <a:lstStyle>
            <a:defPPr>
              <a:defRPr lang="en-US"/>
            </a:defPPr>
            <a:lvl1pPr algn="ctr">
              <a:defRPr sz="3200">
                <a:effectLst/>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black"/>
                </a:solidFill>
                <a:effectLst/>
                <a:uLnTx/>
                <a:uFillTx/>
                <a:latin typeface="Jost ExtraBold"/>
                <a:ea typeface="+mn-ea"/>
                <a:cs typeface="+mn-cs"/>
              </a:rPr>
              <a:t>SERVICES</a:t>
            </a:r>
          </a:p>
        </p:txBody>
      </p:sp>
      <p:grpSp>
        <p:nvGrpSpPr>
          <p:cNvPr id="7" name="Group 6">
            <a:extLst>
              <a:ext uri="{FF2B5EF4-FFF2-40B4-BE49-F238E27FC236}">
                <a16:creationId xmlns:a16="http://schemas.microsoft.com/office/drawing/2014/main" id="{98210AEF-333C-7DAD-048A-1F2819BB423F}"/>
              </a:ext>
            </a:extLst>
          </p:cNvPr>
          <p:cNvGrpSpPr/>
          <p:nvPr/>
        </p:nvGrpSpPr>
        <p:grpSpPr>
          <a:xfrm>
            <a:off x="1711231" y="3664132"/>
            <a:ext cx="3145364" cy="2553789"/>
            <a:chOff x="1711231" y="3664132"/>
            <a:chExt cx="3145364" cy="2553789"/>
          </a:xfrm>
        </p:grpSpPr>
        <p:sp>
          <p:nvSpPr>
            <p:cNvPr id="10" name="Rectangle 9">
              <a:extLst>
                <a:ext uri="{FF2B5EF4-FFF2-40B4-BE49-F238E27FC236}">
                  <a16:creationId xmlns:a16="http://schemas.microsoft.com/office/drawing/2014/main" id="{E45C0A1D-F192-E942-AAA7-485D96BDB37E}"/>
                </a:ext>
              </a:extLst>
            </p:cNvPr>
            <p:cNvSpPr/>
            <p:nvPr/>
          </p:nvSpPr>
          <p:spPr>
            <a:xfrm>
              <a:off x="1711231" y="3664132"/>
              <a:ext cx="3145364" cy="25537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17" name="TextBox 16">
              <a:extLst>
                <a:ext uri="{FF2B5EF4-FFF2-40B4-BE49-F238E27FC236}">
                  <a16:creationId xmlns:a16="http://schemas.microsoft.com/office/drawing/2014/main" id="{2F4E8D76-1876-4301-447D-349306A182E2}"/>
                </a:ext>
              </a:extLst>
            </p:cNvPr>
            <p:cNvSpPr txBox="1"/>
            <p:nvPr/>
          </p:nvSpPr>
          <p:spPr>
            <a:xfrm>
              <a:off x="1922010" y="4051820"/>
              <a:ext cx="2723806" cy="19236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Jost"/>
                  <a:ea typeface="+mn-ea"/>
                  <a:cs typeface="+mn-cs"/>
                </a:rPr>
                <a:t>Digital Trans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Jo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Jost"/>
                  <a:ea typeface="+mn-ea"/>
                  <a:cs typeface="+mn-cs"/>
                </a:rPr>
                <a:t>Health Icon spearheaded transforming the digital landscape in healthcare in the Sub-Saharan region working with private and governmental stakeholders and partnering with proven seasoned international SMEs.</a:t>
              </a:r>
            </a:p>
          </p:txBody>
        </p:sp>
      </p:grpSp>
      <p:grpSp>
        <p:nvGrpSpPr>
          <p:cNvPr id="8" name="Group 7">
            <a:extLst>
              <a:ext uri="{FF2B5EF4-FFF2-40B4-BE49-F238E27FC236}">
                <a16:creationId xmlns:a16="http://schemas.microsoft.com/office/drawing/2014/main" id="{7884108B-466E-E6E2-6ABA-51A2453895F1}"/>
              </a:ext>
            </a:extLst>
          </p:cNvPr>
          <p:cNvGrpSpPr/>
          <p:nvPr/>
        </p:nvGrpSpPr>
        <p:grpSpPr>
          <a:xfrm>
            <a:off x="4856596" y="1110343"/>
            <a:ext cx="3145364" cy="2553789"/>
            <a:chOff x="4856596" y="1110343"/>
            <a:chExt cx="3145364" cy="2553789"/>
          </a:xfrm>
        </p:grpSpPr>
        <p:sp>
          <p:nvSpPr>
            <p:cNvPr id="9" name="Rectangle 8">
              <a:extLst>
                <a:ext uri="{FF2B5EF4-FFF2-40B4-BE49-F238E27FC236}">
                  <a16:creationId xmlns:a16="http://schemas.microsoft.com/office/drawing/2014/main" id="{61D49A4A-EC22-9116-08CE-0D7C6CEE6CD9}"/>
                </a:ext>
              </a:extLst>
            </p:cNvPr>
            <p:cNvSpPr/>
            <p:nvPr/>
          </p:nvSpPr>
          <p:spPr>
            <a:xfrm>
              <a:off x="4856596" y="1110343"/>
              <a:ext cx="3145364" cy="25537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18" name="TextBox 17">
              <a:extLst>
                <a:ext uri="{FF2B5EF4-FFF2-40B4-BE49-F238E27FC236}">
                  <a16:creationId xmlns:a16="http://schemas.microsoft.com/office/drawing/2014/main" id="{D141B761-D2F6-D3F9-E54F-00609A4B7A5A}"/>
                </a:ext>
              </a:extLst>
            </p:cNvPr>
            <p:cNvSpPr txBox="1"/>
            <p:nvPr/>
          </p:nvSpPr>
          <p:spPr>
            <a:xfrm>
              <a:off x="5067373" y="1425436"/>
              <a:ext cx="2723806"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Jost"/>
                  <a:ea typeface="+mn-ea"/>
                  <a:cs typeface="+mn-cs"/>
                </a:rPr>
                <a:t>Pharma Dis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Jo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prstClr val="white"/>
                  </a:solidFill>
                  <a:latin typeface="Jost"/>
                </a:rPr>
                <a:t>Health Icon represents international manufacturers from both the pharmaceutical and food industries commercializing their products across MENA and Sub-Saharan Africa</a:t>
              </a:r>
              <a:r>
                <a:rPr lang="en-US" sz="1800" b="0" i="0" u="none" strike="noStrike" baseline="0" dirty="0">
                  <a:solidFill>
                    <a:srgbClr val="FFFFFF"/>
                  </a:solidFill>
                  <a:latin typeface="Calibri" panose="020F0502020204030204" pitchFamily="34" charset="0"/>
                </a:rPr>
                <a:t>.</a:t>
              </a:r>
              <a:endParaRPr kumimoji="0" lang="en-US" sz="1300" b="0" i="0" u="none" strike="noStrike" kern="1200" cap="none" spc="0" normalizeH="0" baseline="0" noProof="0" dirty="0">
                <a:ln>
                  <a:noFill/>
                </a:ln>
                <a:solidFill>
                  <a:prstClr val="white"/>
                </a:solidFill>
                <a:effectLst/>
                <a:uLnTx/>
                <a:uFillTx/>
                <a:latin typeface="Jost"/>
                <a:ea typeface="+mn-ea"/>
                <a:cs typeface="+mn-cs"/>
              </a:endParaRPr>
            </a:p>
          </p:txBody>
        </p:sp>
      </p:grpSp>
      <p:grpSp>
        <p:nvGrpSpPr>
          <p:cNvPr id="12" name="Group 11">
            <a:extLst>
              <a:ext uri="{FF2B5EF4-FFF2-40B4-BE49-F238E27FC236}">
                <a16:creationId xmlns:a16="http://schemas.microsoft.com/office/drawing/2014/main" id="{CADBA1A2-BF12-F9FE-B6D9-F944A9A862C3}"/>
              </a:ext>
            </a:extLst>
          </p:cNvPr>
          <p:cNvGrpSpPr/>
          <p:nvPr/>
        </p:nvGrpSpPr>
        <p:grpSpPr>
          <a:xfrm>
            <a:off x="8001961" y="3664132"/>
            <a:ext cx="3145364" cy="2553789"/>
            <a:chOff x="8001961" y="3664132"/>
            <a:chExt cx="3145364" cy="2553789"/>
          </a:xfrm>
        </p:grpSpPr>
        <p:sp>
          <p:nvSpPr>
            <p:cNvPr id="11" name="Rectangle 10">
              <a:extLst>
                <a:ext uri="{FF2B5EF4-FFF2-40B4-BE49-F238E27FC236}">
                  <a16:creationId xmlns:a16="http://schemas.microsoft.com/office/drawing/2014/main" id="{2D5DE259-F03B-FA7F-4729-480CD17839BD}"/>
                </a:ext>
              </a:extLst>
            </p:cNvPr>
            <p:cNvSpPr/>
            <p:nvPr/>
          </p:nvSpPr>
          <p:spPr>
            <a:xfrm>
              <a:off x="8001961" y="3664132"/>
              <a:ext cx="3145364" cy="2553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19" name="TextBox 18">
              <a:extLst>
                <a:ext uri="{FF2B5EF4-FFF2-40B4-BE49-F238E27FC236}">
                  <a16:creationId xmlns:a16="http://schemas.microsoft.com/office/drawing/2014/main" id="{BF187A97-325C-44AB-19AA-447FFC9FDD40}"/>
                </a:ext>
              </a:extLst>
            </p:cNvPr>
            <p:cNvSpPr txBox="1"/>
            <p:nvPr/>
          </p:nvSpPr>
          <p:spPr>
            <a:xfrm>
              <a:off x="8212740" y="4051820"/>
              <a:ext cx="2723806" cy="152349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Jost"/>
                  <a:ea typeface="+mn-ea"/>
                  <a:cs typeface="+mn-cs"/>
                </a:rPr>
                <a:t>Business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Jo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Jost"/>
                  <a:ea typeface="+mn-ea"/>
                  <a:cs typeface="+mn-cs"/>
                </a:rPr>
                <a:t>Health Icon is your go-to choice for a comprehensive integrated process of business development. We have successfully done our homework in multiple projects.</a:t>
              </a:r>
            </a:p>
          </p:txBody>
        </p:sp>
      </p:grpSp>
      <p:grpSp>
        <p:nvGrpSpPr>
          <p:cNvPr id="15" name="Group 14">
            <a:extLst>
              <a:ext uri="{FF2B5EF4-FFF2-40B4-BE49-F238E27FC236}">
                <a16:creationId xmlns:a16="http://schemas.microsoft.com/office/drawing/2014/main" id="{AE96D05D-0858-8F63-B499-35B010F03919}"/>
              </a:ext>
            </a:extLst>
          </p:cNvPr>
          <p:cNvGrpSpPr/>
          <p:nvPr/>
        </p:nvGrpSpPr>
        <p:grpSpPr>
          <a:xfrm>
            <a:off x="3384961" y="2192498"/>
            <a:ext cx="1471631" cy="1471634"/>
            <a:chOff x="3384961" y="2192498"/>
            <a:chExt cx="1471631" cy="1471634"/>
          </a:xfrm>
        </p:grpSpPr>
        <p:sp>
          <p:nvSpPr>
            <p:cNvPr id="28" name="Freeform: Shape 27">
              <a:extLst>
                <a:ext uri="{FF2B5EF4-FFF2-40B4-BE49-F238E27FC236}">
                  <a16:creationId xmlns:a16="http://schemas.microsoft.com/office/drawing/2014/main" id="{44CED63D-7A9B-54A9-2514-1920DC5A9A59}"/>
                </a:ext>
              </a:extLst>
            </p:cNvPr>
            <p:cNvSpPr/>
            <p:nvPr/>
          </p:nvSpPr>
          <p:spPr>
            <a:xfrm>
              <a:off x="3384961" y="2192498"/>
              <a:ext cx="1471631" cy="1471634"/>
            </a:xfrm>
            <a:custGeom>
              <a:avLst/>
              <a:gdLst>
                <a:gd name="connsiteX0" fmla="*/ 1471631 w 1471631"/>
                <a:gd name="connsiteY0" fmla="*/ 0 h 1471634"/>
                <a:gd name="connsiteX1" fmla="*/ 1471631 w 1471631"/>
                <a:gd name="connsiteY1" fmla="*/ 1471634 h 1471634"/>
                <a:gd name="connsiteX2" fmla="*/ 0 w 1471631"/>
                <a:gd name="connsiteY2" fmla="*/ 1471634 h 1471634"/>
                <a:gd name="connsiteX3" fmla="*/ 1321168 w 1471631"/>
                <a:gd name="connsiteY3" fmla="*/ 7598 h 1471634"/>
              </a:gdLst>
              <a:ahLst/>
              <a:cxnLst>
                <a:cxn ang="0">
                  <a:pos x="connsiteX0" y="connsiteY0"/>
                </a:cxn>
                <a:cxn ang="0">
                  <a:pos x="connsiteX1" y="connsiteY1"/>
                </a:cxn>
                <a:cxn ang="0">
                  <a:pos x="connsiteX2" y="connsiteY2"/>
                </a:cxn>
                <a:cxn ang="0">
                  <a:pos x="connsiteX3" y="connsiteY3"/>
                </a:cxn>
              </a:cxnLst>
              <a:rect l="l" t="t" r="r" b="b"/>
              <a:pathLst>
                <a:path w="1471631" h="1471634">
                  <a:moveTo>
                    <a:pt x="1471631" y="0"/>
                  </a:moveTo>
                  <a:lnTo>
                    <a:pt x="1471631" y="1471634"/>
                  </a:lnTo>
                  <a:lnTo>
                    <a:pt x="0" y="1471634"/>
                  </a:lnTo>
                  <a:cubicBezTo>
                    <a:pt x="0" y="709671"/>
                    <a:pt x="579088" y="82960"/>
                    <a:pt x="1321168" y="7598"/>
                  </a:cubicBezTo>
                  <a:close/>
                </a:path>
              </a:pathLst>
            </a:custGeom>
            <a:solidFill>
              <a:schemeClr val="accent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4" name="Graphic 3" descr="Binary with solid fill">
              <a:extLst>
                <a:ext uri="{FF2B5EF4-FFF2-40B4-BE49-F238E27FC236}">
                  <a16:creationId xmlns:a16="http://schemas.microsoft.com/office/drawing/2014/main" id="{463C5745-D93E-A9C3-1015-C3A75B25A9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3941589" y="2876343"/>
              <a:ext cx="548640" cy="548640"/>
            </a:xfrm>
            <a:prstGeom prst="rect">
              <a:avLst/>
            </a:prstGeom>
          </p:spPr>
        </p:pic>
      </p:grpSp>
      <p:grpSp>
        <p:nvGrpSpPr>
          <p:cNvPr id="14" name="Group 13">
            <a:extLst>
              <a:ext uri="{FF2B5EF4-FFF2-40B4-BE49-F238E27FC236}">
                <a16:creationId xmlns:a16="http://schemas.microsoft.com/office/drawing/2014/main" id="{04DA5C13-C7B8-BC8D-D91B-6AACFF8F2688}"/>
              </a:ext>
            </a:extLst>
          </p:cNvPr>
          <p:cNvGrpSpPr/>
          <p:nvPr/>
        </p:nvGrpSpPr>
        <p:grpSpPr>
          <a:xfrm>
            <a:off x="4856592" y="3655796"/>
            <a:ext cx="1471631" cy="1471634"/>
            <a:chOff x="4856592" y="3655796"/>
            <a:chExt cx="1471631" cy="1471634"/>
          </a:xfrm>
        </p:grpSpPr>
        <p:sp>
          <p:nvSpPr>
            <p:cNvPr id="31" name="Freeform: Shape 30">
              <a:extLst>
                <a:ext uri="{FF2B5EF4-FFF2-40B4-BE49-F238E27FC236}">
                  <a16:creationId xmlns:a16="http://schemas.microsoft.com/office/drawing/2014/main" id="{F1C49A2D-3489-1AC4-BBCF-B5B9B1792757}"/>
                </a:ext>
              </a:extLst>
            </p:cNvPr>
            <p:cNvSpPr/>
            <p:nvPr/>
          </p:nvSpPr>
          <p:spPr>
            <a:xfrm flipH="1" flipV="1">
              <a:off x="4856592" y="3655796"/>
              <a:ext cx="1471631" cy="1471634"/>
            </a:xfrm>
            <a:custGeom>
              <a:avLst/>
              <a:gdLst>
                <a:gd name="connsiteX0" fmla="*/ 1471631 w 1471631"/>
                <a:gd name="connsiteY0" fmla="*/ 0 h 1471634"/>
                <a:gd name="connsiteX1" fmla="*/ 1471631 w 1471631"/>
                <a:gd name="connsiteY1" fmla="*/ 1471634 h 1471634"/>
                <a:gd name="connsiteX2" fmla="*/ 0 w 1471631"/>
                <a:gd name="connsiteY2" fmla="*/ 1471634 h 1471634"/>
                <a:gd name="connsiteX3" fmla="*/ 1321168 w 1471631"/>
                <a:gd name="connsiteY3" fmla="*/ 7598 h 1471634"/>
              </a:gdLst>
              <a:ahLst/>
              <a:cxnLst>
                <a:cxn ang="0">
                  <a:pos x="connsiteX0" y="connsiteY0"/>
                </a:cxn>
                <a:cxn ang="0">
                  <a:pos x="connsiteX1" y="connsiteY1"/>
                </a:cxn>
                <a:cxn ang="0">
                  <a:pos x="connsiteX2" y="connsiteY2"/>
                </a:cxn>
                <a:cxn ang="0">
                  <a:pos x="connsiteX3" y="connsiteY3"/>
                </a:cxn>
              </a:cxnLst>
              <a:rect l="l" t="t" r="r" b="b"/>
              <a:pathLst>
                <a:path w="1471631" h="1471634">
                  <a:moveTo>
                    <a:pt x="1471631" y="0"/>
                  </a:moveTo>
                  <a:lnTo>
                    <a:pt x="1471631" y="1471634"/>
                  </a:lnTo>
                  <a:lnTo>
                    <a:pt x="0" y="1471634"/>
                  </a:lnTo>
                  <a:cubicBezTo>
                    <a:pt x="0" y="709671"/>
                    <a:pt x="579088" y="82960"/>
                    <a:pt x="1321168" y="7598"/>
                  </a:cubicBezTo>
                  <a:close/>
                </a:path>
              </a:pathLst>
            </a:custGeom>
            <a:solidFill>
              <a:schemeClr val="accent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5" name="Graphic 4">
              <a:extLst>
                <a:ext uri="{FF2B5EF4-FFF2-40B4-BE49-F238E27FC236}">
                  <a16:creationId xmlns:a16="http://schemas.microsoft.com/office/drawing/2014/main" id="{5EFDDDDF-A4C9-9D3A-A9A8-451724708A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127724" y="3777500"/>
              <a:ext cx="548640" cy="548640"/>
            </a:xfrm>
            <a:prstGeom prst="rect">
              <a:avLst/>
            </a:prstGeom>
          </p:spPr>
        </p:pic>
      </p:grpSp>
      <p:grpSp>
        <p:nvGrpSpPr>
          <p:cNvPr id="13" name="Group 12">
            <a:extLst>
              <a:ext uri="{FF2B5EF4-FFF2-40B4-BE49-F238E27FC236}">
                <a16:creationId xmlns:a16="http://schemas.microsoft.com/office/drawing/2014/main" id="{40FD2180-5833-1F3D-2664-930E971A565B}"/>
              </a:ext>
            </a:extLst>
          </p:cNvPr>
          <p:cNvGrpSpPr/>
          <p:nvPr/>
        </p:nvGrpSpPr>
        <p:grpSpPr>
          <a:xfrm>
            <a:off x="8004464" y="2192498"/>
            <a:ext cx="1471631" cy="1471634"/>
            <a:chOff x="8004464" y="2192498"/>
            <a:chExt cx="1471631" cy="1471634"/>
          </a:xfrm>
        </p:grpSpPr>
        <p:sp>
          <p:nvSpPr>
            <p:cNvPr id="34" name="Freeform: Shape 33">
              <a:extLst>
                <a:ext uri="{FF2B5EF4-FFF2-40B4-BE49-F238E27FC236}">
                  <a16:creationId xmlns:a16="http://schemas.microsoft.com/office/drawing/2014/main" id="{A271F587-D6D9-A62A-5530-D406FCD560C9}"/>
                </a:ext>
              </a:extLst>
            </p:cNvPr>
            <p:cNvSpPr/>
            <p:nvPr/>
          </p:nvSpPr>
          <p:spPr>
            <a:xfrm flipH="1">
              <a:off x="8004464" y="2192498"/>
              <a:ext cx="1471631" cy="1471634"/>
            </a:xfrm>
            <a:custGeom>
              <a:avLst/>
              <a:gdLst>
                <a:gd name="connsiteX0" fmla="*/ 1471631 w 1471631"/>
                <a:gd name="connsiteY0" fmla="*/ 0 h 1471634"/>
                <a:gd name="connsiteX1" fmla="*/ 1471631 w 1471631"/>
                <a:gd name="connsiteY1" fmla="*/ 1471634 h 1471634"/>
                <a:gd name="connsiteX2" fmla="*/ 0 w 1471631"/>
                <a:gd name="connsiteY2" fmla="*/ 1471634 h 1471634"/>
                <a:gd name="connsiteX3" fmla="*/ 1321168 w 1471631"/>
                <a:gd name="connsiteY3" fmla="*/ 7598 h 1471634"/>
              </a:gdLst>
              <a:ahLst/>
              <a:cxnLst>
                <a:cxn ang="0">
                  <a:pos x="connsiteX0" y="connsiteY0"/>
                </a:cxn>
                <a:cxn ang="0">
                  <a:pos x="connsiteX1" y="connsiteY1"/>
                </a:cxn>
                <a:cxn ang="0">
                  <a:pos x="connsiteX2" y="connsiteY2"/>
                </a:cxn>
                <a:cxn ang="0">
                  <a:pos x="connsiteX3" y="connsiteY3"/>
                </a:cxn>
              </a:cxnLst>
              <a:rect l="l" t="t" r="r" b="b"/>
              <a:pathLst>
                <a:path w="1471631" h="1471634">
                  <a:moveTo>
                    <a:pt x="1471631" y="0"/>
                  </a:moveTo>
                  <a:lnTo>
                    <a:pt x="1471631" y="1471634"/>
                  </a:lnTo>
                  <a:lnTo>
                    <a:pt x="0" y="1471634"/>
                  </a:lnTo>
                  <a:cubicBezTo>
                    <a:pt x="0" y="709671"/>
                    <a:pt x="579088" y="82960"/>
                    <a:pt x="1321168" y="7598"/>
                  </a:cubicBezTo>
                  <a:close/>
                </a:path>
              </a:pathLst>
            </a:custGeom>
            <a:solidFill>
              <a:schemeClr val="accent3">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6" name="Graphic 5" descr="Business Growth with solid fill">
              <a:extLst>
                <a:ext uri="{FF2B5EF4-FFF2-40B4-BE49-F238E27FC236}">
                  <a16:creationId xmlns:a16="http://schemas.microsoft.com/office/drawing/2014/main" id="{19D0245F-ED2A-DABC-3DF8-27EEF2CFBDE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230941" y="2783362"/>
              <a:ext cx="548640" cy="548640"/>
            </a:xfrm>
            <a:prstGeom prst="rect">
              <a:avLst/>
            </a:prstGeom>
          </p:spPr>
        </p:pic>
      </p:grpSp>
    </p:spTree>
    <p:extLst>
      <p:ext uri="{BB962C8B-B14F-4D97-AF65-F5344CB8AC3E}">
        <p14:creationId xmlns:p14="http://schemas.microsoft.com/office/powerpoint/2010/main" val="33417400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2" presetClass="entr" presetSubtype="8" fill="hold" grpId="0" nodeType="withEffect">
                                  <p:stCondLst>
                                    <p:cond delay="200"/>
                                  </p:stCondLst>
                                  <p:childTnLst>
                                    <p:set>
                                      <p:cBhvr>
                                        <p:cTn id="10" dur="1" fill="hold">
                                          <p:stCondLst>
                                            <p:cond delay="0"/>
                                          </p:stCondLst>
                                        </p:cTn>
                                        <p:tgtEl>
                                          <p:spTgt spid="23"/>
                                        </p:tgtEl>
                                        <p:attrNameLst>
                                          <p:attrName>style.visibility</p:attrName>
                                        </p:attrNameLst>
                                      </p:cBhvr>
                                      <p:to>
                                        <p:strVal val="visible"/>
                                      </p:to>
                                    </p:set>
                                    <p:animEffect transition="in" filter="wipe(left)">
                                      <p:cBhvr>
                                        <p:cTn id="11" dur="1000"/>
                                        <p:tgtEl>
                                          <p:spTgt spid="23"/>
                                        </p:tgtEl>
                                      </p:cBhvr>
                                    </p:animEffect>
                                  </p:childTnLst>
                                </p:cTn>
                              </p:par>
                              <p:par>
                                <p:cTn id="12" presetID="2" presetClass="entr" presetSubtype="1" decel="100000" fill="hold" nodeType="withEffect">
                                  <p:stCondLst>
                                    <p:cond delay="30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1000" fill="hold"/>
                                        <p:tgtEl>
                                          <p:spTgt spid="25"/>
                                        </p:tgtEl>
                                        <p:attrNameLst>
                                          <p:attrName>ppt_x</p:attrName>
                                        </p:attrNameLst>
                                      </p:cBhvr>
                                      <p:tavLst>
                                        <p:tav tm="0">
                                          <p:val>
                                            <p:strVal val="#ppt_x"/>
                                          </p:val>
                                        </p:tav>
                                        <p:tav tm="100000">
                                          <p:val>
                                            <p:strVal val="#ppt_x"/>
                                          </p:val>
                                        </p:tav>
                                      </p:tavLst>
                                    </p:anim>
                                    <p:anim calcmode="lin" valueType="num">
                                      <p:cBhvr additive="base">
                                        <p:cTn id="15" dur="1000" fill="hold"/>
                                        <p:tgtEl>
                                          <p:spTgt spid="25"/>
                                        </p:tgtEl>
                                        <p:attrNameLst>
                                          <p:attrName>ppt_y</p:attrName>
                                        </p:attrNameLst>
                                      </p:cBhvr>
                                      <p:tavLst>
                                        <p:tav tm="0">
                                          <p:val>
                                            <p:strVal val="0-#ppt_h/2"/>
                                          </p:val>
                                        </p:tav>
                                        <p:tav tm="100000">
                                          <p:val>
                                            <p:strVal val="#ppt_y"/>
                                          </p:val>
                                        </p:tav>
                                      </p:tavLst>
                                    </p:anim>
                                  </p:childTnLst>
                                </p:cTn>
                              </p:par>
                              <p:par>
                                <p:cTn id="16" presetID="2" presetClass="entr" presetSubtype="4" decel="100000" fill="hold" nodeType="withEffect">
                                  <p:stCondLst>
                                    <p:cond delay="40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ppt_x"/>
                                          </p:val>
                                        </p:tav>
                                        <p:tav tm="100000">
                                          <p:val>
                                            <p:strVal val="#ppt_x"/>
                                          </p:val>
                                        </p:tav>
                                      </p:tavLst>
                                    </p:anim>
                                    <p:anim calcmode="lin" valueType="num">
                                      <p:cBhvr additive="base">
                                        <p:cTn id="19" dur="1000" fill="hold"/>
                                        <p:tgtEl>
                                          <p:spTgt spid="7"/>
                                        </p:tgtEl>
                                        <p:attrNameLst>
                                          <p:attrName>ppt_y</p:attrName>
                                        </p:attrNameLst>
                                      </p:cBhvr>
                                      <p:tavLst>
                                        <p:tav tm="0">
                                          <p:val>
                                            <p:strVal val="1+#ppt_h/2"/>
                                          </p:val>
                                        </p:tav>
                                        <p:tav tm="100000">
                                          <p:val>
                                            <p:strVal val="#ppt_y"/>
                                          </p:val>
                                        </p:tav>
                                      </p:tavLst>
                                    </p:anim>
                                  </p:childTnLst>
                                </p:cTn>
                              </p:par>
                              <p:par>
                                <p:cTn id="20" presetID="6" presetClass="entr" presetSubtype="16"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circle(in)">
                                      <p:cBhvr>
                                        <p:cTn id="22" dur="1000"/>
                                        <p:tgtEl>
                                          <p:spTgt spid="15"/>
                                        </p:tgtEl>
                                      </p:cBhvr>
                                    </p:animEffect>
                                  </p:childTnLst>
                                </p:cTn>
                              </p:par>
                              <p:par>
                                <p:cTn id="23" presetID="2" presetClass="entr" presetSubtype="4" decel="100000" fill="hold" nodeType="withEffect">
                                  <p:stCondLst>
                                    <p:cond delay="600"/>
                                  </p:stCondLst>
                                  <p:childTnLst>
                                    <p:set>
                                      <p:cBhvr>
                                        <p:cTn id="24" dur="1" fill="hold">
                                          <p:stCondLst>
                                            <p:cond delay="0"/>
                                          </p:stCondLst>
                                        </p:cTn>
                                        <p:tgtEl>
                                          <p:spTgt spid="30"/>
                                        </p:tgtEl>
                                        <p:attrNameLst>
                                          <p:attrName>style.visibility</p:attrName>
                                        </p:attrNameLst>
                                      </p:cBhvr>
                                      <p:to>
                                        <p:strVal val="visible"/>
                                      </p:to>
                                    </p:set>
                                    <p:anim calcmode="lin" valueType="num">
                                      <p:cBhvr additive="base">
                                        <p:cTn id="25" dur="1000" fill="hold"/>
                                        <p:tgtEl>
                                          <p:spTgt spid="30"/>
                                        </p:tgtEl>
                                        <p:attrNameLst>
                                          <p:attrName>ppt_x</p:attrName>
                                        </p:attrNameLst>
                                      </p:cBhvr>
                                      <p:tavLst>
                                        <p:tav tm="0">
                                          <p:val>
                                            <p:strVal val="#ppt_x"/>
                                          </p:val>
                                        </p:tav>
                                        <p:tav tm="100000">
                                          <p:val>
                                            <p:strVal val="#ppt_x"/>
                                          </p:val>
                                        </p:tav>
                                      </p:tavLst>
                                    </p:anim>
                                    <p:anim calcmode="lin" valueType="num">
                                      <p:cBhvr additive="base">
                                        <p:cTn id="26" dur="1000" fill="hold"/>
                                        <p:tgtEl>
                                          <p:spTgt spid="30"/>
                                        </p:tgtEl>
                                        <p:attrNameLst>
                                          <p:attrName>ppt_y</p:attrName>
                                        </p:attrNameLst>
                                      </p:cBhvr>
                                      <p:tavLst>
                                        <p:tav tm="0">
                                          <p:val>
                                            <p:strVal val="1+#ppt_h/2"/>
                                          </p:val>
                                        </p:tav>
                                        <p:tav tm="100000">
                                          <p:val>
                                            <p:strVal val="#ppt_y"/>
                                          </p:val>
                                        </p:tav>
                                      </p:tavLst>
                                    </p:anim>
                                  </p:childTnLst>
                                </p:cTn>
                              </p:par>
                              <p:par>
                                <p:cTn id="27" presetID="2" presetClass="entr" presetSubtype="1" decel="100000" fill="hold" nodeType="withEffect">
                                  <p:stCondLst>
                                    <p:cond delay="70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1000" fill="hold"/>
                                        <p:tgtEl>
                                          <p:spTgt spid="8"/>
                                        </p:tgtEl>
                                        <p:attrNameLst>
                                          <p:attrName>ppt_x</p:attrName>
                                        </p:attrNameLst>
                                      </p:cBhvr>
                                      <p:tavLst>
                                        <p:tav tm="0">
                                          <p:val>
                                            <p:strVal val="#ppt_x"/>
                                          </p:val>
                                        </p:tav>
                                        <p:tav tm="100000">
                                          <p:val>
                                            <p:strVal val="#ppt_x"/>
                                          </p:val>
                                        </p:tav>
                                      </p:tavLst>
                                    </p:anim>
                                    <p:anim calcmode="lin" valueType="num">
                                      <p:cBhvr additive="base">
                                        <p:cTn id="30" dur="1000" fill="hold"/>
                                        <p:tgtEl>
                                          <p:spTgt spid="8"/>
                                        </p:tgtEl>
                                        <p:attrNameLst>
                                          <p:attrName>ppt_y</p:attrName>
                                        </p:attrNameLst>
                                      </p:cBhvr>
                                      <p:tavLst>
                                        <p:tav tm="0">
                                          <p:val>
                                            <p:strVal val="0-#ppt_h/2"/>
                                          </p:val>
                                        </p:tav>
                                        <p:tav tm="100000">
                                          <p:val>
                                            <p:strVal val="#ppt_y"/>
                                          </p:val>
                                        </p:tav>
                                      </p:tavLst>
                                    </p:anim>
                                  </p:childTnLst>
                                </p:cTn>
                              </p:par>
                              <p:par>
                                <p:cTn id="31" presetID="6" presetClass="entr" presetSubtype="16" fill="hold" nodeType="withEffect">
                                  <p:stCondLst>
                                    <p:cond delay="800"/>
                                  </p:stCondLst>
                                  <p:childTnLst>
                                    <p:set>
                                      <p:cBhvr>
                                        <p:cTn id="32" dur="1" fill="hold">
                                          <p:stCondLst>
                                            <p:cond delay="0"/>
                                          </p:stCondLst>
                                        </p:cTn>
                                        <p:tgtEl>
                                          <p:spTgt spid="14"/>
                                        </p:tgtEl>
                                        <p:attrNameLst>
                                          <p:attrName>style.visibility</p:attrName>
                                        </p:attrNameLst>
                                      </p:cBhvr>
                                      <p:to>
                                        <p:strVal val="visible"/>
                                      </p:to>
                                    </p:set>
                                    <p:animEffect transition="in" filter="circle(in)">
                                      <p:cBhvr>
                                        <p:cTn id="33" dur="1000"/>
                                        <p:tgtEl>
                                          <p:spTgt spid="14"/>
                                        </p:tgtEl>
                                      </p:cBhvr>
                                    </p:animEffect>
                                  </p:childTnLst>
                                </p:cTn>
                              </p:par>
                              <p:par>
                                <p:cTn id="34" presetID="2" presetClass="entr" presetSubtype="1" decel="100000" fill="hold" nodeType="withEffect">
                                  <p:stCondLst>
                                    <p:cond delay="900"/>
                                  </p:stCondLst>
                                  <p:childTnLst>
                                    <p:set>
                                      <p:cBhvr>
                                        <p:cTn id="35" dur="1" fill="hold">
                                          <p:stCondLst>
                                            <p:cond delay="0"/>
                                          </p:stCondLst>
                                        </p:cTn>
                                        <p:tgtEl>
                                          <p:spTgt spid="33"/>
                                        </p:tgtEl>
                                        <p:attrNameLst>
                                          <p:attrName>style.visibility</p:attrName>
                                        </p:attrNameLst>
                                      </p:cBhvr>
                                      <p:to>
                                        <p:strVal val="visible"/>
                                      </p:to>
                                    </p:set>
                                    <p:anim calcmode="lin" valueType="num">
                                      <p:cBhvr additive="base">
                                        <p:cTn id="36" dur="1000" fill="hold"/>
                                        <p:tgtEl>
                                          <p:spTgt spid="33"/>
                                        </p:tgtEl>
                                        <p:attrNameLst>
                                          <p:attrName>ppt_x</p:attrName>
                                        </p:attrNameLst>
                                      </p:cBhvr>
                                      <p:tavLst>
                                        <p:tav tm="0">
                                          <p:val>
                                            <p:strVal val="#ppt_x"/>
                                          </p:val>
                                        </p:tav>
                                        <p:tav tm="100000">
                                          <p:val>
                                            <p:strVal val="#ppt_x"/>
                                          </p:val>
                                        </p:tav>
                                      </p:tavLst>
                                    </p:anim>
                                    <p:anim calcmode="lin" valueType="num">
                                      <p:cBhvr additive="base">
                                        <p:cTn id="37" dur="1000" fill="hold"/>
                                        <p:tgtEl>
                                          <p:spTgt spid="33"/>
                                        </p:tgtEl>
                                        <p:attrNameLst>
                                          <p:attrName>ppt_y</p:attrName>
                                        </p:attrNameLst>
                                      </p:cBhvr>
                                      <p:tavLst>
                                        <p:tav tm="0">
                                          <p:val>
                                            <p:strVal val="0-#ppt_h/2"/>
                                          </p:val>
                                        </p:tav>
                                        <p:tav tm="100000">
                                          <p:val>
                                            <p:strVal val="#ppt_y"/>
                                          </p:val>
                                        </p:tav>
                                      </p:tavLst>
                                    </p:anim>
                                  </p:childTnLst>
                                </p:cTn>
                              </p:par>
                              <p:par>
                                <p:cTn id="38" presetID="2" presetClass="entr" presetSubtype="4" decel="100000" fill="hold" nodeType="withEffect">
                                  <p:stCondLst>
                                    <p:cond delay="1000"/>
                                  </p:stCondLst>
                                  <p:childTnLst>
                                    <p:set>
                                      <p:cBhvr>
                                        <p:cTn id="39" dur="1" fill="hold">
                                          <p:stCondLst>
                                            <p:cond delay="0"/>
                                          </p:stCondLst>
                                        </p:cTn>
                                        <p:tgtEl>
                                          <p:spTgt spid="12"/>
                                        </p:tgtEl>
                                        <p:attrNameLst>
                                          <p:attrName>style.visibility</p:attrName>
                                        </p:attrNameLst>
                                      </p:cBhvr>
                                      <p:to>
                                        <p:strVal val="visible"/>
                                      </p:to>
                                    </p:set>
                                    <p:anim calcmode="lin" valueType="num">
                                      <p:cBhvr additive="base">
                                        <p:cTn id="40" dur="1000" fill="hold"/>
                                        <p:tgtEl>
                                          <p:spTgt spid="12"/>
                                        </p:tgtEl>
                                        <p:attrNameLst>
                                          <p:attrName>ppt_x</p:attrName>
                                        </p:attrNameLst>
                                      </p:cBhvr>
                                      <p:tavLst>
                                        <p:tav tm="0">
                                          <p:val>
                                            <p:strVal val="#ppt_x"/>
                                          </p:val>
                                        </p:tav>
                                        <p:tav tm="100000">
                                          <p:val>
                                            <p:strVal val="#ppt_x"/>
                                          </p:val>
                                        </p:tav>
                                      </p:tavLst>
                                    </p:anim>
                                    <p:anim calcmode="lin" valueType="num">
                                      <p:cBhvr additive="base">
                                        <p:cTn id="41" dur="1000" fill="hold"/>
                                        <p:tgtEl>
                                          <p:spTgt spid="12"/>
                                        </p:tgtEl>
                                        <p:attrNameLst>
                                          <p:attrName>ppt_y</p:attrName>
                                        </p:attrNameLst>
                                      </p:cBhvr>
                                      <p:tavLst>
                                        <p:tav tm="0">
                                          <p:val>
                                            <p:strVal val="1+#ppt_h/2"/>
                                          </p:val>
                                        </p:tav>
                                        <p:tav tm="100000">
                                          <p:val>
                                            <p:strVal val="#ppt_y"/>
                                          </p:val>
                                        </p:tav>
                                      </p:tavLst>
                                    </p:anim>
                                  </p:childTnLst>
                                </p:cTn>
                              </p:par>
                              <p:par>
                                <p:cTn id="42" presetID="6" presetClass="entr" presetSubtype="16" fill="hold" nodeType="withEffect">
                                  <p:stCondLst>
                                    <p:cond delay="1100"/>
                                  </p:stCondLst>
                                  <p:childTnLst>
                                    <p:set>
                                      <p:cBhvr>
                                        <p:cTn id="43" dur="1" fill="hold">
                                          <p:stCondLst>
                                            <p:cond delay="0"/>
                                          </p:stCondLst>
                                        </p:cTn>
                                        <p:tgtEl>
                                          <p:spTgt spid="13"/>
                                        </p:tgtEl>
                                        <p:attrNameLst>
                                          <p:attrName>style.visibility</p:attrName>
                                        </p:attrNameLst>
                                      </p:cBhvr>
                                      <p:to>
                                        <p:strVal val="visible"/>
                                      </p:to>
                                    </p:set>
                                    <p:animEffect transition="in" filter="circle(in)">
                                      <p:cBhvr>
                                        <p:cTn id="44" dur="1000"/>
                                        <p:tgtEl>
                                          <p:spTgt spid="13"/>
                                        </p:tgtEl>
                                      </p:cBhvr>
                                    </p:animEffect>
                                  </p:childTnLst>
                                </p:cTn>
                              </p:par>
                              <p:par>
                                <p:cTn id="45" presetID="22" presetClass="entr" presetSubtype="8" fill="hold" grpId="0" nodeType="withEffect">
                                  <p:stCondLst>
                                    <p:cond delay="1100"/>
                                  </p:stCondLst>
                                  <p:childTnLst>
                                    <p:set>
                                      <p:cBhvr>
                                        <p:cTn id="46" dur="1" fill="hold">
                                          <p:stCondLst>
                                            <p:cond delay="0"/>
                                          </p:stCondLst>
                                        </p:cTn>
                                        <p:tgtEl>
                                          <p:spTgt spid="22"/>
                                        </p:tgtEl>
                                        <p:attrNameLst>
                                          <p:attrName>style.visibility</p:attrName>
                                        </p:attrNameLst>
                                      </p:cBhvr>
                                      <p:to>
                                        <p:strVal val="visible"/>
                                      </p:to>
                                    </p:set>
                                    <p:animEffect transition="in" filter="wipe(left)">
                                      <p:cBhvr>
                                        <p:cTn id="47" dur="1000"/>
                                        <p:tgtEl>
                                          <p:spTgt spid="22"/>
                                        </p:tgtEl>
                                      </p:cBhvr>
                                    </p:animEffect>
                                  </p:childTnLst>
                                </p:cTn>
                              </p:par>
                              <p:par>
                                <p:cTn id="48" presetID="22" presetClass="entr" presetSubtype="8" fill="hold" grpId="0" nodeType="withEffect">
                                  <p:stCondLst>
                                    <p:cond delay="1200"/>
                                  </p:stCondLst>
                                  <p:childTnLst>
                                    <p:set>
                                      <p:cBhvr>
                                        <p:cTn id="49" dur="1" fill="hold">
                                          <p:stCondLst>
                                            <p:cond delay="0"/>
                                          </p:stCondLst>
                                        </p:cTn>
                                        <p:tgtEl>
                                          <p:spTgt spid="21"/>
                                        </p:tgtEl>
                                        <p:attrNameLst>
                                          <p:attrName>style.visibility</p:attrName>
                                        </p:attrNameLst>
                                      </p:cBhvr>
                                      <p:to>
                                        <p:strVal val="visible"/>
                                      </p:to>
                                    </p:set>
                                    <p:animEffect transition="in" filter="wipe(left)">
                                      <p:cBhvr>
                                        <p:cTn id="5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1" grpId="0" animBg="1"/>
      <p:bldP spid="22" grpId="0" animBg="1"/>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6B9559-255C-95C7-3E60-37E40BDBB8B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5" name="Picture Placeholder 4" descr="A picture containing person&#10;&#10;Description automatically generated">
            <a:extLst>
              <a:ext uri="{FF2B5EF4-FFF2-40B4-BE49-F238E27FC236}">
                <a16:creationId xmlns:a16="http://schemas.microsoft.com/office/drawing/2014/main" id="{233949C0-7D0F-F512-6F57-3B14DDF61187}"/>
              </a:ext>
            </a:extLst>
          </p:cNvPr>
          <p:cNvPicPr>
            <a:picLocks noGrp="1" noChangeAspect="1"/>
          </p:cNvPicPr>
          <p:nvPr>
            <p:ph type="pic" sz="quarter" idx="13"/>
          </p:nvPr>
        </p:nvPicPr>
        <p:blipFill>
          <a:blip r:embed="rId2" cstate="hq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p:pic>
      <p:pic>
        <p:nvPicPr>
          <p:cNvPr id="8" name="Picture Placeholder 7" descr="A picture containing text, indoor, person, scene&#10;&#10;Description automatically generated">
            <a:extLst>
              <a:ext uri="{FF2B5EF4-FFF2-40B4-BE49-F238E27FC236}">
                <a16:creationId xmlns:a16="http://schemas.microsoft.com/office/drawing/2014/main" id="{3CE411CD-2F55-5796-63E5-DA382347994E}"/>
              </a:ext>
            </a:extLst>
          </p:cNvPr>
          <p:cNvPicPr>
            <a:picLocks noGrp="1" noChangeAspect="1"/>
          </p:cNvPicPr>
          <p:nvPr>
            <p:ph type="pic" sz="quarter" idx="14"/>
          </p:nvPr>
        </p:nvPicPr>
        <p:blipFill>
          <a:blip r:embed="rId4" cstate="hq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p:pic>
      <p:sp>
        <p:nvSpPr>
          <p:cNvPr id="3" name="TextBox 2">
            <a:extLst>
              <a:ext uri="{FF2B5EF4-FFF2-40B4-BE49-F238E27FC236}">
                <a16:creationId xmlns:a16="http://schemas.microsoft.com/office/drawing/2014/main" id="{3B288501-A18D-75B9-6096-EC899246D4AC}"/>
              </a:ext>
            </a:extLst>
          </p:cNvPr>
          <p:cNvSpPr txBox="1"/>
          <p:nvPr/>
        </p:nvSpPr>
        <p:spPr>
          <a:xfrm>
            <a:off x="3048000" y="1108151"/>
            <a:ext cx="6096000" cy="584775"/>
          </a:xfrm>
          <a:prstGeom prst="rect">
            <a:avLst/>
          </a:prstGeom>
          <a:noFill/>
        </p:spPr>
        <p:txBody>
          <a:bodyPr wrap="square" rtlCol="0">
            <a:spAutoFit/>
          </a:bodyPr>
          <a:lstStyle>
            <a:defPPr>
              <a:defRPr lang="en-US"/>
            </a:defPPr>
            <a:lvl1pPr algn="ctr">
              <a:defRPr sz="3200">
                <a:solidFill>
                  <a:schemeClr val="accent3"/>
                </a:solidFill>
                <a:effectLst/>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2AEF1"/>
                </a:solidFill>
                <a:effectLst/>
                <a:uLnTx/>
                <a:uFillTx/>
                <a:latin typeface="Jost ExtraBold"/>
                <a:ea typeface="+mn-ea"/>
                <a:cs typeface="+mn-cs"/>
              </a:rPr>
              <a:t>PHARMA </a:t>
            </a:r>
            <a:r>
              <a:rPr kumimoji="0" lang="en-US" sz="3200" b="0" i="0" u="none" strike="noStrike" kern="1200" cap="none" spc="0" normalizeH="0" baseline="0" noProof="0" dirty="0">
                <a:ln>
                  <a:noFill/>
                </a:ln>
                <a:solidFill>
                  <a:srgbClr val="232323"/>
                </a:solidFill>
                <a:effectLst/>
                <a:uLnTx/>
                <a:uFillTx/>
                <a:latin typeface="Jost ExtraBold"/>
                <a:ea typeface="+mn-ea"/>
                <a:cs typeface="+mn-cs"/>
              </a:rPr>
              <a:t>DISTRIBUTION</a:t>
            </a:r>
          </a:p>
        </p:txBody>
      </p:sp>
      <p:sp>
        <p:nvSpPr>
          <p:cNvPr id="6" name="TextBox 5">
            <a:extLst>
              <a:ext uri="{FF2B5EF4-FFF2-40B4-BE49-F238E27FC236}">
                <a16:creationId xmlns:a16="http://schemas.microsoft.com/office/drawing/2014/main" id="{4F66CAC5-883D-B010-8559-51FDE7C78801}"/>
              </a:ext>
            </a:extLst>
          </p:cNvPr>
          <p:cNvSpPr txBox="1"/>
          <p:nvPr/>
        </p:nvSpPr>
        <p:spPr>
          <a:xfrm>
            <a:off x="944147" y="2363412"/>
            <a:ext cx="4699908" cy="2404504"/>
          </a:xfrm>
          <a:prstGeom prst="rect">
            <a:avLst/>
          </a:prstGeom>
          <a:noFill/>
        </p:spPr>
        <p:txBody>
          <a:bodyPr wrap="square">
            <a:spAutoFit/>
          </a:bodyPr>
          <a:lstStyle/>
          <a:p>
            <a:pPr marL="0" marR="0" lvl="0" indent="0" algn="just" defTabSz="914400" rtl="0" eaLnBrk="1" fontAlgn="auto" latinLnBrk="0" hangingPunct="1">
              <a:lnSpc>
                <a:spcPts val="26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Jost"/>
                <a:ea typeface="+mn-ea"/>
                <a:cs typeface="+mn-cs"/>
              </a:rPr>
              <a:t>Licensed in Jordan, Health Icon is authorized to distribute pharmaceuticals and medical supplies. We have sourced much-needed pharmaceuticals and pharmaceutical necessities through a well-established network of clients and providers; local and international. Health Icon is always on the look for diligent partners to reach out to more customers.</a:t>
            </a:r>
          </a:p>
        </p:txBody>
      </p:sp>
      <p:grpSp>
        <p:nvGrpSpPr>
          <p:cNvPr id="15" name="Group 14">
            <a:extLst>
              <a:ext uri="{FF2B5EF4-FFF2-40B4-BE49-F238E27FC236}">
                <a16:creationId xmlns:a16="http://schemas.microsoft.com/office/drawing/2014/main" id="{D8A157DA-1802-81A1-F626-D3B87CC5352B}"/>
              </a:ext>
            </a:extLst>
          </p:cNvPr>
          <p:cNvGrpSpPr/>
          <p:nvPr/>
        </p:nvGrpSpPr>
        <p:grpSpPr>
          <a:xfrm>
            <a:off x="2436616" y="4971233"/>
            <a:ext cx="611384" cy="611384"/>
            <a:chOff x="2436616" y="4971233"/>
            <a:chExt cx="611384" cy="611384"/>
          </a:xfrm>
        </p:grpSpPr>
        <p:sp>
          <p:nvSpPr>
            <p:cNvPr id="12" name="Oval 11">
              <a:extLst>
                <a:ext uri="{FF2B5EF4-FFF2-40B4-BE49-F238E27FC236}">
                  <a16:creationId xmlns:a16="http://schemas.microsoft.com/office/drawing/2014/main" id="{882350DB-FBFF-925D-D208-B50AEC140379}"/>
                </a:ext>
              </a:extLst>
            </p:cNvPr>
            <p:cNvSpPr/>
            <p:nvPr/>
          </p:nvSpPr>
          <p:spPr>
            <a:xfrm>
              <a:off x="2436616" y="4971233"/>
              <a:ext cx="611384" cy="611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4" name="Graphic 13">
              <a:extLst>
                <a:ext uri="{FF2B5EF4-FFF2-40B4-BE49-F238E27FC236}">
                  <a16:creationId xmlns:a16="http://schemas.microsoft.com/office/drawing/2014/main" id="{F4B60371-5585-9B54-629E-241EC71AB9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46473" y="5099300"/>
              <a:ext cx="391670" cy="391670"/>
            </a:xfrm>
            <a:prstGeom prst="rect">
              <a:avLst/>
            </a:prstGeom>
          </p:spPr>
        </p:pic>
      </p:grpSp>
      <p:grpSp>
        <p:nvGrpSpPr>
          <p:cNvPr id="13" name="Group 12">
            <a:extLst>
              <a:ext uri="{FF2B5EF4-FFF2-40B4-BE49-F238E27FC236}">
                <a16:creationId xmlns:a16="http://schemas.microsoft.com/office/drawing/2014/main" id="{88FD7872-E745-3D3C-9A83-225485D15EEF}"/>
              </a:ext>
            </a:extLst>
          </p:cNvPr>
          <p:cNvGrpSpPr/>
          <p:nvPr/>
        </p:nvGrpSpPr>
        <p:grpSpPr>
          <a:xfrm>
            <a:off x="1686984" y="4971233"/>
            <a:ext cx="611384" cy="611384"/>
            <a:chOff x="1686984" y="4971233"/>
            <a:chExt cx="611384" cy="611384"/>
          </a:xfrm>
        </p:grpSpPr>
        <p:sp>
          <p:nvSpPr>
            <p:cNvPr id="11" name="Oval 10">
              <a:extLst>
                <a:ext uri="{FF2B5EF4-FFF2-40B4-BE49-F238E27FC236}">
                  <a16:creationId xmlns:a16="http://schemas.microsoft.com/office/drawing/2014/main" id="{26C1B6C1-5B37-2025-D38E-FD707DE42165}"/>
                </a:ext>
              </a:extLst>
            </p:cNvPr>
            <p:cNvSpPr/>
            <p:nvPr/>
          </p:nvSpPr>
          <p:spPr>
            <a:xfrm>
              <a:off x="1686984" y="4971233"/>
              <a:ext cx="611384" cy="611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6" name="Graphic 15">
              <a:extLst>
                <a:ext uri="{FF2B5EF4-FFF2-40B4-BE49-F238E27FC236}">
                  <a16:creationId xmlns:a16="http://schemas.microsoft.com/office/drawing/2014/main" id="{CAAFB86D-84DD-7A67-7D53-36C65DBB558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87321" y="5083534"/>
              <a:ext cx="386781" cy="386781"/>
            </a:xfrm>
            <a:prstGeom prst="rect">
              <a:avLst/>
            </a:prstGeom>
          </p:spPr>
        </p:pic>
      </p:grpSp>
      <p:grpSp>
        <p:nvGrpSpPr>
          <p:cNvPr id="9" name="Group 8">
            <a:extLst>
              <a:ext uri="{FF2B5EF4-FFF2-40B4-BE49-F238E27FC236}">
                <a16:creationId xmlns:a16="http://schemas.microsoft.com/office/drawing/2014/main" id="{E6ABBDCC-128C-F36E-917F-C4D6A38A8E82}"/>
              </a:ext>
            </a:extLst>
          </p:cNvPr>
          <p:cNvGrpSpPr/>
          <p:nvPr/>
        </p:nvGrpSpPr>
        <p:grpSpPr>
          <a:xfrm>
            <a:off x="944147" y="4971233"/>
            <a:ext cx="611384" cy="611384"/>
            <a:chOff x="944147" y="4971233"/>
            <a:chExt cx="611384" cy="611384"/>
          </a:xfrm>
        </p:grpSpPr>
        <p:sp>
          <p:nvSpPr>
            <p:cNvPr id="10" name="Oval 9">
              <a:extLst>
                <a:ext uri="{FF2B5EF4-FFF2-40B4-BE49-F238E27FC236}">
                  <a16:creationId xmlns:a16="http://schemas.microsoft.com/office/drawing/2014/main" id="{770F9BDE-A968-67C2-3B8A-A9215E734B33}"/>
                </a:ext>
              </a:extLst>
            </p:cNvPr>
            <p:cNvSpPr/>
            <p:nvPr/>
          </p:nvSpPr>
          <p:spPr>
            <a:xfrm>
              <a:off x="944147" y="4971233"/>
              <a:ext cx="611384" cy="611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18" name="Graphic 17">
              <a:extLst>
                <a:ext uri="{FF2B5EF4-FFF2-40B4-BE49-F238E27FC236}">
                  <a16:creationId xmlns:a16="http://schemas.microsoft.com/office/drawing/2014/main" id="{2616ED97-2CF4-8B67-414C-B070922329C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7468" y="5083534"/>
              <a:ext cx="386781" cy="386781"/>
            </a:xfrm>
            <a:prstGeom prst="rect">
              <a:avLst/>
            </a:prstGeom>
          </p:spPr>
        </p:pic>
      </p:grpSp>
      <p:sp>
        <p:nvSpPr>
          <p:cNvPr id="22" name="Rectangle 21">
            <a:extLst>
              <a:ext uri="{FF2B5EF4-FFF2-40B4-BE49-F238E27FC236}">
                <a16:creationId xmlns:a16="http://schemas.microsoft.com/office/drawing/2014/main" id="{E040223B-A40F-7BA9-60FB-BE6AA82A77C8}"/>
              </a:ext>
            </a:extLst>
          </p:cNvPr>
          <p:cNvSpPr/>
          <p:nvPr/>
        </p:nvSpPr>
        <p:spPr>
          <a:xfrm rot="2261073">
            <a:off x="6624561" y="4783714"/>
            <a:ext cx="3371751" cy="1614640"/>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3" name="Rectangle 22">
            <a:extLst>
              <a:ext uri="{FF2B5EF4-FFF2-40B4-BE49-F238E27FC236}">
                <a16:creationId xmlns:a16="http://schemas.microsoft.com/office/drawing/2014/main" id="{8BCFB799-49F7-6835-8AEE-3356AFBD327B}"/>
              </a:ext>
            </a:extLst>
          </p:cNvPr>
          <p:cNvSpPr/>
          <p:nvPr/>
        </p:nvSpPr>
        <p:spPr>
          <a:xfrm rot="2261073">
            <a:off x="6504862" y="6057292"/>
            <a:ext cx="4429156" cy="1671199"/>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4" name="Rectangle 23">
            <a:extLst>
              <a:ext uri="{FF2B5EF4-FFF2-40B4-BE49-F238E27FC236}">
                <a16:creationId xmlns:a16="http://schemas.microsoft.com/office/drawing/2014/main" id="{6A5C3A02-2B40-C4CC-80EB-7092AC90B688}"/>
              </a:ext>
            </a:extLst>
          </p:cNvPr>
          <p:cNvSpPr/>
          <p:nvPr/>
        </p:nvSpPr>
        <p:spPr>
          <a:xfrm rot="2261073">
            <a:off x="10453943" y="2744683"/>
            <a:ext cx="2995708" cy="855198"/>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Tree>
    <p:extLst>
      <p:ext uri="{BB962C8B-B14F-4D97-AF65-F5344CB8AC3E}">
        <p14:creationId xmlns:p14="http://schemas.microsoft.com/office/powerpoint/2010/main" val="2066296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nodeType="withEffect">
                                  <p:stCondLst>
                                    <p:cond delay="2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par>
                                <p:cTn id="11" presetID="2" presetClass="entr" presetSubtype="1" decel="100000" fill="hold" grpId="0" nodeType="withEffect">
                                  <p:stCondLst>
                                    <p:cond delay="40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1000" fill="hold"/>
                                        <p:tgtEl>
                                          <p:spTgt spid="3"/>
                                        </p:tgtEl>
                                        <p:attrNameLst>
                                          <p:attrName>ppt_x</p:attrName>
                                        </p:attrNameLst>
                                      </p:cBhvr>
                                      <p:tavLst>
                                        <p:tav tm="0">
                                          <p:val>
                                            <p:strVal val="#ppt_x"/>
                                          </p:val>
                                        </p:tav>
                                        <p:tav tm="100000">
                                          <p:val>
                                            <p:strVal val="#ppt_x"/>
                                          </p:val>
                                        </p:tav>
                                      </p:tavLst>
                                    </p:anim>
                                    <p:anim calcmode="lin" valueType="num">
                                      <p:cBhvr additive="base">
                                        <p:cTn id="14" dur="1000" fill="hold"/>
                                        <p:tgtEl>
                                          <p:spTgt spid="3"/>
                                        </p:tgtEl>
                                        <p:attrNameLst>
                                          <p:attrName>ppt_y</p:attrName>
                                        </p:attrNameLst>
                                      </p:cBhvr>
                                      <p:tavLst>
                                        <p:tav tm="0">
                                          <p:val>
                                            <p:strVal val="0-#ppt_h/2"/>
                                          </p:val>
                                        </p:tav>
                                        <p:tav tm="100000">
                                          <p:val>
                                            <p:strVal val="#ppt_y"/>
                                          </p:val>
                                        </p:tav>
                                      </p:tavLst>
                                    </p:anim>
                                  </p:childTnLst>
                                </p:cTn>
                              </p:par>
                              <p:par>
                                <p:cTn id="15" presetID="2" presetClass="entr" presetSubtype="8" decel="100000" fill="hold" grpId="0" nodeType="withEffect">
                                  <p:stCondLst>
                                    <p:cond delay="60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0-#ppt_w/2"/>
                                          </p:val>
                                        </p:tav>
                                        <p:tav tm="100000">
                                          <p:val>
                                            <p:strVal val="#ppt_x"/>
                                          </p:val>
                                        </p:tav>
                                      </p:tavLst>
                                    </p:anim>
                                    <p:anim calcmode="lin" valueType="num">
                                      <p:cBhvr additive="base">
                                        <p:cTn id="18" dur="1000" fill="hold"/>
                                        <p:tgtEl>
                                          <p:spTgt spid="6"/>
                                        </p:tgtEl>
                                        <p:attrNameLst>
                                          <p:attrName>ppt_y</p:attrName>
                                        </p:attrNameLst>
                                      </p:cBhvr>
                                      <p:tavLst>
                                        <p:tav tm="0">
                                          <p:val>
                                            <p:strVal val="#ppt_y"/>
                                          </p:val>
                                        </p:tav>
                                        <p:tav tm="100000">
                                          <p:val>
                                            <p:strVal val="#ppt_y"/>
                                          </p:val>
                                        </p:tav>
                                      </p:tavLst>
                                    </p:anim>
                                  </p:childTnLst>
                                </p:cTn>
                              </p:par>
                              <p:par>
                                <p:cTn id="19" presetID="53" presetClass="entr" presetSubtype="16" fill="hold" nodeType="withEffect">
                                  <p:stCondLst>
                                    <p:cond delay="800"/>
                                  </p:stCondLst>
                                  <p:childTnLst>
                                    <p:set>
                                      <p:cBhvr>
                                        <p:cTn id="20" dur="1" fill="hold">
                                          <p:stCondLst>
                                            <p:cond delay="0"/>
                                          </p:stCondLst>
                                        </p:cTn>
                                        <p:tgtEl>
                                          <p:spTgt spid="15"/>
                                        </p:tgtEl>
                                        <p:attrNameLst>
                                          <p:attrName>style.visibility</p:attrName>
                                        </p:attrNameLst>
                                      </p:cBhvr>
                                      <p:to>
                                        <p:strVal val="visible"/>
                                      </p:to>
                                    </p:set>
                                    <p:anim calcmode="lin" valueType="num">
                                      <p:cBhvr>
                                        <p:cTn id="21" dur="1000" fill="hold"/>
                                        <p:tgtEl>
                                          <p:spTgt spid="15"/>
                                        </p:tgtEl>
                                        <p:attrNameLst>
                                          <p:attrName>ppt_w</p:attrName>
                                        </p:attrNameLst>
                                      </p:cBhvr>
                                      <p:tavLst>
                                        <p:tav tm="0">
                                          <p:val>
                                            <p:fltVal val="0"/>
                                          </p:val>
                                        </p:tav>
                                        <p:tav tm="100000">
                                          <p:val>
                                            <p:strVal val="#ppt_w"/>
                                          </p:val>
                                        </p:tav>
                                      </p:tavLst>
                                    </p:anim>
                                    <p:anim calcmode="lin" valueType="num">
                                      <p:cBhvr>
                                        <p:cTn id="22" dur="1000" fill="hold"/>
                                        <p:tgtEl>
                                          <p:spTgt spid="15"/>
                                        </p:tgtEl>
                                        <p:attrNameLst>
                                          <p:attrName>ppt_h</p:attrName>
                                        </p:attrNameLst>
                                      </p:cBhvr>
                                      <p:tavLst>
                                        <p:tav tm="0">
                                          <p:val>
                                            <p:fltVal val="0"/>
                                          </p:val>
                                        </p:tav>
                                        <p:tav tm="100000">
                                          <p:val>
                                            <p:strVal val="#ppt_h"/>
                                          </p:val>
                                        </p:tav>
                                      </p:tavLst>
                                    </p:anim>
                                    <p:animEffect transition="in" filter="fade">
                                      <p:cBhvr>
                                        <p:cTn id="23" dur="1000"/>
                                        <p:tgtEl>
                                          <p:spTgt spid="15"/>
                                        </p:tgtEl>
                                      </p:cBhvr>
                                    </p:animEffect>
                                  </p:childTnLst>
                                </p:cTn>
                              </p:par>
                              <p:par>
                                <p:cTn id="24" presetID="53" presetClass="entr" presetSubtype="16" fill="hold" nodeType="withEffect">
                                  <p:stCondLst>
                                    <p:cond delay="1000"/>
                                  </p:stCondLst>
                                  <p:childTnLst>
                                    <p:set>
                                      <p:cBhvr>
                                        <p:cTn id="25" dur="1" fill="hold">
                                          <p:stCondLst>
                                            <p:cond delay="0"/>
                                          </p:stCondLst>
                                        </p:cTn>
                                        <p:tgtEl>
                                          <p:spTgt spid="13"/>
                                        </p:tgtEl>
                                        <p:attrNameLst>
                                          <p:attrName>style.visibility</p:attrName>
                                        </p:attrNameLst>
                                      </p:cBhvr>
                                      <p:to>
                                        <p:strVal val="visible"/>
                                      </p:to>
                                    </p:set>
                                    <p:anim calcmode="lin" valueType="num">
                                      <p:cBhvr>
                                        <p:cTn id="26" dur="1000" fill="hold"/>
                                        <p:tgtEl>
                                          <p:spTgt spid="13"/>
                                        </p:tgtEl>
                                        <p:attrNameLst>
                                          <p:attrName>ppt_w</p:attrName>
                                        </p:attrNameLst>
                                      </p:cBhvr>
                                      <p:tavLst>
                                        <p:tav tm="0">
                                          <p:val>
                                            <p:fltVal val="0"/>
                                          </p:val>
                                        </p:tav>
                                        <p:tav tm="100000">
                                          <p:val>
                                            <p:strVal val="#ppt_w"/>
                                          </p:val>
                                        </p:tav>
                                      </p:tavLst>
                                    </p:anim>
                                    <p:anim calcmode="lin" valueType="num">
                                      <p:cBhvr>
                                        <p:cTn id="27" dur="1000" fill="hold"/>
                                        <p:tgtEl>
                                          <p:spTgt spid="13"/>
                                        </p:tgtEl>
                                        <p:attrNameLst>
                                          <p:attrName>ppt_h</p:attrName>
                                        </p:attrNameLst>
                                      </p:cBhvr>
                                      <p:tavLst>
                                        <p:tav tm="0">
                                          <p:val>
                                            <p:fltVal val="0"/>
                                          </p:val>
                                        </p:tav>
                                        <p:tav tm="100000">
                                          <p:val>
                                            <p:strVal val="#ppt_h"/>
                                          </p:val>
                                        </p:tav>
                                      </p:tavLst>
                                    </p:anim>
                                    <p:animEffect transition="in" filter="fade">
                                      <p:cBhvr>
                                        <p:cTn id="28" dur="1000"/>
                                        <p:tgtEl>
                                          <p:spTgt spid="13"/>
                                        </p:tgtEl>
                                      </p:cBhvr>
                                    </p:animEffect>
                                  </p:childTnLst>
                                </p:cTn>
                              </p:par>
                              <p:par>
                                <p:cTn id="29" presetID="53" presetClass="entr" presetSubtype="16" fill="hold" nodeType="withEffect">
                                  <p:stCondLst>
                                    <p:cond delay="1200"/>
                                  </p:stCondLst>
                                  <p:childTnLst>
                                    <p:set>
                                      <p:cBhvr>
                                        <p:cTn id="30" dur="1" fill="hold">
                                          <p:stCondLst>
                                            <p:cond delay="0"/>
                                          </p:stCondLst>
                                        </p:cTn>
                                        <p:tgtEl>
                                          <p:spTgt spid="9"/>
                                        </p:tgtEl>
                                        <p:attrNameLst>
                                          <p:attrName>style.visibility</p:attrName>
                                        </p:attrNameLst>
                                      </p:cBhvr>
                                      <p:to>
                                        <p:strVal val="visible"/>
                                      </p:to>
                                    </p:set>
                                    <p:anim calcmode="lin" valueType="num">
                                      <p:cBhvr>
                                        <p:cTn id="31" dur="1000" fill="hold"/>
                                        <p:tgtEl>
                                          <p:spTgt spid="9"/>
                                        </p:tgtEl>
                                        <p:attrNameLst>
                                          <p:attrName>ppt_w</p:attrName>
                                        </p:attrNameLst>
                                      </p:cBhvr>
                                      <p:tavLst>
                                        <p:tav tm="0">
                                          <p:val>
                                            <p:fltVal val="0"/>
                                          </p:val>
                                        </p:tav>
                                        <p:tav tm="100000">
                                          <p:val>
                                            <p:strVal val="#ppt_w"/>
                                          </p:val>
                                        </p:tav>
                                      </p:tavLst>
                                    </p:anim>
                                    <p:anim calcmode="lin" valueType="num">
                                      <p:cBhvr>
                                        <p:cTn id="32" dur="1000" fill="hold"/>
                                        <p:tgtEl>
                                          <p:spTgt spid="9"/>
                                        </p:tgtEl>
                                        <p:attrNameLst>
                                          <p:attrName>ppt_h</p:attrName>
                                        </p:attrNameLst>
                                      </p:cBhvr>
                                      <p:tavLst>
                                        <p:tav tm="0">
                                          <p:val>
                                            <p:fltVal val="0"/>
                                          </p:val>
                                        </p:tav>
                                        <p:tav tm="100000">
                                          <p:val>
                                            <p:strVal val="#ppt_h"/>
                                          </p:val>
                                        </p:tav>
                                      </p:tavLst>
                                    </p:anim>
                                    <p:animEffect transition="in" filter="fade">
                                      <p:cBhvr>
                                        <p:cTn id="33" dur="1000"/>
                                        <p:tgtEl>
                                          <p:spTgt spid="9"/>
                                        </p:tgtEl>
                                      </p:cBhvr>
                                    </p:animEffect>
                                  </p:childTnLst>
                                </p:cTn>
                              </p:par>
                              <p:par>
                                <p:cTn id="34" presetID="22" presetClass="entr" presetSubtype="4" fill="hold" grpId="0" nodeType="withEffect">
                                  <p:stCondLst>
                                    <p:cond delay="1300"/>
                                  </p:stCondLst>
                                  <p:childTnLst>
                                    <p:set>
                                      <p:cBhvr>
                                        <p:cTn id="35" dur="1" fill="hold">
                                          <p:stCondLst>
                                            <p:cond delay="0"/>
                                          </p:stCondLst>
                                        </p:cTn>
                                        <p:tgtEl>
                                          <p:spTgt spid="22"/>
                                        </p:tgtEl>
                                        <p:attrNameLst>
                                          <p:attrName>style.visibility</p:attrName>
                                        </p:attrNameLst>
                                      </p:cBhvr>
                                      <p:to>
                                        <p:strVal val="visible"/>
                                      </p:to>
                                    </p:set>
                                    <p:animEffect transition="in" filter="wipe(down)">
                                      <p:cBhvr>
                                        <p:cTn id="36" dur="1000"/>
                                        <p:tgtEl>
                                          <p:spTgt spid="22"/>
                                        </p:tgtEl>
                                      </p:cBhvr>
                                    </p:animEffect>
                                  </p:childTnLst>
                                </p:cTn>
                              </p:par>
                              <p:par>
                                <p:cTn id="37" presetID="22" presetClass="entr" presetSubtype="4" fill="hold" grpId="0" nodeType="withEffect">
                                  <p:stCondLst>
                                    <p:cond delay="1400"/>
                                  </p:stCondLst>
                                  <p:childTnLst>
                                    <p:set>
                                      <p:cBhvr>
                                        <p:cTn id="38" dur="1" fill="hold">
                                          <p:stCondLst>
                                            <p:cond delay="0"/>
                                          </p:stCondLst>
                                        </p:cTn>
                                        <p:tgtEl>
                                          <p:spTgt spid="23"/>
                                        </p:tgtEl>
                                        <p:attrNameLst>
                                          <p:attrName>style.visibility</p:attrName>
                                        </p:attrNameLst>
                                      </p:cBhvr>
                                      <p:to>
                                        <p:strVal val="visible"/>
                                      </p:to>
                                    </p:set>
                                    <p:animEffect transition="in" filter="wipe(down)">
                                      <p:cBhvr>
                                        <p:cTn id="39" dur="1000"/>
                                        <p:tgtEl>
                                          <p:spTgt spid="23"/>
                                        </p:tgtEl>
                                      </p:cBhvr>
                                    </p:animEffect>
                                  </p:childTnLst>
                                </p:cTn>
                              </p:par>
                              <p:par>
                                <p:cTn id="40" presetID="22" presetClass="entr" presetSubtype="4" fill="hold" grpId="0" nodeType="withEffect">
                                  <p:stCondLst>
                                    <p:cond delay="1500"/>
                                  </p:stCondLst>
                                  <p:childTnLst>
                                    <p:set>
                                      <p:cBhvr>
                                        <p:cTn id="41" dur="1" fill="hold">
                                          <p:stCondLst>
                                            <p:cond delay="0"/>
                                          </p:stCondLst>
                                        </p:cTn>
                                        <p:tgtEl>
                                          <p:spTgt spid="24"/>
                                        </p:tgtEl>
                                        <p:attrNameLst>
                                          <p:attrName>style.visibility</p:attrName>
                                        </p:attrNameLst>
                                      </p:cBhvr>
                                      <p:to>
                                        <p:strVal val="visible"/>
                                      </p:to>
                                    </p:set>
                                    <p:animEffect transition="in" filter="wipe(down)">
                                      <p:cBhvr>
                                        <p:cTn id="42"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22" grpId="0" animBg="1"/>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2">
            <a:grayscl/>
            <a:alphaModFix amt="5000"/>
            <a:extLst>
              <a:ext uri="{28A0092B-C50C-407E-A947-70E740481C1C}">
                <a14:useLocalDpi xmlns:a14="http://schemas.microsoft.com/office/drawing/2010/main" val="0"/>
              </a:ext>
            </a:extLst>
          </a:blip>
          <a:stretch>
            <a:fillRect/>
          </a:stretch>
        </p:blipFill>
        <p:spPr>
          <a:xfrm>
            <a:off x="7477385" y="4970364"/>
            <a:ext cx="3278067" cy="2780503"/>
          </a:xfrm>
          <a:prstGeom prst="rect">
            <a:avLst/>
          </a:prstGeom>
        </p:spPr>
      </p:pic>
      <p:sp>
        <p:nvSpPr>
          <p:cNvPr id="2" name="CuadroTexto 1">
            <a:extLst>
              <a:ext uri="{FF2B5EF4-FFF2-40B4-BE49-F238E27FC236}">
                <a16:creationId xmlns:a16="http://schemas.microsoft.com/office/drawing/2014/main" id="{1017713D-0228-8D28-37CE-DDCD0C4D116A}"/>
              </a:ext>
            </a:extLst>
          </p:cNvPr>
          <p:cNvSpPr txBox="1"/>
          <p:nvPr/>
        </p:nvSpPr>
        <p:spPr>
          <a:xfrm>
            <a:off x="871506" y="1281947"/>
            <a:ext cx="383713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Track</a:t>
            </a: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 and Trace</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386885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6519433"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3"/>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
        <p:nvSpPr>
          <p:cNvPr id="43" name="CuadroTexto 42">
            <a:extLst>
              <a:ext uri="{FF2B5EF4-FFF2-40B4-BE49-F238E27FC236}">
                <a16:creationId xmlns:a16="http://schemas.microsoft.com/office/drawing/2014/main" id="{71AFAA80-5F5B-F923-CD72-3B40E8A665AE}"/>
              </a:ext>
            </a:extLst>
          </p:cNvPr>
          <p:cNvSpPr txBox="1"/>
          <p:nvPr/>
        </p:nvSpPr>
        <p:spPr>
          <a:xfrm>
            <a:off x="871506" y="2174258"/>
            <a:ext cx="4819192" cy="117416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provides Track and Trace solution that is built on a </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hlinkClick r:id="rId4">
                  <a:extLst>
                    <a:ext uri="{A12FA001-AC4F-418D-AE19-62706E023703}">
                      <ahyp:hlinkClr xmlns:ahyp="http://schemas.microsoft.com/office/drawing/2018/hyperlinkcolor" val="tx"/>
                    </a:ext>
                  </a:extLst>
                </a:hlinkClick>
              </a:rPr>
              <a:t>state-of-the-art serialization solution</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This technology is a huge protection against counterfeiting and diversion of your products and empowers the control of your supply chain.</a:t>
            </a:r>
          </a:p>
        </p:txBody>
      </p:sp>
      <p:sp>
        <p:nvSpPr>
          <p:cNvPr id="44" name="CuadroTexto 43">
            <a:extLst>
              <a:ext uri="{FF2B5EF4-FFF2-40B4-BE49-F238E27FC236}">
                <a16:creationId xmlns:a16="http://schemas.microsoft.com/office/drawing/2014/main" id="{0B8D9EF1-284A-D83E-3F2F-69E8C5F3FEA8}"/>
              </a:ext>
            </a:extLst>
          </p:cNvPr>
          <p:cNvSpPr txBox="1"/>
          <p:nvPr/>
        </p:nvSpPr>
        <p:spPr>
          <a:xfrm>
            <a:off x="871506" y="3613052"/>
            <a:ext cx="4819192" cy="1451166"/>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provides Level 1 to 5 serialization, aggregation, traceability, and digital e-fingerprinting solutions through its partnership with </a:t>
            </a:r>
            <a:r>
              <a:rPr kumimoji="0" lang="en-US" sz="1200" b="0" i="0" u="none" strike="noStrike" kern="1200" cap="none" spc="0" normalizeH="0" baseline="0" noProof="0" dirty="0" err="1">
                <a:ln>
                  <a:noFill/>
                </a:ln>
                <a:solidFill>
                  <a:srgbClr val="02AEF1"/>
                </a:solidFill>
                <a:effectLst/>
                <a:uLnTx/>
                <a:uFillTx/>
                <a:latin typeface="Poppins Light" panose="00000400000000000000" pitchFamily="2" charset="0"/>
                <a:ea typeface="+mn-ea"/>
                <a:cs typeface="Poppins Light" panose="00000400000000000000" pitchFamily="2" charset="0"/>
                <a:hlinkClick r:id="rId5">
                  <a:extLst>
                    <a:ext uri="{A12FA001-AC4F-418D-AE19-62706E023703}">
                      <ahyp:hlinkClr xmlns:ahyp="http://schemas.microsoft.com/office/drawing/2018/hyperlinkcolor" val="tx"/>
                    </a:ext>
                  </a:extLst>
                </a:hlinkClick>
              </a:rPr>
              <a:t>Systech</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hlinkClick r:id="rId5">
                  <a:extLst>
                    <a:ext uri="{A12FA001-AC4F-418D-AE19-62706E023703}">
                      <ahyp:hlinkClr xmlns:ahyp="http://schemas.microsoft.com/office/drawing/2018/hyperlinkcolor" val="tx"/>
                    </a:ext>
                  </a:extLst>
                </a:hlinkClick>
              </a:rPr>
              <a:t> One Solutions Inc.</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USA, that is powered by </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hlinkClick r:id="rId6">
                  <a:extLst>
                    <a:ext uri="{A12FA001-AC4F-418D-AE19-62706E023703}">
                      <ahyp:hlinkClr xmlns:ahyp="http://schemas.microsoft.com/office/drawing/2018/hyperlinkcolor" val="tx"/>
                    </a:ext>
                  </a:extLst>
                </a:hlinkClick>
              </a:rPr>
              <a:t>Blue Bites</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rPr>
              <a:t> </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technologies. The solution is a premium offering of integrated hardware and software.</a:t>
            </a:r>
          </a:p>
        </p:txBody>
      </p:sp>
      <p:sp>
        <p:nvSpPr>
          <p:cNvPr id="1215" name="Rectángulo: una sola esquina redondeada 1214">
            <a:extLst>
              <a:ext uri="{FF2B5EF4-FFF2-40B4-BE49-F238E27FC236}">
                <a16:creationId xmlns:a16="http://schemas.microsoft.com/office/drawing/2014/main" id="{21E1EB2C-510D-6DE6-FDF4-FEFBD902D5AE}"/>
              </a:ext>
            </a:extLst>
          </p:cNvPr>
          <p:cNvSpPr/>
          <p:nvPr/>
        </p:nvSpPr>
        <p:spPr>
          <a:xfrm flipV="1">
            <a:off x="0" y="-2"/>
            <a:ext cx="594048" cy="6420883"/>
          </a:xfrm>
          <a:prstGeom prst="round1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18" name="CuadroTexto 1217">
            <a:extLst>
              <a:ext uri="{FF2B5EF4-FFF2-40B4-BE49-F238E27FC236}">
                <a16:creationId xmlns:a16="http://schemas.microsoft.com/office/drawing/2014/main" id="{CED94F6D-AF81-B6D4-DD3A-9490007813B0}"/>
              </a:ext>
            </a:extLst>
          </p:cNvPr>
          <p:cNvSpPr txBox="1"/>
          <p:nvPr/>
        </p:nvSpPr>
        <p:spPr>
          <a:xfrm rot="16200000">
            <a:off x="-2318586" y="3361349"/>
            <a:ext cx="52606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300" normalizeH="0" baseline="0" noProof="0" dirty="0">
                <a:ln>
                  <a:noFill/>
                </a:ln>
                <a:solidFill>
                  <a:srgbClr val="C00000">
                    <a:alpha val="40000"/>
                  </a:srgbClr>
                </a:solidFill>
                <a:effectLst/>
                <a:uLnTx/>
                <a:uFillTx/>
                <a:latin typeface="Oswald SemiBold" pitchFamily="2" charset="0"/>
                <a:ea typeface="+mn-ea"/>
                <a:cs typeface="Poppins Light" panose="00000400000000000000" pitchFamily="2" charset="0"/>
              </a:rPr>
              <a:t>Digital Transformation</a:t>
            </a:r>
          </a:p>
        </p:txBody>
      </p:sp>
      <p:sp>
        <p:nvSpPr>
          <p:cNvPr id="1219" name="Forma libre: forma 1218">
            <a:extLst>
              <a:ext uri="{FF2B5EF4-FFF2-40B4-BE49-F238E27FC236}">
                <a16:creationId xmlns:a16="http://schemas.microsoft.com/office/drawing/2014/main" id="{76EA40F3-021F-B5C8-61A3-CB7B7A8EC0DF}"/>
              </a:ext>
            </a:extLst>
          </p:cNvPr>
          <p:cNvSpPr/>
          <p:nvPr/>
        </p:nvSpPr>
        <p:spPr>
          <a:xfrm rot="5400000">
            <a:off x="126159" y="596527"/>
            <a:ext cx="371154" cy="371152"/>
          </a:xfrm>
          <a:custGeom>
            <a:avLst/>
            <a:gdLst>
              <a:gd name="connsiteX0" fmla="*/ 4174352 w 6857987"/>
              <a:gd name="connsiteY0" fmla="*/ 4738481 h 6857960"/>
              <a:gd name="connsiteX1" fmla="*/ 4317226 w 6857987"/>
              <a:gd name="connsiteY1" fmla="*/ 4881356 h 6857960"/>
              <a:gd name="connsiteX2" fmla="*/ 4460101 w 6857987"/>
              <a:gd name="connsiteY2" fmla="*/ 4738481 h 6857960"/>
              <a:gd name="connsiteX3" fmla="*/ 4317226 w 6857987"/>
              <a:gd name="connsiteY3" fmla="*/ 4595606 h 6857960"/>
              <a:gd name="connsiteX4" fmla="*/ 4174352 w 6857987"/>
              <a:gd name="connsiteY4" fmla="*/ 4738481 h 6857960"/>
              <a:gd name="connsiteX5" fmla="*/ 3540900 w 6857987"/>
              <a:gd name="connsiteY5" fmla="*/ 2210667 h 6857960"/>
              <a:gd name="connsiteX6" fmla="*/ 3683775 w 6857987"/>
              <a:gd name="connsiteY6" fmla="*/ 2353542 h 6857960"/>
              <a:gd name="connsiteX7" fmla="*/ 3826650 w 6857987"/>
              <a:gd name="connsiteY7" fmla="*/ 2210667 h 6857960"/>
              <a:gd name="connsiteX8" fmla="*/ 3683775 w 6857987"/>
              <a:gd name="connsiteY8" fmla="*/ 2067792 h 6857960"/>
              <a:gd name="connsiteX9" fmla="*/ 3540900 w 6857987"/>
              <a:gd name="connsiteY9" fmla="*/ 2210667 h 6857960"/>
              <a:gd name="connsiteX10" fmla="*/ 2718522 w 6857987"/>
              <a:gd name="connsiteY10" fmla="*/ 3483485 h 6857960"/>
              <a:gd name="connsiteX11" fmla="*/ 2861397 w 6857987"/>
              <a:gd name="connsiteY11" fmla="*/ 3626360 h 6857960"/>
              <a:gd name="connsiteX12" fmla="*/ 3004272 w 6857987"/>
              <a:gd name="connsiteY12" fmla="*/ 3483485 h 6857960"/>
              <a:gd name="connsiteX13" fmla="*/ 2861397 w 6857987"/>
              <a:gd name="connsiteY13" fmla="*/ 3340609 h 6857960"/>
              <a:gd name="connsiteX14" fmla="*/ 2718522 w 6857987"/>
              <a:gd name="connsiteY14" fmla="*/ 3483485 h 6857960"/>
              <a:gd name="connsiteX15" fmla="*/ 1277354 w 6857987"/>
              <a:gd name="connsiteY15" fmla="*/ 3428960 h 6857960"/>
              <a:gd name="connsiteX16" fmla="*/ 3429013 w 6857987"/>
              <a:gd name="connsiteY16" fmla="*/ 5580618 h 6857960"/>
              <a:gd name="connsiteX17" fmla="*/ 5411315 w 6857987"/>
              <a:gd name="connsiteY17" fmla="*/ 4265684 h 6857960"/>
              <a:gd name="connsiteX18" fmla="*/ 5454484 w 6857987"/>
              <a:gd name="connsiteY18" fmla="*/ 4147964 h 6857960"/>
              <a:gd name="connsiteX19" fmla="*/ 4474462 w 6857987"/>
              <a:gd name="connsiteY19" fmla="*/ 4147964 h 6857960"/>
              <a:gd name="connsiteX20" fmla="*/ 4474462 w 6857987"/>
              <a:gd name="connsiteY20" fmla="*/ 4147963 h 6857960"/>
              <a:gd name="connsiteX21" fmla="*/ 4460102 w 6857987"/>
              <a:gd name="connsiteY21" fmla="*/ 4147963 h 6857960"/>
              <a:gd name="connsiteX22" fmla="*/ 4460102 w 6857987"/>
              <a:gd name="connsiteY22" fmla="*/ 4269822 h 6857960"/>
              <a:gd name="connsiteX23" fmla="*/ 4460101 w 6857987"/>
              <a:gd name="connsiteY23" fmla="*/ 4269822 h 6857960"/>
              <a:gd name="connsiteX24" fmla="*/ 4460101 w 6857987"/>
              <a:gd name="connsiteY24" fmla="*/ 4334245 h 6857960"/>
              <a:gd name="connsiteX25" fmla="*/ 4745851 w 6857987"/>
              <a:gd name="connsiteY25" fmla="*/ 4738481 h 6857960"/>
              <a:gd name="connsiteX26" fmla="*/ 4317226 w 6857987"/>
              <a:gd name="connsiteY26" fmla="*/ 5167106 h 6857960"/>
              <a:gd name="connsiteX27" fmla="*/ 3888602 w 6857987"/>
              <a:gd name="connsiteY27" fmla="*/ 4738481 h 6857960"/>
              <a:gd name="connsiteX28" fmla="*/ 4174352 w 6857987"/>
              <a:gd name="connsiteY28" fmla="*/ 4334245 h 6857960"/>
              <a:gd name="connsiteX29" fmla="*/ 4174352 w 6857987"/>
              <a:gd name="connsiteY29" fmla="*/ 4069219 h 6857960"/>
              <a:gd name="connsiteX30" fmla="*/ 4174353 w 6857987"/>
              <a:gd name="connsiteY30" fmla="*/ 4069219 h 6857960"/>
              <a:gd name="connsiteX31" fmla="*/ 4174353 w 6857987"/>
              <a:gd name="connsiteY31" fmla="*/ 4005088 h 6857960"/>
              <a:gd name="connsiteX32" fmla="*/ 4317227 w 6857987"/>
              <a:gd name="connsiteY32" fmla="*/ 3862213 h 6857960"/>
              <a:gd name="connsiteX33" fmla="*/ 4931289 w 6857987"/>
              <a:gd name="connsiteY33" fmla="*/ 3862213 h 6857960"/>
              <a:gd name="connsiteX34" fmla="*/ 4931289 w 6857987"/>
              <a:gd name="connsiteY34" fmla="*/ 3862214 h 6857960"/>
              <a:gd name="connsiteX35" fmla="*/ 5536835 w 6857987"/>
              <a:gd name="connsiteY35" fmla="*/ 3862214 h 6857960"/>
              <a:gd name="connsiteX36" fmla="*/ 5536878 w 6857987"/>
              <a:gd name="connsiteY36" fmla="*/ 3862050 h 6857960"/>
              <a:gd name="connsiteX37" fmla="*/ 5569540 w 6857987"/>
              <a:gd name="connsiteY37" fmla="*/ 3648642 h 6857960"/>
              <a:gd name="connsiteX38" fmla="*/ 5570669 w 6857987"/>
              <a:gd name="connsiteY38" fmla="*/ 3626361 h 6857960"/>
              <a:gd name="connsiteX39" fmla="*/ 3345182 w 6857987"/>
              <a:gd name="connsiteY39" fmla="*/ 3626361 h 6857960"/>
              <a:gd name="connsiteX40" fmla="*/ 3345182 w 6857987"/>
              <a:gd name="connsiteY40" fmla="*/ 3626360 h 6857960"/>
              <a:gd name="connsiteX41" fmla="*/ 3265633 w 6857987"/>
              <a:gd name="connsiteY41" fmla="*/ 3626360 h 6857960"/>
              <a:gd name="connsiteX42" fmla="*/ 2861397 w 6857987"/>
              <a:gd name="connsiteY42" fmla="*/ 3912110 h 6857960"/>
              <a:gd name="connsiteX43" fmla="*/ 2432772 w 6857987"/>
              <a:gd name="connsiteY43" fmla="*/ 3483485 h 6857960"/>
              <a:gd name="connsiteX44" fmla="*/ 2861397 w 6857987"/>
              <a:gd name="connsiteY44" fmla="*/ 3054859 h 6857960"/>
              <a:gd name="connsiteX45" fmla="*/ 3265633 w 6857987"/>
              <a:gd name="connsiteY45" fmla="*/ 3340609 h 6857960"/>
              <a:gd name="connsiteX46" fmla="*/ 3530660 w 6857987"/>
              <a:gd name="connsiteY46" fmla="*/ 3340609 h 6857960"/>
              <a:gd name="connsiteX47" fmla="*/ 3530660 w 6857987"/>
              <a:gd name="connsiteY47" fmla="*/ 3340611 h 6857960"/>
              <a:gd name="connsiteX48" fmla="*/ 5576193 w 6857987"/>
              <a:gd name="connsiteY48" fmla="*/ 3340611 h 6857960"/>
              <a:gd name="connsiteX49" fmla="*/ 5569540 w 6857987"/>
              <a:gd name="connsiteY49" fmla="*/ 3209277 h 6857960"/>
              <a:gd name="connsiteX50" fmla="*/ 5550815 w 6857987"/>
              <a:gd name="connsiteY50" fmla="*/ 3086935 h 6857960"/>
              <a:gd name="connsiteX51" fmla="*/ 4297837 w 6857987"/>
              <a:gd name="connsiteY51" fmla="*/ 3086935 h 6857960"/>
              <a:gd name="connsiteX52" fmla="*/ 4297837 w 6857987"/>
              <a:gd name="connsiteY52" fmla="*/ 3086936 h 6857960"/>
              <a:gd name="connsiteX53" fmla="*/ 3683776 w 6857987"/>
              <a:gd name="connsiteY53" fmla="*/ 3086936 h 6857960"/>
              <a:gd name="connsiteX54" fmla="*/ 3540901 w 6857987"/>
              <a:gd name="connsiteY54" fmla="*/ 2944060 h 6857960"/>
              <a:gd name="connsiteX55" fmla="*/ 3540901 w 6857987"/>
              <a:gd name="connsiteY55" fmla="*/ 2879929 h 6857960"/>
              <a:gd name="connsiteX56" fmla="*/ 3540900 w 6857987"/>
              <a:gd name="connsiteY56" fmla="*/ 2879929 h 6857960"/>
              <a:gd name="connsiteX57" fmla="*/ 3540900 w 6857987"/>
              <a:gd name="connsiteY57" fmla="*/ 2614903 h 6857960"/>
              <a:gd name="connsiteX58" fmla="*/ 3255150 w 6857987"/>
              <a:gd name="connsiteY58" fmla="*/ 2210667 h 6857960"/>
              <a:gd name="connsiteX59" fmla="*/ 3683775 w 6857987"/>
              <a:gd name="connsiteY59" fmla="*/ 1782042 h 6857960"/>
              <a:gd name="connsiteX60" fmla="*/ 4112400 w 6857987"/>
              <a:gd name="connsiteY60" fmla="*/ 2210667 h 6857960"/>
              <a:gd name="connsiteX61" fmla="*/ 3826650 w 6857987"/>
              <a:gd name="connsiteY61" fmla="*/ 2614903 h 6857960"/>
              <a:gd name="connsiteX62" fmla="*/ 3826650 w 6857987"/>
              <a:gd name="connsiteY62" fmla="*/ 2679326 h 6857960"/>
              <a:gd name="connsiteX63" fmla="*/ 3826651 w 6857987"/>
              <a:gd name="connsiteY63" fmla="*/ 2679326 h 6857960"/>
              <a:gd name="connsiteX64" fmla="*/ 3826651 w 6857987"/>
              <a:gd name="connsiteY64" fmla="*/ 2801185 h 6857960"/>
              <a:gd name="connsiteX65" fmla="*/ 3841010 w 6857987"/>
              <a:gd name="connsiteY65" fmla="*/ 2801185 h 6857960"/>
              <a:gd name="connsiteX66" fmla="*/ 3841010 w 6857987"/>
              <a:gd name="connsiteY66" fmla="*/ 2801184 h 6857960"/>
              <a:gd name="connsiteX67" fmla="*/ 5486700 w 6857987"/>
              <a:gd name="connsiteY67" fmla="*/ 2801184 h 6857960"/>
              <a:gd name="connsiteX68" fmla="*/ 5483773 w 6857987"/>
              <a:gd name="connsiteY68" fmla="*/ 2789826 h 6857960"/>
              <a:gd name="connsiteX69" fmla="*/ 3429013 w 6857987"/>
              <a:gd name="connsiteY69" fmla="*/ 1277302 h 6857960"/>
              <a:gd name="connsiteX70" fmla="*/ 1277354 w 6857987"/>
              <a:gd name="connsiteY70" fmla="*/ 3428960 h 6857960"/>
              <a:gd name="connsiteX71" fmla="*/ 1004120 w 6857987"/>
              <a:gd name="connsiteY71" fmla="*/ 3428960 h 6857960"/>
              <a:gd name="connsiteX72" fmla="*/ 3429013 w 6857987"/>
              <a:gd name="connsiteY72" fmla="*/ 1004067 h 6857960"/>
              <a:gd name="connsiteX73" fmla="*/ 5853904 w 6857987"/>
              <a:gd name="connsiteY73" fmla="*/ 3428960 h 6857960"/>
              <a:gd name="connsiteX74" fmla="*/ 3429012 w 6857987"/>
              <a:gd name="connsiteY74" fmla="*/ 5853853 h 6857960"/>
              <a:gd name="connsiteX75" fmla="*/ 1004120 w 6857987"/>
              <a:gd name="connsiteY75" fmla="*/ 3428960 h 6857960"/>
              <a:gd name="connsiteX76" fmla="*/ 273235 w 6857987"/>
              <a:gd name="connsiteY76" fmla="*/ 3621131 h 6857960"/>
              <a:gd name="connsiteX77" fmla="*/ 662694 w 6857987"/>
              <a:gd name="connsiteY77" fmla="*/ 4042269 h 6857960"/>
              <a:gd name="connsiteX78" fmla="*/ 784089 w 6857987"/>
              <a:gd name="connsiteY78" fmla="*/ 4142955 h 6857960"/>
              <a:gd name="connsiteX79" fmla="*/ 1053909 w 6857987"/>
              <a:gd name="connsiteY79" fmla="*/ 4794264 h 6857960"/>
              <a:gd name="connsiteX80" fmla="*/ 1039295 w 6857987"/>
              <a:gd name="connsiteY80" fmla="*/ 4951342 h 6857960"/>
              <a:gd name="connsiteX81" fmla="*/ 1061677 w 6857987"/>
              <a:gd name="connsiteY81" fmla="*/ 5524561 h 6857960"/>
              <a:gd name="connsiteX82" fmla="*/ 1333412 w 6857987"/>
              <a:gd name="connsiteY82" fmla="*/ 5796323 h 6857960"/>
              <a:gd name="connsiteX83" fmla="*/ 1906618 w 6857987"/>
              <a:gd name="connsiteY83" fmla="*/ 5818692 h 6857960"/>
              <a:gd name="connsiteX84" fmla="*/ 2063696 w 6857987"/>
              <a:gd name="connsiteY84" fmla="*/ 5804078 h 6857960"/>
              <a:gd name="connsiteX85" fmla="*/ 2715018 w 6857987"/>
              <a:gd name="connsiteY85" fmla="*/ 6073884 h 6857960"/>
              <a:gd name="connsiteX86" fmla="*/ 2815705 w 6857987"/>
              <a:gd name="connsiteY86" fmla="*/ 6195279 h 6857960"/>
              <a:gd name="connsiteX87" fmla="*/ 3236856 w 6857987"/>
              <a:gd name="connsiteY87" fmla="*/ 6584738 h 6857960"/>
              <a:gd name="connsiteX88" fmla="*/ 3621185 w 6857987"/>
              <a:gd name="connsiteY88" fmla="*/ 6584738 h 6857960"/>
              <a:gd name="connsiteX89" fmla="*/ 4042309 w 6857987"/>
              <a:gd name="connsiteY89" fmla="*/ 6195279 h 6857960"/>
              <a:gd name="connsiteX90" fmla="*/ 4142996 w 6857987"/>
              <a:gd name="connsiteY90" fmla="*/ 6073884 h 6857960"/>
              <a:gd name="connsiteX91" fmla="*/ 4794318 w 6857987"/>
              <a:gd name="connsiteY91" fmla="*/ 5804078 h 6857960"/>
              <a:gd name="connsiteX92" fmla="*/ 4951396 w 6857987"/>
              <a:gd name="connsiteY92" fmla="*/ 5818692 h 6857960"/>
              <a:gd name="connsiteX93" fmla="*/ 5524601 w 6857987"/>
              <a:gd name="connsiteY93" fmla="*/ 5796323 h 6857960"/>
              <a:gd name="connsiteX94" fmla="*/ 5796363 w 6857987"/>
              <a:gd name="connsiteY94" fmla="*/ 5524561 h 6857960"/>
              <a:gd name="connsiteX95" fmla="*/ 5818759 w 6857987"/>
              <a:gd name="connsiteY95" fmla="*/ 4951342 h 6857960"/>
              <a:gd name="connsiteX96" fmla="*/ 5785889 w 6857987"/>
              <a:gd name="connsiteY96" fmla="*/ 4862429 h 6857960"/>
              <a:gd name="connsiteX97" fmla="*/ 5804132 w 6857987"/>
              <a:gd name="connsiteY97" fmla="*/ 4794264 h 6857960"/>
              <a:gd name="connsiteX98" fmla="*/ 6073938 w 6857987"/>
              <a:gd name="connsiteY98" fmla="*/ 4142955 h 6857960"/>
              <a:gd name="connsiteX99" fmla="*/ 6195333 w 6857987"/>
              <a:gd name="connsiteY99" fmla="*/ 4042269 h 6857960"/>
              <a:gd name="connsiteX100" fmla="*/ 6584792 w 6857987"/>
              <a:gd name="connsiteY100" fmla="*/ 3621118 h 6857960"/>
              <a:gd name="connsiteX101" fmla="*/ 6584792 w 6857987"/>
              <a:gd name="connsiteY101" fmla="*/ 3236789 h 6857960"/>
              <a:gd name="connsiteX102" fmla="*/ 6195319 w 6857987"/>
              <a:gd name="connsiteY102" fmla="*/ 2815638 h 6857960"/>
              <a:gd name="connsiteX103" fmla="*/ 6073925 w 6857987"/>
              <a:gd name="connsiteY103" fmla="*/ 2714951 h 6857960"/>
              <a:gd name="connsiteX104" fmla="*/ 5804119 w 6857987"/>
              <a:gd name="connsiteY104" fmla="*/ 2063642 h 6857960"/>
              <a:gd name="connsiteX105" fmla="*/ 5818732 w 6857987"/>
              <a:gd name="connsiteY105" fmla="*/ 1906564 h 6857960"/>
              <a:gd name="connsiteX106" fmla="*/ 5796336 w 6857987"/>
              <a:gd name="connsiteY106" fmla="*/ 1333359 h 6857960"/>
              <a:gd name="connsiteX107" fmla="*/ 5524575 w 6857987"/>
              <a:gd name="connsiteY107" fmla="*/ 1061583 h 6857960"/>
              <a:gd name="connsiteX108" fmla="*/ 4951369 w 6857987"/>
              <a:gd name="connsiteY108" fmla="*/ 1039215 h 6857960"/>
              <a:gd name="connsiteX109" fmla="*/ 4794291 w 6857987"/>
              <a:gd name="connsiteY109" fmla="*/ 1053828 h 6857960"/>
              <a:gd name="connsiteX110" fmla="*/ 4142982 w 6857987"/>
              <a:gd name="connsiteY110" fmla="*/ 784022 h 6857960"/>
              <a:gd name="connsiteX111" fmla="*/ 4042282 w 6857987"/>
              <a:gd name="connsiteY111" fmla="*/ 662627 h 6857960"/>
              <a:gd name="connsiteX112" fmla="*/ 3621171 w 6857987"/>
              <a:gd name="connsiteY112" fmla="*/ 273182 h 6857960"/>
              <a:gd name="connsiteX113" fmla="*/ 3236842 w 6857987"/>
              <a:gd name="connsiteY113" fmla="*/ 273182 h 6857960"/>
              <a:gd name="connsiteX114" fmla="*/ 2815705 w 6857987"/>
              <a:gd name="connsiteY114" fmla="*/ 662641 h 6857960"/>
              <a:gd name="connsiteX115" fmla="*/ 2715005 w 6857987"/>
              <a:gd name="connsiteY115" fmla="*/ 784035 h 6857960"/>
              <a:gd name="connsiteX116" fmla="*/ 2063696 w 6857987"/>
              <a:gd name="connsiteY116" fmla="*/ 1053841 h 6857960"/>
              <a:gd name="connsiteX117" fmla="*/ 1906618 w 6857987"/>
              <a:gd name="connsiteY117" fmla="*/ 1039228 h 6857960"/>
              <a:gd name="connsiteX118" fmla="*/ 1333412 w 6857987"/>
              <a:gd name="connsiteY118" fmla="*/ 1061610 h 6857960"/>
              <a:gd name="connsiteX119" fmla="*/ 1061651 w 6857987"/>
              <a:gd name="connsiteY119" fmla="*/ 1333372 h 6857960"/>
              <a:gd name="connsiteX120" fmla="*/ 1039268 w 6857987"/>
              <a:gd name="connsiteY120" fmla="*/ 1906577 h 6857960"/>
              <a:gd name="connsiteX121" fmla="*/ 1053882 w 6857987"/>
              <a:gd name="connsiteY121" fmla="*/ 2063655 h 6857960"/>
              <a:gd name="connsiteX122" fmla="*/ 784062 w 6857987"/>
              <a:gd name="connsiteY122" fmla="*/ 2714964 h 6857960"/>
              <a:gd name="connsiteX123" fmla="*/ 662668 w 6857987"/>
              <a:gd name="connsiteY123" fmla="*/ 2815651 h 6857960"/>
              <a:gd name="connsiteX124" fmla="*/ 273235 w 6857987"/>
              <a:gd name="connsiteY124" fmla="*/ 3236802 h 6857960"/>
              <a:gd name="connsiteX125" fmla="*/ 0 w 6857987"/>
              <a:gd name="connsiteY125" fmla="*/ 3621118 h 6857960"/>
              <a:gd name="connsiteX126" fmla="*/ 0 w 6857987"/>
              <a:gd name="connsiteY126" fmla="*/ 3236789 h 6857960"/>
              <a:gd name="connsiteX127" fmla="*/ 544876 w 6857987"/>
              <a:gd name="connsiteY127" fmla="*/ 2557659 h 6857960"/>
              <a:gd name="connsiteX128" fmla="*/ 773548 w 6857987"/>
              <a:gd name="connsiteY128" fmla="*/ 2005644 h 6857960"/>
              <a:gd name="connsiteX129" fmla="*/ 868448 w 6857987"/>
              <a:gd name="connsiteY129" fmla="*/ 1140142 h 6857960"/>
              <a:gd name="connsiteX130" fmla="*/ 1140210 w 6857987"/>
              <a:gd name="connsiteY130" fmla="*/ 868381 h 6857960"/>
              <a:gd name="connsiteX131" fmla="*/ 2005711 w 6857987"/>
              <a:gd name="connsiteY131" fmla="*/ 773467 h 6857960"/>
              <a:gd name="connsiteX132" fmla="*/ 2557726 w 6857987"/>
              <a:gd name="connsiteY132" fmla="*/ 544796 h 6857960"/>
              <a:gd name="connsiteX133" fmla="*/ 3236842 w 6857987"/>
              <a:gd name="connsiteY133" fmla="*/ 0 h 6857960"/>
              <a:gd name="connsiteX134" fmla="*/ 3621171 w 6857987"/>
              <a:gd name="connsiteY134" fmla="*/ 0 h 6857960"/>
              <a:gd name="connsiteX135" fmla="*/ 4300274 w 6857987"/>
              <a:gd name="connsiteY135" fmla="*/ 544849 h 6857960"/>
              <a:gd name="connsiteX136" fmla="*/ 4852290 w 6857987"/>
              <a:gd name="connsiteY136" fmla="*/ 773521 h 6857960"/>
              <a:gd name="connsiteX137" fmla="*/ 5717791 w 6857987"/>
              <a:gd name="connsiteY137" fmla="*/ 868435 h 6857960"/>
              <a:gd name="connsiteX138" fmla="*/ 5989552 w 6857987"/>
              <a:gd name="connsiteY138" fmla="*/ 1140196 h 6857960"/>
              <a:gd name="connsiteX139" fmla="*/ 6084466 w 6857987"/>
              <a:gd name="connsiteY139" fmla="*/ 2005684 h 6857960"/>
              <a:gd name="connsiteX140" fmla="*/ 6313124 w 6857987"/>
              <a:gd name="connsiteY140" fmla="*/ 2557699 h 6857960"/>
              <a:gd name="connsiteX141" fmla="*/ 6857987 w 6857987"/>
              <a:gd name="connsiteY141" fmla="*/ 3236829 h 6857960"/>
              <a:gd name="connsiteX142" fmla="*/ 6857987 w 6857987"/>
              <a:gd name="connsiteY142" fmla="*/ 3621158 h 6857960"/>
              <a:gd name="connsiteX143" fmla="*/ 6313124 w 6857987"/>
              <a:gd name="connsiteY143" fmla="*/ 4300261 h 6857960"/>
              <a:gd name="connsiteX144" fmla="*/ 6084466 w 6857987"/>
              <a:gd name="connsiteY144" fmla="*/ 4852276 h 6857960"/>
              <a:gd name="connsiteX145" fmla="*/ 5989552 w 6857987"/>
              <a:gd name="connsiteY145" fmla="*/ 5717777 h 6857960"/>
              <a:gd name="connsiteX146" fmla="*/ 5717791 w 6857987"/>
              <a:gd name="connsiteY146" fmla="*/ 5989526 h 6857960"/>
              <a:gd name="connsiteX147" fmla="*/ 4852290 w 6857987"/>
              <a:gd name="connsiteY147" fmla="*/ 6084439 h 6857960"/>
              <a:gd name="connsiteX148" fmla="*/ 4300274 w 6857987"/>
              <a:gd name="connsiteY148" fmla="*/ 6313111 h 6857960"/>
              <a:gd name="connsiteX149" fmla="*/ 3621171 w 6857987"/>
              <a:gd name="connsiteY149" fmla="*/ 6857960 h 6857960"/>
              <a:gd name="connsiteX150" fmla="*/ 3236842 w 6857987"/>
              <a:gd name="connsiteY150" fmla="*/ 6857960 h 6857960"/>
              <a:gd name="connsiteX151" fmla="*/ 2557699 w 6857987"/>
              <a:gd name="connsiteY151" fmla="*/ 6313084 h 6857960"/>
              <a:gd name="connsiteX152" fmla="*/ 2005684 w 6857987"/>
              <a:gd name="connsiteY152" fmla="*/ 6084412 h 6857960"/>
              <a:gd name="connsiteX153" fmla="*/ 1140183 w 6857987"/>
              <a:gd name="connsiteY153" fmla="*/ 5989512 h 6857960"/>
              <a:gd name="connsiteX154" fmla="*/ 868421 w 6857987"/>
              <a:gd name="connsiteY154" fmla="*/ 5717737 h 6857960"/>
              <a:gd name="connsiteX155" fmla="*/ 773521 w 6857987"/>
              <a:gd name="connsiteY155" fmla="*/ 4852236 h 6857960"/>
              <a:gd name="connsiteX156" fmla="*/ 544849 w 6857987"/>
              <a:gd name="connsiteY156" fmla="*/ 4300221 h 6857960"/>
              <a:gd name="connsiteX157" fmla="*/ 0 w 6857987"/>
              <a:gd name="connsiteY157" fmla="*/ 3621118 h 6857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857987" h="6857960">
                <a:moveTo>
                  <a:pt x="4174352" y="4738481"/>
                </a:moveTo>
                <a:cubicBezTo>
                  <a:pt x="4174352" y="4817388"/>
                  <a:pt x="4238319" y="4881356"/>
                  <a:pt x="4317226" y="4881356"/>
                </a:cubicBezTo>
                <a:cubicBezTo>
                  <a:pt x="4396133" y="4881356"/>
                  <a:pt x="4460101" y="4817388"/>
                  <a:pt x="4460101" y="4738481"/>
                </a:cubicBezTo>
                <a:cubicBezTo>
                  <a:pt x="4460101" y="4659574"/>
                  <a:pt x="4396133" y="4595606"/>
                  <a:pt x="4317226" y="4595606"/>
                </a:cubicBezTo>
                <a:cubicBezTo>
                  <a:pt x="4238319" y="4595606"/>
                  <a:pt x="4174352" y="4659574"/>
                  <a:pt x="4174352" y="4738481"/>
                </a:cubicBezTo>
                <a:close/>
                <a:moveTo>
                  <a:pt x="3540900" y="2210667"/>
                </a:moveTo>
                <a:cubicBezTo>
                  <a:pt x="3540900" y="2289574"/>
                  <a:pt x="3604868" y="2353542"/>
                  <a:pt x="3683775" y="2353542"/>
                </a:cubicBezTo>
                <a:cubicBezTo>
                  <a:pt x="3762682" y="2353542"/>
                  <a:pt x="3826650" y="2289574"/>
                  <a:pt x="3826650" y="2210667"/>
                </a:cubicBezTo>
                <a:cubicBezTo>
                  <a:pt x="3826650" y="2131760"/>
                  <a:pt x="3762682" y="2067792"/>
                  <a:pt x="3683775" y="2067792"/>
                </a:cubicBezTo>
                <a:cubicBezTo>
                  <a:pt x="3604868" y="2067792"/>
                  <a:pt x="3540900" y="2131760"/>
                  <a:pt x="3540900" y="2210667"/>
                </a:cubicBezTo>
                <a:close/>
                <a:moveTo>
                  <a:pt x="2718522" y="3483485"/>
                </a:moveTo>
                <a:cubicBezTo>
                  <a:pt x="2718522" y="3562392"/>
                  <a:pt x="2782490" y="3626360"/>
                  <a:pt x="2861397" y="3626360"/>
                </a:cubicBezTo>
                <a:cubicBezTo>
                  <a:pt x="2940304" y="3626360"/>
                  <a:pt x="3004272" y="3562392"/>
                  <a:pt x="3004272" y="3483485"/>
                </a:cubicBezTo>
                <a:cubicBezTo>
                  <a:pt x="3004272" y="3404578"/>
                  <a:pt x="2940304" y="3340609"/>
                  <a:pt x="2861397" y="3340609"/>
                </a:cubicBezTo>
                <a:cubicBezTo>
                  <a:pt x="2782490" y="3340609"/>
                  <a:pt x="2718522" y="3404578"/>
                  <a:pt x="2718522" y="3483485"/>
                </a:cubicBezTo>
                <a:close/>
                <a:moveTo>
                  <a:pt x="1277354" y="3428960"/>
                </a:moveTo>
                <a:cubicBezTo>
                  <a:pt x="1277354" y="4615395"/>
                  <a:pt x="2242578" y="5580618"/>
                  <a:pt x="3429013" y="5580618"/>
                </a:cubicBezTo>
                <a:cubicBezTo>
                  <a:pt x="4318837" y="5580618"/>
                  <a:pt x="5084232" y="5037680"/>
                  <a:pt x="5411315" y="4265684"/>
                </a:cubicBezTo>
                <a:lnTo>
                  <a:pt x="5454484" y="4147964"/>
                </a:lnTo>
                <a:lnTo>
                  <a:pt x="4474462" y="4147964"/>
                </a:lnTo>
                <a:lnTo>
                  <a:pt x="4474462" y="4147963"/>
                </a:lnTo>
                <a:lnTo>
                  <a:pt x="4460102" y="4147963"/>
                </a:lnTo>
                <a:lnTo>
                  <a:pt x="4460102" y="4269822"/>
                </a:lnTo>
                <a:lnTo>
                  <a:pt x="4460101" y="4269822"/>
                </a:lnTo>
                <a:lnTo>
                  <a:pt x="4460101" y="4334245"/>
                </a:lnTo>
                <a:cubicBezTo>
                  <a:pt x="4626579" y="4393086"/>
                  <a:pt x="4745851" y="4551855"/>
                  <a:pt x="4745851" y="4738481"/>
                </a:cubicBezTo>
                <a:cubicBezTo>
                  <a:pt x="4745851" y="4975205"/>
                  <a:pt x="4553950" y="5167106"/>
                  <a:pt x="4317226" y="5167106"/>
                </a:cubicBezTo>
                <a:cubicBezTo>
                  <a:pt x="4080503" y="5167106"/>
                  <a:pt x="3888602" y="4975205"/>
                  <a:pt x="3888602" y="4738481"/>
                </a:cubicBezTo>
                <a:cubicBezTo>
                  <a:pt x="3888602" y="4551855"/>
                  <a:pt x="4007874" y="4393086"/>
                  <a:pt x="4174352" y="4334245"/>
                </a:cubicBezTo>
                <a:lnTo>
                  <a:pt x="4174352" y="4069219"/>
                </a:lnTo>
                <a:lnTo>
                  <a:pt x="4174353" y="4069219"/>
                </a:lnTo>
                <a:lnTo>
                  <a:pt x="4174353" y="4005088"/>
                </a:lnTo>
                <a:cubicBezTo>
                  <a:pt x="4174353" y="3926192"/>
                  <a:pt x="4238320" y="3862213"/>
                  <a:pt x="4317227" y="3862213"/>
                </a:cubicBezTo>
                <a:lnTo>
                  <a:pt x="4931289" y="3862213"/>
                </a:lnTo>
                <a:lnTo>
                  <a:pt x="4931289" y="3862214"/>
                </a:lnTo>
                <a:lnTo>
                  <a:pt x="5536835" y="3862214"/>
                </a:lnTo>
                <a:lnTo>
                  <a:pt x="5536878" y="3862050"/>
                </a:lnTo>
                <a:cubicBezTo>
                  <a:pt x="5551233" y="3792081"/>
                  <a:pt x="5562181" y="3720885"/>
                  <a:pt x="5569540" y="3648642"/>
                </a:cubicBezTo>
                <a:lnTo>
                  <a:pt x="5570669" y="3626361"/>
                </a:lnTo>
                <a:lnTo>
                  <a:pt x="3345182" y="3626361"/>
                </a:lnTo>
                <a:lnTo>
                  <a:pt x="3345182" y="3626360"/>
                </a:lnTo>
                <a:lnTo>
                  <a:pt x="3265633" y="3626360"/>
                </a:lnTo>
                <a:cubicBezTo>
                  <a:pt x="3206792" y="3792838"/>
                  <a:pt x="3048023" y="3912110"/>
                  <a:pt x="2861397" y="3912110"/>
                </a:cubicBezTo>
                <a:cubicBezTo>
                  <a:pt x="2624673" y="3912110"/>
                  <a:pt x="2432772" y="3720209"/>
                  <a:pt x="2432772" y="3483485"/>
                </a:cubicBezTo>
                <a:cubicBezTo>
                  <a:pt x="2432772" y="3246760"/>
                  <a:pt x="2624673" y="3054859"/>
                  <a:pt x="2861397" y="3054859"/>
                </a:cubicBezTo>
                <a:cubicBezTo>
                  <a:pt x="3048023" y="3054859"/>
                  <a:pt x="3206792" y="3174131"/>
                  <a:pt x="3265633" y="3340609"/>
                </a:cubicBezTo>
                <a:lnTo>
                  <a:pt x="3530660" y="3340609"/>
                </a:lnTo>
                <a:lnTo>
                  <a:pt x="3530660" y="3340611"/>
                </a:lnTo>
                <a:lnTo>
                  <a:pt x="5576193" y="3340611"/>
                </a:lnTo>
                <a:lnTo>
                  <a:pt x="5569540" y="3209277"/>
                </a:lnTo>
                <a:lnTo>
                  <a:pt x="5550815" y="3086935"/>
                </a:lnTo>
                <a:lnTo>
                  <a:pt x="4297837" y="3086935"/>
                </a:lnTo>
                <a:lnTo>
                  <a:pt x="4297837" y="3086936"/>
                </a:lnTo>
                <a:lnTo>
                  <a:pt x="3683776" y="3086936"/>
                </a:lnTo>
                <a:cubicBezTo>
                  <a:pt x="3604869" y="3086936"/>
                  <a:pt x="3540901" y="3022956"/>
                  <a:pt x="3540901" y="2944060"/>
                </a:cubicBezTo>
                <a:lnTo>
                  <a:pt x="3540901" y="2879929"/>
                </a:lnTo>
                <a:lnTo>
                  <a:pt x="3540900" y="2879929"/>
                </a:lnTo>
                <a:lnTo>
                  <a:pt x="3540900" y="2614903"/>
                </a:lnTo>
                <a:cubicBezTo>
                  <a:pt x="3374422" y="2556062"/>
                  <a:pt x="3255150" y="2397293"/>
                  <a:pt x="3255150" y="2210667"/>
                </a:cubicBezTo>
                <a:cubicBezTo>
                  <a:pt x="3255150" y="1973943"/>
                  <a:pt x="3447051" y="1782042"/>
                  <a:pt x="3683775" y="1782042"/>
                </a:cubicBezTo>
                <a:cubicBezTo>
                  <a:pt x="3920499" y="1782042"/>
                  <a:pt x="4112400" y="1973943"/>
                  <a:pt x="4112400" y="2210667"/>
                </a:cubicBezTo>
                <a:cubicBezTo>
                  <a:pt x="4112400" y="2397293"/>
                  <a:pt x="3993128" y="2556062"/>
                  <a:pt x="3826650" y="2614903"/>
                </a:cubicBezTo>
                <a:lnTo>
                  <a:pt x="3826650" y="2679326"/>
                </a:lnTo>
                <a:lnTo>
                  <a:pt x="3826651" y="2679326"/>
                </a:lnTo>
                <a:lnTo>
                  <a:pt x="3826651" y="2801185"/>
                </a:lnTo>
                <a:lnTo>
                  <a:pt x="3841010" y="2801185"/>
                </a:lnTo>
                <a:lnTo>
                  <a:pt x="3841010" y="2801184"/>
                </a:lnTo>
                <a:lnTo>
                  <a:pt x="5486700" y="2801184"/>
                </a:lnTo>
                <a:lnTo>
                  <a:pt x="5483773" y="2789826"/>
                </a:lnTo>
                <a:cubicBezTo>
                  <a:pt x="5210934" y="1914501"/>
                  <a:pt x="4392990" y="1277302"/>
                  <a:pt x="3429013" y="1277302"/>
                </a:cubicBezTo>
                <a:cubicBezTo>
                  <a:pt x="2242578" y="1277302"/>
                  <a:pt x="1277354" y="2242526"/>
                  <a:pt x="1277354" y="3428960"/>
                </a:cubicBezTo>
                <a:close/>
                <a:moveTo>
                  <a:pt x="1004120" y="3428960"/>
                </a:moveTo>
                <a:cubicBezTo>
                  <a:pt x="1004120" y="2091864"/>
                  <a:pt x="2091917" y="1004067"/>
                  <a:pt x="3429013" y="1004067"/>
                </a:cubicBezTo>
                <a:cubicBezTo>
                  <a:pt x="4766108" y="1004067"/>
                  <a:pt x="5853904" y="2091864"/>
                  <a:pt x="5853904" y="3428960"/>
                </a:cubicBezTo>
                <a:cubicBezTo>
                  <a:pt x="5853904" y="4766056"/>
                  <a:pt x="4766107" y="5853853"/>
                  <a:pt x="3429012" y="5853853"/>
                </a:cubicBezTo>
                <a:cubicBezTo>
                  <a:pt x="2091917" y="5853853"/>
                  <a:pt x="1004120" y="4766056"/>
                  <a:pt x="1004120" y="3428960"/>
                </a:cubicBezTo>
                <a:close/>
                <a:moveTo>
                  <a:pt x="273235" y="3621131"/>
                </a:moveTo>
                <a:cubicBezTo>
                  <a:pt x="273235" y="3840400"/>
                  <a:pt x="444310" y="4025378"/>
                  <a:pt x="662694" y="4042269"/>
                </a:cubicBezTo>
                <a:cubicBezTo>
                  <a:pt x="720412" y="4046742"/>
                  <a:pt x="769034" y="4087073"/>
                  <a:pt x="784089" y="4142955"/>
                </a:cubicBezTo>
                <a:cubicBezTo>
                  <a:pt x="845449" y="4370917"/>
                  <a:pt x="936238" y="4590038"/>
                  <a:pt x="1053909" y="4794264"/>
                </a:cubicBezTo>
                <a:cubicBezTo>
                  <a:pt x="1082827" y="4844427"/>
                  <a:pt x="1076974" y="4907368"/>
                  <a:pt x="1039295" y="4951342"/>
                </a:cubicBezTo>
                <a:cubicBezTo>
                  <a:pt x="896764" y="5117729"/>
                  <a:pt x="906609" y="5369506"/>
                  <a:pt x="1061677" y="5524561"/>
                </a:cubicBezTo>
                <a:lnTo>
                  <a:pt x="1333412" y="5796323"/>
                </a:lnTo>
                <a:cubicBezTo>
                  <a:pt x="1488481" y="5951378"/>
                  <a:pt x="1740244" y="5961210"/>
                  <a:pt x="1906618" y="5818692"/>
                </a:cubicBezTo>
                <a:cubicBezTo>
                  <a:pt x="1950592" y="5781026"/>
                  <a:pt x="2013533" y="5775173"/>
                  <a:pt x="2063696" y="5804078"/>
                </a:cubicBezTo>
                <a:cubicBezTo>
                  <a:pt x="2267895" y="5921709"/>
                  <a:pt x="2487030" y="6012484"/>
                  <a:pt x="2715018" y="6073884"/>
                </a:cubicBezTo>
                <a:cubicBezTo>
                  <a:pt x="2770913" y="6088940"/>
                  <a:pt x="2811244" y="6137575"/>
                  <a:pt x="2815705" y="6195279"/>
                </a:cubicBezTo>
                <a:cubicBezTo>
                  <a:pt x="2832582" y="6413677"/>
                  <a:pt x="3017574" y="6584738"/>
                  <a:pt x="3236856" y="6584738"/>
                </a:cubicBezTo>
                <a:lnTo>
                  <a:pt x="3621185" y="6584738"/>
                </a:lnTo>
                <a:cubicBezTo>
                  <a:pt x="3840467" y="6584738"/>
                  <a:pt x="4025432" y="6413663"/>
                  <a:pt x="4042309" y="6195279"/>
                </a:cubicBezTo>
                <a:cubicBezTo>
                  <a:pt x="4046783" y="6137575"/>
                  <a:pt x="4087114" y="6088940"/>
                  <a:pt x="4142996" y="6073884"/>
                </a:cubicBezTo>
                <a:cubicBezTo>
                  <a:pt x="4370984" y="6012511"/>
                  <a:pt x="4590119" y="5921736"/>
                  <a:pt x="4794318" y="5804078"/>
                </a:cubicBezTo>
                <a:cubicBezTo>
                  <a:pt x="4844481" y="5775173"/>
                  <a:pt x="4907422" y="5781026"/>
                  <a:pt x="4951396" y="5818692"/>
                </a:cubicBezTo>
                <a:cubicBezTo>
                  <a:pt x="5117769" y="5961196"/>
                  <a:pt x="5369546" y="5951378"/>
                  <a:pt x="5524601" y="5796323"/>
                </a:cubicBezTo>
                <a:lnTo>
                  <a:pt x="5796363" y="5524561"/>
                </a:lnTo>
                <a:cubicBezTo>
                  <a:pt x="5951431" y="5369493"/>
                  <a:pt x="5961263" y="5117716"/>
                  <a:pt x="5818759" y="4951342"/>
                </a:cubicBezTo>
                <a:cubicBezTo>
                  <a:pt x="5797020" y="4925986"/>
                  <a:pt x="5785889" y="4894295"/>
                  <a:pt x="5785889" y="4862429"/>
                </a:cubicBezTo>
                <a:cubicBezTo>
                  <a:pt x="5785889" y="4839016"/>
                  <a:pt x="5791889" y="4815495"/>
                  <a:pt x="5804132" y="4794264"/>
                </a:cubicBezTo>
                <a:cubicBezTo>
                  <a:pt x="5921776" y="4590065"/>
                  <a:pt x="6012551" y="4370930"/>
                  <a:pt x="6073938" y="4142955"/>
                </a:cubicBezTo>
                <a:cubicBezTo>
                  <a:pt x="6088994" y="4087060"/>
                  <a:pt x="6137615" y="4046742"/>
                  <a:pt x="6195333" y="4042269"/>
                </a:cubicBezTo>
                <a:cubicBezTo>
                  <a:pt x="6413730" y="4025365"/>
                  <a:pt x="6584792" y="3840400"/>
                  <a:pt x="6584792" y="3621118"/>
                </a:cubicBezTo>
                <a:lnTo>
                  <a:pt x="6584792" y="3236789"/>
                </a:lnTo>
                <a:cubicBezTo>
                  <a:pt x="6584792" y="3017520"/>
                  <a:pt x="6413717" y="2832541"/>
                  <a:pt x="6195319" y="2815638"/>
                </a:cubicBezTo>
                <a:cubicBezTo>
                  <a:pt x="6137602" y="2811164"/>
                  <a:pt x="6088980" y="2770833"/>
                  <a:pt x="6073925" y="2714951"/>
                </a:cubicBezTo>
                <a:cubicBezTo>
                  <a:pt x="6012551" y="2486963"/>
                  <a:pt x="5921776" y="2267841"/>
                  <a:pt x="5804119" y="2063642"/>
                </a:cubicBezTo>
                <a:cubicBezTo>
                  <a:pt x="5775226" y="2013479"/>
                  <a:pt x="5781067" y="1950525"/>
                  <a:pt x="5818732" y="1906564"/>
                </a:cubicBezTo>
                <a:cubicBezTo>
                  <a:pt x="5961263" y="1740191"/>
                  <a:pt x="5951418" y="1488414"/>
                  <a:pt x="5796336" y="1333359"/>
                </a:cubicBezTo>
                <a:lnTo>
                  <a:pt x="5524575" y="1061583"/>
                </a:lnTo>
                <a:cubicBezTo>
                  <a:pt x="5369519" y="906529"/>
                  <a:pt x="5117743" y="896697"/>
                  <a:pt x="4951369" y="1039215"/>
                </a:cubicBezTo>
                <a:cubicBezTo>
                  <a:pt x="4907395" y="1076880"/>
                  <a:pt x="4844454" y="1082734"/>
                  <a:pt x="4794291" y="1053828"/>
                </a:cubicBezTo>
                <a:cubicBezTo>
                  <a:pt x="4590065" y="936170"/>
                  <a:pt x="4370930" y="845409"/>
                  <a:pt x="4142982" y="784022"/>
                </a:cubicBezTo>
                <a:cubicBezTo>
                  <a:pt x="4087087" y="768966"/>
                  <a:pt x="4046742" y="720331"/>
                  <a:pt x="4042282" y="662627"/>
                </a:cubicBezTo>
                <a:cubicBezTo>
                  <a:pt x="4025419" y="444243"/>
                  <a:pt x="3840453" y="273182"/>
                  <a:pt x="3621171" y="273182"/>
                </a:cubicBezTo>
                <a:lnTo>
                  <a:pt x="3236842" y="273182"/>
                </a:lnTo>
                <a:cubicBezTo>
                  <a:pt x="3017560" y="273182"/>
                  <a:pt x="2832582" y="444257"/>
                  <a:pt x="2815705" y="662641"/>
                </a:cubicBezTo>
                <a:cubicBezTo>
                  <a:pt x="2811231" y="720345"/>
                  <a:pt x="2770900" y="768980"/>
                  <a:pt x="2715005" y="784035"/>
                </a:cubicBezTo>
                <a:cubicBezTo>
                  <a:pt x="2487030" y="845409"/>
                  <a:pt x="2267909" y="936184"/>
                  <a:pt x="2063696" y="1053841"/>
                </a:cubicBezTo>
                <a:cubicBezTo>
                  <a:pt x="2013533" y="1082760"/>
                  <a:pt x="1950592" y="1076893"/>
                  <a:pt x="1906618" y="1039228"/>
                </a:cubicBezTo>
                <a:cubicBezTo>
                  <a:pt x="1740244" y="896724"/>
                  <a:pt x="1488481" y="906555"/>
                  <a:pt x="1333412" y="1061610"/>
                </a:cubicBezTo>
                <a:lnTo>
                  <a:pt x="1061651" y="1333372"/>
                </a:lnTo>
                <a:cubicBezTo>
                  <a:pt x="906555" y="1488441"/>
                  <a:pt x="896750" y="1740231"/>
                  <a:pt x="1039268" y="1906577"/>
                </a:cubicBezTo>
                <a:cubicBezTo>
                  <a:pt x="1076961" y="1950552"/>
                  <a:pt x="1082787" y="2013493"/>
                  <a:pt x="1053882" y="2063655"/>
                </a:cubicBezTo>
                <a:cubicBezTo>
                  <a:pt x="936224" y="2267895"/>
                  <a:pt x="845423" y="2487030"/>
                  <a:pt x="784062" y="2714964"/>
                </a:cubicBezTo>
                <a:cubicBezTo>
                  <a:pt x="769007" y="2770860"/>
                  <a:pt x="720385" y="2811177"/>
                  <a:pt x="662668" y="2815651"/>
                </a:cubicBezTo>
                <a:cubicBezTo>
                  <a:pt x="444297" y="2832528"/>
                  <a:pt x="273235" y="3017520"/>
                  <a:pt x="273235" y="3236802"/>
                </a:cubicBezTo>
                <a:close/>
                <a:moveTo>
                  <a:pt x="0" y="3621118"/>
                </a:moveTo>
                <a:lnTo>
                  <a:pt x="0" y="3236789"/>
                </a:lnTo>
                <a:cubicBezTo>
                  <a:pt x="0" y="2908770"/>
                  <a:pt x="232542" y="2627337"/>
                  <a:pt x="544876" y="2557659"/>
                </a:cubicBezTo>
                <a:cubicBezTo>
                  <a:pt x="602553" y="2366452"/>
                  <a:pt x="679197" y="2181406"/>
                  <a:pt x="773548" y="2005644"/>
                </a:cubicBezTo>
                <a:cubicBezTo>
                  <a:pt x="601923" y="1735543"/>
                  <a:pt x="636508" y="1372096"/>
                  <a:pt x="868448" y="1140142"/>
                </a:cubicBezTo>
                <a:lnTo>
                  <a:pt x="1140210" y="868381"/>
                </a:lnTo>
                <a:cubicBezTo>
                  <a:pt x="1372163" y="636441"/>
                  <a:pt x="1735623" y="601910"/>
                  <a:pt x="2005711" y="773467"/>
                </a:cubicBezTo>
                <a:cubicBezTo>
                  <a:pt x="2181487" y="679116"/>
                  <a:pt x="2366506" y="602472"/>
                  <a:pt x="2557726" y="544796"/>
                </a:cubicBezTo>
                <a:cubicBezTo>
                  <a:pt x="2627391" y="232502"/>
                  <a:pt x="2908823" y="-53"/>
                  <a:pt x="3236842" y="0"/>
                </a:cubicBezTo>
                <a:lnTo>
                  <a:pt x="3621171" y="0"/>
                </a:lnTo>
                <a:cubicBezTo>
                  <a:pt x="3949190" y="0"/>
                  <a:pt x="4230596" y="232556"/>
                  <a:pt x="4300274" y="544849"/>
                </a:cubicBezTo>
                <a:cubicBezTo>
                  <a:pt x="4491481" y="602513"/>
                  <a:pt x="4676527" y="679156"/>
                  <a:pt x="4852290" y="773521"/>
                </a:cubicBezTo>
                <a:cubicBezTo>
                  <a:pt x="5122391" y="601937"/>
                  <a:pt x="5485851" y="636481"/>
                  <a:pt x="5717791" y="868435"/>
                </a:cubicBezTo>
                <a:lnTo>
                  <a:pt x="5989552" y="1140196"/>
                </a:lnTo>
                <a:cubicBezTo>
                  <a:pt x="6221492" y="1372136"/>
                  <a:pt x="6256036" y="1735596"/>
                  <a:pt x="6084466" y="2005684"/>
                </a:cubicBezTo>
                <a:cubicBezTo>
                  <a:pt x="6178804" y="2181447"/>
                  <a:pt x="6255461" y="2366465"/>
                  <a:pt x="6313124" y="2557699"/>
                </a:cubicBezTo>
                <a:cubicBezTo>
                  <a:pt x="6625431" y="2627378"/>
                  <a:pt x="6857987" y="2908810"/>
                  <a:pt x="6857987" y="3236829"/>
                </a:cubicBezTo>
                <a:lnTo>
                  <a:pt x="6857987" y="3621158"/>
                </a:lnTo>
                <a:cubicBezTo>
                  <a:pt x="6857987" y="3949163"/>
                  <a:pt x="6625431" y="4230582"/>
                  <a:pt x="6313124" y="4300261"/>
                </a:cubicBezTo>
                <a:cubicBezTo>
                  <a:pt x="6255447" y="4491508"/>
                  <a:pt x="6178817" y="4676527"/>
                  <a:pt x="6084466" y="4852276"/>
                </a:cubicBezTo>
                <a:cubicBezTo>
                  <a:pt x="6256104" y="5122390"/>
                  <a:pt x="6221505" y="5485824"/>
                  <a:pt x="5989552" y="5717777"/>
                </a:cubicBezTo>
                <a:lnTo>
                  <a:pt x="5717791" y="5989526"/>
                </a:lnTo>
                <a:cubicBezTo>
                  <a:pt x="5485838" y="6221479"/>
                  <a:pt x="5122391" y="6255996"/>
                  <a:pt x="4852290" y="6084439"/>
                </a:cubicBezTo>
                <a:cubicBezTo>
                  <a:pt x="4676527" y="6178777"/>
                  <a:pt x="4491508" y="6255434"/>
                  <a:pt x="4300274" y="6313111"/>
                </a:cubicBezTo>
                <a:cubicBezTo>
                  <a:pt x="4230623" y="6625404"/>
                  <a:pt x="3949190" y="6857960"/>
                  <a:pt x="3621171" y="6857960"/>
                </a:cubicBezTo>
                <a:lnTo>
                  <a:pt x="3236842" y="6857960"/>
                </a:lnTo>
                <a:cubicBezTo>
                  <a:pt x="2908823" y="6857960"/>
                  <a:pt x="2627391" y="6625404"/>
                  <a:pt x="2557699" y="6313084"/>
                </a:cubicBezTo>
                <a:cubicBezTo>
                  <a:pt x="2366465" y="6255407"/>
                  <a:pt x="2181447" y="6178763"/>
                  <a:pt x="2005684" y="6084412"/>
                </a:cubicBezTo>
                <a:cubicBezTo>
                  <a:pt x="1735596" y="6255996"/>
                  <a:pt x="1372149" y="6221438"/>
                  <a:pt x="1140183" y="5989512"/>
                </a:cubicBezTo>
                <a:lnTo>
                  <a:pt x="868421" y="5717737"/>
                </a:lnTo>
                <a:cubicBezTo>
                  <a:pt x="636468" y="5485811"/>
                  <a:pt x="601937" y="5122350"/>
                  <a:pt x="773521" y="4852236"/>
                </a:cubicBezTo>
                <a:cubicBezTo>
                  <a:pt x="679170" y="4676473"/>
                  <a:pt x="602513" y="4491427"/>
                  <a:pt x="544849" y="4300221"/>
                </a:cubicBezTo>
                <a:cubicBezTo>
                  <a:pt x="232556" y="4230556"/>
                  <a:pt x="0" y="3949123"/>
                  <a:pt x="0" y="3621118"/>
                </a:cubicBezTo>
                <a:close/>
              </a:path>
            </a:pathLst>
          </a:custGeom>
          <a:solidFill>
            <a:schemeClr val="bg1"/>
          </a:solidFill>
          <a:ln w="2857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1" name="Grupo 100">
            <a:extLst>
              <a:ext uri="{FF2B5EF4-FFF2-40B4-BE49-F238E27FC236}">
                <a16:creationId xmlns:a16="http://schemas.microsoft.com/office/drawing/2014/main" id="{D664963A-3BF2-6385-DB49-4EA4A65AC236}"/>
              </a:ext>
            </a:extLst>
          </p:cNvPr>
          <p:cNvGrpSpPr/>
          <p:nvPr/>
        </p:nvGrpSpPr>
        <p:grpSpPr>
          <a:xfrm>
            <a:off x="5916972" y="889418"/>
            <a:ext cx="5569316" cy="5366048"/>
            <a:chOff x="5943600" y="778815"/>
            <a:chExt cx="5569316" cy="5366048"/>
          </a:xfrm>
        </p:grpSpPr>
        <p:sp>
          <p:nvSpPr>
            <p:cNvPr id="495" name="Forma libre: forma 494">
              <a:extLst>
                <a:ext uri="{FF2B5EF4-FFF2-40B4-BE49-F238E27FC236}">
                  <a16:creationId xmlns:a16="http://schemas.microsoft.com/office/drawing/2014/main" id="{00EBE722-A474-3471-8301-FFD78D5F6680}"/>
                </a:ext>
              </a:extLst>
            </p:cNvPr>
            <p:cNvSpPr/>
            <p:nvPr/>
          </p:nvSpPr>
          <p:spPr>
            <a:xfrm>
              <a:off x="8283674" y="899970"/>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 name="Forma libre: forma 819">
              <a:extLst>
                <a:ext uri="{FF2B5EF4-FFF2-40B4-BE49-F238E27FC236}">
                  <a16:creationId xmlns:a16="http://schemas.microsoft.com/office/drawing/2014/main" id="{1321C998-2181-7AEA-371B-8E42AB690D9B}"/>
                </a:ext>
              </a:extLst>
            </p:cNvPr>
            <p:cNvSpPr/>
            <p:nvPr/>
          </p:nvSpPr>
          <p:spPr>
            <a:xfrm>
              <a:off x="9920496" y="1184071"/>
              <a:ext cx="1041310" cy="576570"/>
            </a:xfrm>
            <a:custGeom>
              <a:avLst/>
              <a:gdLst>
                <a:gd name="connsiteX0" fmla="*/ 759357 w 1360555"/>
                <a:gd name="connsiteY0" fmla="*/ 631245 h 753337"/>
                <a:gd name="connsiteX1" fmla="*/ 799126 w 1360555"/>
                <a:gd name="connsiteY1" fmla="*/ 669633 h 753337"/>
                <a:gd name="connsiteX2" fmla="*/ 810155 w 1360555"/>
                <a:gd name="connsiteY2" fmla="*/ 657914 h 753337"/>
                <a:gd name="connsiteX3" fmla="*/ 806695 w 1360555"/>
                <a:gd name="connsiteY3" fmla="*/ 654453 h 753337"/>
                <a:gd name="connsiteX4" fmla="*/ 311484 w 1360555"/>
                <a:gd name="connsiteY4" fmla="*/ 515057 h 753337"/>
                <a:gd name="connsiteX5" fmla="*/ 301859 w 1360555"/>
                <a:gd name="connsiteY5" fmla="*/ 517974 h 753337"/>
                <a:gd name="connsiteX6" fmla="*/ 301859 w 1360555"/>
                <a:gd name="connsiteY6" fmla="*/ 534598 h 753337"/>
                <a:gd name="connsiteX7" fmla="*/ 318192 w 1360555"/>
                <a:gd name="connsiteY7" fmla="*/ 538681 h 753337"/>
                <a:gd name="connsiteX8" fmla="*/ 172658 w 1360555"/>
                <a:gd name="connsiteY8" fmla="*/ 497850 h 753337"/>
                <a:gd name="connsiteX9" fmla="*/ 151659 w 1360555"/>
                <a:gd name="connsiteY9" fmla="*/ 506891 h 753337"/>
                <a:gd name="connsiteX10" fmla="*/ 143493 w 1360555"/>
                <a:gd name="connsiteY10" fmla="*/ 527598 h 753337"/>
                <a:gd name="connsiteX11" fmla="*/ 152534 w 1360555"/>
                <a:gd name="connsiteY11" fmla="*/ 548014 h 753337"/>
                <a:gd name="connsiteX12" fmla="*/ 193657 w 1360555"/>
                <a:gd name="connsiteY12" fmla="*/ 547139 h 753337"/>
                <a:gd name="connsiteX13" fmla="*/ 201823 w 1360555"/>
                <a:gd name="connsiteY13" fmla="*/ 526432 h 753337"/>
                <a:gd name="connsiteX14" fmla="*/ 192782 w 1360555"/>
                <a:gd name="connsiteY14" fmla="*/ 506016 h 753337"/>
                <a:gd name="connsiteX15" fmla="*/ 172658 w 1360555"/>
                <a:gd name="connsiteY15" fmla="*/ 497850 h 753337"/>
                <a:gd name="connsiteX16" fmla="*/ 172658 w 1360555"/>
                <a:gd name="connsiteY16" fmla="*/ 480059 h 753337"/>
                <a:gd name="connsiteX17" fmla="*/ 205323 w 1360555"/>
                <a:gd name="connsiteY17" fmla="*/ 493183 h 753337"/>
                <a:gd name="connsiteX18" fmla="*/ 219614 w 1360555"/>
                <a:gd name="connsiteY18" fmla="*/ 526140 h 753337"/>
                <a:gd name="connsiteX19" fmla="*/ 206489 w 1360555"/>
                <a:gd name="connsiteY19" fmla="*/ 559680 h 753337"/>
                <a:gd name="connsiteX20" fmla="*/ 172658 w 1360555"/>
                <a:gd name="connsiteY20" fmla="*/ 573971 h 753337"/>
                <a:gd name="connsiteX21" fmla="*/ 139993 w 1360555"/>
                <a:gd name="connsiteY21" fmla="*/ 560846 h 753337"/>
                <a:gd name="connsiteX22" fmla="*/ 125702 w 1360555"/>
                <a:gd name="connsiteY22" fmla="*/ 527890 h 753337"/>
                <a:gd name="connsiteX23" fmla="*/ 138826 w 1360555"/>
                <a:gd name="connsiteY23" fmla="*/ 494350 h 753337"/>
                <a:gd name="connsiteX24" fmla="*/ 172658 w 1360555"/>
                <a:gd name="connsiteY24" fmla="*/ 480059 h 753337"/>
                <a:gd name="connsiteX25" fmla="*/ 1047904 w 1360555"/>
                <a:gd name="connsiteY25" fmla="*/ 459060 h 753337"/>
                <a:gd name="connsiteX26" fmla="*/ 1164273 w 1360555"/>
                <a:gd name="connsiteY26" fmla="*/ 459060 h 753337"/>
                <a:gd name="connsiteX27" fmla="*/ 1164273 w 1360555"/>
                <a:gd name="connsiteY27" fmla="*/ 471018 h 753337"/>
                <a:gd name="connsiteX28" fmla="*/ 1047904 w 1360555"/>
                <a:gd name="connsiteY28" fmla="*/ 471018 h 753337"/>
                <a:gd name="connsiteX29" fmla="*/ 1047904 w 1360555"/>
                <a:gd name="connsiteY29" fmla="*/ 419687 h 753337"/>
                <a:gd name="connsiteX30" fmla="*/ 1253227 w 1360555"/>
                <a:gd name="connsiteY30" fmla="*/ 419687 h 753337"/>
                <a:gd name="connsiteX31" fmla="*/ 1253227 w 1360555"/>
                <a:gd name="connsiteY31" fmla="*/ 431645 h 753337"/>
                <a:gd name="connsiteX32" fmla="*/ 1047904 w 1360555"/>
                <a:gd name="connsiteY32" fmla="*/ 431645 h 753337"/>
                <a:gd name="connsiteX33" fmla="*/ 560666 w 1360555"/>
                <a:gd name="connsiteY33" fmla="*/ 408425 h 753337"/>
                <a:gd name="connsiteX34" fmla="*/ 543639 w 1360555"/>
                <a:gd name="connsiteY34" fmla="*/ 452060 h 753337"/>
                <a:gd name="connsiteX35" fmla="*/ 564054 w 1360555"/>
                <a:gd name="connsiteY35" fmla="*/ 499016 h 753337"/>
                <a:gd name="connsiteX36" fmla="*/ 610427 w 1360555"/>
                <a:gd name="connsiteY36" fmla="*/ 517682 h 753337"/>
                <a:gd name="connsiteX37" fmla="*/ 636566 w 1360555"/>
                <a:gd name="connsiteY37" fmla="*/ 512396 h 753337"/>
                <a:gd name="connsiteX38" fmla="*/ 653194 w 1360555"/>
                <a:gd name="connsiteY38" fmla="*/ 500952 h 753337"/>
                <a:gd name="connsiteX39" fmla="*/ 143201 w 1360555"/>
                <a:gd name="connsiteY39" fmla="*/ 389939 h 753337"/>
                <a:gd name="connsiteX40" fmla="*/ 128910 w 1360555"/>
                <a:gd name="connsiteY40" fmla="*/ 394022 h 753337"/>
                <a:gd name="connsiteX41" fmla="*/ 136784 w 1360555"/>
                <a:gd name="connsiteY41" fmla="*/ 421145 h 753337"/>
                <a:gd name="connsiteX42" fmla="*/ 129493 w 1360555"/>
                <a:gd name="connsiteY42" fmla="*/ 424353 h 753337"/>
                <a:gd name="connsiteX43" fmla="*/ 105286 w 1360555"/>
                <a:gd name="connsiteY43" fmla="*/ 438353 h 753337"/>
                <a:gd name="connsiteX44" fmla="*/ 99161 w 1360555"/>
                <a:gd name="connsiteY44" fmla="*/ 443019 h 753337"/>
                <a:gd name="connsiteX45" fmla="*/ 78746 w 1360555"/>
                <a:gd name="connsiteY45" fmla="*/ 423187 h 753337"/>
                <a:gd name="connsiteX46" fmla="*/ 68538 w 1360555"/>
                <a:gd name="connsiteY46" fmla="*/ 433978 h 753337"/>
                <a:gd name="connsiteX47" fmla="*/ 88954 w 1360555"/>
                <a:gd name="connsiteY47" fmla="*/ 453519 h 753337"/>
                <a:gd name="connsiteX48" fmla="*/ 84287 w 1360555"/>
                <a:gd name="connsiteY48" fmla="*/ 459935 h 753337"/>
                <a:gd name="connsiteX49" fmla="*/ 70288 w 1360555"/>
                <a:gd name="connsiteY49" fmla="*/ 484142 h 753337"/>
                <a:gd name="connsiteX50" fmla="*/ 67371 w 1360555"/>
                <a:gd name="connsiteY50" fmla="*/ 491142 h 753337"/>
                <a:gd name="connsiteX51" fmla="*/ 39664 w 1360555"/>
                <a:gd name="connsiteY51" fmla="*/ 484142 h 753337"/>
                <a:gd name="connsiteX52" fmla="*/ 36165 w 1360555"/>
                <a:gd name="connsiteY52" fmla="*/ 498433 h 753337"/>
                <a:gd name="connsiteX53" fmla="*/ 63580 w 1360555"/>
                <a:gd name="connsiteY53" fmla="*/ 505141 h 753337"/>
                <a:gd name="connsiteX54" fmla="*/ 62705 w 1360555"/>
                <a:gd name="connsiteY54" fmla="*/ 513015 h 753337"/>
                <a:gd name="connsiteX55" fmla="*/ 62705 w 1360555"/>
                <a:gd name="connsiteY55" fmla="*/ 541014 h 753337"/>
                <a:gd name="connsiteX56" fmla="*/ 63580 w 1360555"/>
                <a:gd name="connsiteY56" fmla="*/ 548597 h 753337"/>
                <a:gd name="connsiteX57" fmla="*/ 35873 w 1360555"/>
                <a:gd name="connsiteY57" fmla="*/ 556472 h 753337"/>
                <a:gd name="connsiteX58" fmla="*/ 40248 w 1360555"/>
                <a:gd name="connsiteY58" fmla="*/ 570763 h 753337"/>
                <a:gd name="connsiteX59" fmla="*/ 67371 w 1360555"/>
                <a:gd name="connsiteY59" fmla="*/ 562888 h 753337"/>
                <a:gd name="connsiteX60" fmla="*/ 70580 w 1360555"/>
                <a:gd name="connsiteY60" fmla="*/ 570179 h 753337"/>
                <a:gd name="connsiteX61" fmla="*/ 84579 w 1360555"/>
                <a:gd name="connsiteY61" fmla="*/ 594386 h 753337"/>
                <a:gd name="connsiteX62" fmla="*/ 89245 w 1360555"/>
                <a:gd name="connsiteY62" fmla="*/ 600511 h 753337"/>
                <a:gd name="connsiteX63" fmla="*/ 69413 w 1360555"/>
                <a:gd name="connsiteY63" fmla="*/ 620927 h 753337"/>
                <a:gd name="connsiteX64" fmla="*/ 80204 w 1360555"/>
                <a:gd name="connsiteY64" fmla="*/ 631134 h 753337"/>
                <a:gd name="connsiteX65" fmla="*/ 99745 w 1360555"/>
                <a:gd name="connsiteY65" fmla="*/ 610719 h 753337"/>
                <a:gd name="connsiteX66" fmla="*/ 106161 w 1360555"/>
                <a:gd name="connsiteY66" fmla="*/ 615385 h 753337"/>
                <a:gd name="connsiteX67" fmla="*/ 130368 w 1360555"/>
                <a:gd name="connsiteY67" fmla="*/ 629385 h 753337"/>
                <a:gd name="connsiteX68" fmla="*/ 137368 w 1360555"/>
                <a:gd name="connsiteY68" fmla="*/ 632301 h 753337"/>
                <a:gd name="connsiteX69" fmla="*/ 130368 w 1360555"/>
                <a:gd name="connsiteY69" fmla="*/ 660008 h 753337"/>
                <a:gd name="connsiteX70" fmla="*/ 144659 w 1360555"/>
                <a:gd name="connsiteY70" fmla="*/ 663508 h 753337"/>
                <a:gd name="connsiteX71" fmla="*/ 151367 w 1360555"/>
                <a:gd name="connsiteY71" fmla="*/ 636093 h 753337"/>
                <a:gd name="connsiteX72" fmla="*/ 159242 w 1360555"/>
                <a:gd name="connsiteY72" fmla="*/ 636967 h 753337"/>
                <a:gd name="connsiteX73" fmla="*/ 187240 w 1360555"/>
                <a:gd name="connsiteY73" fmla="*/ 636967 h 753337"/>
                <a:gd name="connsiteX74" fmla="*/ 194823 w 1360555"/>
                <a:gd name="connsiteY74" fmla="*/ 636093 h 753337"/>
                <a:gd name="connsiteX75" fmla="*/ 202698 w 1360555"/>
                <a:gd name="connsiteY75" fmla="*/ 663508 h 753337"/>
                <a:gd name="connsiteX76" fmla="*/ 216989 w 1360555"/>
                <a:gd name="connsiteY76" fmla="*/ 659425 h 753337"/>
                <a:gd name="connsiteX77" fmla="*/ 209114 w 1360555"/>
                <a:gd name="connsiteY77" fmla="*/ 632301 h 753337"/>
                <a:gd name="connsiteX78" fmla="*/ 216405 w 1360555"/>
                <a:gd name="connsiteY78" fmla="*/ 629385 h 753337"/>
                <a:gd name="connsiteX79" fmla="*/ 240613 w 1360555"/>
                <a:gd name="connsiteY79" fmla="*/ 615385 h 753337"/>
                <a:gd name="connsiteX80" fmla="*/ 246737 w 1360555"/>
                <a:gd name="connsiteY80" fmla="*/ 610719 h 753337"/>
                <a:gd name="connsiteX81" fmla="*/ 267444 w 1360555"/>
                <a:gd name="connsiteY81" fmla="*/ 630551 h 753337"/>
                <a:gd name="connsiteX82" fmla="*/ 277652 w 1360555"/>
                <a:gd name="connsiteY82" fmla="*/ 619760 h 753337"/>
                <a:gd name="connsiteX83" fmla="*/ 257237 w 1360555"/>
                <a:gd name="connsiteY83" fmla="*/ 600219 h 753337"/>
                <a:gd name="connsiteX84" fmla="*/ 261903 w 1360555"/>
                <a:gd name="connsiteY84" fmla="*/ 593803 h 753337"/>
                <a:gd name="connsiteX85" fmla="*/ 275902 w 1360555"/>
                <a:gd name="connsiteY85" fmla="*/ 569596 h 753337"/>
                <a:gd name="connsiteX86" fmla="*/ 278819 w 1360555"/>
                <a:gd name="connsiteY86" fmla="*/ 562596 h 753337"/>
                <a:gd name="connsiteX87" fmla="*/ 306526 w 1360555"/>
                <a:gd name="connsiteY87" fmla="*/ 569304 h 753337"/>
                <a:gd name="connsiteX88" fmla="*/ 310026 w 1360555"/>
                <a:gd name="connsiteY88" fmla="*/ 555013 h 753337"/>
                <a:gd name="connsiteX89" fmla="*/ 282610 w 1360555"/>
                <a:gd name="connsiteY89" fmla="*/ 548305 h 753337"/>
                <a:gd name="connsiteX90" fmla="*/ 283485 w 1360555"/>
                <a:gd name="connsiteY90" fmla="*/ 540431 h 753337"/>
                <a:gd name="connsiteX91" fmla="*/ 283485 w 1360555"/>
                <a:gd name="connsiteY91" fmla="*/ 512432 h 753337"/>
                <a:gd name="connsiteX92" fmla="*/ 282610 w 1360555"/>
                <a:gd name="connsiteY92" fmla="*/ 504849 h 753337"/>
                <a:gd name="connsiteX93" fmla="*/ 309442 w 1360555"/>
                <a:gd name="connsiteY93" fmla="*/ 496975 h 753337"/>
                <a:gd name="connsiteX94" fmla="*/ 309734 w 1360555"/>
                <a:gd name="connsiteY94" fmla="*/ 496391 h 753337"/>
                <a:gd name="connsiteX95" fmla="*/ 305651 w 1360555"/>
                <a:gd name="connsiteY95" fmla="*/ 482684 h 753337"/>
                <a:gd name="connsiteX96" fmla="*/ 278527 w 1360555"/>
                <a:gd name="connsiteY96" fmla="*/ 490558 h 753337"/>
                <a:gd name="connsiteX97" fmla="*/ 275319 w 1360555"/>
                <a:gd name="connsiteY97" fmla="*/ 483267 h 753337"/>
                <a:gd name="connsiteX98" fmla="*/ 261320 w 1360555"/>
                <a:gd name="connsiteY98" fmla="*/ 459060 h 753337"/>
                <a:gd name="connsiteX99" fmla="*/ 256653 w 1360555"/>
                <a:gd name="connsiteY99" fmla="*/ 452935 h 753337"/>
                <a:gd name="connsiteX100" fmla="*/ 276486 w 1360555"/>
                <a:gd name="connsiteY100" fmla="*/ 432520 h 753337"/>
                <a:gd name="connsiteX101" fmla="*/ 265986 w 1360555"/>
                <a:gd name="connsiteY101" fmla="*/ 422312 h 753337"/>
                <a:gd name="connsiteX102" fmla="*/ 246446 w 1360555"/>
                <a:gd name="connsiteY102" fmla="*/ 442727 h 753337"/>
                <a:gd name="connsiteX103" fmla="*/ 240029 w 1360555"/>
                <a:gd name="connsiteY103" fmla="*/ 438061 h 753337"/>
                <a:gd name="connsiteX104" fmla="*/ 215822 w 1360555"/>
                <a:gd name="connsiteY104" fmla="*/ 424062 h 753337"/>
                <a:gd name="connsiteX105" fmla="*/ 208822 w 1360555"/>
                <a:gd name="connsiteY105" fmla="*/ 421145 h 753337"/>
                <a:gd name="connsiteX106" fmla="*/ 215530 w 1360555"/>
                <a:gd name="connsiteY106" fmla="*/ 393438 h 753337"/>
                <a:gd name="connsiteX107" fmla="*/ 201240 w 1360555"/>
                <a:gd name="connsiteY107" fmla="*/ 389939 h 753337"/>
                <a:gd name="connsiteX108" fmla="*/ 194532 w 1360555"/>
                <a:gd name="connsiteY108" fmla="*/ 417354 h 753337"/>
                <a:gd name="connsiteX109" fmla="*/ 186657 w 1360555"/>
                <a:gd name="connsiteY109" fmla="*/ 416479 h 753337"/>
                <a:gd name="connsiteX110" fmla="*/ 158658 w 1360555"/>
                <a:gd name="connsiteY110" fmla="*/ 416479 h 753337"/>
                <a:gd name="connsiteX111" fmla="*/ 151075 w 1360555"/>
                <a:gd name="connsiteY111" fmla="*/ 417354 h 753337"/>
                <a:gd name="connsiteX112" fmla="*/ 1047904 w 1360555"/>
                <a:gd name="connsiteY112" fmla="*/ 384397 h 753337"/>
                <a:gd name="connsiteX113" fmla="*/ 1360555 w 1360555"/>
                <a:gd name="connsiteY113" fmla="*/ 384397 h 753337"/>
                <a:gd name="connsiteX114" fmla="*/ 1360555 w 1360555"/>
                <a:gd name="connsiteY114" fmla="*/ 396355 h 753337"/>
                <a:gd name="connsiteX115" fmla="*/ 1047904 w 1360555"/>
                <a:gd name="connsiteY115" fmla="*/ 396355 h 753337"/>
                <a:gd name="connsiteX116" fmla="*/ 610427 w 1360555"/>
                <a:gd name="connsiteY116" fmla="*/ 383814 h 753337"/>
                <a:gd name="connsiteX117" fmla="*/ 584287 w 1360555"/>
                <a:gd name="connsiteY117" fmla="*/ 389100 h 753337"/>
                <a:gd name="connsiteX118" fmla="*/ 567660 w 1360555"/>
                <a:gd name="connsiteY118" fmla="*/ 400543 h 753337"/>
                <a:gd name="connsiteX119" fmla="*/ 660186 w 1360555"/>
                <a:gd name="connsiteY119" fmla="*/ 493070 h 753337"/>
                <a:gd name="connsiteX120" fmla="*/ 677215 w 1360555"/>
                <a:gd name="connsiteY120" fmla="*/ 449435 h 753337"/>
                <a:gd name="connsiteX121" fmla="*/ 656800 w 1360555"/>
                <a:gd name="connsiteY121" fmla="*/ 402479 h 753337"/>
                <a:gd name="connsiteX122" fmla="*/ 610427 w 1360555"/>
                <a:gd name="connsiteY122" fmla="*/ 383814 h 753337"/>
                <a:gd name="connsiteX123" fmla="*/ 403758 w 1360555"/>
                <a:gd name="connsiteY123" fmla="*/ 251516 h 753337"/>
                <a:gd name="connsiteX124" fmla="*/ 389063 w 1360555"/>
                <a:gd name="connsiteY124" fmla="*/ 266861 h 753337"/>
                <a:gd name="connsiteX125" fmla="*/ 430769 w 1360555"/>
                <a:gd name="connsiteY125" fmla="*/ 306234 h 753337"/>
                <a:gd name="connsiteX126" fmla="*/ 426103 w 1360555"/>
                <a:gd name="connsiteY126" fmla="*/ 312651 h 753337"/>
                <a:gd name="connsiteX127" fmla="*/ 397521 w 1360555"/>
                <a:gd name="connsiteY127" fmla="*/ 362815 h 753337"/>
                <a:gd name="connsiteX128" fmla="*/ 394605 w 1360555"/>
                <a:gd name="connsiteY128" fmla="*/ 369814 h 753337"/>
                <a:gd name="connsiteX129" fmla="*/ 337733 w 1360555"/>
                <a:gd name="connsiteY129" fmla="*/ 355815 h 753337"/>
                <a:gd name="connsiteX130" fmla="*/ 326650 w 1360555"/>
                <a:gd name="connsiteY130" fmla="*/ 402188 h 753337"/>
                <a:gd name="connsiteX131" fmla="*/ 382355 w 1360555"/>
                <a:gd name="connsiteY131" fmla="*/ 415604 h 753337"/>
                <a:gd name="connsiteX132" fmla="*/ 381480 w 1360555"/>
                <a:gd name="connsiteY132" fmla="*/ 423478 h 753337"/>
                <a:gd name="connsiteX133" fmla="*/ 381772 w 1360555"/>
                <a:gd name="connsiteY133" fmla="*/ 481225 h 753337"/>
                <a:gd name="connsiteX134" fmla="*/ 382647 w 1360555"/>
                <a:gd name="connsiteY134" fmla="*/ 488808 h 753337"/>
                <a:gd name="connsiteX135" fmla="*/ 328108 w 1360555"/>
                <a:gd name="connsiteY135" fmla="*/ 504558 h 753337"/>
                <a:gd name="connsiteX136" fmla="*/ 327816 w 1360555"/>
                <a:gd name="connsiteY136" fmla="*/ 507474 h 753337"/>
                <a:gd name="connsiteX137" fmla="*/ 327233 w 1360555"/>
                <a:gd name="connsiteY137" fmla="*/ 507766 h 753337"/>
                <a:gd name="connsiteX138" fmla="*/ 340066 w 1360555"/>
                <a:gd name="connsiteY138" fmla="*/ 550639 h 753337"/>
                <a:gd name="connsiteX139" fmla="*/ 394896 w 1360555"/>
                <a:gd name="connsiteY139" fmla="*/ 534306 h 753337"/>
                <a:gd name="connsiteX140" fmla="*/ 398104 w 1360555"/>
                <a:gd name="connsiteY140" fmla="*/ 541597 h 753337"/>
                <a:gd name="connsiteX141" fmla="*/ 427270 w 1360555"/>
                <a:gd name="connsiteY141" fmla="*/ 591470 h 753337"/>
                <a:gd name="connsiteX142" fmla="*/ 431936 w 1360555"/>
                <a:gd name="connsiteY142" fmla="*/ 597595 h 753337"/>
                <a:gd name="connsiteX143" fmla="*/ 391396 w 1360555"/>
                <a:gd name="connsiteY143" fmla="*/ 639592 h 753337"/>
                <a:gd name="connsiteX144" fmla="*/ 426103 w 1360555"/>
                <a:gd name="connsiteY144" fmla="*/ 672257 h 753337"/>
                <a:gd name="connsiteX145" fmla="*/ 465476 w 1360555"/>
                <a:gd name="connsiteY145" fmla="*/ 630551 h 753337"/>
                <a:gd name="connsiteX146" fmla="*/ 471892 w 1360555"/>
                <a:gd name="connsiteY146" fmla="*/ 635509 h 753337"/>
                <a:gd name="connsiteX147" fmla="*/ 522056 w 1360555"/>
                <a:gd name="connsiteY147" fmla="*/ 664091 h 753337"/>
                <a:gd name="connsiteX148" fmla="*/ 529056 w 1360555"/>
                <a:gd name="connsiteY148" fmla="*/ 667008 h 753337"/>
                <a:gd name="connsiteX149" fmla="*/ 515057 w 1360555"/>
                <a:gd name="connsiteY149" fmla="*/ 723588 h 753337"/>
                <a:gd name="connsiteX150" fmla="*/ 561138 w 1360555"/>
                <a:gd name="connsiteY150" fmla="*/ 734379 h 753337"/>
                <a:gd name="connsiteX151" fmla="*/ 574845 w 1360555"/>
                <a:gd name="connsiteY151" fmla="*/ 678674 h 753337"/>
                <a:gd name="connsiteX152" fmla="*/ 582720 w 1360555"/>
                <a:gd name="connsiteY152" fmla="*/ 679549 h 753337"/>
                <a:gd name="connsiteX153" fmla="*/ 640467 w 1360555"/>
                <a:gd name="connsiteY153" fmla="*/ 679257 h 753337"/>
                <a:gd name="connsiteX154" fmla="*/ 648050 w 1360555"/>
                <a:gd name="connsiteY154" fmla="*/ 678382 h 753337"/>
                <a:gd name="connsiteX155" fmla="*/ 664383 w 1360555"/>
                <a:gd name="connsiteY155" fmla="*/ 734671 h 753337"/>
                <a:gd name="connsiteX156" fmla="*/ 710172 w 1360555"/>
                <a:gd name="connsiteY156" fmla="*/ 720963 h 753337"/>
                <a:gd name="connsiteX157" fmla="*/ 693839 w 1360555"/>
                <a:gd name="connsiteY157" fmla="*/ 666133 h 753337"/>
                <a:gd name="connsiteX158" fmla="*/ 701131 w 1360555"/>
                <a:gd name="connsiteY158" fmla="*/ 662924 h 753337"/>
                <a:gd name="connsiteX159" fmla="*/ 751003 w 1360555"/>
                <a:gd name="connsiteY159" fmla="*/ 633759 h 753337"/>
                <a:gd name="connsiteX160" fmla="*/ 756282 w 1360555"/>
                <a:gd name="connsiteY160" fmla="*/ 629737 h 753337"/>
                <a:gd name="connsiteX161" fmla="*/ 746045 w 1360555"/>
                <a:gd name="connsiteY161" fmla="*/ 624718 h 753337"/>
                <a:gd name="connsiteX162" fmla="*/ 761443 w 1360555"/>
                <a:gd name="connsiteY162" fmla="*/ 609202 h 753337"/>
                <a:gd name="connsiteX163" fmla="*/ 665695 w 1360555"/>
                <a:gd name="connsiteY163" fmla="*/ 513454 h 753337"/>
                <a:gd name="connsiteX164" fmla="*/ 643638 w 1360555"/>
                <a:gd name="connsiteY164" fmla="*/ 528729 h 753337"/>
                <a:gd name="connsiteX165" fmla="*/ 610427 w 1360555"/>
                <a:gd name="connsiteY165" fmla="*/ 535473 h 753337"/>
                <a:gd name="connsiteX166" fmla="*/ 551513 w 1360555"/>
                <a:gd name="connsiteY166" fmla="*/ 511849 h 753337"/>
                <a:gd name="connsiteX167" fmla="*/ 525556 w 1360555"/>
                <a:gd name="connsiteY167" fmla="*/ 452352 h 753337"/>
                <a:gd name="connsiteX168" fmla="*/ 531243 w 1360555"/>
                <a:gd name="connsiteY168" fmla="*/ 419869 h 753337"/>
                <a:gd name="connsiteX169" fmla="*/ 547239 w 1360555"/>
                <a:gd name="connsiteY169" fmla="*/ 394997 h 753337"/>
                <a:gd name="connsiteX170" fmla="*/ 454626 w 1360555"/>
                <a:gd name="connsiteY170" fmla="*/ 302384 h 753337"/>
                <a:gd name="connsiteX171" fmla="*/ 439227 w 1360555"/>
                <a:gd name="connsiteY171" fmla="*/ 317900 h 753337"/>
                <a:gd name="connsiteX172" fmla="*/ 409492 w 1360555"/>
                <a:gd name="connsiteY172" fmla="*/ 257250 h 753337"/>
                <a:gd name="connsiteX173" fmla="*/ 659424 w 1360555"/>
                <a:gd name="connsiteY173" fmla="*/ 167408 h 753337"/>
                <a:gd name="connsiteX174" fmla="*/ 646008 w 1360555"/>
                <a:gd name="connsiteY174" fmla="*/ 223114 h 753337"/>
                <a:gd name="connsiteX175" fmla="*/ 638134 w 1360555"/>
                <a:gd name="connsiteY175" fmla="*/ 222239 h 753337"/>
                <a:gd name="connsiteX176" fmla="*/ 580387 w 1360555"/>
                <a:gd name="connsiteY176" fmla="*/ 222530 h 753337"/>
                <a:gd name="connsiteX177" fmla="*/ 572804 w 1360555"/>
                <a:gd name="connsiteY177" fmla="*/ 223405 h 753337"/>
                <a:gd name="connsiteX178" fmla="*/ 556763 w 1360555"/>
                <a:gd name="connsiteY178" fmla="*/ 167700 h 753337"/>
                <a:gd name="connsiteX179" fmla="*/ 510974 w 1360555"/>
                <a:gd name="connsiteY179" fmla="*/ 180824 h 753337"/>
                <a:gd name="connsiteX180" fmla="*/ 527306 w 1360555"/>
                <a:gd name="connsiteY180" fmla="*/ 235655 h 753337"/>
                <a:gd name="connsiteX181" fmla="*/ 520015 w 1360555"/>
                <a:gd name="connsiteY181" fmla="*/ 238863 h 753337"/>
                <a:gd name="connsiteX182" fmla="*/ 470142 w 1360555"/>
                <a:gd name="connsiteY182" fmla="*/ 268028 h 753337"/>
                <a:gd name="connsiteX183" fmla="*/ 464018 w 1360555"/>
                <a:gd name="connsiteY183" fmla="*/ 272694 h 753337"/>
                <a:gd name="connsiteX184" fmla="*/ 422020 w 1360555"/>
                <a:gd name="connsiteY184" fmla="*/ 232447 h 753337"/>
                <a:gd name="connsiteX185" fmla="*/ 411034 w 1360555"/>
                <a:gd name="connsiteY185" fmla="*/ 243918 h 753337"/>
                <a:gd name="connsiteX186" fmla="*/ 417243 w 1360555"/>
                <a:gd name="connsiteY186" fmla="*/ 250127 h 753337"/>
                <a:gd name="connsiteX187" fmla="*/ 477434 w 1360555"/>
                <a:gd name="connsiteY187" fmla="*/ 279402 h 753337"/>
                <a:gd name="connsiteX188" fmla="*/ 462035 w 1360555"/>
                <a:gd name="connsiteY188" fmla="*/ 294918 h 753337"/>
                <a:gd name="connsiteX189" fmla="*/ 555061 w 1360555"/>
                <a:gd name="connsiteY189" fmla="*/ 387944 h 753337"/>
                <a:gd name="connsiteX190" fmla="*/ 577179 w 1360555"/>
                <a:gd name="connsiteY190" fmla="*/ 372767 h 753337"/>
                <a:gd name="connsiteX191" fmla="*/ 610427 w 1360555"/>
                <a:gd name="connsiteY191" fmla="*/ 366023 h 753337"/>
                <a:gd name="connsiteX192" fmla="*/ 669341 w 1360555"/>
                <a:gd name="connsiteY192" fmla="*/ 389647 h 753337"/>
                <a:gd name="connsiteX193" fmla="*/ 669049 w 1360555"/>
                <a:gd name="connsiteY193" fmla="*/ 389647 h 753337"/>
                <a:gd name="connsiteX194" fmla="*/ 695006 w 1360555"/>
                <a:gd name="connsiteY194" fmla="*/ 449144 h 753337"/>
                <a:gd name="connsiteX195" fmla="*/ 689318 w 1360555"/>
                <a:gd name="connsiteY195" fmla="*/ 481627 h 753337"/>
                <a:gd name="connsiteX196" fmla="*/ 673437 w 1360555"/>
                <a:gd name="connsiteY196" fmla="*/ 506320 h 753337"/>
                <a:gd name="connsiteX197" fmla="*/ 768853 w 1360555"/>
                <a:gd name="connsiteY197" fmla="*/ 601736 h 753337"/>
                <a:gd name="connsiteX198" fmla="*/ 784251 w 1360555"/>
                <a:gd name="connsiteY198" fmla="*/ 586220 h 753337"/>
                <a:gd name="connsiteX199" fmla="*/ 813759 w 1360555"/>
                <a:gd name="connsiteY199" fmla="*/ 646643 h 753337"/>
                <a:gd name="connsiteX200" fmla="*/ 817367 w 1360555"/>
                <a:gd name="connsiteY200" fmla="*/ 650251 h 753337"/>
                <a:gd name="connsiteX201" fmla="*/ 831791 w 1360555"/>
                <a:gd name="connsiteY201" fmla="*/ 634926 h 753337"/>
                <a:gd name="connsiteX202" fmla="*/ 790084 w 1360555"/>
                <a:gd name="connsiteY202" fmla="*/ 595553 h 753337"/>
                <a:gd name="connsiteX203" fmla="*/ 794751 w 1360555"/>
                <a:gd name="connsiteY203" fmla="*/ 589137 h 753337"/>
                <a:gd name="connsiteX204" fmla="*/ 823333 w 1360555"/>
                <a:gd name="connsiteY204" fmla="*/ 538972 h 753337"/>
                <a:gd name="connsiteX205" fmla="*/ 826249 w 1360555"/>
                <a:gd name="connsiteY205" fmla="*/ 531973 h 753337"/>
                <a:gd name="connsiteX206" fmla="*/ 883121 w 1360555"/>
                <a:gd name="connsiteY206" fmla="*/ 545972 h 753337"/>
                <a:gd name="connsiteX207" fmla="*/ 894204 w 1360555"/>
                <a:gd name="connsiteY207" fmla="*/ 499600 h 753337"/>
                <a:gd name="connsiteX208" fmla="*/ 838499 w 1360555"/>
                <a:gd name="connsiteY208" fmla="*/ 486475 h 753337"/>
                <a:gd name="connsiteX209" fmla="*/ 839374 w 1360555"/>
                <a:gd name="connsiteY209" fmla="*/ 478601 h 753337"/>
                <a:gd name="connsiteX210" fmla="*/ 839082 w 1360555"/>
                <a:gd name="connsiteY210" fmla="*/ 420854 h 753337"/>
                <a:gd name="connsiteX211" fmla="*/ 838207 w 1360555"/>
                <a:gd name="connsiteY211" fmla="*/ 413271 h 753337"/>
                <a:gd name="connsiteX212" fmla="*/ 894496 w 1360555"/>
                <a:gd name="connsiteY212" fmla="*/ 396938 h 753337"/>
                <a:gd name="connsiteX213" fmla="*/ 880788 w 1360555"/>
                <a:gd name="connsiteY213" fmla="*/ 351149 h 753337"/>
                <a:gd name="connsiteX214" fmla="*/ 825958 w 1360555"/>
                <a:gd name="connsiteY214" fmla="*/ 367481 h 753337"/>
                <a:gd name="connsiteX215" fmla="*/ 822749 w 1360555"/>
                <a:gd name="connsiteY215" fmla="*/ 360190 h 753337"/>
                <a:gd name="connsiteX216" fmla="*/ 793584 w 1360555"/>
                <a:gd name="connsiteY216" fmla="*/ 310318 h 753337"/>
                <a:gd name="connsiteX217" fmla="*/ 788918 w 1360555"/>
                <a:gd name="connsiteY217" fmla="*/ 304193 h 753337"/>
                <a:gd name="connsiteX218" fmla="*/ 829166 w 1360555"/>
                <a:gd name="connsiteY218" fmla="*/ 262487 h 753337"/>
                <a:gd name="connsiteX219" fmla="*/ 794751 w 1360555"/>
                <a:gd name="connsiteY219" fmla="*/ 229530 h 753337"/>
                <a:gd name="connsiteX220" fmla="*/ 755378 w 1360555"/>
                <a:gd name="connsiteY220" fmla="*/ 271236 h 753337"/>
                <a:gd name="connsiteX221" fmla="*/ 748962 w 1360555"/>
                <a:gd name="connsiteY221" fmla="*/ 266570 h 753337"/>
                <a:gd name="connsiteX222" fmla="*/ 698797 w 1360555"/>
                <a:gd name="connsiteY222" fmla="*/ 237988 h 753337"/>
                <a:gd name="connsiteX223" fmla="*/ 691798 w 1360555"/>
                <a:gd name="connsiteY223" fmla="*/ 235071 h 753337"/>
                <a:gd name="connsiteX224" fmla="*/ 705797 w 1360555"/>
                <a:gd name="connsiteY224" fmla="*/ 178491 h 753337"/>
                <a:gd name="connsiteX225" fmla="*/ 695589 w 1360555"/>
                <a:gd name="connsiteY225" fmla="*/ 176449 h 753337"/>
                <a:gd name="connsiteX226" fmla="*/ 0 w 1360555"/>
                <a:gd name="connsiteY226" fmla="*/ 131535 h 753337"/>
                <a:gd name="connsiteX227" fmla="*/ 296318 w 1360555"/>
                <a:gd name="connsiteY227" fmla="*/ 131535 h 753337"/>
                <a:gd name="connsiteX228" fmla="*/ 296318 w 1360555"/>
                <a:gd name="connsiteY228" fmla="*/ 136936 h 753337"/>
                <a:gd name="connsiteX229" fmla="*/ 300109 w 1360555"/>
                <a:gd name="connsiteY229" fmla="*/ 132993 h 753337"/>
                <a:gd name="connsiteX230" fmla="*/ 397799 w 1360555"/>
                <a:gd name="connsiteY230" fmla="*/ 230683 h 753337"/>
                <a:gd name="connsiteX231" fmla="*/ 412687 w 1360555"/>
                <a:gd name="connsiteY231" fmla="*/ 215239 h 753337"/>
                <a:gd name="connsiteX232" fmla="*/ 425520 w 1360555"/>
                <a:gd name="connsiteY232" fmla="*/ 211739 h 753337"/>
                <a:gd name="connsiteX233" fmla="*/ 429020 w 1360555"/>
                <a:gd name="connsiteY233" fmla="*/ 213198 h 753337"/>
                <a:gd name="connsiteX234" fmla="*/ 431353 w 1360555"/>
                <a:gd name="connsiteY234" fmla="*/ 214947 h 753337"/>
                <a:gd name="connsiteX235" fmla="*/ 465476 w 1360555"/>
                <a:gd name="connsiteY235" fmla="*/ 247612 h 753337"/>
                <a:gd name="connsiteX236" fmla="*/ 506016 w 1360555"/>
                <a:gd name="connsiteY236" fmla="*/ 223989 h 753337"/>
                <a:gd name="connsiteX237" fmla="*/ 493183 w 1360555"/>
                <a:gd name="connsiteY237" fmla="*/ 179658 h 753337"/>
                <a:gd name="connsiteX238" fmla="*/ 502224 w 1360555"/>
                <a:gd name="connsiteY238" fmla="*/ 163033 h 753337"/>
                <a:gd name="connsiteX239" fmla="*/ 556180 w 1360555"/>
                <a:gd name="connsiteY239" fmla="*/ 147576 h 753337"/>
                <a:gd name="connsiteX240" fmla="*/ 559971 w 1360555"/>
                <a:gd name="connsiteY240" fmla="*/ 146993 h 753337"/>
                <a:gd name="connsiteX241" fmla="*/ 565221 w 1360555"/>
                <a:gd name="connsiteY241" fmla="*/ 146993 h 753337"/>
                <a:gd name="connsiteX242" fmla="*/ 566096 w 1360555"/>
                <a:gd name="connsiteY242" fmla="*/ 148451 h 753337"/>
                <a:gd name="connsiteX243" fmla="*/ 572512 w 1360555"/>
                <a:gd name="connsiteY243" fmla="*/ 156617 h 753337"/>
                <a:gd name="connsiteX244" fmla="*/ 585637 w 1360555"/>
                <a:gd name="connsiteY244" fmla="*/ 202115 h 753337"/>
                <a:gd name="connsiteX245" fmla="*/ 632301 w 1360555"/>
                <a:gd name="connsiteY245" fmla="*/ 202115 h 753337"/>
                <a:gd name="connsiteX246" fmla="*/ 643384 w 1360555"/>
                <a:gd name="connsiteY246" fmla="*/ 157200 h 753337"/>
                <a:gd name="connsiteX247" fmla="*/ 645425 w 1360555"/>
                <a:gd name="connsiteY247" fmla="*/ 152534 h 753337"/>
                <a:gd name="connsiteX248" fmla="*/ 651842 w 1360555"/>
                <a:gd name="connsiteY248" fmla="*/ 145826 h 753337"/>
                <a:gd name="connsiteX249" fmla="*/ 652425 w 1360555"/>
                <a:gd name="connsiteY249" fmla="*/ 147576 h 753337"/>
                <a:gd name="connsiteX250" fmla="*/ 656508 w 1360555"/>
                <a:gd name="connsiteY250" fmla="*/ 147284 h 753337"/>
                <a:gd name="connsiteX251" fmla="*/ 659424 w 1360555"/>
                <a:gd name="connsiteY251" fmla="*/ 147284 h 753337"/>
                <a:gd name="connsiteX252" fmla="*/ 675755 w 1360555"/>
                <a:gd name="connsiteY252" fmla="*/ 151367 h 753337"/>
                <a:gd name="connsiteX253" fmla="*/ 1031864 w 1360555"/>
                <a:gd name="connsiteY253" fmla="*/ 151367 h 753337"/>
                <a:gd name="connsiteX254" fmla="*/ 1031864 w 1360555"/>
                <a:gd name="connsiteY254" fmla="*/ 162158 h 753337"/>
                <a:gd name="connsiteX255" fmla="*/ 1009989 w 1360555"/>
                <a:gd name="connsiteY255" fmla="*/ 162158 h 753337"/>
                <a:gd name="connsiteX256" fmla="*/ 1009989 w 1360555"/>
                <a:gd name="connsiteY256" fmla="*/ 171913 h 753337"/>
                <a:gd name="connsiteX257" fmla="*/ 1031863 w 1360555"/>
                <a:gd name="connsiteY257" fmla="*/ 235655 h 753337"/>
                <a:gd name="connsiteX258" fmla="*/ 1009989 w 1360555"/>
                <a:gd name="connsiteY258" fmla="*/ 235655 h 753337"/>
                <a:gd name="connsiteX259" fmla="*/ 1009989 w 1360555"/>
                <a:gd name="connsiteY259" fmla="*/ 669632 h 753337"/>
                <a:gd name="connsiteX260" fmla="*/ 1031863 w 1360555"/>
                <a:gd name="connsiteY260" fmla="*/ 669632 h 753337"/>
                <a:gd name="connsiteX261" fmla="*/ 1009989 w 1360555"/>
                <a:gd name="connsiteY261" fmla="*/ 733374 h 753337"/>
                <a:gd name="connsiteX262" fmla="*/ 1009989 w 1360555"/>
                <a:gd name="connsiteY262" fmla="*/ 748378 h 753337"/>
                <a:gd name="connsiteX263" fmla="*/ 1004840 w 1360555"/>
                <a:gd name="connsiteY263" fmla="*/ 748378 h 753337"/>
                <a:gd name="connsiteX264" fmla="*/ 1004740 w 1360555"/>
                <a:gd name="connsiteY264" fmla="*/ 748670 h 753337"/>
                <a:gd name="connsiteX265" fmla="*/ 1004640 w 1360555"/>
                <a:gd name="connsiteY265" fmla="*/ 748378 h 753337"/>
                <a:gd name="connsiteX266" fmla="*/ 999490 w 1360555"/>
                <a:gd name="connsiteY266" fmla="*/ 748378 h 753337"/>
                <a:gd name="connsiteX267" fmla="*/ 999490 w 1360555"/>
                <a:gd name="connsiteY267" fmla="*/ 733372 h 753337"/>
                <a:gd name="connsiteX268" fmla="*/ 977616 w 1360555"/>
                <a:gd name="connsiteY268" fmla="*/ 669632 h 753337"/>
                <a:gd name="connsiteX269" fmla="*/ 999490 w 1360555"/>
                <a:gd name="connsiteY269" fmla="*/ 669632 h 753337"/>
                <a:gd name="connsiteX270" fmla="*/ 999490 w 1360555"/>
                <a:gd name="connsiteY270" fmla="*/ 235655 h 753337"/>
                <a:gd name="connsiteX271" fmla="*/ 977616 w 1360555"/>
                <a:gd name="connsiteY271" fmla="*/ 235655 h 753337"/>
                <a:gd name="connsiteX272" fmla="*/ 999490 w 1360555"/>
                <a:gd name="connsiteY272" fmla="*/ 171915 h 753337"/>
                <a:gd name="connsiteX273" fmla="*/ 999490 w 1360555"/>
                <a:gd name="connsiteY273" fmla="*/ 162158 h 753337"/>
                <a:gd name="connsiteX274" fmla="*/ 715809 w 1360555"/>
                <a:gd name="connsiteY274" fmla="*/ 162158 h 753337"/>
                <a:gd name="connsiteX275" fmla="*/ 722421 w 1360555"/>
                <a:gd name="connsiteY275" fmla="*/ 167117 h 753337"/>
                <a:gd name="connsiteX276" fmla="*/ 723879 w 1360555"/>
                <a:gd name="connsiteY276" fmla="*/ 177324 h 753337"/>
                <a:gd name="connsiteX277" fmla="*/ 712505 w 1360555"/>
                <a:gd name="connsiteY277" fmla="*/ 223114 h 753337"/>
                <a:gd name="connsiteX278" fmla="*/ 753045 w 1360555"/>
                <a:gd name="connsiteY278" fmla="*/ 246446 h 753337"/>
                <a:gd name="connsiteX279" fmla="*/ 785126 w 1360555"/>
                <a:gd name="connsiteY279" fmla="*/ 213198 h 753337"/>
                <a:gd name="connsiteX280" fmla="*/ 804084 w 1360555"/>
                <a:gd name="connsiteY280" fmla="*/ 212906 h 753337"/>
                <a:gd name="connsiteX281" fmla="*/ 846957 w 1360555"/>
                <a:gd name="connsiteY281" fmla="*/ 255195 h 753337"/>
                <a:gd name="connsiteX282" fmla="*/ 844915 w 1360555"/>
                <a:gd name="connsiteY282" fmla="*/ 270945 h 753337"/>
                <a:gd name="connsiteX283" fmla="*/ 812250 w 1360555"/>
                <a:gd name="connsiteY283" fmla="*/ 305068 h 753337"/>
                <a:gd name="connsiteX284" fmla="*/ 835874 w 1360555"/>
                <a:gd name="connsiteY284" fmla="*/ 345607 h 753337"/>
                <a:gd name="connsiteX285" fmla="*/ 880205 w 1360555"/>
                <a:gd name="connsiteY285" fmla="*/ 332775 h 753337"/>
                <a:gd name="connsiteX286" fmla="*/ 896829 w 1360555"/>
                <a:gd name="connsiteY286" fmla="*/ 341816 h 753337"/>
                <a:gd name="connsiteX287" fmla="*/ 912287 w 1360555"/>
                <a:gd name="connsiteY287" fmla="*/ 396063 h 753337"/>
                <a:gd name="connsiteX288" fmla="*/ 911120 w 1360555"/>
                <a:gd name="connsiteY288" fmla="*/ 406271 h 753337"/>
                <a:gd name="connsiteX289" fmla="*/ 902954 w 1360555"/>
                <a:gd name="connsiteY289" fmla="*/ 412687 h 753337"/>
                <a:gd name="connsiteX290" fmla="*/ 857748 w 1360555"/>
                <a:gd name="connsiteY290" fmla="*/ 425812 h 753337"/>
                <a:gd name="connsiteX291" fmla="*/ 858039 w 1360555"/>
                <a:gd name="connsiteY291" fmla="*/ 472768 h 753337"/>
                <a:gd name="connsiteX292" fmla="*/ 902954 w 1360555"/>
                <a:gd name="connsiteY292" fmla="*/ 483850 h 753337"/>
                <a:gd name="connsiteX293" fmla="*/ 902662 w 1360555"/>
                <a:gd name="connsiteY293" fmla="*/ 484434 h 753337"/>
                <a:gd name="connsiteX294" fmla="*/ 912287 w 1360555"/>
                <a:gd name="connsiteY294" fmla="*/ 500474 h 753337"/>
                <a:gd name="connsiteX295" fmla="*/ 898871 w 1360555"/>
                <a:gd name="connsiteY295" fmla="*/ 555013 h 753337"/>
                <a:gd name="connsiteX296" fmla="*/ 886038 w 1360555"/>
                <a:gd name="connsiteY296" fmla="*/ 564930 h 753337"/>
                <a:gd name="connsiteX297" fmla="*/ 883413 w 1360555"/>
                <a:gd name="connsiteY297" fmla="*/ 564930 h 753337"/>
                <a:gd name="connsiteX298" fmla="*/ 837040 w 1360555"/>
                <a:gd name="connsiteY298" fmla="*/ 553555 h 753337"/>
                <a:gd name="connsiteX299" fmla="*/ 813708 w 1360555"/>
                <a:gd name="connsiteY299" fmla="*/ 594095 h 753337"/>
                <a:gd name="connsiteX300" fmla="*/ 846957 w 1360555"/>
                <a:gd name="connsiteY300" fmla="*/ 626176 h 753337"/>
                <a:gd name="connsiteX301" fmla="*/ 849873 w 1360555"/>
                <a:gd name="connsiteY301" fmla="*/ 630551 h 753337"/>
                <a:gd name="connsiteX302" fmla="*/ 848123 w 1360555"/>
                <a:gd name="connsiteY302" fmla="*/ 643967 h 753337"/>
                <a:gd name="connsiteX303" fmla="*/ 847248 w 1360555"/>
                <a:gd name="connsiteY303" fmla="*/ 644842 h 753337"/>
                <a:gd name="connsiteX304" fmla="*/ 808167 w 1360555"/>
                <a:gd name="connsiteY304" fmla="*/ 685382 h 753337"/>
                <a:gd name="connsiteX305" fmla="*/ 803792 w 1360555"/>
                <a:gd name="connsiteY305" fmla="*/ 688298 h 753337"/>
                <a:gd name="connsiteX306" fmla="*/ 789501 w 1360555"/>
                <a:gd name="connsiteY306" fmla="*/ 685673 h 753337"/>
                <a:gd name="connsiteX307" fmla="*/ 755378 w 1360555"/>
                <a:gd name="connsiteY307" fmla="*/ 653008 h 753337"/>
                <a:gd name="connsiteX308" fmla="*/ 714838 w 1360555"/>
                <a:gd name="connsiteY308" fmla="*/ 676632 h 753337"/>
                <a:gd name="connsiteX309" fmla="*/ 727671 w 1360555"/>
                <a:gd name="connsiteY309" fmla="*/ 720963 h 753337"/>
                <a:gd name="connsiteX310" fmla="*/ 727379 w 1360555"/>
                <a:gd name="connsiteY310" fmla="*/ 729129 h 753337"/>
                <a:gd name="connsiteX311" fmla="*/ 718630 w 1360555"/>
                <a:gd name="connsiteY311" fmla="*/ 737296 h 753337"/>
                <a:gd name="connsiteX312" fmla="*/ 660883 w 1360555"/>
                <a:gd name="connsiteY312" fmla="*/ 753337 h 753337"/>
                <a:gd name="connsiteX313" fmla="*/ 658841 w 1360555"/>
                <a:gd name="connsiteY313" fmla="*/ 753337 h 753337"/>
                <a:gd name="connsiteX314" fmla="*/ 648050 w 1360555"/>
                <a:gd name="connsiteY314" fmla="*/ 743712 h 753337"/>
                <a:gd name="connsiteX315" fmla="*/ 634926 w 1360555"/>
                <a:gd name="connsiteY315" fmla="*/ 698214 h 753337"/>
                <a:gd name="connsiteX316" fmla="*/ 587970 w 1360555"/>
                <a:gd name="connsiteY316" fmla="*/ 698214 h 753337"/>
                <a:gd name="connsiteX317" fmla="*/ 576887 w 1360555"/>
                <a:gd name="connsiteY317" fmla="*/ 743129 h 753337"/>
                <a:gd name="connsiteX318" fmla="*/ 572221 w 1360555"/>
                <a:gd name="connsiteY318" fmla="*/ 750128 h 753337"/>
                <a:gd name="connsiteX319" fmla="*/ 563763 w 1360555"/>
                <a:gd name="connsiteY319" fmla="*/ 752753 h 753337"/>
                <a:gd name="connsiteX320" fmla="*/ 561138 w 1360555"/>
                <a:gd name="connsiteY320" fmla="*/ 752753 h 753337"/>
                <a:gd name="connsiteX321" fmla="*/ 506016 w 1360555"/>
                <a:gd name="connsiteY321" fmla="*/ 739046 h 753337"/>
                <a:gd name="connsiteX322" fmla="*/ 501349 w 1360555"/>
                <a:gd name="connsiteY322" fmla="*/ 737004 h 753337"/>
                <a:gd name="connsiteX323" fmla="*/ 496391 w 1360555"/>
                <a:gd name="connsiteY323" fmla="*/ 723005 h 753337"/>
                <a:gd name="connsiteX324" fmla="*/ 507766 w 1360555"/>
                <a:gd name="connsiteY324" fmla="*/ 676924 h 753337"/>
                <a:gd name="connsiteX325" fmla="*/ 467226 w 1360555"/>
                <a:gd name="connsiteY325" fmla="*/ 653592 h 753337"/>
                <a:gd name="connsiteX326" fmla="*/ 435144 w 1360555"/>
                <a:gd name="connsiteY326" fmla="*/ 686840 h 753337"/>
                <a:gd name="connsiteX327" fmla="*/ 426395 w 1360555"/>
                <a:gd name="connsiteY327" fmla="*/ 690923 h 753337"/>
                <a:gd name="connsiteX328" fmla="*/ 416479 w 1360555"/>
                <a:gd name="connsiteY328" fmla="*/ 687132 h 753337"/>
                <a:gd name="connsiteX329" fmla="*/ 375939 w 1360555"/>
                <a:gd name="connsiteY329" fmla="*/ 648050 h 753337"/>
                <a:gd name="connsiteX330" fmla="*/ 373022 w 1360555"/>
                <a:gd name="connsiteY330" fmla="*/ 643675 h 753337"/>
                <a:gd name="connsiteX331" fmla="*/ 375647 w 1360555"/>
                <a:gd name="connsiteY331" fmla="*/ 629385 h 753337"/>
                <a:gd name="connsiteX332" fmla="*/ 408312 w 1360555"/>
                <a:gd name="connsiteY332" fmla="*/ 595261 h 753337"/>
                <a:gd name="connsiteX333" fmla="*/ 384688 w 1360555"/>
                <a:gd name="connsiteY333" fmla="*/ 554722 h 753337"/>
                <a:gd name="connsiteX334" fmla="*/ 336858 w 1360555"/>
                <a:gd name="connsiteY334" fmla="*/ 568138 h 753337"/>
                <a:gd name="connsiteX335" fmla="*/ 331316 w 1360555"/>
                <a:gd name="connsiteY335" fmla="*/ 566971 h 753337"/>
                <a:gd name="connsiteX336" fmla="*/ 326066 w 1360555"/>
                <a:gd name="connsiteY336" fmla="*/ 562596 h 753337"/>
                <a:gd name="connsiteX337" fmla="*/ 321692 w 1360555"/>
                <a:gd name="connsiteY337" fmla="*/ 579804 h 753337"/>
                <a:gd name="connsiteX338" fmla="*/ 310901 w 1360555"/>
                <a:gd name="connsiteY338" fmla="*/ 587970 h 753337"/>
                <a:gd name="connsiteX339" fmla="*/ 308859 w 1360555"/>
                <a:gd name="connsiteY339" fmla="*/ 587970 h 753337"/>
                <a:gd name="connsiteX340" fmla="*/ 288735 w 1360555"/>
                <a:gd name="connsiteY340" fmla="*/ 583012 h 753337"/>
                <a:gd name="connsiteX341" fmla="*/ 280277 w 1360555"/>
                <a:gd name="connsiteY341" fmla="*/ 597886 h 753337"/>
                <a:gd name="connsiteX342" fmla="*/ 296901 w 1360555"/>
                <a:gd name="connsiteY342" fmla="*/ 614802 h 753337"/>
                <a:gd name="connsiteX343" fmla="*/ 294860 w 1360555"/>
                <a:gd name="connsiteY343" fmla="*/ 626760 h 753337"/>
                <a:gd name="connsiteX344" fmla="*/ 271819 w 1360555"/>
                <a:gd name="connsiteY344" fmla="*/ 649509 h 753337"/>
                <a:gd name="connsiteX345" fmla="*/ 259570 w 1360555"/>
                <a:gd name="connsiteY345" fmla="*/ 647467 h 753337"/>
                <a:gd name="connsiteX346" fmla="*/ 244987 w 1360555"/>
                <a:gd name="connsiteY346" fmla="*/ 633468 h 753337"/>
                <a:gd name="connsiteX347" fmla="*/ 230405 w 1360555"/>
                <a:gd name="connsiteY347" fmla="*/ 641926 h 753337"/>
                <a:gd name="connsiteX348" fmla="*/ 235946 w 1360555"/>
                <a:gd name="connsiteY348" fmla="*/ 660591 h 753337"/>
                <a:gd name="connsiteX349" fmla="*/ 235946 w 1360555"/>
                <a:gd name="connsiteY349" fmla="*/ 667591 h 753337"/>
                <a:gd name="connsiteX350" fmla="*/ 228946 w 1360555"/>
                <a:gd name="connsiteY350" fmla="*/ 674591 h 753337"/>
                <a:gd name="connsiteX351" fmla="*/ 198323 w 1360555"/>
                <a:gd name="connsiteY351" fmla="*/ 682757 h 753337"/>
                <a:gd name="connsiteX352" fmla="*/ 197448 w 1360555"/>
                <a:gd name="connsiteY352" fmla="*/ 682757 h 753337"/>
                <a:gd name="connsiteX353" fmla="*/ 187824 w 1360555"/>
                <a:gd name="connsiteY353" fmla="*/ 674591 h 753337"/>
                <a:gd name="connsiteX354" fmla="*/ 182282 w 1360555"/>
                <a:gd name="connsiteY354" fmla="*/ 655342 h 753337"/>
                <a:gd name="connsiteX355" fmla="*/ 165366 w 1360555"/>
                <a:gd name="connsiteY355" fmla="*/ 655342 h 753337"/>
                <a:gd name="connsiteX356" fmla="*/ 160700 w 1360555"/>
                <a:gd name="connsiteY356" fmla="*/ 674299 h 753337"/>
                <a:gd name="connsiteX357" fmla="*/ 156617 w 1360555"/>
                <a:gd name="connsiteY357" fmla="*/ 680424 h 753337"/>
                <a:gd name="connsiteX358" fmla="*/ 149909 w 1360555"/>
                <a:gd name="connsiteY358" fmla="*/ 682465 h 753337"/>
                <a:gd name="connsiteX359" fmla="*/ 147867 w 1360555"/>
                <a:gd name="connsiteY359" fmla="*/ 682465 h 753337"/>
                <a:gd name="connsiteX360" fmla="*/ 117535 w 1360555"/>
                <a:gd name="connsiteY360" fmla="*/ 674882 h 753337"/>
                <a:gd name="connsiteX361" fmla="*/ 115786 w 1360555"/>
                <a:gd name="connsiteY361" fmla="*/ 673716 h 753337"/>
                <a:gd name="connsiteX362" fmla="*/ 111702 w 1360555"/>
                <a:gd name="connsiteY362" fmla="*/ 662050 h 753337"/>
                <a:gd name="connsiteX363" fmla="*/ 116661 w 1360555"/>
                <a:gd name="connsiteY363" fmla="*/ 642509 h 753337"/>
                <a:gd name="connsiteX364" fmla="*/ 102078 w 1360555"/>
                <a:gd name="connsiteY364" fmla="*/ 634051 h 753337"/>
                <a:gd name="connsiteX365" fmla="*/ 88662 w 1360555"/>
                <a:gd name="connsiteY365" fmla="*/ 648050 h 753337"/>
                <a:gd name="connsiteX366" fmla="*/ 81371 w 1360555"/>
                <a:gd name="connsiteY366" fmla="*/ 651550 h 753337"/>
                <a:gd name="connsiteX367" fmla="*/ 73204 w 1360555"/>
                <a:gd name="connsiteY367" fmla="*/ 648634 h 753337"/>
                <a:gd name="connsiteX368" fmla="*/ 51039 w 1360555"/>
                <a:gd name="connsiteY368" fmla="*/ 627051 h 753337"/>
                <a:gd name="connsiteX369" fmla="*/ 50164 w 1360555"/>
                <a:gd name="connsiteY369" fmla="*/ 625301 h 753337"/>
                <a:gd name="connsiteX370" fmla="*/ 52205 w 1360555"/>
                <a:gd name="connsiteY370" fmla="*/ 613052 h 753337"/>
                <a:gd name="connsiteX371" fmla="*/ 66205 w 1360555"/>
                <a:gd name="connsiteY371" fmla="*/ 598469 h 753337"/>
                <a:gd name="connsiteX372" fmla="*/ 57747 w 1360555"/>
                <a:gd name="connsiteY372" fmla="*/ 583887 h 753337"/>
                <a:gd name="connsiteX373" fmla="*/ 36165 w 1360555"/>
                <a:gd name="connsiteY373" fmla="*/ 589720 h 753337"/>
                <a:gd name="connsiteX374" fmla="*/ 31498 w 1360555"/>
                <a:gd name="connsiteY374" fmla="*/ 588553 h 753337"/>
                <a:gd name="connsiteX375" fmla="*/ 25373 w 1360555"/>
                <a:gd name="connsiteY375" fmla="*/ 581554 h 753337"/>
                <a:gd name="connsiteX376" fmla="*/ 17207 w 1360555"/>
                <a:gd name="connsiteY376" fmla="*/ 552680 h 753337"/>
                <a:gd name="connsiteX377" fmla="*/ 17207 w 1360555"/>
                <a:gd name="connsiteY377" fmla="*/ 549764 h 753337"/>
                <a:gd name="connsiteX378" fmla="*/ 25082 w 1360555"/>
                <a:gd name="connsiteY378" fmla="*/ 540722 h 753337"/>
                <a:gd name="connsiteX379" fmla="*/ 44331 w 1360555"/>
                <a:gd name="connsiteY379" fmla="*/ 535181 h 753337"/>
                <a:gd name="connsiteX380" fmla="*/ 44331 w 1360555"/>
                <a:gd name="connsiteY380" fmla="*/ 518265 h 753337"/>
                <a:gd name="connsiteX381" fmla="*/ 25373 w 1360555"/>
                <a:gd name="connsiteY381" fmla="*/ 513599 h 753337"/>
                <a:gd name="connsiteX382" fmla="*/ 18957 w 1360555"/>
                <a:gd name="connsiteY382" fmla="*/ 508932 h 753337"/>
                <a:gd name="connsiteX383" fmla="*/ 17207 w 1360555"/>
                <a:gd name="connsiteY383" fmla="*/ 500183 h 753337"/>
                <a:gd name="connsiteX384" fmla="*/ 24790 w 1360555"/>
                <a:gd name="connsiteY384" fmla="*/ 470143 h 753337"/>
                <a:gd name="connsiteX385" fmla="*/ 25957 w 1360555"/>
                <a:gd name="connsiteY385" fmla="*/ 468393 h 753337"/>
                <a:gd name="connsiteX386" fmla="*/ 34706 w 1360555"/>
                <a:gd name="connsiteY386" fmla="*/ 464601 h 753337"/>
                <a:gd name="connsiteX387" fmla="*/ 37040 w 1360555"/>
                <a:gd name="connsiteY387" fmla="*/ 464601 h 753337"/>
                <a:gd name="connsiteX388" fmla="*/ 56872 w 1360555"/>
                <a:gd name="connsiteY388" fmla="*/ 469559 h 753337"/>
                <a:gd name="connsiteX389" fmla="*/ 65330 w 1360555"/>
                <a:gd name="connsiteY389" fmla="*/ 454977 h 753337"/>
                <a:gd name="connsiteX390" fmla="*/ 51331 w 1360555"/>
                <a:gd name="connsiteY390" fmla="*/ 441561 h 753337"/>
                <a:gd name="connsiteX391" fmla="*/ 48122 w 1360555"/>
                <a:gd name="connsiteY391" fmla="*/ 435145 h 753337"/>
                <a:gd name="connsiteX392" fmla="*/ 50747 w 1360555"/>
                <a:gd name="connsiteY392" fmla="*/ 426103 h 753337"/>
                <a:gd name="connsiteX393" fmla="*/ 70580 w 1360555"/>
                <a:gd name="connsiteY393" fmla="*/ 405688 h 753337"/>
                <a:gd name="connsiteX394" fmla="*/ 78454 w 1360555"/>
                <a:gd name="connsiteY394" fmla="*/ 402479 h 753337"/>
                <a:gd name="connsiteX395" fmla="*/ 79912 w 1360555"/>
                <a:gd name="connsiteY395" fmla="*/ 402479 h 753337"/>
                <a:gd name="connsiteX396" fmla="*/ 86037 w 1360555"/>
                <a:gd name="connsiteY396" fmla="*/ 405104 h 753337"/>
                <a:gd name="connsiteX397" fmla="*/ 100620 w 1360555"/>
                <a:gd name="connsiteY397" fmla="*/ 419104 h 753337"/>
                <a:gd name="connsiteX398" fmla="*/ 115202 w 1360555"/>
                <a:gd name="connsiteY398" fmla="*/ 410646 h 753337"/>
                <a:gd name="connsiteX399" fmla="*/ 109953 w 1360555"/>
                <a:gd name="connsiteY399" fmla="*/ 391980 h 753337"/>
                <a:gd name="connsiteX400" fmla="*/ 117535 w 1360555"/>
                <a:gd name="connsiteY400" fmla="*/ 378272 h 753337"/>
                <a:gd name="connsiteX401" fmla="*/ 147576 w 1360555"/>
                <a:gd name="connsiteY401" fmla="*/ 370106 h 753337"/>
                <a:gd name="connsiteX402" fmla="*/ 148451 w 1360555"/>
                <a:gd name="connsiteY402" fmla="*/ 370106 h 753337"/>
                <a:gd name="connsiteX403" fmla="*/ 158658 w 1360555"/>
                <a:gd name="connsiteY403" fmla="*/ 378272 h 753337"/>
                <a:gd name="connsiteX404" fmla="*/ 164200 w 1360555"/>
                <a:gd name="connsiteY404" fmla="*/ 397521 h 753337"/>
                <a:gd name="connsiteX405" fmla="*/ 181116 w 1360555"/>
                <a:gd name="connsiteY405" fmla="*/ 397521 h 753337"/>
                <a:gd name="connsiteX406" fmla="*/ 188115 w 1360555"/>
                <a:gd name="connsiteY406" fmla="*/ 373898 h 753337"/>
                <a:gd name="connsiteX407" fmla="*/ 188990 w 1360555"/>
                <a:gd name="connsiteY407" fmla="*/ 373023 h 753337"/>
                <a:gd name="connsiteX408" fmla="*/ 196573 w 1360555"/>
                <a:gd name="connsiteY408" fmla="*/ 370106 h 753337"/>
                <a:gd name="connsiteX409" fmla="*/ 198906 w 1360555"/>
                <a:gd name="connsiteY409" fmla="*/ 370106 h 753337"/>
                <a:gd name="connsiteX410" fmla="*/ 226613 w 1360555"/>
                <a:gd name="connsiteY410" fmla="*/ 376814 h 753337"/>
                <a:gd name="connsiteX411" fmla="*/ 234779 w 1360555"/>
                <a:gd name="connsiteY411" fmla="*/ 390230 h 753337"/>
                <a:gd name="connsiteX412" fmla="*/ 229821 w 1360555"/>
                <a:gd name="connsiteY412" fmla="*/ 409771 h 753337"/>
                <a:gd name="connsiteX413" fmla="*/ 244404 w 1360555"/>
                <a:gd name="connsiteY413" fmla="*/ 418229 h 753337"/>
                <a:gd name="connsiteX414" fmla="*/ 257820 w 1360555"/>
                <a:gd name="connsiteY414" fmla="*/ 404229 h 753337"/>
                <a:gd name="connsiteX415" fmla="*/ 273569 w 1360555"/>
                <a:gd name="connsiteY415" fmla="*/ 403938 h 753337"/>
                <a:gd name="connsiteX416" fmla="*/ 296026 w 1360555"/>
                <a:gd name="connsiteY416" fmla="*/ 426103 h 753337"/>
                <a:gd name="connsiteX417" fmla="*/ 294276 w 1360555"/>
                <a:gd name="connsiteY417" fmla="*/ 439228 h 753337"/>
                <a:gd name="connsiteX418" fmla="*/ 280277 w 1360555"/>
                <a:gd name="connsiteY418" fmla="*/ 453810 h 753337"/>
                <a:gd name="connsiteX419" fmla="*/ 288735 w 1360555"/>
                <a:gd name="connsiteY419" fmla="*/ 468393 h 753337"/>
                <a:gd name="connsiteX420" fmla="*/ 310317 w 1360555"/>
                <a:gd name="connsiteY420" fmla="*/ 462560 h 753337"/>
                <a:gd name="connsiteX421" fmla="*/ 321108 w 1360555"/>
                <a:gd name="connsiteY421" fmla="*/ 470726 h 753337"/>
                <a:gd name="connsiteX422" fmla="*/ 325483 w 1360555"/>
                <a:gd name="connsiteY422" fmla="*/ 485600 h 753337"/>
                <a:gd name="connsiteX423" fmla="*/ 363398 w 1360555"/>
                <a:gd name="connsiteY423" fmla="*/ 474517 h 753337"/>
                <a:gd name="connsiteX424" fmla="*/ 363106 w 1360555"/>
                <a:gd name="connsiteY424" fmla="*/ 427853 h 753337"/>
                <a:gd name="connsiteX425" fmla="*/ 318192 w 1360555"/>
                <a:gd name="connsiteY425" fmla="*/ 416770 h 753337"/>
                <a:gd name="connsiteX426" fmla="*/ 310609 w 1360555"/>
                <a:gd name="connsiteY426" fmla="*/ 411521 h 753337"/>
                <a:gd name="connsiteX427" fmla="*/ 308567 w 1360555"/>
                <a:gd name="connsiteY427" fmla="*/ 400438 h 753337"/>
                <a:gd name="connsiteX428" fmla="*/ 321983 w 1360555"/>
                <a:gd name="connsiteY428" fmla="*/ 345899 h 753337"/>
                <a:gd name="connsiteX429" fmla="*/ 324608 w 1360555"/>
                <a:gd name="connsiteY429" fmla="*/ 340649 h 753337"/>
                <a:gd name="connsiteX430" fmla="*/ 334816 w 1360555"/>
                <a:gd name="connsiteY430" fmla="*/ 335983 h 753337"/>
                <a:gd name="connsiteX431" fmla="*/ 337441 w 1360555"/>
                <a:gd name="connsiteY431" fmla="*/ 335983 h 753337"/>
                <a:gd name="connsiteX432" fmla="*/ 383814 w 1360555"/>
                <a:gd name="connsiteY432" fmla="*/ 347357 h 753337"/>
                <a:gd name="connsiteX433" fmla="*/ 407146 w 1360555"/>
                <a:gd name="connsiteY433" fmla="*/ 306526 h 753337"/>
                <a:gd name="connsiteX434" fmla="*/ 373897 w 1360555"/>
                <a:gd name="connsiteY434" fmla="*/ 274444 h 753337"/>
                <a:gd name="connsiteX435" fmla="*/ 370106 w 1360555"/>
                <a:gd name="connsiteY435" fmla="*/ 266861 h 753337"/>
                <a:gd name="connsiteX436" fmla="*/ 373606 w 1360555"/>
                <a:gd name="connsiteY436" fmla="*/ 255779 h 753337"/>
                <a:gd name="connsiteX437" fmla="*/ 390498 w 1360555"/>
                <a:gd name="connsiteY437" fmla="*/ 238256 h 753337"/>
                <a:gd name="connsiteX438" fmla="*/ 294276 w 1360555"/>
                <a:gd name="connsiteY438" fmla="*/ 142034 h 753337"/>
                <a:gd name="connsiteX439" fmla="*/ 0 w 1360555"/>
                <a:gd name="connsiteY439" fmla="*/ 142034 h 753337"/>
                <a:gd name="connsiteX440" fmla="*/ 0 w 1360555"/>
                <a:gd name="connsiteY440" fmla="*/ 74663 h 753337"/>
                <a:gd name="connsiteX441" fmla="*/ 116369 w 1360555"/>
                <a:gd name="connsiteY441" fmla="*/ 74663 h 753337"/>
                <a:gd name="connsiteX442" fmla="*/ 116369 w 1360555"/>
                <a:gd name="connsiteY442" fmla="*/ 86621 h 753337"/>
                <a:gd name="connsiteX443" fmla="*/ 0 w 1360555"/>
                <a:gd name="connsiteY443" fmla="*/ 86621 h 753337"/>
                <a:gd name="connsiteX444" fmla="*/ 0 w 1360555"/>
                <a:gd name="connsiteY444" fmla="*/ 35581 h 753337"/>
                <a:gd name="connsiteX445" fmla="*/ 205323 w 1360555"/>
                <a:gd name="connsiteY445" fmla="*/ 35581 h 753337"/>
                <a:gd name="connsiteX446" fmla="*/ 205323 w 1360555"/>
                <a:gd name="connsiteY446" fmla="*/ 47539 h 753337"/>
                <a:gd name="connsiteX447" fmla="*/ 0 w 1360555"/>
                <a:gd name="connsiteY447" fmla="*/ 47539 h 753337"/>
                <a:gd name="connsiteX448" fmla="*/ 0 w 1360555"/>
                <a:gd name="connsiteY448" fmla="*/ 0 h 753337"/>
                <a:gd name="connsiteX449" fmla="*/ 312651 w 1360555"/>
                <a:gd name="connsiteY449" fmla="*/ 0 h 753337"/>
                <a:gd name="connsiteX450" fmla="*/ 312651 w 1360555"/>
                <a:gd name="connsiteY450" fmla="*/ 11958 h 753337"/>
                <a:gd name="connsiteX451" fmla="*/ 0 w 1360555"/>
                <a:gd name="connsiteY451" fmla="*/ 11958 h 75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1360555" h="753337">
                  <a:moveTo>
                    <a:pt x="759357" y="631245"/>
                  </a:moveTo>
                  <a:lnTo>
                    <a:pt x="799126" y="669633"/>
                  </a:lnTo>
                  <a:lnTo>
                    <a:pt x="810155" y="657914"/>
                  </a:lnTo>
                  <a:lnTo>
                    <a:pt x="806695" y="654453"/>
                  </a:lnTo>
                  <a:close/>
                  <a:moveTo>
                    <a:pt x="311484" y="515057"/>
                  </a:moveTo>
                  <a:lnTo>
                    <a:pt x="301859" y="517974"/>
                  </a:lnTo>
                  <a:lnTo>
                    <a:pt x="301859" y="534598"/>
                  </a:lnTo>
                  <a:lnTo>
                    <a:pt x="318192" y="538681"/>
                  </a:lnTo>
                  <a:close/>
                  <a:moveTo>
                    <a:pt x="172658" y="497850"/>
                  </a:moveTo>
                  <a:cubicBezTo>
                    <a:pt x="164783" y="497850"/>
                    <a:pt x="157200" y="501058"/>
                    <a:pt x="151659" y="506891"/>
                  </a:cubicBezTo>
                  <a:cubicBezTo>
                    <a:pt x="146118" y="512432"/>
                    <a:pt x="143493" y="519724"/>
                    <a:pt x="143493" y="527598"/>
                  </a:cubicBezTo>
                  <a:cubicBezTo>
                    <a:pt x="143784" y="535181"/>
                    <a:pt x="146992" y="542472"/>
                    <a:pt x="152534" y="548014"/>
                  </a:cubicBezTo>
                  <a:cubicBezTo>
                    <a:pt x="163325" y="558222"/>
                    <a:pt x="183449" y="557930"/>
                    <a:pt x="193657" y="547139"/>
                  </a:cubicBezTo>
                  <a:cubicBezTo>
                    <a:pt x="199198" y="541597"/>
                    <a:pt x="201823" y="534306"/>
                    <a:pt x="201823" y="526432"/>
                  </a:cubicBezTo>
                  <a:cubicBezTo>
                    <a:pt x="201531" y="518557"/>
                    <a:pt x="198323" y="511557"/>
                    <a:pt x="192782" y="506016"/>
                  </a:cubicBezTo>
                  <a:cubicBezTo>
                    <a:pt x="187532" y="500766"/>
                    <a:pt x="180241" y="497850"/>
                    <a:pt x="172658" y="497850"/>
                  </a:cubicBezTo>
                  <a:close/>
                  <a:moveTo>
                    <a:pt x="172658" y="480059"/>
                  </a:moveTo>
                  <a:cubicBezTo>
                    <a:pt x="184907" y="480059"/>
                    <a:pt x="196573" y="484725"/>
                    <a:pt x="205323" y="493183"/>
                  </a:cubicBezTo>
                  <a:cubicBezTo>
                    <a:pt x="214364" y="501933"/>
                    <a:pt x="219614" y="513599"/>
                    <a:pt x="219614" y="526140"/>
                  </a:cubicBezTo>
                  <a:cubicBezTo>
                    <a:pt x="219905" y="538681"/>
                    <a:pt x="215239" y="550639"/>
                    <a:pt x="206489" y="559680"/>
                  </a:cubicBezTo>
                  <a:cubicBezTo>
                    <a:pt x="197448" y="568721"/>
                    <a:pt x="185491" y="573971"/>
                    <a:pt x="172658" y="573971"/>
                  </a:cubicBezTo>
                  <a:cubicBezTo>
                    <a:pt x="160408" y="573971"/>
                    <a:pt x="148742" y="569304"/>
                    <a:pt x="139993" y="560846"/>
                  </a:cubicBezTo>
                  <a:cubicBezTo>
                    <a:pt x="130952" y="552097"/>
                    <a:pt x="125702" y="540431"/>
                    <a:pt x="125702" y="527890"/>
                  </a:cubicBezTo>
                  <a:cubicBezTo>
                    <a:pt x="125410" y="515349"/>
                    <a:pt x="130077" y="503391"/>
                    <a:pt x="138826" y="494350"/>
                  </a:cubicBezTo>
                  <a:cubicBezTo>
                    <a:pt x="147867" y="485309"/>
                    <a:pt x="159825" y="480059"/>
                    <a:pt x="172658" y="480059"/>
                  </a:cubicBezTo>
                  <a:close/>
                  <a:moveTo>
                    <a:pt x="1047904" y="459060"/>
                  </a:moveTo>
                  <a:lnTo>
                    <a:pt x="1164273" y="459060"/>
                  </a:lnTo>
                  <a:lnTo>
                    <a:pt x="1164273" y="471018"/>
                  </a:lnTo>
                  <a:lnTo>
                    <a:pt x="1047904" y="471018"/>
                  </a:lnTo>
                  <a:close/>
                  <a:moveTo>
                    <a:pt x="1047904" y="419687"/>
                  </a:moveTo>
                  <a:lnTo>
                    <a:pt x="1253227" y="419687"/>
                  </a:lnTo>
                  <a:lnTo>
                    <a:pt x="1253227" y="431645"/>
                  </a:lnTo>
                  <a:lnTo>
                    <a:pt x="1047904" y="431645"/>
                  </a:lnTo>
                  <a:close/>
                  <a:moveTo>
                    <a:pt x="560666" y="408425"/>
                  </a:moveTo>
                  <a:lnTo>
                    <a:pt x="543639" y="452060"/>
                  </a:lnTo>
                  <a:cubicBezTo>
                    <a:pt x="543930" y="469851"/>
                    <a:pt x="551222" y="486767"/>
                    <a:pt x="564054" y="499016"/>
                  </a:cubicBezTo>
                  <a:cubicBezTo>
                    <a:pt x="576595" y="510974"/>
                    <a:pt x="592928" y="517682"/>
                    <a:pt x="610427" y="517682"/>
                  </a:cubicBezTo>
                  <a:cubicBezTo>
                    <a:pt x="619614" y="517682"/>
                    <a:pt x="628436" y="515859"/>
                    <a:pt x="636566" y="512396"/>
                  </a:cubicBezTo>
                  <a:lnTo>
                    <a:pt x="653194" y="500952"/>
                  </a:lnTo>
                  <a:close/>
                  <a:moveTo>
                    <a:pt x="143201" y="389939"/>
                  </a:moveTo>
                  <a:lnTo>
                    <a:pt x="128910" y="394022"/>
                  </a:lnTo>
                  <a:lnTo>
                    <a:pt x="136784" y="421145"/>
                  </a:lnTo>
                  <a:lnTo>
                    <a:pt x="129493" y="424353"/>
                  </a:lnTo>
                  <a:cubicBezTo>
                    <a:pt x="120744" y="427853"/>
                    <a:pt x="112869" y="432520"/>
                    <a:pt x="105286" y="438353"/>
                  </a:cubicBezTo>
                  <a:lnTo>
                    <a:pt x="99161" y="443019"/>
                  </a:lnTo>
                  <a:lnTo>
                    <a:pt x="78746" y="423187"/>
                  </a:lnTo>
                  <a:lnTo>
                    <a:pt x="68538" y="433978"/>
                  </a:lnTo>
                  <a:lnTo>
                    <a:pt x="88954" y="453519"/>
                  </a:lnTo>
                  <a:lnTo>
                    <a:pt x="84287" y="459935"/>
                  </a:lnTo>
                  <a:cubicBezTo>
                    <a:pt x="78454" y="467226"/>
                    <a:pt x="73788" y="475392"/>
                    <a:pt x="70288" y="484142"/>
                  </a:cubicBezTo>
                  <a:lnTo>
                    <a:pt x="67371" y="491142"/>
                  </a:lnTo>
                  <a:lnTo>
                    <a:pt x="39664" y="484142"/>
                  </a:lnTo>
                  <a:lnTo>
                    <a:pt x="36165" y="498433"/>
                  </a:lnTo>
                  <a:lnTo>
                    <a:pt x="63580" y="505141"/>
                  </a:lnTo>
                  <a:lnTo>
                    <a:pt x="62705" y="513015"/>
                  </a:lnTo>
                  <a:cubicBezTo>
                    <a:pt x="61538" y="522348"/>
                    <a:pt x="61538" y="531681"/>
                    <a:pt x="62705" y="541014"/>
                  </a:cubicBezTo>
                  <a:lnTo>
                    <a:pt x="63580" y="548597"/>
                  </a:lnTo>
                  <a:lnTo>
                    <a:pt x="35873" y="556472"/>
                  </a:lnTo>
                  <a:lnTo>
                    <a:pt x="40248" y="570763"/>
                  </a:lnTo>
                  <a:lnTo>
                    <a:pt x="67371" y="562888"/>
                  </a:lnTo>
                  <a:lnTo>
                    <a:pt x="70580" y="570179"/>
                  </a:lnTo>
                  <a:cubicBezTo>
                    <a:pt x="74079" y="578929"/>
                    <a:pt x="79037" y="587095"/>
                    <a:pt x="84579" y="594386"/>
                  </a:cubicBezTo>
                  <a:lnTo>
                    <a:pt x="89245" y="600511"/>
                  </a:lnTo>
                  <a:lnTo>
                    <a:pt x="69413" y="620927"/>
                  </a:lnTo>
                  <a:lnTo>
                    <a:pt x="80204" y="631134"/>
                  </a:lnTo>
                  <a:lnTo>
                    <a:pt x="99745" y="610719"/>
                  </a:lnTo>
                  <a:lnTo>
                    <a:pt x="106161" y="615385"/>
                  </a:lnTo>
                  <a:cubicBezTo>
                    <a:pt x="113452" y="621218"/>
                    <a:pt x="121619" y="625885"/>
                    <a:pt x="130368" y="629385"/>
                  </a:cubicBezTo>
                  <a:lnTo>
                    <a:pt x="137368" y="632301"/>
                  </a:lnTo>
                  <a:lnTo>
                    <a:pt x="130368" y="660008"/>
                  </a:lnTo>
                  <a:lnTo>
                    <a:pt x="144659" y="663508"/>
                  </a:lnTo>
                  <a:lnTo>
                    <a:pt x="151367" y="636093"/>
                  </a:lnTo>
                  <a:lnTo>
                    <a:pt x="159242" y="636967"/>
                  </a:lnTo>
                  <a:cubicBezTo>
                    <a:pt x="168575" y="638426"/>
                    <a:pt x="178199" y="638134"/>
                    <a:pt x="187240" y="636967"/>
                  </a:cubicBezTo>
                  <a:lnTo>
                    <a:pt x="194823" y="636093"/>
                  </a:lnTo>
                  <a:lnTo>
                    <a:pt x="202698" y="663508"/>
                  </a:lnTo>
                  <a:lnTo>
                    <a:pt x="216989" y="659425"/>
                  </a:lnTo>
                  <a:lnTo>
                    <a:pt x="209114" y="632301"/>
                  </a:lnTo>
                  <a:lnTo>
                    <a:pt x="216405" y="629385"/>
                  </a:lnTo>
                  <a:cubicBezTo>
                    <a:pt x="225155" y="625885"/>
                    <a:pt x="233321" y="620927"/>
                    <a:pt x="240613" y="615385"/>
                  </a:cubicBezTo>
                  <a:lnTo>
                    <a:pt x="246737" y="610719"/>
                  </a:lnTo>
                  <a:lnTo>
                    <a:pt x="267444" y="630551"/>
                  </a:lnTo>
                  <a:lnTo>
                    <a:pt x="277652" y="619760"/>
                  </a:lnTo>
                  <a:lnTo>
                    <a:pt x="257237" y="600219"/>
                  </a:lnTo>
                  <a:lnTo>
                    <a:pt x="261903" y="593803"/>
                  </a:lnTo>
                  <a:cubicBezTo>
                    <a:pt x="267736" y="586220"/>
                    <a:pt x="272403" y="578054"/>
                    <a:pt x="275902" y="569596"/>
                  </a:cubicBezTo>
                  <a:lnTo>
                    <a:pt x="278819" y="562596"/>
                  </a:lnTo>
                  <a:lnTo>
                    <a:pt x="306526" y="569304"/>
                  </a:lnTo>
                  <a:lnTo>
                    <a:pt x="310026" y="555013"/>
                  </a:lnTo>
                  <a:lnTo>
                    <a:pt x="282610" y="548305"/>
                  </a:lnTo>
                  <a:lnTo>
                    <a:pt x="283485" y="540431"/>
                  </a:lnTo>
                  <a:cubicBezTo>
                    <a:pt x="284652" y="531098"/>
                    <a:pt x="284652" y="521765"/>
                    <a:pt x="283485" y="512432"/>
                  </a:cubicBezTo>
                  <a:lnTo>
                    <a:pt x="282610" y="504849"/>
                  </a:lnTo>
                  <a:lnTo>
                    <a:pt x="309442" y="496975"/>
                  </a:lnTo>
                  <a:cubicBezTo>
                    <a:pt x="309734" y="496975"/>
                    <a:pt x="309734" y="496391"/>
                    <a:pt x="309734" y="496391"/>
                  </a:cubicBezTo>
                  <a:lnTo>
                    <a:pt x="305651" y="482684"/>
                  </a:lnTo>
                  <a:lnTo>
                    <a:pt x="278527" y="490558"/>
                  </a:lnTo>
                  <a:lnTo>
                    <a:pt x="275319" y="483267"/>
                  </a:lnTo>
                  <a:cubicBezTo>
                    <a:pt x="271819" y="474517"/>
                    <a:pt x="267153" y="466351"/>
                    <a:pt x="261320" y="459060"/>
                  </a:cubicBezTo>
                  <a:lnTo>
                    <a:pt x="256653" y="452935"/>
                  </a:lnTo>
                  <a:lnTo>
                    <a:pt x="276486" y="432520"/>
                  </a:lnTo>
                  <a:lnTo>
                    <a:pt x="265986" y="422312"/>
                  </a:lnTo>
                  <a:lnTo>
                    <a:pt x="246446" y="442727"/>
                  </a:lnTo>
                  <a:lnTo>
                    <a:pt x="240029" y="438061"/>
                  </a:lnTo>
                  <a:cubicBezTo>
                    <a:pt x="232738" y="432228"/>
                    <a:pt x="224572" y="427562"/>
                    <a:pt x="215822" y="424062"/>
                  </a:cubicBezTo>
                  <a:lnTo>
                    <a:pt x="208822" y="421145"/>
                  </a:lnTo>
                  <a:lnTo>
                    <a:pt x="215530" y="393438"/>
                  </a:lnTo>
                  <a:lnTo>
                    <a:pt x="201240" y="389939"/>
                  </a:lnTo>
                  <a:lnTo>
                    <a:pt x="194532" y="417354"/>
                  </a:lnTo>
                  <a:lnTo>
                    <a:pt x="186657" y="416479"/>
                  </a:lnTo>
                  <a:cubicBezTo>
                    <a:pt x="177616" y="415312"/>
                    <a:pt x="167991" y="415312"/>
                    <a:pt x="158658" y="416479"/>
                  </a:cubicBezTo>
                  <a:lnTo>
                    <a:pt x="151075" y="417354"/>
                  </a:lnTo>
                  <a:close/>
                  <a:moveTo>
                    <a:pt x="1047904" y="384397"/>
                  </a:moveTo>
                  <a:lnTo>
                    <a:pt x="1360555" y="384397"/>
                  </a:lnTo>
                  <a:lnTo>
                    <a:pt x="1360555" y="396355"/>
                  </a:lnTo>
                  <a:lnTo>
                    <a:pt x="1047904" y="396355"/>
                  </a:lnTo>
                  <a:close/>
                  <a:moveTo>
                    <a:pt x="610427" y="383814"/>
                  </a:moveTo>
                  <a:cubicBezTo>
                    <a:pt x="601240" y="383814"/>
                    <a:pt x="592417" y="385637"/>
                    <a:pt x="584287" y="389100"/>
                  </a:cubicBezTo>
                  <a:lnTo>
                    <a:pt x="567660" y="400543"/>
                  </a:lnTo>
                  <a:lnTo>
                    <a:pt x="660186" y="493070"/>
                  </a:lnTo>
                  <a:lnTo>
                    <a:pt x="677215" y="449435"/>
                  </a:lnTo>
                  <a:cubicBezTo>
                    <a:pt x="676924" y="431645"/>
                    <a:pt x="669632" y="414729"/>
                    <a:pt x="656800" y="402479"/>
                  </a:cubicBezTo>
                  <a:cubicBezTo>
                    <a:pt x="644259" y="390522"/>
                    <a:pt x="627926" y="383814"/>
                    <a:pt x="610427" y="383814"/>
                  </a:cubicBezTo>
                  <a:close/>
                  <a:moveTo>
                    <a:pt x="403758" y="251516"/>
                  </a:moveTo>
                  <a:lnTo>
                    <a:pt x="389063" y="266861"/>
                  </a:lnTo>
                  <a:lnTo>
                    <a:pt x="430769" y="306234"/>
                  </a:lnTo>
                  <a:lnTo>
                    <a:pt x="426103" y="312651"/>
                  </a:lnTo>
                  <a:cubicBezTo>
                    <a:pt x="414729" y="328108"/>
                    <a:pt x="404812" y="345024"/>
                    <a:pt x="397521" y="362815"/>
                  </a:cubicBezTo>
                  <a:lnTo>
                    <a:pt x="394605" y="369814"/>
                  </a:lnTo>
                  <a:lnTo>
                    <a:pt x="337733" y="355815"/>
                  </a:lnTo>
                  <a:lnTo>
                    <a:pt x="326650" y="402188"/>
                  </a:lnTo>
                  <a:lnTo>
                    <a:pt x="382355" y="415604"/>
                  </a:lnTo>
                  <a:lnTo>
                    <a:pt x="381480" y="423478"/>
                  </a:lnTo>
                  <a:cubicBezTo>
                    <a:pt x="379147" y="442436"/>
                    <a:pt x="379147" y="461976"/>
                    <a:pt x="381772" y="481225"/>
                  </a:cubicBezTo>
                  <a:lnTo>
                    <a:pt x="382647" y="488808"/>
                  </a:lnTo>
                  <a:lnTo>
                    <a:pt x="328108" y="504558"/>
                  </a:lnTo>
                  <a:cubicBezTo>
                    <a:pt x="327816" y="505433"/>
                    <a:pt x="328400" y="506599"/>
                    <a:pt x="327816" y="507474"/>
                  </a:cubicBezTo>
                  <a:cubicBezTo>
                    <a:pt x="327525" y="507766"/>
                    <a:pt x="327233" y="507766"/>
                    <a:pt x="327233" y="507766"/>
                  </a:cubicBezTo>
                  <a:lnTo>
                    <a:pt x="340066" y="550639"/>
                  </a:lnTo>
                  <a:lnTo>
                    <a:pt x="394896" y="534306"/>
                  </a:lnTo>
                  <a:lnTo>
                    <a:pt x="398104" y="541597"/>
                  </a:lnTo>
                  <a:cubicBezTo>
                    <a:pt x="405687" y="559097"/>
                    <a:pt x="415312" y="576012"/>
                    <a:pt x="427270" y="591470"/>
                  </a:cubicBezTo>
                  <a:lnTo>
                    <a:pt x="431936" y="597595"/>
                  </a:lnTo>
                  <a:lnTo>
                    <a:pt x="391396" y="639592"/>
                  </a:lnTo>
                  <a:lnTo>
                    <a:pt x="426103" y="672257"/>
                  </a:lnTo>
                  <a:lnTo>
                    <a:pt x="465476" y="630551"/>
                  </a:lnTo>
                  <a:lnTo>
                    <a:pt x="471892" y="635509"/>
                  </a:lnTo>
                  <a:cubicBezTo>
                    <a:pt x="487350" y="646884"/>
                    <a:pt x="504266" y="656800"/>
                    <a:pt x="522056" y="664091"/>
                  </a:cubicBezTo>
                  <a:lnTo>
                    <a:pt x="529056" y="667008"/>
                  </a:lnTo>
                  <a:lnTo>
                    <a:pt x="515057" y="723588"/>
                  </a:lnTo>
                  <a:lnTo>
                    <a:pt x="561138" y="734379"/>
                  </a:lnTo>
                  <a:lnTo>
                    <a:pt x="574845" y="678674"/>
                  </a:lnTo>
                  <a:lnTo>
                    <a:pt x="582720" y="679549"/>
                  </a:lnTo>
                  <a:cubicBezTo>
                    <a:pt x="601386" y="681882"/>
                    <a:pt x="621218" y="681590"/>
                    <a:pt x="640467" y="679257"/>
                  </a:cubicBezTo>
                  <a:lnTo>
                    <a:pt x="648050" y="678382"/>
                  </a:lnTo>
                  <a:lnTo>
                    <a:pt x="664383" y="734671"/>
                  </a:lnTo>
                  <a:lnTo>
                    <a:pt x="710172" y="720963"/>
                  </a:lnTo>
                  <a:lnTo>
                    <a:pt x="693839" y="666133"/>
                  </a:lnTo>
                  <a:lnTo>
                    <a:pt x="701131" y="662924"/>
                  </a:lnTo>
                  <a:cubicBezTo>
                    <a:pt x="718630" y="655342"/>
                    <a:pt x="735546" y="645717"/>
                    <a:pt x="751003" y="633759"/>
                  </a:cubicBezTo>
                  <a:lnTo>
                    <a:pt x="756282" y="629737"/>
                  </a:lnTo>
                  <a:lnTo>
                    <a:pt x="746045" y="624718"/>
                  </a:lnTo>
                  <a:lnTo>
                    <a:pt x="761443" y="609202"/>
                  </a:lnTo>
                  <a:lnTo>
                    <a:pt x="665695" y="513454"/>
                  </a:lnTo>
                  <a:lnTo>
                    <a:pt x="643638" y="528729"/>
                  </a:lnTo>
                  <a:cubicBezTo>
                    <a:pt x="633321" y="533140"/>
                    <a:pt x="622093" y="535473"/>
                    <a:pt x="610427" y="535473"/>
                  </a:cubicBezTo>
                  <a:cubicBezTo>
                    <a:pt x="588261" y="535473"/>
                    <a:pt x="567262" y="527015"/>
                    <a:pt x="551513" y="511849"/>
                  </a:cubicBezTo>
                  <a:cubicBezTo>
                    <a:pt x="535181" y="496100"/>
                    <a:pt x="525848" y="475101"/>
                    <a:pt x="525556" y="452352"/>
                  </a:cubicBezTo>
                  <a:cubicBezTo>
                    <a:pt x="525264" y="441123"/>
                    <a:pt x="527233" y="430114"/>
                    <a:pt x="531243" y="419869"/>
                  </a:cubicBezTo>
                  <a:lnTo>
                    <a:pt x="547239" y="394997"/>
                  </a:lnTo>
                  <a:lnTo>
                    <a:pt x="454626" y="302384"/>
                  </a:lnTo>
                  <a:lnTo>
                    <a:pt x="439227" y="317900"/>
                  </a:lnTo>
                  <a:lnTo>
                    <a:pt x="409492" y="257250"/>
                  </a:lnTo>
                  <a:close/>
                  <a:moveTo>
                    <a:pt x="659424" y="167408"/>
                  </a:moveTo>
                  <a:lnTo>
                    <a:pt x="646008" y="223114"/>
                  </a:lnTo>
                  <a:lnTo>
                    <a:pt x="638134" y="222239"/>
                  </a:lnTo>
                  <a:cubicBezTo>
                    <a:pt x="619177" y="219906"/>
                    <a:pt x="599344" y="219906"/>
                    <a:pt x="580387" y="222530"/>
                  </a:cubicBezTo>
                  <a:lnTo>
                    <a:pt x="572804" y="223405"/>
                  </a:lnTo>
                  <a:lnTo>
                    <a:pt x="556763" y="167700"/>
                  </a:lnTo>
                  <a:lnTo>
                    <a:pt x="510974" y="180824"/>
                  </a:lnTo>
                  <a:lnTo>
                    <a:pt x="527306" y="235655"/>
                  </a:lnTo>
                  <a:lnTo>
                    <a:pt x="520015" y="238863"/>
                  </a:lnTo>
                  <a:cubicBezTo>
                    <a:pt x="502516" y="246446"/>
                    <a:pt x="485600" y="256070"/>
                    <a:pt x="470142" y="268028"/>
                  </a:cubicBezTo>
                  <a:lnTo>
                    <a:pt x="464018" y="272694"/>
                  </a:lnTo>
                  <a:lnTo>
                    <a:pt x="422020" y="232447"/>
                  </a:lnTo>
                  <a:lnTo>
                    <a:pt x="411034" y="243918"/>
                  </a:lnTo>
                  <a:lnTo>
                    <a:pt x="417243" y="250127"/>
                  </a:lnTo>
                  <a:lnTo>
                    <a:pt x="477434" y="279402"/>
                  </a:lnTo>
                  <a:lnTo>
                    <a:pt x="462035" y="294918"/>
                  </a:lnTo>
                  <a:lnTo>
                    <a:pt x="555061" y="387944"/>
                  </a:lnTo>
                  <a:lnTo>
                    <a:pt x="577179" y="372767"/>
                  </a:lnTo>
                  <a:cubicBezTo>
                    <a:pt x="587532" y="368356"/>
                    <a:pt x="598761" y="366023"/>
                    <a:pt x="610427" y="366023"/>
                  </a:cubicBezTo>
                  <a:cubicBezTo>
                    <a:pt x="632592" y="366023"/>
                    <a:pt x="653591" y="374481"/>
                    <a:pt x="669341" y="389647"/>
                  </a:cubicBezTo>
                  <a:lnTo>
                    <a:pt x="669049" y="389647"/>
                  </a:lnTo>
                  <a:cubicBezTo>
                    <a:pt x="685381" y="405396"/>
                    <a:pt x="694714" y="426395"/>
                    <a:pt x="695006" y="449144"/>
                  </a:cubicBezTo>
                  <a:cubicBezTo>
                    <a:pt x="695297" y="460373"/>
                    <a:pt x="693329" y="471382"/>
                    <a:pt x="689318" y="481627"/>
                  </a:cubicBezTo>
                  <a:lnTo>
                    <a:pt x="673437" y="506320"/>
                  </a:lnTo>
                  <a:lnTo>
                    <a:pt x="768853" y="601736"/>
                  </a:lnTo>
                  <a:lnTo>
                    <a:pt x="784251" y="586220"/>
                  </a:lnTo>
                  <a:lnTo>
                    <a:pt x="813759" y="646643"/>
                  </a:lnTo>
                  <a:lnTo>
                    <a:pt x="817367" y="650251"/>
                  </a:lnTo>
                  <a:lnTo>
                    <a:pt x="831791" y="634926"/>
                  </a:lnTo>
                  <a:lnTo>
                    <a:pt x="790084" y="595553"/>
                  </a:lnTo>
                  <a:lnTo>
                    <a:pt x="794751" y="589137"/>
                  </a:lnTo>
                  <a:cubicBezTo>
                    <a:pt x="806417" y="573679"/>
                    <a:pt x="816041" y="556763"/>
                    <a:pt x="823333" y="538972"/>
                  </a:cubicBezTo>
                  <a:lnTo>
                    <a:pt x="826249" y="531973"/>
                  </a:lnTo>
                  <a:lnTo>
                    <a:pt x="883121" y="545972"/>
                  </a:lnTo>
                  <a:lnTo>
                    <a:pt x="894204" y="499600"/>
                  </a:lnTo>
                  <a:lnTo>
                    <a:pt x="838499" y="486475"/>
                  </a:lnTo>
                  <a:lnTo>
                    <a:pt x="839374" y="478601"/>
                  </a:lnTo>
                  <a:cubicBezTo>
                    <a:pt x="841707" y="459643"/>
                    <a:pt x="841707" y="440103"/>
                    <a:pt x="839082" y="420854"/>
                  </a:cubicBezTo>
                  <a:lnTo>
                    <a:pt x="838207" y="413271"/>
                  </a:lnTo>
                  <a:lnTo>
                    <a:pt x="894496" y="396938"/>
                  </a:lnTo>
                  <a:lnTo>
                    <a:pt x="880788" y="351149"/>
                  </a:lnTo>
                  <a:lnTo>
                    <a:pt x="825958" y="367481"/>
                  </a:lnTo>
                  <a:lnTo>
                    <a:pt x="822749" y="360190"/>
                  </a:lnTo>
                  <a:cubicBezTo>
                    <a:pt x="815167" y="342399"/>
                    <a:pt x="805250" y="325483"/>
                    <a:pt x="793584" y="310318"/>
                  </a:cubicBezTo>
                  <a:lnTo>
                    <a:pt x="788918" y="304193"/>
                  </a:lnTo>
                  <a:lnTo>
                    <a:pt x="829166" y="262487"/>
                  </a:lnTo>
                  <a:lnTo>
                    <a:pt x="794751" y="229530"/>
                  </a:lnTo>
                  <a:lnTo>
                    <a:pt x="755378" y="271236"/>
                  </a:lnTo>
                  <a:lnTo>
                    <a:pt x="748962" y="266570"/>
                  </a:lnTo>
                  <a:cubicBezTo>
                    <a:pt x="733504" y="255195"/>
                    <a:pt x="716588" y="245279"/>
                    <a:pt x="698797" y="237988"/>
                  </a:cubicBezTo>
                  <a:lnTo>
                    <a:pt x="691798" y="235071"/>
                  </a:lnTo>
                  <a:lnTo>
                    <a:pt x="705797" y="178491"/>
                  </a:lnTo>
                  <a:lnTo>
                    <a:pt x="695589" y="176449"/>
                  </a:lnTo>
                  <a:close/>
                  <a:moveTo>
                    <a:pt x="0" y="131535"/>
                  </a:moveTo>
                  <a:lnTo>
                    <a:pt x="296318" y="131535"/>
                  </a:lnTo>
                  <a:lnTo>
                    <a:pt x="296318" y="136936"/>
                  </a:lnTo>
                  <a:lnTo>
                    <a:pt x="300109" y="132993"/>
                  </a:lnTo>
                  <a:lnTo>
                    <a:pt x="397799" y="230683"/>
                  </a:lnTo>
                  <a:lnTo>
                    <a:pt x="412687" y="215239"/>
                  </a:lnTo>
                  <a:cubicBezTo>
                    <a:pt x="415895" y="211739"/>
                    <a:pt x="420853" y="210573"/>
                    <a:pt x="425520" y="211739"/>
                  </a:cubicBezTo>
                  <a:lnTo>
                    <a:pt x="429020" y="213198"/>
                  </a:lnTo>
                  <a:cubicBezTo>
                    <a:pt x="430186" y="213781"/>
                    <a:pt x="431353" y="214947"/>
                    <a:pt x="431353" y="214947"/>
                  </a:cubicBezTo>
                  <a:lnTo>
                    <a:pt x="465476" y="247612"/>
                  </a:lnTo>
                  <a:cubicBezTo>
                    <a:pt x="478309" y="238571"/>
                    <a:pt x="491725" y="230697"/>
                    <a:pt x="506016" y="223989"/>
                  </a:cubicBezTo>
                  <a:lnTo>
                    <a:pt x="493183" y="179658"/>
                  </a:lnTo>
                  <a:cubicBezTo>
                    <a:pt x="491141" y="172366"/>
                    <a:pt x="495224" y="165075"/>
                    <a:pt x="502224" y="163033"/>
                  </a:cubicBezTo>
                  <a:lnTo>
                    <a:pt x="556180" y="147576"/>
                  </a:lnTo>
                  <a:cubicBezTo>
                    <a:pt x="557346" y="146993"/>
                    <a:pt x="559971" y="146993"/>
                    <a:pt x="559971" y="146993"/>
                  </a:cubicBezTo>
                  <a:lnTo>
                    <a:pt x="565221" y="146993"/>
                  </a:lnTo>
                  <a:lnTo>
                    <a:pt x="566096" y="148451"/>
                  </a:lnTo>
                  <a:cubicBezTo>
                    <a:pt x="569304" y="150201"/>
                    <a:pt x="571637" y="153117"/>
                    <a:pt x="572512" y="156617"/>
                  </a:cubicBezTo>
                  <a:lnTo>
                    <a:pt x="585637" y="202115"/>
                  </a:lnTo>
                  <a:cubicBezTo>
                    <a:pt x="600802" y="200948"/>
                    <a:pt x="616843" y="200657"/>
                    <a:pt x="632301" y="202115"/>
                  </a:cubicBezTo>
                  <a:lnTo>
                    <a:pt x="643384" y="157200"/>
                  </a:lnTo>
                  <a:cubicBezTo>
                    <a:pt x="643675" y="155159"/>
                    <a:pt x="645425" y="152534"/>
                    <a:pt x="645425" y="152534"/>
                  </a:cubicBezTo>
                  <a:lnTo>
                    <a:pt x="651842" y="145826"/>
                  </a:lnTo>
                  <a:lnTo>
                    <a:pt x="652425" y="147576"/>
                  </a:lnTo>
                  <a:cubicBezTo>
                    <a:pt x="653883" y="147284"/>
                    <a:pt x="656508" y="147284"/>
                    <a:pt x="656508" y="147284"/>
                  </a:cubicBezTo>
                  <a:lnTo>
                    <a:pt x="659424" y="147284"/>
                  </a:lnTo>
                  <a:lnTo>
                    <a:pt x="675755" y="151367"/>
                  </a:lnTo>
                  <a:lnTo>
                    <a:pt x="1031864" y="151367"/>
                  </a:lnTo>
                  <a:lnTo>
                    <a:pt x="1031864" y="162158"/>
                  </a:lnTo>
                  <a:lnTo>
                    <a:pt x="1009989" y="162158"/>
                  </a:lnTo>
                  <a:lnTo>
                    <a:pt x="1009989" y="171913"/>
                  </a:lnTo>
                  <a:lnTo>
                    <a:pt x="1031863" y="235655"/>
                  </a:lnTo>
                  <a:lnTo>
                    <a:pt x="1009989" y="235655"/>
                  </a:lnTo>
                  <a:lnTo>
                    <a:pt x="1009989" y="669632"/>
                  </a:lnTo>
                  <a:lnTo>
                    <a:pt x="1031863" y="669632"/>
                  </a:lnTo>
                  <a:lnTo>
                    <a:pt x="1009989" y="733374"/>
                  </a:lnTo>
                  <a:lnTo>
                    <a:pt x="1009989" y="748378"/>
                  </a:lnTo>
                  <a:lnTo>
                    <a:pt x="1004840" y="748378"/>
                  </a:lnTo>
                  <a:lnTo>
                    <a:pt x="1004740" y="748670"/>
                  </a:lnTo>
                  <a:lnTo>
                    <a:pt x="1004640" y="748378"/>
                  </a:lnTo>
                  <a:lnTo>
                    <a:pt x="999490" y="748378"/>
                  </a:lnTo>
                  <a:lnTo>
                    <a:pt x="999490" y="733372"/>
                  </a:lnTo>
                  <a:lnTo>
                    <a:pt x="977616" y="669632"/>
                  </a:lnTo>
                  <a:lnTo>
                    <a:pt x="999490" y="669632"/>
                  </a:lnTo>
                  <a:lnTo>
                    <a:pt x="999490" y="235655"/>
                  </a:lnTo>
                  <a:lnTo>
                    <a:pt x="977616" y="235655"/>
                  </a:lnTo>
                  <a:lnTo>
                    <a:pt x="999490" y="171915"/>
                  </a:lnTo>
                  <a:lnTo>
                    <a:pt x="999490" y="162158"/>
                  </a:lnTo>
                  <a:lnTo>
                    <a:pt x="715809" y="162158"/>
                  </a:lnTo>
                  <a:lnTo>
                    <a:pt x="722421" y="167117"/>
                  </a:lnTo>
                  <a:cubicBezTo>
                    <a:pt x="724171" y="170325"/>
                    <a:pt x="724754" y="173825"/>
                    <a:pt x="723879" y="177324"/>
                  </a:cubicBezTo>
                  <a:lnTo>
                    <a:pt x="712505" y="223114"/>
                  </a:lnTo>
                  <a:cubicBezTo>
                    <a:pt x="726504" y="229530"/>
                    <a:pt x="740212" y="237405"/>
                    <a:pt x="753045" y="246446"/>
                  </a:cubicBezTo>
                  <a:lnTo>
                    <a:pt x="785126" y="213198"/>
                  </a:lnTo>
                  <a:cubicBezTo>
                    <a:pt x="790084" y="208239"/>
                    <a:pt x="799126" y="208239"/>
                    <a:pt x="804084" y="212906"/>
                  </a:cubicBezTo>
                  <a:lnTo>
                    <a:pt x="846957" y="255195"/>
                  </a:lnTo>
                  <a:cubicBezTo>
                    <a:pt x="849581" y="261028"/>
                    <a:pt x="848706" y="266861"/>
                    <a:pt x="844915" y="270945"/>
                  </a:cubicBezTo>
                  <a:lnTo>
                    <a:pt x="812250" y="305068"/>
                  </a:lnTo>
                  <a:cubicBezTo>
                    <a:pt x="821291" y="317901"/>
                    <a:pt x="829166" y="331316"/>
                    <a:pt x="835874" y="345607"/>
                  </a:cubicBezTo>
                  <a:lnTo>
                    <a:pt x="880205" y="332775"/>
                  </a:lnTo>
                  <a:cubicBezTo>
                    <a:pt x="886913" y="331025"/>
                    <a:pt x="894787" y="335108"/>
                    <a:pt x="896829" y="341816"/>
                  </a:cubicBezTo>
                  <a:lnTo>
                    <a:pt x="912287" y="396063"/>
                  </a:lnTo>
                  <a:cubicBezTo>
                    <a:pt x="913161" y="399563"/>
                    <a:pt x="912870" y="403063"/>
                    <a:pt x="911120" y="406271"/>
                  </a:cubicBezTo>
                  <a:cubicBezTo>
                    <a:pt x="909370" y="409479"/>
                    <a:pt x="906454" y="411812"/>
                    <a:pt x="902954" y="412687"/>
                  </a:cubicBezTo>
                  <a:lnTo>
                    <a:pt x="857748" y="425812"/>
                  </a:lnTo>
                  <a:cubicBezTo>
                    <a:pt x="859206" y="441561"/>
                    <a:pt x="859498" y="457310"/>
                    <a:pt x="858039" y="472768"/>
                  </a:cubicBezTo>
                  <a:lnTo>
                    <a:pt x="902954" y="483850"/>
                  </a:lnTo>
                  <a:lnTo>
                    <a:pt x="902662" y="484434"/>
                  </a:lnTo>
                  <a:cubicBezTo>
                    <a:pt x="909662" y="486184"/>
                    <a:pt x="914036" y="493475"/>
                    <a:pt x="912287" y="500474"/>
                  </a:cubicBezTo>
                  <a:lnTo>
                    <a:pt x="898871" y="555013"/>
                  </a:lnTo>
                  <a:cubicBezTo>
                    <a:pt x="897412" y="561138"/>
                    <a:pt x="892163" y="565221"/>
                    <a:pt x="886038" y="564930"/>
                  </a:cubicBezTo>
                  <a:lnTo>
                    <a:pt x="883413" y="564930"/>
                  </a:lnTo>
                  <a:lnTo>
                    <a:pt x="837040" y="553555"/>
                  </a:lnTo>
                  <a:cubicBezTo>
                    <a:pt x="830624" y="567554"/>
                    <a:pt x="822749" y="581262"/>
                    <a:pt x="813708" y="594095"/>
                  </a:cubicBezTo>
                  <a:lnTo>
                    <a:pt x="846957" y="626176"/>
                  </a:lnTo>
                  <a:cubicBezTo>
                    <a:pt x="848123" y="627343"/>
                    <a:pt x="849290" y="628801"/>
                    <a:pt x="849873" y="630551"/>
                  </a:cubicBezTo>
                  <a:cubicBezTo>
                    <a:pt x="851915" y="634926"/>
                    <a:pt x="851040" y="640176"/>
                    <a:pt x="848123" y="643967"/>
                  </a:cubicBezTo>
                  <a:lnTo>
                    <a:pt x="847248" y="644842"/>
                  </a:lnTo>
                  <a:lnTo>
                    <a:pt x="808167" y="685382"/>
                  </a:lnTo>
                  <a:cubicBezTo>
                    <a:pt x="807000" y="686548"/>
                    <a:pt x="805542" y="687715"/>
                    <a:pt x="803792" y="688298"/>
                  </a:cubicBezTo>
                  <a:cubicBezTo>
                    <a:pt x="799709" y="690340"/>
                    <a:pt x="793293" y="689173"/>
                    <a:pt x="789501" y="685673"/>
                  </a:cubicBezTo>
                  <a:lnTo>
                    <a:pt x="755378" y="653008"/>
                  </a:lnTo>
                  <a:cubicBezTo>
                    <a:pt x="742545" y="662050"/>
                    <a:pt x="728838" y="670216"/>
                    <a:pt x="714838" y="676632"/>
                  </a:cubicBezTo>
                  <a:lnTo>
                    <a:pt x="727671" y="720963"/>
                  </a:lnTo>
                  <a:cubicBezTo>
                    <a:pt x="728546" y="723588"/>
                    <a:pt x="728254" y="726505"/>
                    <a:pt x="727379" y="729129"/>
                  </a:cubicBezTo>
                  <a:cubicBezTo>
                    <a:pt x="725921" y="732921"/>
                    <a:pt x="722713" y="736129"/>
                    <a:pt x="718630" y="737296"/>
                  </a:cubicBezTo>
                  <a:lnTo>
                    <a:pt x="660883" y="753337"/>
                  </a:lnTo>
                  <a:cubicBezTo>
                    <a:pt x="660299" y="753337"/>
                    <a:pt x="659424" y="753337"/>
                    <a:pt x="658841" y="753337"/>
                  </a:cubicBezTo>
                  <a:cubicBezTo>
                    <a:pt x="653591" y="752170"/>
                    <a:pt x="649508" y="748378"/>
                    <a:pt x="648050" y="743712"/>
                  </a:cubicBezTo>
                  <a:lnTo>
                    <a:pt x="634926" y="698214"/>
                  </a:lnTo>
                  <a:cubicBezTo>
                    <a:pt x="619468" y="699673"/>
                    <a:pt x="603427" y="699673"/>
                    <a:pt x="587970" y="698214"/>
                  </a:cubicBezTo>
                  <a:lnTo>
                    <a:pt x="576887" y="743129"/>
                  </a:lnTo>
                  <a:cubicBezTo>
                    <a:pt x="576304" y="745754"/>
                    <a:pt x="574554" y="748087"/>
                    <a:pt x="572221" y="750128"/>
                  </a:cubicBezTo>
                  <a:cubicBezTo>
                    <a:pt x="569596" y="752170"/>
                    <a:pt x="566679" y="753045"/>
                    <a:pt x="563763" y="752753"/>
                  </a:cubicBezTo>
                  <a:lnTo>
                    <a:pt x="561138" y="752753"/>
                  </a:lnTo>
                  <a:lnTo>
                    <a:pt x="506016" y="739046"/>
                  </a:lnTo>
                  <a:cubicBezTo>
                    <a:pt x="504557" y="738754"/>
                    <a:pt x="502807" y="738171"/>
                    <a:pt x="501349" y="737004"/>
                  </a:cubicBezTo>
                  <a:cubicBezTo>
                    <a:pt x="497266" y="733504"/>
                    <a:pt x="495224" y="728255"/>
                    <a:pt x="496391" y="723005"/>
                  </a:cubicBezTo>
                  <a:lnTo>
                    <a:pt x="507766" y="676924"/>
                  </a:lnTo>
                  <a:cubicBezTo>
                    <a:pt x="493766" y="670507"/>
                    <a:pt x="480059" y="662633"/>
                    <a:pt x="467226" y="653592"/>
                  </a:cubicBezTo>
                  <a:lnTo>
                    <a:pt x="435144" y="686840"/>
                  </a:lnTo>
                  <a:cubicBezTo>
                    <a:pt x="432811" y="689173"/>
                    <a:pt x="429895" y="690923"/>
                    <a:pt x="426395" y="690923"/>
                  </a:cubicBezTo>
                  <a:cubicBezTo>
                    <a:pt x="422312" y="690923"/>
                    <a:pt x="419103" y="689465"/>
                    <a:pt x="416479" y="687132"/>
                  </a:cubicBezTo>
                  <a:lnTo>
                    <a:pt x="375939" y="648050"/>
                  </a:lnTo>
                  <a:cubicBezTo>
                    <a:pt x="374772" y="646592"/>
                    <a:pt x="373606" y="645425"/>
                    <a:pt x="373022" y="643675"/>
                  </a:cubicBezTo>
                  <a:cubicBezTo>
                    <a:pt x="370981" y="639009"/>
                    <a:pt x="371856" y="633176"/>
                    <a:pt x="375647" y="629385"/>
                  </a:cubicBezTo>
                  <a:lnTo>
                    <a:pt x="408312" y="595261"/>
                  </a:lnTo>
                  <a:cubicBezTo>
                    <a:pt x="399271" y="582429"/>
                    <a:pt x="391396" y="569013"/>
                    <a:pt x="384688" y="554722"/>
                  </a:cubicBezTo>
                  <a:lnTo>
                    <a:pt x="336858" y="568138"/>
                  </a:lnTo>
                  <a:cubicBezTo>
                    <a:pt x="334816" y="568138"/>
                    <a:pt x="333066" y="567846"/>
                    <a:pt x="331316" y="566971"/>
                  </a:cubicBezTo>
                  <a:cubicBezTo>
                    <a:pt x="329275" y="566096"/>
                    <a:pt x="327525" y="564346"/>
                    <a:pt x="326066" y="562596"/>
                  </a:cubicBezTo>
                  <a:lnTo>
                    <a:pt x="321692" y="579804"/>
                  </a:lnTo>
                  <a:cubicBezTo>
                    <a:pt x="320525" y="584762"/>
                    <a:pt x="316150" y="587970"/>
                    <a:pt x="310901" y="587970"/>
                  </a:cubicBezTo>
                  <a:lnTo>
                    <a:pt x="308859" y="587970"/>
                  </a:lnTo>
                  <a:lnTo>
                    <a:pt x="288735" y="583012"/>
                  </a:lnTo>
                  <a:cubicBezTo>
                    <a:pt x="286110" y="588262"/>
                    <a:pt x="283485" y="593220"/>
                    <a:pt x="280277" y="597886"/>
                  </a:cubicBezTo>
                  <a:lnTo>
                    <a:pt x="296901" y="614802"/>
                  </a:lnTo>
                  <a:cubicBezTo>
                    <a:pt x="298651" y="618885"/>
                    <a:pt x="298068" y="623552"/>
                    <a:pt x="294860" y="626760"/>
                  </a:cubicBezTo>
                  <a:lnTo>
                    <a:pt x="271819" y="649509"/>
                  </a:lnTo>
                  <a:cubicBezTo>
                    <a:pt x="267736" y="651258"/>
                    <a:pt x="262778" y="650675"/>
                    <a:pt x="259570" y="647467"/>
                  </a:cubicBezTo>
                  <a:lnTo>
                    <a:pt x="244987" y="633468"/>
                  </a:lnTo>
                  <a:cubicBezTo>
                    <a:pt x="240321" y="636676"/>
                    <a:pt x="235363" y="639592"/>
                    <a:pt x="230405" y="641926"/>
                  </a:cubicBezTo>
                  <a:lnTo>
                    <a:pt x="235946" y="660591"/>
                  </a:lnTo>
                  <a:cubicBezTo>
                    <a:pt x="236821" y="662924"/>
                    <a:pt x="236821" y="665258"/>
                    <a:pt x="235946" y="667591"/>
                  </a:cubicBezTo>
                  <a:cubicBezTo>
                    <a:pt x="234779" y="671091"/>
                    <a:pt x="232155" y="673424"/>
                    <a:pt x="228946" y="674591"/>
                  </a:cubicBezTo>
                  <a:cubicBezTo>
                    <a:pt x="228946" y="674591"/>
                    <a:pt x="198323" y="682757"/>
                    <a:pt x="198323" y="682757"/>
                  </a:cubicBezTo>
                  <a:lnTo>
                    <a:pt x="197448" y="682757"/>
                  </a:lnTo>
                  <a:cubicBezTo>
                    <a:pt x="192198" y="681882"/>
                    <a:pt x="188990" y="678674"/>
                    <a:pt x="187824" y="674591"/>
                  </a:cubicBezTo>
                  <a:lnTo>
                    <a:pt x="182282" y="655342"/>
                  </a:lnTo>
                  <a:cubicBezTo>
                    <a:pt x="176741" y="655633"/>
                    <a:pt x="170908" y="655633"/>
                    <a:pt x="165366" y="655342"/>
                  </a:cubicBezTo>
                  <a:lnTo>
                    <a:pt x="160700" y="674299"/>
                  </a:lnTo>
                  <a:cubicBezTo>
                    <a:pt x="160117" y="676632"/>
                    <a:pt x="158658" y="678965"/>
                    <a:pt x="156617" y="680424"/>
                  </a:cubicBezTo>
                  <a:cubicBezTo>
                    <a:pt x="154867" y="681882"/>
                    <a:pt x="152242" y="682465"/>
                    <a:pt x="149909" y="682465"/>
                  </a:cubicBezTo>
                  <a:lnTo>
                    <a:pt x="147867" y="682465"/>
                  </a:lnTo>
                  <a:lnTo>
                    <a:pt x="117535" y="674882"/>
                  </a:lnTo>
                  <a:lnTo>
                    <a:pt x="115786" y="673716"/>
                  </a:lnTo>
                  <a:cubicBezTo>
                    <a:pt x="112286" y="671091"/>
                    <a:pt x="110536" y="666424"/>
                    <a:pt x="111702" y="662050"/>
                  </a:cubicBezTo>
                  <a:lnTo>
                    <a:pt x="116661" y="642509"/>
                  </a:lnTo>
                  <a:cubicBezTo>
                    <a:pt x="111702" y="639884"/>
                    <a:pt x="106744" y="636967"/>
                    <a:pt x="102078" y="634051"/>
                  </a:cubicBezTo>
                  <a:lnTo>
                    <a:pt x="88662" y="648050"/>
                  </a:lnTo>
                  <a:cubicBezTo>
                    <a:pt x="86912" y="650092"/>
                    <a:pt x="84287" y="651550"/>
                    <a:pt x="81371" y="651550"/>
                  </a:cubicBezTo>
                  <a:cubicBezTo>
                    <a:pt x="77871" y="651550"/>
                    <a:pt x="75246" y="650675"/>
                    <a:pt x="73204" y="648634"/>
                  </a:cubicBezTo>
                  <a:lnTo>
                    <a:pt x="51039" y="627051"/>
                  </a:lnTo>
                  <a:lnTo>
                    <a:pt x="50164" y="625301"/>
                  </a:lnTo>
                  <a:cubicBezTo>
                    <a:pt x="48122" y="620927"/>
                    <a:pt x="48997" y="616260"/>
                    <a:pt x="52205" y="613052"/>
                  </a:cubicBezTo>
                  <a:lnTo>
                    <a:pt x="66205" y="598469"/>
                  </a:lnTo>
                  <a:cubicBezTo>
                    <a:pt x="63288" y="593803"/>
                    <a:pt x="60372" y="588845"/>
                    <a:pt x="57747" y="583887"/>
                  </a:cubicBezTo>
                  <a:lnTo>
                    <a:pt x="36165" y="589720"/>
                  </a:lnTo>
                  <a:cubicBezTo>
                    <a:pt x="34706" y="589720"/>
                    <a:pt x="32956" y="589137"/>
                    <a:pt x="31498" y="588553"/>
                  </a:cubicBezTo>
                  <a:cubicBezTo>
                    <a:pt x="28582" y="587387"/>
                    <a:pt x="26248" y="584762"/>
                    <a:pt x="25373" y="581554"/>
                  </a:cubicBezTo>
                  <a:cubicBezTo>
                    <a:pt x="25373" y="581554"/>
                    <a:pt x="17207" y="552680"/>
                    <a:pt x="17207" y="552680"/>
                  </a:cubicBezTo>
                  <a:lnTo>
                    <a:pt x="17207" y="549764"/>
                  </a:lnTo>
                  <a:cubicBezTo>
                    <a:pt x="17791" y="545389"/>
                    <a:pt x="20999" y="541889"/>
                    <a:pt x="25082" y="540722"/>
                  </a:cubicBezTo>
                  <a:lnTo>
                    <a:pt x="44331" y="535181"/>
                  </a:lnTo>
                  <a:cubicBezTo>
                    <a:pt x="44039" y="529640"/>
                    <a:pt x="44039" y="523807"/>
                    <a:pt x="44331" y="518265"/>
                  </a:cubicBezTo>
                  <a:lnTo>
                    <a:pt x="25373" y="513599"/>
                  </a:lnTo>
                  <a:cubicBezTo>
                    <a:pt x="22749" y="512724"/>
                    <a:pt x="20415" y="510974"/>
                    <a:pt x="18957" y="508932"/>
                  </a:cubicBezTo>
                  <a:cubicBezTo>
                    <a:pt x="17207" y="506599"/>
                    <a:pt x="16332" y="503391"/>
                    <a:pt x="17207" y="500183"/>
                  </a:cubicBezTo>
                  <a:lnTo>
                    <a:pt x="24790" y="470143"/>
                  </a:lnTo>
                  <a:lnTo>
                    <a:pt x="25957" y="468393"/>
                  </a:lnTo>
                  <a:cubicBezTo>
                    <a:pt x="28290" y="465768"/>
                    <a:pt x="31498" y="464601"/>
                    <a:pt x="34706" y="464601"/>
                  </a:cubicBezTo>
                  <a:lnTo>
                    <a:pt x="37040" y="464601"/>
                  </a:lnTo>
                  <a:lnTo>
                    <a:pt x="56872" y="469559"/>
                  </a:lnTo>
                  <a:cubicBezTo>
                    <a:pt x="59497" y="464601"/>
                    <a:pt x="62122" y="459643"/>
                    <a:pt x="65330" y="454977"/>
                  </a:cubicBezTo>
                  <a:lnTo>
                    <a:pt x="51331" y="441561"/>
                  </a:lnTo>
                  <a:cubicBezTo>
                    <a:pt x="49581" y="440103"/>
                    <a:pt x="48414" y="437769"/>
                    <a:pt x="48122" y="435145"/>
                  </a:cubicBezTo>
                  <a:cubicBezTo>
                    <a:pt x="47539" y="431936"/>
                    <a:pt x="48414" y="428728"/>
                    <a:pt x="50747" y="426103"/>
                  </a:cubicBezTo>
                  <a:lnTo>
                    <a:pt x="70580" y="405688"/>
                  </a:lnTo>
                  <a:cubicBezTo>
                    <a:pt x="72621" y="403354"/>
                    <a:pt x="75538" y="402479"/>
                    <a:pt x="78454" y="402479"/>
                  </a:cubicBezTo>
                  <a:lnTo>
                    <a:pt x="79912" y="402479"/>
                  </a:lnTo>
                  <a:lnTo>
                    <a:pt x="86037" y="405104"/>
                  </a:lnTo>
                  <a:lnTo>
                    <a:pt x="100620" y="419104"/>
                  </a:lnTo>
                  <a:cubicBezTo>
                    <a:pt x="105286" y="415896"/>
                    <a:pt x="110244" y="413271"/>
                    <a:pt x="115202" y="410646"/>
                  </a:cubicBezTo>
                  <a:lnTo>
                    <a:pt x="109953" y="391980"/>
                  </a:lnTo>
                  <a:cubicBezTo>
                    <a:pt x="108203" y="386147"/>
                    <a:pt x="111702" y="380022"/>
                    <a:pt x="117535" y="378272"/>
                  </a:cubicBezTo>
                  <a:cubicBezTo>
                    <a:pt x="117535" y="378272"/>
                    <a:pt x="147576" y="370106"/>
                    <a:pt x="147576" y="370106"/>
                  </a:cubicBezTo>
                  <a:lnTo>
                    <a:pt x="148451" y="370106"/>
                  </a:lnTo>
                  <a:cubicBezTo>
                    <a:pt x="153700" y="370981"/>
                    <a:pt x="157492" y="373898"/>
                    <a:pt x="158658" y="378272"/>
                  </a:cubicBezTo>
                  <a:lnTo>
                    <a:pt x="164200" y="397521"/>
                  </a:lnTo>
                  <a:cubicBezTo>
                    <a:pt x="169741" y="397521"/>
                    <a:pt x="175574" y="397230"/>
                    <a:pt x="181116" y="397521"/>
                  </a:cubicBezTo>
                  <a:lnTo>
                    <a:pt x="188115" y="373898"/>
                  </a:lnTo>
                  <a:lnTo>
                    <a:pt x="188990" y="373023"/>
                  </a:lnTo>
                  <a:cubicBezTo>
                    <a:pt x="191032" y="370981"/>
                    <a:pt x="193657" y="370106"/>
                    <a:pt x="196573" y="370106"/>
                  </a:cubicBezTo>
                  <a:lnTo>
                    <a:pt x="198906" y="370106"/>
                  </a:lnTo>
                  <a:lnTo>
                    <a:pt x="226613" y="376814"/>
                  </a:lnTo>
                  <a:cubicBezTo>
                    <a:pt x="232738" y="378272"/>
                    <a:pt x="236238" y="384397"/>
                    <a:pt x="234779" y="390230"/>
                  </a:cubicBezTo>
                  <a:lnTo>
                    <a:pt x="229821" y="409771"/>
                  </a:lnTo>
                  <a:cubicBezTo>
                    <a:pt x="234779" y="412396"/>
                    <a:pt x="239738" y="415312"/>
                    <a:pt x="244404" y="418229"/>
                  </a:cubicBezTo>
                  <a:lnTo>
                    <a:pt x="257820" y="404229"/>
                  </a:lnTo>
                  <a:cubicBezTo>
                    <a:pt x="261611" y="400146"/>
                    <a:pt x="269486" y="399855"/>
                    <a:pt x="273569" y="403938"/>
                  </a:cubicBezTo>
                  <a:lnTo>
                    <a:pt x="296026" y="426103"/>
                  </a:lnTo>
                  <a:cubicBezTo>
                    <a:pt x="298068" y="431061"/>
                    <a:pt x="297485" y="435728"/>
                    <a:pt x="294276" y="439228"/>
                  </a:cubicBezTo>
                  <a:lnTo>
                    <a:pt x="280277" y="453810"/>
                  </a:lnTo>
                  <a:cubicBezTo>
                    <a:pt x="283485" y="458477"/>
                    <a:pt x="286110" y="463435"/>
                    <a:pt x="288735" y="468393"/>
                  </a:cubicBezTo>
                  <a:lnTo>
                    <a:pt x="310317" y="462560"/>
                  </a:lnTo>
                  <a:cubicBezTo>
                    <a:pt x="315275" y="462560"/>
                    <a:pt x="319650" y="466060"/>
                    <a:pt x="321108" y="470726"/>
                  </a:cubicBezTo>
                  <a:lnTo>
                    <a:pt x="325483" y="485600"/>
                  </a:lnTo>
                  <a:lnTo>
                    <a:pt x="363398" y="474517"/>
                  </a:lnTo>
                  <a:cubicBezTo>
                    <a:pt x="361940" y="459060"/>
                    <a:pt x="361648" y="443311"/>
                    <a:pt x="363106" y="427853"/>
                  </a:cubicBezTo>
                  <a:lnTo>
                    <a:pt x="318192" y="416770"/>
                  </a:lnTo>
                  <a:cubicBezTo>
                    <a:pt x="314984" y="415896"/>
                    <a:pt x="312359" y="414146"/>
                    <a:pt x="310609" y="411521"/>
                  </a:cubicBezTo>
                  <a:cubicBezTo>
                    <a:pt x="308567" y="408021"/>
                    <a:pt x="307692" y="404229"/>
                    <a:pt x="308567" y="400438"/>
                  </a:cubicBezTo>
                  <a:lnTo>
                    <a:pt x="321983" y="345899"/>
                  </a:lnTo>
                  <a:cubicBezTo>
                    <a:pt x="322275" y="343566"/>
                    <a:pt x="323733" y="341816"/>
                    <a:pt x="324608" y="340649"/>
                  </a:cubicBezTo>
                  <a:cubicBezTo>
                    <a:pt x="327233" y="337441"/>
                    <a:pt x="331025" y="335983"/>
                    <a:pt x="334816" y="335983"/>
                  </a:cubicBezTo>
                  <a:lnTo>
                    <a:pt x="337441" y="335983"/>
                  </a:lnTo>
                  <a:lnTo>
                    <a:pt x="383814" y="347357"/>
                  </a:lnTo>
                  <a:cubicBezTo>
                    <a:pt x="390230" y="333066"/>
                    <a:pt x="398104" y="319359"/>
                    <a:pt x="407146" y="306526"/>
                  </a:cubicBezTo>
                  <a:lnTo>
                    <a:pt x="373897" y="274444"/>
                  </a:lnTo>
                  <a:cubicBezTo>
                    <a:pt x="371856" y="272403"/>
                    <a:pt x="370689" y="269778"/>
                    <a:pt x="370106" y="266861"/>
                  </a:cubicBezTo>
                  <a:cubicBezTo>
                    <a:pt x="369523" y="262778"/>
                    <a:pt x="370689" y="258695"/>
                    <a:pt x="373606" y="255779"/>
                  </a:cubicBezTo>
                  <a:lnTo>
                    <a:pt x="390498" y="238256"/>
                  </a:lnTo>
                  <a:lnTo>
                    <a:pt x="294276" y="142034"/>
                  </a:lnTo>
                  <a:lnTo>
                    <a:pt x="0" y="142034"/>
                  </a:lnTo>
                  <a:close/>
                  <a:moveTo>
                    <a:pt x="0" y="74663"/>
                  </a:moveTo>
                  <a:lnTo>
                    <a:pt x="116369" y="74663"/>
                  </a:lnTo>
                  <a:lnTo>
                    <a:pt x="116369" y="86621"/>
                  </a:lnTo>
                  <a:lnTo>
                    <a:pt x="0" y="86621"/>
                  </a:lnTo>
                  <a:close/>
                  <a:moveTo>
                    <a:pt x="0" y="35581"/>
                  </a:moveTo>
                  <a:lnTo>
                    <a:pt x="205323" y="35581"/>
                  </a:lnTo>
                  <a:lnTo>
                    <a:pt x="205323" y="47539"/>
                  </a:lnTo>
                  <a:lnTo>
                    <a:pt x="0" y="47539"/>
                  </a:lnTo>
                  <a:close/>
                  <a:moveTo>
                    <a:pt x="0" y="0"/>
                  </a:moveTo>
                  <a:lnTo>
                    <a:pt x="312651" y="0"/>
                  </a:lnTo>
                  <a:lnTo>
                    <a:pt x="312651" y="11958"/>
                  </a:lnTo>
                  <a:lnTo>
                    <a:pt x="0" y="11958"/>
                  </a:lnTo>
                  <a:close/>
                </a:path>
              </a:pathLst>
            </a:custGeom>
            <a:solidFill>
              <a:schemeClr val="bg1">
                <a:lumMod val="85000"/>
              </a:schemeClr>
            </a:solidFill>
            <a:ln w="29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2" name="Forma libre: forma 821">
              <a:extLst>
                <a:ext uri="{FF2B5EF4-FFF2-40B4-BE49-F238E27FC236}">
                  <a16:creationId xmlns:a16="http://schemas.microsoft.com/office/drawing/2014/main" id="{B916D6AA-8CB0-BE42-017D-575224BCA66C}"/>
                </a:ext>
              </a:extLst>
            </p:cNvPr>
            <p:cNvSpPr/>
            <p:nvPr/>
          </p:nvSpPr>
          <p:spPr>
            <a:xfrm>
              <a:off x="6302310" y="4727917"/>
              <a:ext cx="669557" cy="522309"/>
            </a:xfrm>
            <a:custGeom>
              <a:avLst/>
              <a:gdLst>
                <a:gd name="connsiteX0" fmla="*/ 13021 w 653903"/>
                <a:gd name="connsiteY0" fmla="*/ 318989 h 510099"/>
                <a:gd name="connsiteX1" fmla="*/ 13436 w 653903"/>
                <a:gd name="connsiteY1" fmla="*/ 319359 h 510099"/>
                <a:gd name="connsiteX2" fmla="*/ 11686 w 653903"/>
                <a:gd name="connsiteY2" fmla="*/ 319067 h 510099"/>
                <a:gd name="connsiteX3" fmla="*/ 235711 w 653903"/>
                <a:gd name="connsiteY3" fmla="*/ 225228 h 510099"/>
                <a:gd name="connsiteX4" fmla="*/ 216426 w 653903"/>
                <a:gd name="connsiteY4" fmla="*/ 227488 h 510099"/>
                <a:gd name="connsiteX5" fmla="*/ 216426 w 653903"/>
                <a:gd name="connsiteY5" fmla="*/ 227197 h 510099"/>
                <a:gd name="connsiteX6" fmla="*/ 186094 w 653903"/>
                <a:gd name="connsiteY6" fmla="*/ 253154 h 510099"/>
                <a:gd name="connsiteX7" fmla="*/ 183469 w 653903"/>
                <a:gd name="connsiteY7" fmla="*/ 292235 h 510099"/>
                <a:gd name="connsiteX8" fmla="*/ 209134 w 653903"/>
                <a:gd name="connsiteY8" fmla="*/ 321692 h 510099"/>
                <a:gd name="connsiteX9" fmla="*/ 247049 w 653903"/>
                <a:gd name="connsiteY9" fmla="*/ 324609 h 510099"/>
                <a:gd name="connsiteX10" fmla="*/ 277381 w 653903"/>
                <a:gd name="connsiteY10" fmla="*/ 298652 h 510099"/>
                <a:gd name="connsiteX11" fmla="*/ 280006 w 653903"/>
                <a:gd name="connsiteY11" fmla="*/ 259862 h 510099"/>
                <a:gd name="connsiteX12" fmla="*/ 254340 w 653903"/>
                <a:gd name="connsiteY12" fmla="*/ 230405 h 510099"/>
                <a:gd name="connsiteX13" fmla="*/ 235711 w 653903"/>
                <a:gd name="connsiteY13" fmla="*/ 225228 h 510099"/>
                <a:gd name="connsiteX14" fmla="*/ 237024 w 653903"/>
                <a:gd name="connsiteY14" fmla="*/ 211557 h 510099"/>
                <a:gd name="connsiteX15" fmla="*/ 260757 w 653903"/>
                <a:gd name="connsiteY15" fmla="*/ 218156 h 510099"/>
                <a:gd name="connsiteX16" fmla="*/ 293130 w 653903"/>
                <a:gd name="connsiteY16" fmla="*/ 255487 h 510099"/>
                <a:gd name="connsiteX17" fmla="*/ 289630 w 653903"/>
                <a:gd name="connsiteY17" fmla="*/ 304776 h 510099"/>
                <a:gd name="connsiteX18" fmla="*/ 251132 w 653903"/>
                <a:gd name="connsiteY18" fmla="*/ 337733 h 510099"/>
                <a:gd name="connsiteX19" fmla="*/ 203010 w 653903"/>
                <a:gd name="connsiteY19" fmla="*/ 333942 h 510099"/>
                <a:gd name="connsiteX20" fmla="*/ 170636 w 653903"/>
                <a:gd name="connsiteY20" fmla="*/ 296610 h 510099"/>
                <a:gd name="connsiteX21" fmla="*/ 174136 w 653903"/>
                <a:gd name="connsiteY21" fmla="*/ 247321 h 510099"/>
                <a:gd name="connsiteX22" fmla="*/ 212634 w 653903"/>
                <a:gd name="connsiteY22" fmla="*/ 214364 h 510099"/>
                <a:gd name="connsiteX23" fmla="*/ 237024 w 653903"/>
                <a:gd name="connsiteY23" fmla="*/ 211557 h 510099"/>
                <a:gd name="connsiteX24" fmla="*/ 542808 w 653903"/>
                <a:gd name="connsiteY24" fmla="*/ 154846 h 510099"/>
                <a:gd name="connsiteX25" fmla="*/ 543075 w 653903"/>
                <a:gd name="connsiteY25" fmla="*/ 154867 h 510099"/>
                <a:gd name="connsiteX26" fmla="*/ 542784 w 653903"/>
                <a:gd name="connsiteY26" fmla="*/ 154867 h 510099"/>
                <a:gd name="connsiteX27" fmla="*/ 436914 w 653903"/>
                <a:gd name="connsiteY27" fmla="*/ 144659 h 510099"/>
                <a:gd name="connsiteX28" fmla="*/ 424082 w 653903"/>
                <a:gd name="connsiteY28" fmla="*/ 145534 h 510099"/>
                <a:gd name="connsiteX29" fmla="*/ 434581 w 653903"/>
                <a:gd name="connsiteY29" fmla="*/ 161283 h 510099"/>
                <a:gd name="connsiteX30" fmla="*/ 440998 w 653903"/>
                <a:gd name="connsiteY30" fmla="*/ 156909 h 510099"/>
                <a:gd name="connsiteX31" fmla="*/ 436914 w 653903"/>
                <a:gd name="connsiteY31" fmla="*/ 144659 h 510099"/>
                <a:gd name="connsiteX32" fmla="*/ 525066 w 653903"/>
                <a:gd name="connsiteY32" fmla="*/ 100072 h 510099"/>
                <a:gd name="connsiteX33" fmla="*/ 512160 w 653903"/>
                <a:gd name="connsiteY33" fmla="*/ 110827 h 510099"/>
                <a:gd name="connsiteX34" fmla="*/ 510994 w 653903"/>
                <a:gd name="connsiteY34" fmla="*/ 127743 h 510099"/>
                <a:gd name="connsiteX35" fmla="*/ 522076 w 653903"/>
                <a:gd name="connsiteY35" fmla="*/ 140576 h 510099"/>
                <a:gd name="connsiteX36" fmla="*/ 538701 w 653903"/>
                <a:gd name="connsiteY36" fmla="*/ 141742 h 510099"/>
                <a:gd name="connsiteX37" fmla="*/ 538701 w 653903"/>
                <a:gd name="connsiteY37" fmla="*/ 142034 h 510099"/>
                <a:gd name="connsiteX38" fmla="*/ 551825 w 653903"/>
                <a:gd name="connsiteY38" fmla="*/ 130660 h 510099"/>
                <a:gd name="connsiteX39" fmla="*/ 552991 w 653903"/>
                <a:gd name="connsiteY39" fmla="*/ 113744 h 510099"/>
                <a:gd name="connsiteX40" fmla="*/ 541909 w 653903"/>
                <a:gd name="connsiteY40" fmla="*/ 100911 h 510099"/>
                <a:gd name="connsiteX41" fmla="*/ 525066 w 653903"/>
                <a:gd name="connsiteY41" fmla="*/ 100072 h 510099"/>
                <a:gd name="connsiteX42" fmla="*/ 521201 w 653903"/>
                <a:gd name="connsiteY42" fmla="*/ 86620 h 510099"/>
                <a:gd name="connsiteX43" fmla="*/ 548033 w 653903"/>
                <a:gd name="connsiteY43" fmla="*/ 88662 h 510099"/>
                <a:gd name="connsiteX44" fmla="*/ 566116 w 653903"/>
                <a:gd name="connsiteY44" fmla="*/ 109369 h 510099"/>
                <a:gd name="connsiteX45" fmla="*/ 564074 w 653903"/>
                <a:gd name="connsiteY45" fmla="*/ 136784 h 510099"/>
                <a:gd name="connsiteX46" fmla="*/ 542808 w 653903"/>
                <a:gd name="connsiteY46" fmla="*/ 154846 h 510099"/>
                <a:gd name="connsiteX47" fmla="*/ 516243 w 653903"/>
                <a:gd name="connsiteY47" fmla="*/ 152825 h 510099"/>
                <a:gd name="connsiteX48" fmla="*/ 498161 w 653903"/>
                <a:gd name="connsiteY48" fmla="*/ 132118 h 510099"/>
                <a:gd name="connsiteX49" fmla="*/ 499911 w 653903"/>
                <a:gd name="connsiteY49" fmla="*/ 104703 h 510099"/>
                <a:gd name="connsiteX50" fmla="*/ 521201 w 653903"/>
                <a:gd name="connsiteY50" fmla="*/ 86620 h 510099"/>
                <a:gd name="connsiteX51" fmla="*/ 238300 w 653903"/>
                <a:gd name="connsiteY51" fmla="*/ 56289 h 510099"/>
                <a:gd name="connsiteX52" fmla="*/ 202426 w 653903"/>
                <a:gd name="connsiteY52" fmla="*/ 58914 h 510099"/>
                <a:gd name="connsiteX53" fmla="*/ 205343 w 653903"/>
                <a:gd name="connsiteY53" fmla="*/ 102370 h 510099"/>
                <a:gd name="connsiteX54" fmla="*/ 199510 w 653903"/>
                <a:gd name="connsiteY54" fmla="*/ 103536 h 510099"/>
                <a:gd name="connsiteX55" fmla="*/ 157512 w 653903"/>
                <a:gd name="connsiteY55" fmla="*/ 116953 h 510099"/>
                <a:gd name="connsiteX56" fmla="*/ 152262 w 653903"/>
                <a:gd name="connsiteY56" fmla="*/ 119286 h 510099"/>
                <a:gd name="connsiteX57" fmla="*/ 127945 w 653903"/>
                <a:gd name="connsiteY57" fmla="*/ 82519 h 510099"/>
                <a:gd name="connsiteX58" fmla="*/ 128347 w 653903"/>
                <a:gd name="connsiteY58" fmla="*/ 82246 h 510099"/>
                <a:gd name="connsiteX59" fmla="*/ 127764 w 653903"/>
                <a:gd name="connsiteY59" fmla="*/ 82246 h 510099"/>
                <a:gd name="connsiteX60" fmla="*/ 127945 w 653903"/>
                <a:gd name="connsiteY60" fmla="*/ 82519 h 510099"/>
                <a:gd name="connsiteX61" fmla="*/ 98307 w 653903"/>
                <a:gd name="connsiteY61" fmla="*/ 102662 h 510099"/>
                <a:gd name="connsiteX62" fmla="*/ 122805 w 653903"/>
                <a:gd name="connsiteY62" fmla="*/ 138827 h 510099"/>
                <a:gd name="connsiteX63" fmla="*/ 118139 w 653903"/>
                <a:gd name="connsiteY63" fmla="*/ 142910 h 510099"/>
                <a:gd name="connsiteX64" fmla="*/ 88391 w 653903"/>
                <a:gd name="connsiteY64" fmla="*/ 175574 h 510099"/>
                <a:gd name="connsiteX65" fmla="*/ 84891 w 653903"/>
                <a:gd name="connsiteY65" fmla="*/ 180241 h 510099"/>
                <a:gd name="connsiteX66" fmla="*/ 44934 w 653903"/>
                <a:gd name="connsiteY66" fmla="*/ 160408 h 510099"/>
                <a:gd name="connsiteX67" fmla="*/ 28894 w 653903"/>
                <a:gd name="connsiteY67" fmla="*/ 193074 h 510099"/>
                <a:gd name="connsiteX68" fmla="*/ 68267 w 653903"/>
                <a:gd name="connsiteY68" fmla="*/ 212031 h 510099"/>
                <a:gd name="connsiteX69" fmla="*/ 66225 w 653903"/>
                <a:gd name="connsiteY69" fmla="*/ 217864 h 510099"/>
                <a:gd name="connsiteX70" fmla="*/ 56892 w 653903"/>
                <a:gd name="connsiteY70" fmla="*/ 261029 h 510099"/>
                <a:gd name="connsiteX71" fmla="*/ 56309 w 653903"/>
                <a:gd name="connsiteY71" fmla="*/ 266862 h 510099"/>
                <a:gd name="connsiteX72" fmla="*/ 11978 w 653903"/>
                <a:gd name="connsiteY72" fmla="*/ 269486 h 510099"/>
                <a:gd name="connsiteX73" fmla="*/ 14603 w 653903"/>
                <a:gd name="connsiteY73" fmla="*/ 305651 h 510099"/>
                <a:gd name="connsiteX74" fmla="*/ 58059 w 653903"/>
                <a:gd name="connsiteY74" fmla="*/ 302443 h 510099"/>
                <a:gd name="connsiteX75" fmla="*/ 59225 w 653903"/>
                <a:gd name="connsiteY75" fmla="*/ 308276 h 510099"/>
                <a:gd name="connsiteX76" fmla="*/ 72641 w 653903"/>
                <a:gd name="connsiteY76" fmla="*/ 350274 h 510099"/>
                <a:gd name="connsiteX77" fmla="*/ 74975 w 653903"/>
                <a:gd name="connsiteY77" fmla="*/ 355524 h 510099"/>
                <a:gd name="connsiteX78" fmla="*/ 37935 w 653903"/>
                <a:gd name="connsiteY78" fmla="*/ 380022 h 510099"/>
                <a:gd name="connsiteX79" fmla="*/ 58350 w 653903"/>
                <a:gd name="connsiteY79" fmla="*/ 410063 h 510099"/>
                <a:gd name="connsiteX80" fmla="*/ 94515 w 653903"/>
                <a:gd name="connsiteY80" fmla="*/ 385564 h 510099"/>
                <a:gd name="connsiteX81" fmla="*/ 98307 w 653903"/>
                <a:gd name="connsiteY81" fmla="*/ 390230 h 510099"/>
                <a:gd name="connsiteX82" fmla="*/ 130972 w 653903"/>
                <a:gd name="connsiteY82" fmla="*/ 419979 h 510099"/>
                <a:gd name="connsiteX83" fmla="*/ 135638 w 653903"/>
                <a:gd name="connsiteY83" fmla="*/ 423187 h 510099"/>
                <a:gd name="connsiteX84" fmla="*/ 116097 w 653903"/>
                <a:gd name="connsiteY84" fmla="*/ 462852 h 510099"/>
                <a:gd name="connsiteX85" fmla="*/ 148471 w 653903"/>
                <a:gd name="connsiteY85" fmla="*/ 478893 h 510099"/>
                <a:gd name="connsiteX86" fmla="*/ 167720 w 653903"/>
                <a:gd name="connsiteY86" fmla="*/ 439519 h 510099"/>
                <a:gd name="connsiteX87" fmla="*/ 173553 w 653903"/>
                <a:gd name="connsiteY87" fmla="*/ 441561 h 510099"/>
                <a:gd name="connsiteX88" fmla="*/ 216717 w 653903"/>
                <a:gd name="connsiteY88" fmla="*/ 450894 h 510099"/>
                <a:gd name="connsiteX89" fmla="*/ 222550 w 653903"/>
                <a:gd name="connsiteY89" fmla="*/ 451477 h 510099"/>
                <a:gd name="connsiteX90" fmla="*/ 225175 w 653903"/>
                <a:gd name="connsiteY90" fmla="*/ 495808 h 510099"/>
                <a:gd name="connsiteX91" fmla="*/ 233050 w 653903"/>
                <a:gd name="connsiteY91" fmla="*/ 494933 h 510099"/>
                <a:gd name="connsiteX92" fmla="*/ 261340 w 653903"/>
                <a:gd name="connsiteY92" fmla="*/ 493183 h 510099"/>
                <a:gd name="connsiteX93" fmla="*/ 258132 w 653903"/>
                <a:gd name="connsiteY93" fmla="*/ 449727 h 510099"/>
                <a:gd name="connsiteX94" fmla="*/ 263965 w 653903"/>
                <a:gd name="connsiteY94" fmla="*/ 448561 h 510099"/>
                <a:gd name="connsiteX95" fmla="*/ 305963 w 653903"/>
                <a:gd name="connsiteY95" fmla="*/ 435145 h 510099"/>
                <a:gd name="connsiteX96" fmla="*/ 311213 w 653903"/>
                <a:gd name="connsiteY96" fmla="*/ 432812 h 510099"/>
                <a:gd name="connsiteX97" fmla="*/ 335711 w 653903"/>
                <a:gd name="connsiteY97" fmla="*/ 469559 h 510099"/>
                <a:gd name="connsiteX98" fmla="*/ 366043 w 653903"/>
                <a:gd name="connsiteY98" fmla="*/ 449435 h 510099"/>
                <a:gd name="connsiteX99" fmla="*/ 341544 w 653903"/>
                <a:gd name="connsiteY99" fmla="*/ 413271 h 510099"/>
                <a:gd name="connsiteX100" fmla="*/ 346211 w 653903"/>
                <a:gd name="connsiteY100" fmla="*/ 409187 h 510099"/>
                <a:gd name="connsiteX101" fmla="*/ 375959 w 653903"/>
                <a:gd name="connsiteY101" fmla="*/ 376523 h 510099"/>
                <a:gd name="connsiteX102" fmla="*/ 379167 w 653903"/>
                <a:gd name="connsiteY102" fmla="*/ 371856 h 510099"/>
                <a:gd name="connsiteX103" fmla="*/ 418832 w 653903"/>
                <a:gd name="connsiteY103" fmla="*/ 391397 h 510099"/>
                <a:gd name="connsiteX104" fmla="*/ 434873 w 653903"/>
                <a:gd name="connsiteY104" fmla="*/ 359024 h 510099"/>
                <a:gd name="connsiteX105" fmla="*/ 395500 w 653903"/>
                <a:gd name="connsiteY105" fmla="*/ 339775 h 510099"/>
                <a:gd name="connsiteX106" fmla="*/ 397541 w 653903"/>
                <a:gd name="connsiteY106" fmla="*/ 334233 h 510099"/>
                <a:gd name="connsiteX107" fmla="*/ 406874 w 653903"/>
                <a:gd name="connsiteY107" fmla="*/ 291069 h 510099"/>
                <a:gd name="connsiteX108" fmla="*/ 407458 w 653903"/>
                <a:gd name="connsiteY108" fmla="*/ 285235 h 510099"/>
                <a:gd name="connsiteX109" fmla="*/ 451789 w 653903"/>
                <a:gd name="connsiteY109" fmla="*/ 282611 h 510099"/>
                <a:gd name="connsiteX110" fmla="*/ 449164 w 653903"/>
                <a:gd name="connsiteY110" fmla="*/ 246446 h 510099"/>
                <a:gd name="connsiteX111" fmla="*/ 405708 w 653903"/>
                <a:gd name="connsiteY111" fmla="*/ 249654 h 510099"/>
                <a:gd name="connsiteX112" fmla="*/ 404541 w 653903"/>
                <a:gd name="connsiteY112" fmla="*/ 243821 h 510099"/>
                <a:gd name="connsiteX113" fmla="*/ 391125 w 653903"/>
                <a:gd name="connsiteY113" fmla="*/ 201823 h 510099"/>
                <a:gd name="connsiteX114" fmla="*/ 388792 w 653903"/>
                <a:gd name="connsiteY114" fmla="*/ 196573 h 510099"/>
                <a:gd name="connsiteX115" fmla="*/ 424957 w 653903"/>
                <a:gd name="connsiteY115" fmla="*/ 172658 h 510099"/>
                <a:gd name="connsiteX116" fmla="*/ 424665 w 653903"/>
                <a:gd name="connsiteY116" fmla="*/ 170616 h 510099"/>
                <a:gd name="connsiteX117" fmla="*/ 424665 w 653903"/>
                <a:gd name="connsiteY117" fmla="*/ 170325 h 510099"/>
                <a:gd name="connsiteX118" fmla="*/ 405416 w 653903"/>
                <a:gd name="connsiteY118" fmla="*/ 142035 h 510099"/>
                <a:gd name="connsiteX119" fmla="*/ 369251 w 653903"/>
                <a:gd name="connsiteY119" fmla="*/ 166533 h 510099"/>
                <a:gd name="connsiteX120" fmla="*/ 365460 w 653903"/>
                <a:gd name="connsiteY120" fmla="*/ 161867 h 510099"/>
                <a:gd name="connsiteX121" fmla="*/ 332795 w 653903"/>
                <a:gd name="connsiteY121" fmla="*/ 132118 h 510099"/>
                <a:gd name="connsiteX122" fmla="*/ 328128 w 653903"/>
                <a:gd name="connsiteY122" fmla="*/ 128910 h 510099"/>
                <a:gd name="connsiteX123" fmla="*/ 347961 w 653903"/>
                <a:gd name="connsiteY123" fmla="*/ 88954 h 510099"/>
                <a:gd name="connsiteX124" fmla="*/ 315296 w 653903"/>
                <a:gd name="connsiteY124" fmla="*/ 73205 h 510099"/>
                <a:gd name="connsiteX125" fmla="*/ 296047 w 653903"/>
                <a:gd name="connsiteY125" fmla="*/ 112578 h 510099"/>
                <a:gd name="connsiteX126" fmla="*/ 290214 w 653903"/>
                <a:gd name="connsiteY126" fmla="*/ 110536 h 510099"/>
                <a:gd name="connsiteX127" fmla="*/ 247049 w 653903"/>
                <a:gd name="connsiteY127" fmla="*/ 101203 h 510099"/>
                <a:gd name="connsiteX128" fmla="*/ 241216 w 653903"/>
                <a:gd name="connsiteY128" fmla="*/ 100620 h 510099"/>
                <a:gd name="connsiteX129" fmla="*/ 532868 w 653903"/>
                <a:gd name="connsiteY129" fmla="*/ 14000 h 510099"/>
                <a:gd name="connsiteX130" fmla="*/ 521493 w 653903"/>
                <a:gd name="connsiteY130" fmla="*/ 14875 h 510099"/>
                <a:gd name="connsiteX131" fmla="*/ 522952 w 653903"/>
                <a:gd name="connsiteY131" fmla="*/ 36456 h 510099"/>
                <a:gd name="connsiteX132" fmla="*/ 517119 w 653903"/>
                <a:gd name="connsiteY132" fmla="*/ 37623 h 510099"/>
                <a:gd name="connsiteX133" fmla="*/ 496995 w 653903"/>
                <a:gd name="connsiteY133" fmla="*/ 44040 h 510099"/>
                <a:gd name="connsiteX134" fmla="*/ 491745 w 653903"/>
                <a:gd name="connsiteY134" fmla="*/ 46373 h 510099"/>
                <a:gd name="connsiteX135" fmla="*/ 479787 w 653903"/>
                <a:gd name="connsiteY135" fmla="*/ 28290 h 510099"/>
                <a:gd name="connsiteX136" fmla="*/ 470454 w 653903"/>
                <a:gd name="connsiteY136" fmla="*/ 34415 h 510099"/>
                <a:gd name="connsiteX137" fmla="*/ 482412 w 653903"/>
                <a:gd name="connsiteY137" fmla="*/ 52497 h 510099"/>
                <a:gd name="connsiteX138" fmla="*/ 477746 w 653903"/>
                <a:gd name="connsiteY138" fmla="*/ 56289 h 510099"/>
                <a:gd name="connsiteX139" fmla="*/ 463455 w 653903"/>
                <a:gd name="connsiteY139" fmla="*/ 72038 h 510099"/>
                <a:gd name="connsiteX140" fmla="*/ 459955 w 653903"/>
                <a:gd name="connsiteY140" fmla="*/ 76705 h 510099"/>
                <a:gd name="connsiteX141" fmla="*/ 440414 w 653903"/>
                <a:gd name="connsiteY141" fmla="*/ 67080 h 510099"/>
                <a:gd name="connsiteX142" fmla="*/ 435456 w 653903"/>
                <a:gd name="connsiteY142" fmla="*/ 77288 h 510099"/>
                <a:gd name="connsiteX143" fmla="*/ 454705 w 653903"/>
                <a:gd name="connsiteY143" fmla="*/ 86621 h 510099"/>
                <a:gd name="connsiteX144" fmla="*/ 452664 w 653903"/>
                <a:gd name="connsiteY144" fmla="*/ 92454 h 510099"/>
                <a:gd name="connsiteX145" fmla="*/ 447997 w 653903"/>
                <a:gd name="connsiteY145" fmla="*/ 113161 h 510099"/>
                <a:gd name="connsiteX146" fmla="*/ 447414 w 653903"/>
                <a:gd name="connsiteY146" fmla="*/ 118994 h 510099"/>
                <a:gd name="connsiteX147" fmla="*/ 425832 w 653903"/>
                <a:gd name="connsiteY147" fmla="*/ 120452 h 510099"/>
                <a:gd name="connsiteX148" fmla="*/ 426415 w 653903"/>
                <a:gd name="connsiteY148" fmla="*/ 131827 h 510099"/>
                <a:gd name="connsiteX149" fmla="*/ 447997 w 653903"/>
                <a:gd name="connsiteY149" fmla="*/ 130368 h 510099"/>
                <a:gd name="connsiteX150" fmla="*/ 449164 w 653903"/>
                <a:gd name="connsiteY150" fmla="*/ 136202 h 510099"/>
                <a:gd name="connsiteX151" fmla="*/ 455580 w 653903"/>
                <a:gd name="connsiteY151" fmla="*/ 156325 h 510099"/>
                <a:gd name="connsiteX152" fmla="*/ 457913 w 653903"/>
                <a:gd name="connsiteY152" fmla="*/ 161575 h 510099"/>
                <a:gd name="connsiteX153" fmla="*/ 440123 w 653903"/>
                <a:gd name="connsiteY153" fmla="*/ 173241 h 510099"/>
                <a:gd name="connsiteX154" fmla="*/ 440123 w 653903"/>
                <a:gd name="connsiteY154" fmla="*/ 173825 h 510099"/>
                <a:gd name="connsiteX155" fmla="*/ 446247 w 653903"/>
                <a:gd name="connsiteY155" fmla="*/ 182866 h 510099"/>
                <a:gd name="connsiteX156" fmla="*/ 464038 w 653903"/>
                <a:gd name="connsiteY156" fmla="*/ 170908 h 510099"/>
                <a:gd name="connsiteX157" fmla="*/ 467829 w 653903"/>
                <a:gd name="connsiteY157" fmla="*/ 175574 h 510099"/>
                <a:gd name="connsiteX158" fmla="*/ 483579 w 653903"/>
                <a:gd name="connsiteY158" fmla="*/ 189866 h 510099"/>
                <a:gd name="connsiteX159" fmla="*/ 488245 w 653903"/>
                <a:gd name="connsiteY159" fmla="*/ 193074 h 510099"/>
                <a:gd name="connsiteX160" fmla="*/ 478621 w 653903"/>
                <a:gd name="connsiteY160" fmla="*/ 212614 h 510099"/>
                <a:gd name="connsiteX161" fmla="*/ 488828 w 653903"/>
                <a:gd name="connsiteY161" fmla="*/ 217572 h 510099"/>
                <a:gd name="connsiteX162" fmla="*/ 498453 w 653903"/>
                <a:gd name="connsiteY162" fmla="*/ 198323 h 510099"/>
                <a:gd name="connsiteX163" fmla="*/ 504286 w 653903"/>
                <a:gd name="connsiteY163" fmla="*/ 200365 h 510099"/>
                <a:gd name="connsiteX164" fmla="*/ 524993 w 653903"/>
                <a:gd name="connsiteY164" fmla="*/ 205031 h 510099"/>
                <a:gd name="connsiteX165" fmla="*/ 530826 w 653903"/>
                <a:gd name="connsiteY165" fmla="*/ 205615 h 510099"/>
                <a:gd name="connsiteX166" fmla="*/ 532285 w 653903"/>
                <a:gd name="connsiteY166" fmla="*/ 227197 h 510099"/>
                <a:gd name="connsiteX167" fmla="*/ 543367 w 653903"/>
                <a:gd name="connsiteY167" fmla="*/ 226614 h 510099"/>
                <a:gd name="connsiteX168" fmla="*/ 542201 w 653903"/>
                <a:gd name="connsiteY168" fmla="*/ 205031 h 510099"/>
                <a:gd name="connsiteX169" fmla="*/ 548034 w 653903"/>
                <a:gd name="connsiteY169" fmla="*/ 203865 h 510099"/>
                <a:gd name="connsiteX170" fmla="*/ 568449 w 653903"/>
                <a:gd name="connsiteY170" fmla="*/ 197448 h 510099"/>
                <a:gd name="connsiteX171" fmla="*/ 573699 w 653903"/>
                <a:gd name="connsiteY171" fmla="*/ 195115 h 510099"/>
                <a:gd name="connsiteX172" fmla="*/ 585657 w 653903"/>
                <a:gd name="connsiteY172" fmla="*/ 213198 h 510099"/>
                <a:gd name="connsiteX173" fmla="*/ 594990 w 653903"/>
                <a:gd name="connsiteY173" fmla="*/ 207073 h 510099"/>
                <a:gd name="connsiteX174" fmla="*/ 583032 w 653903"/>
                <a:gd name="connsiteY174" fmla="*/ 189282 h 510099"/>
                <a:gd name="connsiteX175" fmla="*/ 587698 w 653903"/>
                <a:gd name="connsiteY175" fmla="*/ 185491 h 510099"/>
                <a:gd name="connsiteX176" fmla="*/ 601989 w 653903"/>
                <a:gd name="connsiteY176" fmla="*/ 169742 h 510099"/>
                <a:gd name="connsiteX177" fmla="*/ 605489 w 653903"/>
                <a:gd name="connsiteY177" fmla="*/ 165075 h 510099"/>
                <a:gd name="connsiteX178" fmla="*/ 625030 w 653903"/>
                <a:gd name="connsiteY178" fmla="*/ 174700 h 510099"/>
                <a:gd name="connsiteX179" fmla="*/ 629988 w 653903"/>
                <a:gd name="connsiteY179" fmla="*/ 164492 h 510099"/>
                <a:gd name="connsiteX180" fmla="*/ 610739 w 653903"/>
                <a:gd name="connsiteY180" fmla="*/ 154867 h 510099"/>
                <a:gd name="connsiteX181" fmla="*/ 612780 w 653903"/>
                <a:gd name="connsiteY181" fmla="*/ 149326 h 510099"/>
                <a:gd name="connsiteX182" fmla="*/ 617447 w 653903"/>
                <a:gd name="connsiteY182" fmla="*/ 128619 h 510099"/>
                <a:gd name="connsiteX183" fmla="*/ 618030 w 653903"/>
                <a:gd name="connsiteY183" fmla="*/ 122786 h 510099"/>
                <a:gd name="connsiteX184" fmla="*/ 639612 w 653903"/>
                <a:gd name="connsiteY184" fmla="*/ 121327 h 510099"/>
                <a:gd name="connsiteX185" fmla="*/ 639029 w 653903"/>
                <a:gd name="connsiteY185" fmla="*/ 109953 h 510099"/>
                <a:gd name="connsiteX186" fmla="*/ 617447 w 653903"/>
                <a:gd name="connsiteY186" fmla="*/ 111411 h 510099"/>
                <a:gd name="connsiteX187" fmla="*/ 616280 w 653903"/>
                <a:gd name="connsiteY187" fmla="*/ 105578 h 510099"/>
                <a:gd name="connsiteX188" fmla="*/ 609864 w 653903"/>
                <a:gd name="connsiteY188" fmla="*/ 85454 h 510099"/>
                <a:gd name="connsiteX189" fmla="*/ 607531 w 653903"/>
                <a:gd name="connsiteY189" fmla="*/ 80204 h 510099"/>
                <a:gd name="connsiteX190" fmla="*/ 625613 w 653903"/>
                <a:gd name="connsiteY190" fmla="*/ 67955 h 510099"/>
                <a:gd name="connsiteX191" fmla="*/ 619197 w 653903"/>
                <a:gd name="connsiteY191" fmla="*/ 58622 h 510099"/>
                <a:gd name="connsiteX192" fmla="*/ 601406 w 653903"/>
                <a:gd name="connsiteY192" fmla="*/ 70580 h 510099"/>
                <a:gd name="connsiteX193" fmla="*/ 597323 w 653903"/>
                <a:gd name="connsiteY193" fmla="*/ 65914 h 510099"/>
                <a:gd name="connsiteX194" fmla="*/ 581574 w 653903"/>
                <a:gd name="connsiteY194" fmla="*/ 51622 h 510099"/>
                <a:gd name="connsiteX195" fmla="*/ 576907 w 653903"/>
                <a:gd name="connsiteY195" fmla="*/ 48414 h 510099"/>
                <a:gd name="connsiteX196" fmla="*/ 586532 w 653903"/>
                <a:gd name="connsiteY196" fmla="*/ 28874 h 510099"/>
                <a:gd name="connsiteX197" fmla="*/ 576324 w 653903"/>
                <a:gd name="connsiteY197" fmla="*/ 23916 h 510099"/>
                <a:gd name="connsiteX198" fmla="*/ 566699 w 653903"/>
                <a:gd name="connsiteY198" fmla="*/ 43165 h 510099"/>
                <a:gd name="connsiteX199" fmla="*/ 560866 w 653903"/>
                <a:gd name="connsiteY199" fmla="*/ 41123 h 510099"/>
                <a:gd name="connsiteX200" fmla="*/ 540159 w 653903"/>
                <a:gd name="connsiteY200" fmla="*/ 36456 h 510099"/>
                <a:gd name="connsiteX201" fmla="*/ 534326 w 653903"/>
                <a:gd name="connsiteY201" fmla="*/ 35873 h 510099"/>
                <a:gd name="connsiteX202" fmla="*/ 538993 w 653903"/>
                <a:gd name="connsiteY202" fmla="*/ 0 h 510099"/>
                <a:gd name="connsiteX203" fmla="*/ 540451 w 653903"/>
                <a:gd name="connsiteY203" fmla="*/ 0 h 510099"/>
                <a:gd name="connsiteX204" fmla="*/ 546284 w 653903"/>
                <a:gd name="connsiteY204" fmla="*/ 7583 h 510099"/>
                <a:gd name="connsiteX205" fmla="*/ 547159 w 653903"/>
                <a:gd name="connsiteY205" fmla="*/ 22749 h 510099"/>
                <a:gd name="connsiteX206" fmla="*/ 559700 w 653903"/>
                <a:gd name="connsiteY206" fmla="*/ 25374 h 510099"/>
                <a:gd name="connsiteX207" fmla="*/ 566408 w 653903"/>
                <a:gd name="connsiteY207" fmla="*/ 12250 h 510099"/>
                <a:gd name="connsiteX208" fmla="*/ 571074 w 653903"/>
                <a:gd name="connsiteY208" fmla="*/ 8166 h 510099"/>
                <a:gd name="connsiteX209" fmla="*/ 577782 w 653903"/>
                <a:gd name="connsiteY209" fmla="*/ 8166 h 510099"/>
                <a:gd name="connsiteX210" fmla="*/ 598781 w 653903"/>
                <a:gd name="connsiteY210" fmla="*/ 18666 h 510099"/>
                <a:gd name="connsiteX211" fmla="*/ 599948 w 653903"/>
                <a:gd name="connsiteY211" fmla="*/ 19833 h 510099"/>
                <a:gd name="connsiteX212" fmla="*/ 601114 w 653903"/>
                <a:gd name="connsiteY212" fmla="*/ 29165 h 510099"/>
                <a:gd name="connsiteX213" fmla="*/ 594406 w 653903"/>
                <a:gd name="connsiteY213" fmla="*/ 42873 h 510099"/>
                <a:gd name="connsiteX214" fmla="*/ 604031 w 653903"/>
                <a:gd name="connsiteY214" fmla="*/ 51622 h 510099"/>
                <a:gd name="connsiteX215" fmla="*/ 618322 w 653903"/>
                <a:gd name="connsiteY215" fmla="*/ 42581 h 510099"/>
                <a:gd name="connsiteX216" fmla="*/ 622113 w 653903"/>
                <a:gd name="connsiteY216" fmla="*/ 42290 h 510099"/>
                <a:gd name="connsiteX217" fmla="*/ 627946 w 653903"/>
                <a:gd name="connsiteY217" fmla="*/ 46081 h 510099"/>
                <a:gd name="connsiteX218" fmla="*/ 640487 w 653903"/>
                <a:gd name="connsiteY218" fmla="*/ 65330 h 510099"/>
                <a:gd name="connsiteX219" fmla="*/ 641071 w 653903"/>
                <a:gd name="connsiteY219" fmla="*/ 67372 h 510099"/>
                <a:gd name="connsiteX220" fmla="*/ 637571 w 653903"/>
                <a:gd name="connsiteY220" fmla="*/ 75830 h 510099"/>
                <a:gd name="connsiteX221" fmla="*/ 624738 w 653903"/>
                <a:gd name="connsiteY221" fmla="*/ 84287 h 510099"/>
                <a:gd name="connsiteX222" fmla="*/ 628821 w 653903"/>
                <a:gd name="connsiteY222" fmla="*/ 96537 h 510099"/>
                <a:gd name="connsiteX223" fmla="*/ 643696 w 653903"/>
                <a:gd name="connsiteY223" fmla="*/ 95662 h 510099"/>
                <a:gd name="connsiteX224" fmla="*/ 649529 w 653903"/>
                <a:gd name="connsiteY224" fmla="*/ 97412 h 510099"/>
                <a:gd name="connsiteX225" fmla="*/ 652737 w 653903"/>
                <a:gd name="connsiteY225" fmla="*/ 103536 h 510099"/>
                <a:gd name="connsiteX226" fmla="*/ 653903 w 653903"/>
                <a:gd name="connsiteY226" fmla="*/ 127160 h 510099"/>
                <a:gd name="connsiteX227" fmla="*/ 653320 w 653903"/>
                <a:gd name="connsiteY227" fmla="*/ 128619 h 510099"/>
                <a:gd name="connsiteX228" fmla="*/ 648070 w 653903"/>
                <a:gd name="connsiteY228" fmla="*/ 133868 h 510099"/>
                <a:gd name="connsiteX229" fmla="*/ 646320 w 653903"/>
                <a:gd name="connsiteY229" fmla="*/ 133868 h 510099"/>
                <a:gd name="connsiteX230" fmla="*/ 630863 w 653903"/>
                <a:gd name="connsiteY230" fmla="*/ 134743 h 510099"/>
                <a:gd name="connsiteX231" fmla="*/ 628238 w 653903"/>
                <a:gd name="connsiteY231" fmla="*/ 147284 h 510099"/>
                <a:gd name="connsiteX232" fmla="*/ 641362 w 653903"/>
                <a:gd name="connsiteY232" fmla="*/ 153992 h 510099"/>
                <a:gd name="connsiteX233" fmla="*/ 645154 w 653903"/>
                <a:gd name="connsiteY233" fmla="*/ 158076 h 510099"/>
                <a:gd name="connsiteX234" fmla="*/ 645154 w 653903"/>
                <a:gd name="connsiteY234" fmla="*/ 165367 h 510099"/>
                <a:gd name="connsiteX235" fmla="*/ 635529 w 653903"/>
                <a:gd name="connsiteY235" fmla="*/ 184908 h 510099"/>
                <a:gd name="connsiteX236" fmla="*/ 630571 w 653903"/>
                <a:gd name="connsiteY236" fmla="*/ 189282 h 510099"/>
                <a:gd name="connsiteX237" fmla="*/ 629405 w 653903"/>
                <a:gd name="connsiteY237" fmla="*/ 189282 h 510099"/>
                <a:gd name="connsiteX238" fmla="*/ 624155 w 653903"/>
                <a:gd name="connsiteY238" fmla="*/ 188699 h 510099"/>
                <a:gd name="connsiteX239" fmla="*/ 610447 w 653903"/>
                <a:gd name="connsiteY239" fmla="*/ 181991 h 510099"/>
                <a:gd name="connsiteX240" fmla="*/ 601698 w 653903"/>
                <a:gd name="connsiteY240" fmla="*/ 191615 h 510099"/>
                <a:gd name="connsiteX241" fmla="*/ 609864 w 653903"/>
                <a:gd name="connsiteY241" fmla="*/ 203865 h 510099"/>
                <a:gd name="connsiteX242" fmla="*/ 607531 w 653903"/>
                <a:gd name="connsiteY242" fmla="*/ 215531 h 510099"/>
                <a:gd name="connsiteX243" fmla="*/ 587698 w 653903"/>
                <a:gd name="connsiteY243" fmla="*/ 228655 h 510099"/>
                <a:gd name="connsiteX244" fmla="*/ 587115 w 653903"/>
                <a:gd name="connsiteY244" fmla="*/ 228655 h 510099"/>
                <a:gd name="connsiteX245" fmla="*/ 577782 w 653903"/>
                <a:gd name="connsiteY245" fmla="*/ 225155 h 510099"/>
                <a:gd name="connsiteX246" fmla="*/ 569324 w 653903"/>
                <a:gd name="connsiteY246" fmla="*/ 212322 h 510099"/>
                <a:gd name="connsiteX247" fmla="*/ 557075 w 653903"/>
                <a:gd name="connsiteY247" fmla="*/ 216406 h 510099"/>
                <a:gd name="connsiteX248" fmla="*/ 557075 w 653903"/>
                <a:gd name="connsiteY248" fmla="*/ 235072 h 510099"/>
                <a:gd name="connsiteX249" fmla="*/ 557075 w 653903"/>
                <a:gd name="connsiteY249" fmla="*/ 235655 h 510099"/>
                <a:gd name="connsiteX250" fmla="*/ 552117 w 653903"/>
                <a:gd name="connsiteY250" fmla="*/ 240030 h 510099"/>
                <a:gd name="connsiteX251" fmla="*/ 550367 w 653903"/>
                <a:gd name="connsiteY251" fmla="*/ 240030 h 510099"/>
                <a:gd name="connsiteX252" fmla="*/ 528493 w 653903"/>
                <a:gd name="connsiteY252" fmla="*/ 241488 h 510099"/>
                <a:gd name="connsiteX253" fmla="*/ 519452 w 653903"/>
                <a:gd name="connsiteY253" fmla="*/ 233613 h 510099"/>
                <a:gd name="connsiteX254" fmla="*/ 518577 w 653903"/>
                <a:gd name="connsiteY254" fmla="*/ 218447 h 510099"/>
                <a:gd name="connsiteX255" fmla="*/ 506036 w 653903"/>
                <a:gd name="connsiteY255" fmla="*/ 215823 h 510099"/>
                <a:gd name="connsiteX256" fmla="*/ 499328 w 653903"/>
                <a:gd name="connsiteY256" fmla="*/ 228947 h 510099"/>
                <a:gd name="connsiteX257" fmla="*/ 487953 w 653903"/>
                <a:gd name="connsiteY257" fmla="*/ 232738 h 510099"/>
                <a:gd name="connsiteX258" fmla="*/ 466663 w 653903"/>
                <a:gd name="connsiteY258" fmla="*/ 221655 h 510099"/>
                <a:gd name="connsiteX259" fmla="*/ 464913 w 653903"/>
                <a:gd name="connsiteY259" fmla="*/ 211739 h 510099"/>
                <a:gd name="connsiteX260" fmla="*/ 471621 w 653903"/>
                <a:gd name="connsiteY260" fmla="*/ 198032 h 510099"/>
                <a:gd name="connsiteX261" fmla="*/ 461996 w 653903"/>
                <a:gd name="connsiteY261" fmla="*/ 189282 h 510099"/>
                <a:gd name="connsiteX262" fmla="*/ 447706 w 653903"/>
                <a:gd name="connsiteY262" fmla="*/ 198615 h 510099"/>
                <a:gd name="connsiteX263" fmla="*/ 438081 w 653903"/>
                <a:gd name="connsiteY263" fmla="*/ 195115 h 510099"/>
                <a:gd name="connsiteX264" fmla="*/ 431665 w 653903"/>
                <a:gd name="connsiteY264" fmla="*/ 185199 h 510099"/>
                <a:gd name="connsiteX265" fmla="*/ 406583 w 653903"/>
                <a:gd name="connsiteY265" fmla="*/ 201823 h 510099"/>
                <a:gd name="connsiteX266" fmla="*/ 417374 w 653903"/>
                <a:gd name="connsiteY266" fmla="*/ 235655 h 510099"/>
                <a:gd name="connsiteX267" fmla="*/ 452372 w 653903"/>
                <a:gd name="connsiteY267" fmla="*/ 233613 h 510099"/>
                <a:gd name="connsiteX268" fmla="*/ 459080 w 653903"/>
                <a:gd name="connsiteY268" fmla="*/ 235655 h 510099"/>
                <a:gd name="connsiteX269" fmla="*/ 463163 w 653903"/>
                <a:gd name="connsiteY269" fmla="*/ 243238 h 510099"/>
                <a:gd name="connsiteX270" fmla="*/ 465788 w 653903"/>
                <a:gd name="connsiteY270" fmla="*/ 286111 h 510099"/>
                <a:gd name="connsiteX271" fmla="*/ 464913 w 653903"/>
                <a:gd name="connsiteY271" fmla="*/ 290485 h 510099"/>
                <a:gd name="connsiteX272" fmla="*/ 458497 w 653903"/>
                <a:gd name="connsiteY272" fmla="*/ 296610 h 510099"/>
                <a:gd name="connsiteX273" fmla="*/ 456455 w 653903"/>
                <a:gd name="connsiteY273" fmla="*/ 296610 h 510099"/>
                <a:gd name="connsiteX274" fmla="*/ 419999 w 653903"/>
                <a:gd name="connsiteY274" fmla="*/ 298943 h 510099"/>
                <a:gd name="connsiteX275" fmla="*/ 412416 w 653903"/>
                <a:gd name="connsiteY275" fmla="*/ 333942 h 510099"/>
                <a:gd name="connsiteX276" fmla="*/ 443914 w 653903"/>
                <a:gd name="connsiteY276" fmla="*/ 349691 h 510099"/>
                <a:gd name="connsiteX277" fmla="*/ 448580 w 653903"/>
                <a:gd name="connsiteY277" fmla="*/ 354357 h 510099"/>
                <a:gd name="connsiteX278" fmla="*/ 448580 w 653903"/>
                <a:gd name="connsiteY278" fmla="*/ 363398 h 510099"/>
                <a:gd name="connsiteX279" fmla="*/ 429623 w 653903"/>
                <a:gd name="connsiteY279" fmla="*/ 401896 h 510099"/>
                <a:gd name="connsiteX280" fmla="*/ 421165 w 653903"/>
                <a:gd name="connsiteY280" fmla="*/ 407146 h 510099"/>
                <a:gd name="connsiteX281" fmla="*/ 418249 w 653903"/>
                <a:gd name="connsiteY281" fmla="*/ 407146 h 510099"/>
                <a:gd name="connsiteX282" fmla="*/ 416207 w 653903"/>
                <a:gd name="connsiteY282" fmla="*/ 406563 h 510099"/>
                <a:gd name="connsiteX283" fmla="*/ 383834 w 653903"/>
                <a:gd name="connsiteY283" fmla="*/ 390522 h 510099"/>
                <a:gd name="connsiteX284" fmla="*/ 359918 w 653903"/>
                <a:gd name="connsiteY284" fmla="*/ 417062 h 510099"/>
                <a:gd name="connsiteX285" fmla="*/ 379167 w 653903"/>
                <a:gd name="connsiteY285" fmla="*/ 446227 h 510099"/>
                <a:gd name="connsiteX286" fmla="*/ 376251 w 653903"/>
                <a:gd name="connsiteY286" fmla="*/ 460226 h 510099"/>
                <a:gd name="connsiteX287" fmla="*/ 340378 w 653903"/>
                <a:gd name="connsiteY287" fmla="*/ 483851 h 510099"/>
                <a:gd name="connsiteX288" fmla="*/ 337753 w 653903"/>
                <a:gd name="connsiteY288" fmla="*/ 485017 h 510099"/>
                <a:gd name="connsiteX289" fmla="*/ 333961 w 653903"/>
                <a:gd name="connsiteY289" fmla="*/ 486184 h 510099"/>
                <a:gd name="connsiteX290" fmla="*/ 332795 w 653903"/>
                <a:gd name="connsiteY290" fmla="*/ 485308 h 510099"/>
                <a:gd name="connsiteX291" fmla="*/ 326087 w 653903"/>
                <a:gd name="connsiteY291" fmla="*/ 480934 h 510099"/>
                <a:gd name="connsiteX292" fmla="*/ 306254 w 653903"/>
                <a:gd name="connsiteY292" fmla="*/ 450894 h 510099"/>
                <a:gd name="connsiteX293" fmla="*/ 272423 w 653903"/>
                <a:gd name="connsiteY293" fmla="*/ 461685 h 510099"/>
                <a:gd name="connsiteX294" fmla="*/ 274464 w 653903"/>
                <a:gd name="connsiteY294" fmla="*/ 496683 h 510099"/>
                <a:gd name="connsiteX295" fmla="*/ 273881 w 653903"/>
                <a:gd name="connsiteY295" fmla="*/ 500474 h 510099"/>
                <a:gd name="connsiteX296" fmla="*/ 270673 w 653903"/>
                <a:gd name="connsiteY296" fmla="*/ 506891 h 510099"/>
                <a:gd name="connsiteX297" fmla="*/ 269798 w 653903"/>
                <a:gd name="connsiteY297" fmla="*/ 505724 h 510099"/>
                <a:gd name="connsiteX298" fmla="*/ 267173 w 653903"/>
                <a:gd name="connsiteY298" fmla="*/ 507474 h 510099"/>
                <a:gd name="connsiteX299" fmla="*/ 265132 w 653903"/>
                <a:gd name="connsiteY299" fmla="*/ 507474 h 510099"/>
                <a:gd name="connsiteX300" fmla="*/ 222259 w 653903"/>
                <a:gd name="connsiteY300" fmla="*/ 510099 h 510099"/>
                <a:gd name="connsiteX301" fmla="*/ 214967 w 653903"/>
                <a:gd name="connsiteY301" fmla="*/ 507474 h 510099"/>
                <a:gd name="connsiteX302" fmla="*/ 211468 w 653903"/>
                <a:gd name="connsiteY302" fmla="*/ 500474 h 510099"/>
                <a:gd name="connsiteX303" fmla="*/ 209134 w 653903"/>
                <a:gd name="connsiteY303" fmla="*/ 464601 h 510099"/>
                <a:gd name="connsiteX304" fmla="*/ 174136 w 653903"/>
                <a:gd name="connsiteY304" fmla="*/ 457019 h 510099"/>
                <a:gd name="connsiteX305" fmla="*/ 158387 w 653903"/>
                <a:gd name="connsiteY305" fmla="*/ 488517 h 510099"/>
                <a:gd name="connsiteX306" fmla="*/ 144679 w 653903"/>
                <a:gd name="connsiteY306" fmla="*/ 493183 h 510099"/>
                <a:gd name="connsiteX307" fmla="*/ 103848 w 653903"/>
                <a:gd name="connsiteY307" fmla="*/ 472184 h 510099"/>
                <a:gd name="connsiteX308" fmla="*/ 101807 w 653903"/>
                <a:gd name="connsiteY308" fmla="*/ 460226 h 510099"/>
                <a:gd name="connsiteX309" fmla="*/ 117847 w 653903"/>
                <a:gd name="connsiteY309" fmla="*/ 428145 h 510099"/>
                <a:gd name="connsiteX310" fmla="*/ 91307 w 653903"/>
                <a:gd name="connsiteY310" fmla="*/ 404229 h 510099"/>
                <a:gd name="connsiteX311" fmla="*/ 62142 w 653903"/>
                <a:gd name="connsiteY311" fmla="*/ 423478 h 510099"/>
                <a:gd name="connsiteX312" fmla="*/ 48143 w 653903"/>
                <a:gd name="connsiteY312" fmla="*/ 420562 h 510099"/>
                <a:gd name="connsiteX313" fmla="*/ 24519 w 653903"/>
                <a:gd name="connsiteY313" fmla="*/ 384689 h 510099"/>
                <a:gd name="connsiteX314" fmla="*/ 23061 w 653903"/>
                <a:gd name="connsiteY314" fmla="*/ 377106 h 510099"/>
                <a:gd name="connsiteX315" fmla="*/ 27435 w 653903"/>
                <a:gd name="connsiteY315" fmla="*/ 370690 h 510099"/>
                <a:gd name="connsiteX316" fmla="*/ 57475 w 653903"/>
                <a:gd name="connsiteY316" fmla="*/ 350857 h 510099"/>
                <a:gd name="connsiteX317" fmla="*/ 46684 w 653903"/>
                <a:gd name="connsiteY317" fmla="*/ 317026 h 510099"/>
                <a:gd name="connsiteX318" fmla="*/ 13021 w 653903"/>
                <a:gd name="connsiteY318" fmla="*/ 318989 h 510099"/>
                <a:gd name="connsiteX319" fmla="*/ 2645 w 653903"/>
                <a:gd name="connsiteY319" fmla="*/ 309734 h 510099"/>
                <a:gd name="connsiteX320" fmla="*/ 20 w 653903"/>
                <a:gd name="connsiteY320" fmla="*/ 266862 h 510099"/>
                <a:gd name="connsiteX321" fmla="*/ 7020 w 653903"/>
                <a:gd name="connsiteY321" fmla="*/ 256070 h 510099"/>
                <a:gd name="connsiteX322" fmla="*/ 9061 w 653903"/>
                <a:gd name="connsiteY322" fmla="*/ 256070 h 510099"/>
                <a:gd name="connsiteX323" fmla="*/ 45226 w 653903"/>
                <a:gd name="connsiteY323" fmla="*/ 253737 h 510099"/>
                <a:gd name="connsiteX324" fmla="*/ 52809 w 653903"/>
                <a:gd name="connsiteY324" fmla="*/ 218739 h 510099"/>
                <a:gd name="connsiteX325" fmla="*/ 21311 w 653903"/>
                <a:gd name="connsiteY325" fmla="*/ 202990 h 510099"/>
                <a:gd name="connsiteX326" fmla="*/ 18102 w 653903"/>
                <a:gd name="connsiteY326" fmla="*/ 200365 h 510099"/>
                <a:gd name="connsiteX327" fmla="*/ 16644 w 653903"/>
                <a:gd name="connsiteY327" fmla="*/ 190157 h 510099"/>
                <a:gd name="connsiteX328" fmla="*/ 16644 w 653903"/>
                <a:gd name="connsiteY328" fmla="*/ 189282 h 510099"/>
                <a:gd name="connsiteX329" fmla="*/ 35602 w 653903"/>
                <a:gd name="connsiteY329" fmla="*/ 151076 h 510099"/>
                <a:gd name="connsiteX330" fmla="*/ 38226 w 653903"/>
                <a:gd name="connsiteY330" fmla="*/ 147868 h 510099"/>
                <a:gd name="connsiteX331" fmla="*/ 49309 w 653903"/>
                <a:gd name="connsiteY331" fmla="*/ 146409 h 510099"/>
                <a:gd name="connsiteX332" fmla="*/ 81683 w 653903"/>
                <a:gd name="connsiteY332" fmla="*/ 162450 h 510099"/>
                <a:gd name="connsiteX333" fmla="*/ 105598 w 653903"/>
                <a:gd name="connsiteY333" fmla="*/ 135910 h 510099"/>
                <a:gd name="connsiteX334" fmla="*/ 86057 w 653903"/>
                <a:gd name="connsiteY334" fmla="*/ 106745 h 510099"/>
                <a:gd name="connsiteX335" fmla="*/ 84307 w 653903"/>
                <a:gd name="connsiteY335" fmla="*/ 100620 h 510099"/>
                <a:gd name="connsiteX336" fmla="*/ 88682 w 653903"/>
                <a:gd name="connsiteY336" fmla="*/ 92454 h 510099"/>
                <a:gd name="connsiteX337" fmla="*/ 126889 w 653903"/>
                <a:gd name="connsiteY337" fmla="*/ 67663 h 510099"/>
                <a:gd name="connsiteX338" fmla="*/ 128347 w 653903"/>
                <a:gd name="connsiteY338" fmla="*/ 67372 h 510099"/>
                <a:gd name="connsiteX339" fmla="*/ 138555 w 653903"/>
                <a:gd name="connsiteY339" fmla="*/ 71747 h 510099"/>
                <a:gd name="connsiteX340" fmla="*/ 158387 w 653903"/>
                <a:gd name="connsiteY340" fmla="*/ 101787 h 510099"/>
                <a:gd name="connsiteX341" fmla="*/ 192219 w 653903"/>
                <a:gd name="connsiteY341" fmla="*/ 90996 h 510099"/>
                <a:gd name="connsiteX342" fmla="*/ 189885 w 653903"/>
                <a:gd name="connsiteY342" fmla="*/ 55998 h 510099"/>
                <a:gd name="connsiteX343" fmla="*/ 191635 w 653903"/>
                <a:gd name="connsiteY343" fmla="*/ 49873 h 510099"/>
                <a:gd name="connsiteX344" fmla="*/ 197177 w 653903"/>
                <a:gd name="connsiteY344" fmla="*/ 45206 h 510099"/>
                <a:gd name="connsiteX345" fmla="*/ 199218 w 653903"/>
                <a:gd name="connsiteY345" fmla="*/ 45206 h 510099"/>
                <a:gd name="connsiteX346" fmla="*/ 242383 w 653903"/>
                <a:gd name="connsiteY346" fmla="*/ 42581 h 510099"/>
                <a:gd name="connsiteX347" fmla="*/ 246174 w 653903"/>
                <a:gd name="connsiteY347" fmla="*/ 43165 h 510099"/>
                <a:gd name="connsiteX348" fmla="*/ 253174 w 653903"/>
                <a:gd name="connsiteY348" fmla="*/ 52206 h 510099"/>
                <a:gd name="connsiteX349" fmla="*/ 255507 w 653903"/>
                <a:gd name="connsiteY349" fmla="*/ 88079 h 510099"/>
                <a:gd name="connsiteX350" fmla="*/ 290214 w 653903"/>
                <a:gd name="connsiteY350" fmla="*/ 95662 h 510099"/>
                <a:gd name="connsiteX351" fmla="*/ 305963 w 653903"/>
                <a:gd name="connsiteY351" fmla="*/ 64164 h 510099"/>
                <a:gd name="connsiteX352" fmla="*/ 311504 w 653903"/>
                <a:gd name="connsiteY352" fmla="*/ 59205 h 510099"/>
                <a:gd name="connsiteX353" fmla="*/ 319670 w 653903"/>
                <a:gd name="connsiteY353" fmla="*/ 59497 h 510099"/>
                <a:gd name="connsiteX354" fmla="*/ 357877 w 653903"/>
                <a:gd name="connsiteY354" fmla="*/ 78454 h 510099"/>
                <a:gd name="connsiteX355" fmla="*/ 361085 w 653903"/>
                <a:gd name="connsiteY355" fmla="*/ 81079 h 510099"/>
                <a:gd name="connsiteX356" fmla="*/ 362543 w 653903"/>
                <a:gd name="connsiteY356" fmla="*/ 92162 h 510099"/>
                <a:gd name="connsiteX357" fmla="*/ 346502 w 653903"/>
                <a:gd name="connsiteY357" fmla="*/ 124244 h 510099"/>
                <a:gd name="connsiteX358" fmla="*/ 373043 w 653903"/>
                <a:gd name="connsiteY358" fmla="*/ 148159 h 510099"/>
                <a:gd name="connsiteX359" fmla="*/ 404833 w 653903"/>
                <a:gd name="connsiteY359" fmla="*/ 127452 h 510099"/>
                <a:gd name="connsiteX360" fmla="*/ 408916 w 653903"/>
                <a:gd name="connsiteY360" fmla="*/ 127160 h 510099"/>
                <a:gd name="connsiteX361" fmla="*/ 413874 w 653903"/>
                <a:gd name="connsiteY361" fmla="*/ 129202 h 510099"/>
                <a:gd name="connsiteX362" fmla="*/ 412999 w 653903"/>
                <a:gd name="connsiteY362" fmla="*/ 115786 h 510099"/>
                <a:gd name="connsiteX363" fmla="*/ 418832 w 653903"/>
                <a:gd name="connsiteY363" fmla="*/ 106745 h 510099"/>
                <a:gd name="connsiteX364" fmla="*/ 420290 w 653903"/>
                <a:gd name="connsiteY364" fmla="*/ 106745 h 510099"/>
                <a:gd name="connsiteX365" fmla="*/ 436039 w 653903"/>
                <a:gd name="connsiteY365" fmla="*/ 105870 h 510099"/>
                <a:gd name="connsiteX366" fmla="*/ 438664 w 653903"/>
                <a:gd name="connsiteY366" fmla="*/ 93329 h 510099"/>
                <a:gd name="connsiteX367" fmla="*/ 422623 w 653903"/>
                <a:gd name="connsiteY367" fmla="*/ 84871 h 510099"/>
                <a:gd name="connsiteX368" fmla="*/ 421457 w 653903"/>
                <a:gd name="connsiteY368" fmla="*/ 75538 h 510099"/>
                <a:gd name="connsiteX369" fmla="*/ 432831 w 653903"/>
                <a:gd name="connsiteY369" fmla="*/ 53664 h 510099"/>
                <a:gd name="connsiteX370" fmla="*/ 442164 w 653903"/>
                <a:gd name="connsiteY370" fmla="*/ 52206 h 510099"/>
                <a:gd name="connsiteX371" fmla="*/ 455872 w 653903"/>
                <a:gd name="connsiteY371" fmla="*/ 58914 h 510099"/>
                <a:gd name="connsiteX372" fmla="*/ 464621 w 653903"/>
                <a:gd name="connsiteY372" fmla="*/ 49289 h 510099"/>
                <a:gd name="connsiteX373" fmla="*/ 456455 w 653903"/>
                <a:gd name="connsiteY373" fmla="*/ 37040 h 510099"/>
                <a:gd name="connsiteX374" fmla="*/ 454997 w 653903"/>
                <a:gd name="connsiteY374" fmla="*/ 32082 h 510099"/>
                <a:gd name="connsiteX375" fmla="*/ 458497 w 653903"/>
                <a:gd name="connsiteY375" fmla="*/ 25374 h 510099"/>
                <a:gd name="connsiteX376" fmla="*/ 478912 w 653903"/>
                <a:gd name="connsiteY376" fmla="*/ 12250 h 510099"/>
                <a:gd name="connsiteX377" fmla="*/ 479496 w 653903"/>
                <a:gd name="connsiteY377" fmla="*/ 12250 h 510099"/>
                <a:gd name="connsiteX378" fmla="*/ 488245 w 653903"/>
                <a:gd name="connsiteY378" fmla="*/ 16041 h 510099"/>
                <a:gd name="connsiteX379" fmla="*/ 496703 w 653903"/>
                <a:gd name="connsiteY379" fmla="*/ 28874 h 510099"/>
                <a:gd name="connsiteX380" fmla="*/ 508952 w 653903"/>
                <a:gd name="connsiteY380" fmla="*/ 24791 h 510099"/>
                <a:gd name="connsiteX381" fmla="*/ 508077 w 653903"/>
                <a:gd name="connsiteY381" fmla="*/ 9916 h 510099"/>
                <a:gd name="connsiteX382" fmla="*/ 509536 w 653903"/>
                <a:gd name="connsiteY382" fmla="*/ 4375 h 510099"/>
                <a:gd name="connsiteX383" fmla="*/ 513910 w 653903"/>
                <a:gd name="connsiteY383" fmla="*/ 875 h 510099"/>
                <a:gd name="connsiteX384" fmla="*/ 515369 w 653903"/>
                <a:gd name="connsiteY384" fmla="*/ 875 h 510099"/>
                <a:gd name="connsiteX385" fmla="*/ 538993 w 653903"/>
                <a:gd name="connsiteY385" fmla="*/ 0 h 5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653903" h="510099">
                  <a:moveTo>
                    <a:pt x="13021" y="318989"/>
                  </a:moveTo>
                  <a:lnTo>
                    <a:pt x="13436" y="319359"/>
                  </a:lnTo>
                  <a:lnTo>
                    <a:pt x="11686" y="319067"/>
                  </a:lnTo>
                  <a:close/>
                  <a:moveTo>
                    <a:pt x="235711" y="225228"/>
                  </a:moveTo>
                  <a:cubicBezTo>
                    <a:pt x="229259" y="224718"/>
                    <a:pt x="222697" y="225447"/>
                    <a:pt x="216426" y="227488"/>
                  </a:cubicBezTo>
                  <a:lnTo>
                    <a:pt x="216426" y="227197"/>
                  </a:lnTo>
                  <a:cubicBezTo>
                    <a:pt x="203010" y="231280"/>
                    <a:pt x="192219" y="240613"/>
                    <a:pt x="186094" y="253154"/>
                  </a:cubicBezTo>
                  <a:cubicBezTo>
                    <a:pt x="179969" y="265403"/>
                    <a:pt x="179094" y="279402"/>
                    <a:pt x="183469" y="292235"/>
                  </a:cubicBezTo>
                  <a:cubicBezTo>
                    <a:pt x="187844" y="305068"/>
                    <a:pt x="196885" y="315567"/>
                    <a:pt x="209134" y="321692"/>
                  </a:cubicBezTo>
                  <a:cubicBezTo>
                    <a:pt x="220801" y="327525"/>
                    <a:pt x="234508" y="328692"/>
                    <a:pt x="247049" y="324609"/>
                  </a:cubicBezTo>
                  <a:cubicBezTo>
                    <a:pt x="260465" y="320525"/>
                    <a:pt x="271256" y="311193"/>
                    <a:pt x="277381" y="298652"/>
                  </a:cubicBezTo>
                  <a:cubicBezTo>
                    <a:pt x="283506" y="286694"/>
                    <a:pt x="284381" y="272695"/>
                    <a:pt x="280006" y="259862"/>
                  </a:cubicBezTo>
                  <a:cubicBezTo>
                    <a:pt x="275631" y="247029"/>
                    <a:pt x="266590" y="236530"/>
                    <a:pt x="254340" y="230405"/>
                  </a:cubicBezTo>
                  <a:cubicBezTo>
                    <a:pt x="248507" y="227489"/>
                    <a:pt x="242164" y="225739"/>
                    <a:pt x="235711" y="225228"/>
                  </a:cubicBezTo>
                  <a:close/>
                  <a:moveTo>
                    <a:pt x="237024" y="211557"/>
                  </a:moveTo>
                  <a:cubicBezTo>
                    <a:pt x="245154" y="212177"/>
                    <a:pt x="253174" y="214365"/>
                    <a:pt x="260757" y="218156"/>
                  </a:cubicBezTo>
                  <a:cubicBezTo>
                    <a:pt x="276214" y="226030"/>
                    <a:pt x="287589" y="239155"/>
                    <a:pt x="293130" y="255487"/>
                  </a:cubicBezTo>
                  <a:cubicBezTo>
                    <a:pt x="298380" y="271820"/>
                    <a:pt x="297213" y="289319"/>
                    <a:pt x="289630" y="304776"/>
                  </a:cubicBezTo>
                  <a:cubicBezTo>
                    <a:pt x="281756" y="320817"/>
                    <a:pt x="268048" y="332483"/>
                    <a:pt x="251132" y="337733"/>
                  </a:cubicBezTo>
                  <a:cubicBezTo>
                    <a:pt x="235091" y="342691"/>
                    <a:pt x="218176" y="341524"/>
                    <a:pt x="203010" y="333942"/>
                  </a:cubicBezTo>
                  <a:cubicBezTo>
                    <a:pt x="187552" y="326358"/>
                    <a:pt x="176178" y="312943"/>
                    <a:pt x="170636" y="296610"/>
                  </a:cubicBezTo>
                  <a:cubicBezTo>
                    <a:pt x="165387" y="280277"/>
                    <a:pt x="166553" y="262779"/>
                    <a:pt x="174136" y="247321"/>
                  </a:cubicBezTo>
                  <a:cubicBezTo>
                    <a:pt x="182011" y="231280"/>
                    <a:pt x="195718" y="219614"/>
                    <a:pt x="212634" y="214364"/>
                  </a:cubicBezTo>
                  <a:cubicBezTo>
                    <a:pt x="220655" y="211885"/>
                    <a:pt x="228894" y="210937"/>
                    <a:pt x="237024" y="211557"/>
                  </a:cubicBezTo>
                  <a:close/>
                  <a:moveTo>
                    <a:pt x="542808" y="154846"/>
                  </a:moveTo>
                  <a:lnTo>
                    <a:pt x="543075" y="154867"/>
                  </a:lnTo>
                  <a:lnTo>
                    <a:pt x="542784" y="154867"/>
                  </a:lnTo>
                  <a:close/>
                  <a:moveTo>
                    <a:pt x="436914" y="144659"/>
                  </a:moveTo>
                  <a:lnTo>
                    <a:pt x="424082" y="145534"/>
                  </a:lnTo>
                  <a:lnTo>
                    <a:pt x="434581" y="161283"/>
                  </a:lnTo>
                  <a:lnTo>
                    <a:pt x="440998" y="156909"/>
                  </a:lnTo>
                  <a:cubicBezTo>
                    <a:pt x="439248" y="152826"/>
                    <a:pt x="438081" y="148743"/>
                    <a:pt x="436914" y="144659"/>
                  </a:cubicBezTo>
                  <a:close/>
                  <a:moveTo>
                    <a:pt x="525066" y="100072"/>
                  </a:moveTo>
                  <a:cubicBezTo>
                    <a:pt x="519524" y="101932"/>
                    <a:pt x="514639" y="105723"/>
                    <a:pt x="512160" y="110827"/>
                  </a:cubicBezTo>
                  <a:cubicBezTo>
                    <a:pt x="509535" y="116077"/>
                    <a:pt x="508952" y="122202"/>
                    <a:pt x="510994" y="127743"/>
                  </a:cubicBezTo>
                  <a:cubicBezTo>
                    <a:pt x="512744" y="133285"/>
                    <a:pt x="516827" y="137951"/>
                    <a:pt x="522076" y="140576"/>
                  </a:cubicBezTo>
                  <a:cubicBezTo>
                    <a:pt x="527326" y="142909"/>
                    <a:pt x="533159" y="143493"/>
                    <a:pt x="538701" y="141742"/>
                  </a:cubicBezTo>
                  <a:lnTo>
                    <a:pt x="538701" y="142034"/>
                  </a:lnTo>
                  <a:cubicBezTo>
                    <a:pt x="544534" y="139992"/>
                    <a:pt x="549200" y="136201"/>
                    <a:pt x="551825" y="130660"/>
                  </a:cubicBezTo>
                  <a:cubicBezTo>
                    <a:pt x="554450" y="125410"/>
                    <a:pt x="554741" y="119285"/>
                    <a:pt x="552991" y="113744"/>
                  </a:cubicBezTo>
                  <a:cubicBezTo>
                    <a:pt x="551242" y="108203"/>
                    <a:pt x="547158" y="103536"/>
                    <a:pt x="541909" y="100911"/>
                  </a:cubicBezTo>
                  <a:cubicBezTo>
                    <a:pt x="536805" y="98286"/>
                    <a:pt x="530607" y="98213"/>
                    <a:pt x="525066" y="100072"/>
                  </a:cubicBezTo>
                  <a:close/>
                  <a:moveTo>
                    <a:pt x="521201" y="86620"/>
                  </a:moveTo>
                  <a:cubicBezTo>
                    <a:pt x="530243" y="83704"/>
                    <a:pt x="539576" y="84579"/>
                    <a:pt x="548033" y="88662"/>
                  </a:cubicBezTo>
                  <a:cubicBezTo>
                    <a:pt x="556783" y="93037"/>
                    <a:pt x="563199" y="100328"/>
                    <a:pt x="566116" y="109369"/>
                  </a:cubicBezTo>
                  <a:cubicBezTo>
                    <a:pt x="569032" y="118411"/>
                    <a:pt x="568449" y="128327"/>
                    <a:pt x="564074" y="136784"/>
                  </a:cubicBezTo>
                  <a:lnTo>
                    <a:pt x="542808" y="154846"/>
                  </a:lnTo>
                  <a:lnTo>
                    <a:pt x="516243" y="152825"/>
                  </a:lnTo>
                  <a:cubicBezTo>
                    <a:pt x="507494" y="148451"/>
                    <a:pt x="501077" y="141159"/>
                    <a:pt x="498161" y="132118"/>
                  </a:cubicBezTo>
                  <a:cubicBezTo>
                    <a:pt x="494953" y="123077"/>
                    <a:pt x="495536" y="113161"/>
                    <a:pt x="499911" y="104703"/>
                  </a:cubicBezTo>
                  <a:cubicBezTo>
                    <a:pt x="504286" y="95953"/>
                    <a:pt x="511869" y="89537"/>
                    <a:pt x="521201" y="86620"/>
                  </a:cubicBezTo>
                  <a:close/>
                  <a:moveTo>
                    <a:pt x="238300" y="56289"/>
                  </a:moveTo>
                  <a:lnTo>
                    <a:pt x="202426" y="58914"/>
                  </a:lnTo>
                  <a:lnTo>
                    <a:pt x="205343" y="102370"/>
                  </a:lnTo>
                  <a:lnTo>
                    <a:pt x="199510" y="103536"/>
                  </a:lnTo>
                  <a:cubicBezTo>
                    <a:pt x="185219" y="106161"/>
                    <a:pt x="170928" y="110828"/>
                    <a:pt x="157512" y="116953"/>
                  </a:cubicBezTo>
                  <a:lnTo>
                    <a:pt x="152262" y="119286"/>
                  </a:lnTo>
                  <a:lnTo>
                    <a:pt x="127945" y="82519"/>
                  </a:lnTo>
                  <a:lnTo>
                    <a:pt x="128347" y="82246"/>
                  </a:lnTo>
                  <a:lnTo>
                    <a:pt x="127764" y="82246"/>
                  </a:lnTo>
                  <a:lnTo>
                    <a:pt x="127945" y="82519"/>
                  </a:lnTo>
                  <a:lnTo>
                    <a:pt x="98307" y="102662"/>
                  </a:lnTo>
                  <a:lnTo>
                    <a:pt x="122805" y="138827"/>
                  </a:lnTo>
                  <a:lnTo>
                    <a:pt x="118139" y="142910"/>
                  </a:lnTo>
                  <a:cubicBezTo>
                    <a:pt x="106765" y="152534"/>
                    <a:pt x="96848" y="163325"/>
                    <a:pt x="88391" y="175574"/>
                  </a:cubicBezTo>
                  <a:lnTo>
                    <a:pt x="84891" y="180241"/>
                  </a:lnTo>
                  <a:lnTo>
                    <a:pt x="44934" y="160408"/>
                  </a:lnTo>
                  <a:lnTo>
                    <a:pt x="28894" y="193074"/>
                  </a:lnTo>
                  <a:lnTo>
                    <a:pt x="68267" y="212031"/>
                  </a:lnTo>
                  <a:lnTo>
                    <a:pt x="66225" y="217864"/>
                  </a:lnTo>
                  <a:cubicBezTo>
                    <a:pt x="61267" y="231863"/>
                    <a:pt x="58059" y="246446"/>
                    <a:pt x="56892" y="261029"/>
                  </a:cubicBezTo>
                  <a:lnTo>
                    <a:pt x="56309" y="266862"/>
                  </a:lnTo>
                  <a:lnTo>
                    <a:pt x="11978" y="269486"/>
                  </a:lnTo>
                  <a:lnTo>
                    <a:pt x="14603" y="305651"/>
                  </a:lnTo>
                  <a:lnTo>
                    <a:pt x="58059" y="302443"/>
                  </a:lnTo>
                  <a:lnTo>
                    <a:pt x="59225" y="308276"/>
                  </a:lnTo>
                  <a:cubicBezTo>
                    <a:pt x="61850" y="322859"/>
                    <a:pt x="66517" y="336858"/>
                    <a:pt x="72641" y="350274"/>
                  </a:cubicBezTo>
                  <a:lnTo>
                    <a:pt x="74975" y="355524"/>
                  </a:lnTo>
                  <a:lnTo>
                    <a:pt x="37935" y="380022"/>
                  </a:lnTo>
                  <a:lnTo>
                    <a:pt x="58350" y="410063"/>
                  </a:lnTo>
                  <a:lnTo>
                    <a:pt x="94515" y="385564"/>
                  </a:lnTo>
                  <a:lnTo>
                    <a:pt x="98307" y="390230"/>
                  </a:lnTo>
                  <a:cubicBezTo>
                    <a:pt x="107931" y="401605"/>
                    <a:pt x="119014" y="411521"/>
                    <a:pt x="130972" y="419979"/>
                  </a:cubicBezTo>
                  <a:lnTo>
                    <a:pt x="135638" y="423187"/>
                  </a:lnTo>
                  <a:lnTo>
                    <a:pt x="116097" y="462852"/>
                  </a:lnTo>
                  <a:lnTo>
                    <a:pt x="148471" y="478893"/>
                  </a:lnTo>
                  <a:lnTo>
                    <a:pt x="167720" y="439519"/>
                  </a:lnTo>
                  <a:lnTo>
                    <a:pt x="173553" y="441561"/>
                  </a:lnTo>
                  <a:cubicBezTo>
                    <a:pt x="187552" y="446519"/>
                    <a:pt x="202135" y="449727"/>
                    <a:pt x="216717" y="450894"/>
                  </a:cubicBezTo>
                  <a:lnTo>
                    <a:pt x="222550" y="451477"/>
                  </a:lnTo>
                  <a:lnTo>
                    <a:pt x="225175" y="495808"/>
                  </a:lnTo>
                  <a:lnTo>
                    <a:pt x="233050" y="494933"/>
                  </a:lnTo>
                  <a:lnTo>
                    <a:pt x="261340" y="493183"/>
                  </a:lnTo>
                  <a:lnTo>
                    <a:pt x="258132" y="449727"/>
                  </a:lnTo>
                  <a:lnTo>
                    <a:pt x="263965" y="448561"/>
                  </a:lnTo>
                  <a:cubicBezTo>
                    <a:pt x="278256" y="445936"/>
                    <a:pt x="292547" y="441269"/>
                    <a:pt x="305963" y="435145"/>
                  </a:cubicBezTo>
                  <a:lnTo>
                    <a:pt x="311213" y="432812"/>
                  </a:lnTo>
                  <a:lnTo>
                    <a:pt x="335711" y="469559"/>
                  </a:lnTo>
                  <a:lnTo>
                    <a:pt x="366043" y="449435"/>
                  </a:lnTo>
                  <a:lnTo>
                    <a:pt x="341544" y="413271"/>
                  </a:lnTo>
                  <a:lnTo>
                    <a:pt x="346211" y="409187"/>
                  </a:lnTo>
                  <a:cubicBezTo>
                    <a:pt x="357585" y="399563"/>
                    <a:pt x="367501" y="388772"/>
                    <a:pt x="375959" y="376523"/>
                  </a:cubicBezTo>
                  <a:lnTo>
                    <a:pt x="379167" y="371856"/>
                  </a:lnTo>
                  <a:lnTo>
                    <a:pt x="418832" y="391397"/>
                  </a:lnTo>
                  <a:lnTo>
                    <a:pt x="434873" y="359024"/>
                  </a:lnTo>
                  <a:lnTo>
                    <a:pt x="395500" y="339775"/>
                  </a:lnTo>
                  <a:lnTo>
                    <a:pt x="397541" y="334233"/>
                  </a:lnTo>
                  <a:cubicBezTo>
                    <a:pt x="402499" y="320234"/>
                    <a:pt x="405708" y="305651"/>
                    <a:pt x="406874" y="291069"/>
                  </a:cubicBezTo>
                  <a:lnTo>
                    <a:pt x="407458" y="285235"/>
                  </a:lnTo>
                  <a:lnTo>
                    <a:pt x="451789" y="282611"/>
                  </a:lnTo>
                  <a:lnTo>
                    <a:pt x="449164" y="246446"/>
                  </a:lnTo>
                  <a:lnTo>
                    <a:pt x="405708" y="249654"/>
                  </a:lnTo>
                  <a:lnTo>
                    <a:pt x="404541" y="243821"/>
                  </a:lnTo>
                  <a:cubicBezTo>
                    <a:pt x="401916" y="229238"/>
                    <a:pt x="397250" y="215239"/>
                    <a:pt x="391125" y="201823"/>
                  </a:cubicBezTo>
                  <a:lnTo>
                    <a:pt x="388792" y="196573"/>
                  </a:lnTo>
                  <a:lnTo>
                    <a:pt x="424957" y="172658"/>
                  </a:lnTo>
                  <a:cubicBezTo>
                    <a:pt x="424957" y="172075"/>
                    <a:pt x="424665" y="171491"/>
                    <a:pt x="424665" y="170616"/>
                  </a:cubicBezTo>
                  <a:cubicBezTo>
                    <a:pt x="424665" y="170325"/>
                    <a:pt x="424665" y="170325"/>
                    <a:pt x="424665" y="170325"/>
                  </a:cubicBezTo>
                  <a:lnTo>
                    <a:pt x="405416" y="142035"/>
                  </a:lnTo>
                  <a:lnTo>
                    <a:pt x="369251" y="166533"/>
                  </a:lnTo>
                  <a:lnTo>
                    <a:pt x="365460" y="161867"/>
                  </a:lnTo>
                  <a:cubicBezTo>
                    <a:pt x="355835" y="150492"/>
                    <a:pt x="345044" y="140576"/>
                    <a:pt x="332795" y="132118"/>
                  </a:cubicBezTo>
                  <a:lnTo>
                    <a:pt x="328128" y="128910"/>
                  </a:lnTo>
                  <a:lnTo>
                    <a:pt x="347961" y="88954"/>
                  </a:lnTo>
                  <a:lnTo>
                    <a:pt x="315296" y="73205"/>
                  </a:lnTo>
                  <a:lnTo>
                    <a:pt x="296047" y="112578"/>
                  </a:lnTo>
                  <a:lnTo>
                    <a:pt x="290214" y="110536"/>
                  </a:lnTo>
                  <a:cubicBezTo>
                    <a:pt x="276214" y="105578"/>
                    <a:pt x="261632" y="102370"/>
                    <a:pt x="247049" y="101203"/>
                  </a:cubicBezTo>
                  <a:lnTo>
                    <a:pt x="241216" y="100620"/>
                  </a:lnTo>
                  <a:close/>
                  <a:moveTo>
                    <a:pt x="532868" y="14000"/>
                  </a:moveTo>
                  <a:lnTo>
                    <a:pt x="521493" y="14875"/>
                  </a:lnTo>
                  <a:lnTo>
                    <a:pt x="522952" y="36456"/>
                  </a:lnTo>
                  <a:lnTo>
                    <a:pt x="517119" y="37623"/>
                  </a:lnTo>
                  <a:cubicBezTo>
                    <a:pt x="510411" y="38790"/>
                    <a:pt x="503411" y="41123"/>
                    <a:pt x="496995" y="44040"/>
                  </a:cubicBezTo>
                  <a:lnTo>
                    <a:pt x="491745" y="46373"/>
                  </a:lnTo>
                  <a:lnTo>
                    <a:pt x="479787" y="28290"/>
                  </a:lnTo>
                  <a:lnTo>
                    <a:pt x="470454" y="34415"/>
                  </a:lnTo>
                  <a:lnTo>
                    <a:pt x="482412" y="52497"/>
                  </a:lnTo>
                  <a:lnTo>
                    <a:pt x="477746" y="56289"/>
                  </a:lnTo>
                  <a:cubicBezTo>
                    <a:pt x="472204" y="60956"/>
                    <a:pt x="467538" y="66205"/>
                    <a:pt x="463455" y="72038"/>
                  </a:cubicBezTo>
                  <a:lnTo>
                    <a:pt x="459955" y="76705"/>
                  </a:lnTo>
                  <a:lnTo>
                    <a:pt x="440414" y="67080"/>
                  </a:lnTo>
                  <a:lnTo>
                    <a:pt x="435456" y="77288"/>
                  </a:lnTo>
                  <a:lnTo>
                    <a:pt x="454705" y="86621"/>
                  </a:lnTo>
                  <a:lnTo>
                    <a:pt x="452664" y="92454"/>
                  </a:lnTo>
                  <a:cubicBezTo>
                    <a:pt x="450039" y="99162"/>
                    <a:pt x="448580" y="106161"/>
                    <a:pt x="447997" y="113161"/>
                  </a:cubicBezTo>
                  <a:lnTo>
                    <a:pt x="447414" y="118994"/>
                  </a:lnTo>
                  <a:lnTo>
                    <a:pt x="425832" y="120452"/>
                  </a:lnTo>
                  <a:lnTo>
                    <a:pt x="426415" y="131827"/>
                  </a:lnTo>
                  <a:lnTo>
                    <a:pt x="447997" y="130368"/>
                  </a:lnTo>
                  <a:lnTo>
                    <a:pt x="449164" y="136202"/>
                  </a:lnTo>
                  <a:cubicBezTo>
                    <a:pt x="450330" y="142910"/>
                    <a:pt x="452664" y="149909"/>
                    <a:pt x="455580" y="156325"/>
                  </a:cubicBezTo>
                  <a:lnTo>
                    <a:pt x="457913" y="161575"/>
                  </a:lnTo>
                  <a:lnTo>
                    <a:pt x="440123" y="173241"/>
                  </a:lnTo>
                  <a:cubicBezTo>
                    <a:pt x="440123" y="173533"/>
                    <a:pt x="440123" y="173825"/>
                    <a:pt x="440123" y="173825"/>
                  </a:cubicBezTo>
                  <a:lnTo>
                    <a:pt x="446247" y="182866"/>
                  </a:lnTo>
                  <a:lnTo>
                    <a:pt x="464038" y="170908"/>
                  </a:lnTo>
                  <a:lnTo>
                    <a:pt x="467829" y="175574"/>
                  </a:lnTo>
                  <a:cubicBezTo>
                    <a:pt x="472496" y="180824"/>
                    <a:pt x="477746" y="185782"/>
                    <a:pt x="483579" y="189866"/>
                  </a:cubicBezTo>
                  <a:lnTo>
                    <a:pt x="488245" y="193074"/>
                  </a:lnTo>
                  <a:lnTo>
                    <a:pt x="478621" y="212614"/>
                  </a:lnTo>
                  <a:lnTo>
                    <a:pt x="488828" y="217572"/>
                  </a:lnTo>
                  <a:lnTo>
                    <a:pt x="498453" y="198323"/>
                  </a:lnTo>
                  <a:lnTo>
                    <a:pt x="504286" y="200365"/>
                  </a:lnTo>
                  <a:cubicBezTo>
                    <a:pt x="510994" y="202990"/>
                    <a:pt x="517994" y="204448"/>
                    <a:pt x="524993" y="205031"/>
                  </a:cubicBezTo>
                  <a:lnTo>
                    <a:pt x="530826" y="205615"/>
                  </a:lnTo>
                  <a:lnTo>
                    <a:pt x="532285" y="227197"/>
                  </a:lnTo>
                  <a:lnTo>
                    <a:pt x="543367" y="226614"/>
                  </a:lnTo>
                  <a:lnTo>
                    <a:pt x="542201" y="205031"/>
                  </a:lnTo>
                  <a:lnTo>
                    <a:pt x="548034" y="203865"/>
                  </a:lnTo>
                  <a:cubicBezTo>
                    <a:pt x="555033" y="202698"/>
                    <a:pt x="562033" y="200365"/>
                    <a:pt x="568449" y="197448"/>
                  </a:cubicBezTo>
                  <a:lnTo>
                    <a:pt x="573699" y="195115"/>
                  </a:lnTo>
                  <a:lnTo>
                    <a:pt x="585657" y="213198"/>
                  </a:lnTo>
                  <a:lnTo>
                    <a:pt x="594990" y="207073"/>
                  </a:lnTo>
                  <a:lnTo>
                    <a:pt x="583032" y="189282"/>
                  </a:lnTo>
                  <a:lnTo>
                    <a:pt x="587698" y="185491"/>
                  </a:lnTo>
                  <a:cubicBezTo>
                    <a:pt x="592948" y="180824"/>
                    <a:pt x="597906" y="175574"/>
                    <a:pt x="601989" y="169742"/>
                  </a:cubicBezTo>
                  <a:lnTo>
                    <a:pt x="605489" y="165075"/>
                  </a:lnTo>
                  <a:lnTo>
                    <a:pt x="625030" y="174700"/>
                  </a:lnTo>
                  <a:lnTo>
                    <a:pt x="629988" y="164492"/>
                  </a:lnTo>
                  <a:lnTo>
                    <a:pt x="610739" y="154867"/>
                  </a:lnTo>
                  <a:lnTo>
                    <a:pt x="612780" y="149326"/>
                  </a:lnTo>
                  <a:cubicBezTo>
                    <a:pt x="615405" y="142618"/>
                    <a:pt x="616864" y="135618"/>
                    <a:pt x="617447" y="128619"/>
                  </a:cubicBezTo>
                  <a:lnTo>
                    <a:pt x="618030" y="122786"/>
                  </a:lnTo>
                  <a:lnTo>
                    <a:pt x="639612" y="121327"/>
                  </a:lnTo>
                  <a:lnTo>
                    <a:pt x="639029" y="109953"/>
                  </a:lnTo>
                  <a:lnTo>
                    <a:pt x="617447" y="111411"/>
                  </a:lnTo>
                  <a:lnTo>
                    <a:pt x="616280" y="105578"/>
                  </a:lnTo>
                  <a:cubicBezTo>
                    <a:pt x="615114" y="98578"/>
                    <a:pt x="612780" y="91871"/>
                    <a:pt x="609864" y="85454"/>
                  </a:cubicBezTo>
                  <a:lnTo>
                    <a:pt x="607531" y="80204"/>
                  </a:lnTo>
                  <a:lnTo>
                    <a:pt x="625613" y="67955"/>
                  </a:lnTo>
                  <a:lnTo>
                    <a:pt x="619197" y="58622"/>
                  </a:lnTo>
                  <a:lnTo>
                    <a:pt x="601406" y="70580"/>
                  </a:lnTo>
                  <a:lnTo>
                    <a:pt x="597323" y="65914"/>
                  </a:lnTo>
                  <a:cubicBezTo>
                    <a:pt x="592656" y="60372"/>
                    <a:pt x="587407" y="55706"/>
                    <a:pt x="581574" y="51622"/>
                  </a:cubicBezTo>
                  <a:lnTo>
                    <a:pt x="576907" y="48414"/>
                  </a:lnTo>
                  <a:lnTo>
                    <a:pt x="586532" y="28874"/>
                  </a:lnTo>
                  <a:lnTo>
                    <a:pt x="576324" y="23916"/>
                  </a:lnTo>
                  <a:lnTo>
                    <a:pt x="566699" y="43165"/>
                  </a:lnTo>
                  <a:lnTo>
                    <a:pt x="560866" y="41123"/>
                  </a:lnTo>
                  <a:cubicBezTo>
                    <a:pt x="554158" y="38498"/>
                    <a:pt x="547159" y="37040"/>
                    <a:pt x="540159" y="36456"/>
                  </a:cubicBezTo>
                  <a:lnTo>
                    <a:pt x="534326" y="35873"/>
                  </a:lnTo>
                  <a:close/>
                  <a:moveTo>
                    <a:pt x="538993" y="0"/>
                  </a:moveTo>
                  <a:lnTo>
                    <a:pt x="540451" y="0"/>
                  </a:lnTo>
                  <a:cubicBezTo>
                    <a:pt x="543659" y="1167"/>
                    <a:pt x="546284" y="4083"/>
                    <a:pt x="546284" y="7583"/>
                  </a:cubicBezTo>
                  <a:lnTo>
                    <a:pt x="547159" y="22749"/>
                  </a:lnTo>
                  <a:cubicBezTo>
                    <a:pt x="551534" y="23332"/>
                    <a:pt x="555617" y="24207"/>
                    <a:pt x="559700" y="25374"/>
                  </a:cubicBezTo>
                  <a:lnTo>
                    <a:pt x="566408" y="12250"/>
                  </a:lnTo>
                  <a:cubicBezTo>
                    <a:pt x="567283" y="10499"/>
                    <a:pt x="569033" y="9042"/>
                    <a:pt x="571074" y="8166"/>
                  </a:cubicBezTo>
                  <a:cubicBezTo>
                    <a:pt x="573699" y="7000"/>
                    <a:pt x="575741" y="7291"/>
                    <a:pt x="577782" y="8166"/>
                  </a:cubicBezTo>
                  <a:lnTo>
                    <a:pt x="598781" y="18666"/>
                  </a:lnTo>
                  <a:lnTo>
                    <a:pt x="599948" y="19833"/>
                  </a:lnTo>
                  <a:cubicBezTo>
                    <a:pt x="602281" y="22457"/>
                    <a:pt x="602573" y="26249"/>
                    <a:pt x="601114" y="29165"/>
                  </a:cubicBezTo>
                  <a:lnTo>
                    <a:pt x="594406" y="42873"/>
                  </a:lnTo>
                  <a:cubicBezTo>
                    <a:pt x="597906" y="45790"/>
                    <a:pt x="601114" y="48414"/>
                    <a:pt x="604031" y="51622"/>
                  </a:cubicBezTo>
                  <a:lnTo>
                    <a:pt x="618322" y="42581"/>
                  </a:lnTo>
                  <a:cubicBezTo>
                    <a:pt x="619488" y="42290"/>
                    <a:pt x="620947" y="42290"/>
                    <a:pt x="622113" y="42290"/>
                  </a:cubicBezTo>
                  <a:cubicBezTo>
                    <a:pt x="624155" y="42581"/>
                    <a:pt x="626488" y="44040"/>
                    <a:pt x="627946" y="46081"/>
                  </a:cubicBezTo>
                  <a:lnTo>
                    <a:pt x="640487" y="65330"/>
                  </a:lnTo>
                  <a:lnTo>
                    <a:pt x="641071" y="67372"/>
                  </a:lnTo>
                  <a:cubicBezTo>
                    <a:pt x="641654" y="70872"/>
                    <a:pt x="640196" y="74080"/>
                    <a:pt x="637571" y="75830"/>
                  </a:cubicBezTo>
                  <a:lnTo>
                    <a:pt x="624738" y="84287"/>
                  </a:lnTo>
                  <a:cubicBezTo>
                    <a:pt x="626488" y="88370"/>
                    <a:pt x="627655" y="92454"/>
                    <a:pt x="628821" y="96537"/>
                  </a:cubicBezTo>
                  <a:lnTo>
                    <a:pt x="643696" y="95662"/>
                  </a:lnTo>
                  <a:cubicBezTo>
                    <a:pt x="646029" y="95662"/>
                    <a:pt x="647779" y="96245"/>
                    <a:pt x="649529" y="97412"/>
                  </a:cubicBezTo>
                  <a:cubicBezTo>
                    <a:pt x="651278" y="98870"/>
                    <a:pt x="652737" y="101203"/>
                    <a:pt x="652737" y="103536"/>
                  </a:cubicBezTo>
                  <a:lnTo>
                    <a:pt x="653903" y="127160"/>
                  </a:lnTo>
                  <a:lnTo>
                    <a:pt x="653320" y="128619"/>
                  </a:lnTo>
                  <a:cubicBezTo>
                    <a:pt x="652445" y="130952"/>
                    <a:pt x="650403" y="132702"/>
                    <a:pt x="648070" y="133868"/>
                  </a:cubicBezTo>
                  <a:lnTo>
                    <a:pt x="646320" y="133868"/>
                  </a:lnTo>
                  <a:lnTo>
                    <a:pt x="630863" y="134743"/>
                  </a:lnTo>
                  <a:cubicBezTo>
                    <a:pt x="630280" y="139118"/>
                    <a:pt x="629405" y="143201"/>
                    <a:pt x="628238" y="147284"/>
                  </a:cubicBezTo>
                  <a:lnTo>
                    <a:pt x="641362" y="153992"/>
                  </a:lnTo>
                  <a:cubicBezTo>
                    <a:pt x="642821" y="154867"/>
                    <a:pt x="644279" y="156325"/>
                    <a:pt x="645154" y="158076"/>
                  </a:cubicBezTo>
                  <a:cubicBezTo>
                    <a:pt x="646029" y="160408"/>
                    <a:pt x="646320" y="163034"/>
                    <a:pt x="645154" y="165367"/>
                  </a:cubicBezTo>
                  <a:lnTo>
                    <a:pt x="635529" y="184908"/>
                  </a:lnTo>
                  <a:cubicBezTo>
                    <a:pt x="634654" y="186949"/>
                    <a:pt x="632613" y="188407"/>
                    <a:pt x="630571" y="189282"/>
                  </a:cubicBezTo>
                  <a:lnTo>
                    <a:pt x="629405" y="189282"/>
                  </a:lnTo>
                  <a:lnTo>
                    <a:pt x="624155" y="188699"/>
                  </a:lnTo>
                  <a:lnTo>
                    <a:pt x="610447" y="181991"/>
                  </a:lnTo>
                  <a:cubicBezTo>
                    <a:pt x="607531" y="185491"/>
                    <a:pt x="604614" y="188699"/>
                    <a:pt x="601698" y="191615"/>
                  </a:cubicBezTo>
                  <a:lnTo>
                    <a:pt x="609864" y="203865"/>
                  </a:lnTo>
                  <a:cubicBezTo>
                    <a:pt x="612489" y="207656"/>
                    <a:pt x="611322" y="212906"/>
                    <a:pt x="607531" y="215531"/>
                  </a:cubicBezTo>
                  <a:cubicBezTo>
                    <a:pt x="607531" y="215531"/>
                    <a:pt x="587698" y="228655"/>
                    <a:pt x="587698" y="228655"/>
                  </a:cubicBezTo>
                  <a:lnTo>
                    <a:pt x="587115" y="228655"/>
                  </a:lnTo>
                  <a:cubicBezTo>
                    <a:pt x="583032" y="229530"/>
                    <a:pt x="579824" y="228072"/>
                    <a:pt x="577782" y="225155"/>
                  </a:cubicBezTo>
                  <a:lnTo>
                    <a:pt x="569324" y="212322"/>
                  </a:lnTo>
                  <a:cubicBezTo>
                    <a:pt x="565241" y="214073"/>
                    <a:pt x="561158" y="215239"/>
                    <a:pt x="557075" y="216406"/>
                  </a:cubicBezTo>
                  <a:cubicBezTo>
                    <a:pt x="557075" y="216406"/>
                    <a:pt x="557075" y="235072"/>
                    <a:pt x="557075" y="235072"/>
                  </a:cubicBezTo>
                  <a:lnTo>
                    <a:pt x="557075" y="235655"/>
                  </a:lnTo>
                  <a:cubicBezTo>
                    <a:pt x="555908" y="237696"/>
                    <a:pt x="554158" y="239155"/>
                    <a:pt x="552117" y="240030"/>
                  </a:cubicBezTo>
                  <a:lnTo>
                    <a:pt x="550367" y="240030"/>
                  </a:lnTo>
                  <a:lnTo>
                    <a:pt x="528493" y="241488"/>
                  </a:lnTo>
                  <a:cubicBezTo>
                    <a:pt x="523827" y="241780"/>
                    <a:pt x="519452" y="238280"/>
                    <a:pt x="519452" y="233613"/>
                  </a:cubicBezTo>
                  <a:lnTo>
                    <a:pt x="518577" y="218447"/>
                  </a:lnTo>
                  <a:cubicBezTo>
                    <a:pt x="514202" y="217864"/>
                    <a:pt x="510119" y="216989"/>
                    <a:pt x="506036" y="215823"/>
                  </a:cubicBezTo>
                  <a:lnTo>
                    <a:pt x="499328" y="228947"/>
                  </a:lnTo>
                  <a:cubicBezTo>
                    <a:pt x="497578" y="232738"/>
                    <a:pt x="491745" y="234780"/>
                    <a:pt x="487953" y="232738"/>
                  </a:cubicBezTo>
                  <a:lnTo>
                    <a:pt x="466663" y="221655"/>
                  </a:lnTo>
                  <a:cubicBezTo>
                    <a:pt x="464038" y="218739"/>
                    <a:pt x="463455" y="214948"/>
                    <a:pt x="464913" y="211739"/>
                  </a:cubicBezTo>
                  <a:lnTo>
                    <a:pt x="471621" y="198032"/>
                  </a:lnTo>
                  <a:cubicBezTo>
                    <a:pt x="468121" y="195115"/>
                    <a:pt x="464913" y="192490"/>
                    <a:pt x="461996" y="189282"/>
                  </a:cubicBezTo>
                  <a:lnTo>
                    <a:pt x="447706" y="198615"/>
                  </a:lnTo>
                  <a:cubicBezTo>
                    <a:pt x="444206" y="199782"/>
                    <a:pt x="440123" y="198323"/>
                    <a:pt x="438081" y="195115"/>
                  </a:cubicBezTo>
                  <a:lnTo>
                    <a:pt x="431665" y="185199"/>
                  </a:lnTo>
                  <a:lnTo>
                    <a:pt x="406583" y="201823"/>
                  </a:lnTo>
                  <a:cubicBezTo>
                    <a:pt x="411249" y="212614"/>
                    <a:pt x="414749" y="223989"/>
                    <a:pt x="417374" y="235655"/>
                  </a:cubicBezTo>
                  <a:lnTo>
                    <a:pt x="452372" y="233613"/>
                  </a:lnTo>
                  <a:cubicBezTo>
                    <a:pt x="454705" y="233613"/>
                    <a:pt x="457038" y="234196"/>
                    <a:pt x="459080" y="235655"/>
                  </a:cubicBezTo>
                  <a:cubicBezTo>
                    <a:pt x="461413" y="237696"/>
                    <a:pt x="463163" y="240321"/>
                    <a:pt x="463163" y="243238"/>
                  </a:cubicBezTo>
                  <a:lnTo>
                    <a:pt x="465788" y="286111"/>
                  </a:lnTo>
                  <a:cubicBezTo>
                    <a:pt x="465788" y="287861"/>
                    <a:pt x="465205" y="289319"/>
                    <a:pt x="464913" y="290485"/>
                  </a:cubicBezTo>
                  <a:cubicBezTo>
                    <a:pt x="463455" y="293110"/>
                    <a:pt x="461413" y="295443"/>
                    <a:pt x="458497" y="296610"/>
                  </a:cubicBezTo>
                  <a:lnTo>
                    <a:pt x="456455" y="296610"/>
                  </a:lnTo>
                  <a:lnTo>
                    <a:pt x="419999" y="298943"/>
                  </a:lnTo>
                  <a:cubicBezTo>
                    <a:pt x="418540" y="310901"/>
                    <a:pt x="415915" y="322567"/>
                    <a:pt x="412416" y="333942"/>
                  </a:cubicBezTo>
                  <a:lnTo>
                    <a:pt x="443914" y="349691"/>
                  </a:lnTo>
                  <a:cubicBezTo>
                    <a:pt x="445956" y="350566"/>
                    <a:pt x="447706" y="352315"/>
                    <a:pt x="448580" y="354357"/>
                  </a:cubicBezTo>
                  <a:cubicBezTo>
                    <a:pt x="450039" y="357273"/>
                    <a:pt x="450039" y="360482"/>
                    <a:pt x="448580" y="363398"/>
                  </a:cubicBezTo>
                  <a:lnTo>
                    <a:pt x="429623" y="401896"/>
                  </a:lnTo>
                  <a:cubicBezTo>
                    <a:pt x="428165" y="405104"/>
                    <a:pt x="424665" y="407146"/>
                    <a:pt x="421165" y="407146"/>
                  </a:cubicBezTo>
                  <a:lnTo>
                    <a:pt x="418249" y="407146"/>
                  </a:lnTo>
                  <a:cubicBezTo>
                    <a:pt x="417374" y="407146"/>
                    <a:pt x="416207" y="406563"/>
                    <a:pt x="416207" y="406563"/>
                  </a:cubicBezTo>
                  <a:lnTo>
                    <a:pt x="383834" y="390522"/>
                  </a:lnTo>
                  <a:cubicBezTo>
                    <a:pt x="376834" y="400146"/>
                    <a:pt x="368668" y="408896"/>
                    <a:pt x="359918" y="417062"/>
                  </a:cubicBezTo>
                  <a:lnTo>
                    <a:pt x="379167" y="446227"/>
                  </a:lnTo>
                  <a:cubicBezTo>
                    <a:pt x="382084" y="450894"/>
                    <a:pt x="380917" y="457019"/>
                    <a:pt x="376251" y="460226"/>
                  </a:cubicBezTo>
                  <a:lnTo>
                    <a:pt x="340378" y="483851"/>
                  </a:lnTo>
                  <a:cubicBezTo>
                    <a:pt x="339503" y="484434"/>
                    <a:pt x="337753" y="485017"/>
                    <a:pt x="337753" y="485017"/>
                  </a:cubicBezTo>
                  <a:lnTo>
                    <a:pt x="333961" y="486184"/>
                  </a:lnTo>
                  <a:lnTo>
                    <a:pt x="332795" y="485308"/>
                  </a:lnTo>
                  <a:cubicBezTo>
                    <a:pt x="329878" y="484725"/>
                    <a:pt x="327545" y="483267"/>
                    <a:pt x="326087" y="480934"/>
                  </a:cubicBezTo>
                  <a:lnTo>
                    <a:pt x="306254" y="450894"/>
                  </a:lnTo>
                  <a:cubicBezTo>
                    <a:pt x="295463" y="455268"/>
                    <a:pt x="284089" y="459060"/>
                    <a:pt x="272423" y="461685"/>
                  </a:cubicBezTo>
                  <a:lnTo>
                    <a:pt x="274464" y="496683"/>
                  </a:lnTo>
                  <a:cubicBezTo>
                    <a:pt x="274464" y="498141"/>
                    <a:pt x="273881" y="500474"/>
                    <a:pt x="273881" y="500474"/>
                  </a:cubicBezTo>
                  <a:lnTo>
                    <a:pt x="270673" y="506891"/>
                  </a:lnTo>
                  <a:lnTo>
                    <a:pt x="269798" y="505724"/>
                  </a:lnTo>
                  <a:cubicBezTo>
                    <a:pt x="269215" y="506307"/>
                    <a:pt x="267173" y="507474"/>
                    <a:pt x="267173" y="507474"/>
                  </a:cubicBezTo>
                  <a:lnTo>
                    <a:pt x="265132" y="507474"/>
                  </a:lnTo>
                  <a:lnTo>
                    <a:pt x="222259" y="510099"/>
                  </a:lnTo>
                  <a:cubicBezTo>
                    <a:pt x="219634" y="510099"/>
                    <a:pt x="217009" y="509224"/>
                    <a:pt x="214967" y="507474"/>
                  </a:cubicBezTo>
                  <a:cubicBezTo>
                    <a:pt x="212926" y="505724"/>
                    <a:pt x="211468" y="503099"/>
                    <a:pt x="211468" y="500474"/>
                  </a:cubicBezTo>
                  <a:lnTo>
                    <a:pt x="209134" y="464601"/>
                  </a:lnTo>
                  <a:cubicBezTo>
                    <a:pt x="197177" y="463143"/>
                    <a:pt x="185511" y="460518"/>
                    <a:pt x="174136" y="457019"/>
                  </a:cubicBezTo>
                  <a:lnTo>
                    <a:pt x="158387" y="488517"/>
                  </a:lnTo>
                  <a:cubicBezTo>
                    <a:pt x="155762" y="493183"/>
                    <a:pt x="149346" y="495516"/>
                    <a:pt x="144679" y="493183"/>
                  </a:cubicBezTo>
                  <a:lnTo>
                    <a:pt x="103848" y="472184"/>
                  </a:lnTo>
                  <a:cubicBezTo>
                    <a:pt x="100640" y="468393"/>
                    <a:pt x="99765" y="464018"/>
                    <a:pt x="101807" y="460226"/>
                  </a:cubicBezTo>
                  <a:lnTo>
                    <a:pt x="117847" y="428145"/>
                  </a:lnTo>
                  <a:cubicBezTo>
                    <a:pt x="108223" y="421145"/>
                    <a:pt x="99473" y="412979"/>
                    <a:pt x="91307" y="404229"/>
                  </a:cubicBezTo>
                  <a:lnTo>
                    <a:pt x="62142" y="423478"/>
                  </a:lnTo>
                  <a:cubicBezTo>
                    <a:pt x="57767" y="426103"/>
                    <a:pt x="51059" y="424937"/>
                    <a:pt x="48143" y="420562"/>
                  </a:cubicBezTo>
                  <a:lnTo>
                    <a:pt x="24519" y="384689"/>
                  </a:lnTo>
                  <a:cubicBezTo>
                    <a:pt x="23061" y="382355"/>
                    <a:pt x="22477" y="379731"/>
                    <a:pt x="23061" y="377106"/>
                  </a:cubicBezTo>
                  <a:cubicBezTo>
                    <a:pt x="23644" y="374481"/>
                    <a:pt x="25102" y="372148"/>
                    <a:pt x="27435" y="370690"/>
                  </a:cubicBezTo>
                  <a:lnTo>
                    <a:pt x="57475" y="350857"/>
                  </a:lnTo>
                  <a:cubicBezTo>
                    <a:pt x="52809" y="340066"/>
                    <a:pt x="49309" y="328692"/>
                    <a:pt x="46684" y="317026"/>
                  </a:cubicBezTo>
                  <a:lnTo>
                    <a:pt x="13021" y="318989"/>
                  </a:lnTo>
                  <a:lnTo>
                    <a:pt x="2645" y="309734"/>
                  </a:lnTo>
                  <a:lnTo>
                    <a:pt x="20" y="266862"/>
                  </a:lnTo>
                  <a:cubicBezTo>
                    <a:pt x="-272" y="262195"/>
                    <a:pt x="2645" y="257820"/>
                    <a:pt x="7020" y="256070"/>
                  </a:cubicBezTo>
                  <a:lnTo>
                    <a:pt x="9061" y="256070"/>
                  </a:lnTo>
                  <a:lnTo>
                    <a:pt x="45226" y="253737"/>
                  </a:lnTo>
                  <a:cubicBezTo>
                    <a:pt x="46684" y="241780"/>
                    <a:pt x="49309" y="230113"/>
                    <a:pt x="52809" y="218739"/>
                  </a:cubicBezTo>
                  <a:lnTo>
                    <a:pt x="21311" y="202990"/>
                  </a:lnTo>
                  <a:cubicBezTo>
                    <a:pt x="20144" y="202406"/>
                    <a:pt x="18977" y="201531"/>
                    <a:pt x="18102" y="200365"/>
                  </a:cubicBezTo>
                  <a:cubicBezTo>
                    <a:pt x="15478" y="197448"/>
                    <a:pt x="14894" y="193657"/>
                    <a:pt x="16644" y="190157"/>
                  </a:cubicBezTo>
                  <a:lnTo>
                    <a:pt x="16644" y="189282"/>
                  </a:lnTo>
                  <a:lnTo>
                    <a:pt x="35602" y="151076"/>
                  </a:lnTo>
                  <a:cubicBezTo>
                    <a:pt x="36185" y="149909"/>
                    <a:pt x="37060" y="148743"/>
                    <a:pt x="38226" y="147868"/>
                  </a:cubicBezTo>
                  <a:cubicBezTo>
                    <a:pt x="40851" y="145534"/>
                    <a:pt x="45809" y="144659"/>
                    <a:pt x="49309" y="146409"/>
                  </a:cubicBezTo>
                  <a:lnTo>
                    <a:pt x="81683" y="162450"/>
                  </a:lnTo>
                  <a:cubicBezTo>
                    <a:pt x="88682" y="152826"/>
                    <a:pt x="96848" y="143785"/>
                    <a:pt x="105598" y="135910"/>
                  </a:cubicBezTo>
                  <a:lnTo>
                    <a:pt x="86057" y="106745"/>
                  </a:lnTo>
                  <a:cubicBezTo>
                    <a:pt x="84891" y="104703"/>
                    <a:pt x="84307" y="102953"/>
                    <a:pt x="84307" y="100620"/>
                  </a:cubicBezTo>
                  <a:cubicBezTo>
                    <a:pt x="84307" y="97120"/>
                    <a:pt x="86057" y="94204"/>
                    <a:pt x="88682" y="92454"/>
                  </a:cubicBezTo>
                  <a:lnTo>
                    <a:pt x="126889" y="67663"/>
                  </a:lnTo>
                  <a:cubicBezTo>
                    <a:pt x="127472" y="67372"/>
                    <a:pt x="127764" y="67372"/>
                    <a:pt x="128347" y="67372"/>
                  </a:cubicBezTo>
                  <a:cubicBezTo>
                    <a:pt x="132722" y="66788"/>
                    <a:pt x="136513" y="68538"/>
                    <a:pt x="138555" y="71747"/>
                  </a:cubicBezTo>
                  <a:lnTo>
                    <a:pt x="158387" y="101787"/>
                  </a:lnTo>
                  <a:cubicBezTo>
                    <a:pt x="169178" y="97120"/>
                    <a:pt x="180553" y="93620"/>
                    <a:pt x="192219" y="90996"/>
                  </a:cubicBezTo>
                  <a:lnTo>
                    <a:pt x="189885" y="55998"/>
                  </a:lnTo>
                  <a:cubicBezTo>
                    <a:pt x="189885" y="53956"/>
                    <a:pt x="190469" y="51914"/>
                    <a:pt x="191635" y="49873"/>
                  </a:cubicBezTo>
                  <a:cubicBezTo>
                    <a:pt x="193093" y="47539"/>
                    <a:pt x="195135" y="46373"/>
                    <a:pt x="197177" y="45206"/>
                  </a:cubicBezTo>
                  <a:lnTo>
                    <a:pt x="199218" y="45206"/>
                  </a:lnTo>
                  <a:lnTo>
                    <a:pt x="242383" y="42581"/>
                  </a:lnTo>
                  <a:cubicBezTo>
                    <a:pt x="243549" y="42581"/>
                    <a:pt x="244716" y="42581"/>
                    <a:pt x="246174" y="43165"/>
                  </a:cubicBezTo>
                  <a:cubicBezTo>
                    <a:pt x="250257" y="44623"/>
                    <a:pt x="253174" y="48123"/>
                    <a:pt x="253174" y="52206"/>
                  </a:cubicBezTo>
                  <a:lnTo>
                    <a:pt x="255507" y="88079"/>
                  </a:lnTo>
                  <a:cubicBezTo>
                    <a:pt x="267173" y="89537"/>
                    <a:pt x="278839" y="92162"/>
                    <a:pt x="290214" y="95662"/>
                  </a:cubicBezTo>
                  <a:lnTo>
                    <a:pt x="305963" y="64164"/>
                  </a:lnTo>
                  <a:cubicBezTo>
                    <a:pt x="307129" y="61830"/>
                    <a:pt x="309171" y="60081"/>
                    <a:pt x="311504" y="59205"/>
                  </a:cubicBezTo>
                  <a:cubicBezTo>
                    <a:pt x="314712" y="58039"/>
                    <a:pt x="317337" y="58330"/>
                    <a:pt x="319670" y="59497"/>
                  </a:cubicBezTo>
                  <a:lnTo>
                    <a:pt x="357877" y="78454"/>
                  </a:lnTo>
                  <a:cubicBezTo>
                    <a:pt x="359043" y="79329"/>
                    <a:pt x="360210" y="79913"/>
                    <a:pt x="361085" y="81079"/>
                  </a:cubicBezTo>
                  <a:cubicBezTo>
                    <a:pt x="363710" y="83996"/>
                    <a:pt x="364293" y="88370"/>
                    <a:pt x="362543" y="92162"/>
                  </a:cubicBezTo>
                  <a:lnTo>
                    <a:pt x="346502" y="124244"/>
                  </a:lnTo>
                  <a:cubicBezTo>
                    <a:pt x="356127" y="131243"/>
                    <a:pt x="364876" y="139409"/>
                    <a:pt x="373043" y="148159"/>
                  </a:cubicBezTo>
                  <a:lnTo>
                    <a:pt x="404833" y="127452"/>
                  </a:lnTo>
                  <a:cubicBezTo>
                    <a:pt x="405999" y="127160"/>
                    <a:pt x="407458" y="127160"/>
                    <a:pt x="408916" y="127160"/>
                  </a:cubicBezTo>
                  <a:cubicBezTo>
                    <a:pt x="410957" y="127452"/>
                    <a:pt x="413874" y="129202"/>
                    <a:pt x="413874" y="129202"/>
                  </a:cubicBezTo>
                  <a:lnTo>
                    <a:pt x="412999" y="115786"/>
                  </a:lnTo>
                  <a:cubicBezTo>
                    <a:pt x="412707" y="111703"/>
                    <a:pt x="415041" y="108203"/>
                    <a:pt x="418832" y="106745"/>
                  </a:cubicBezTo>
                  <a:lnTo>
                    <a:pt x="420290" y="106745"/>
                  </a:lnTo>
                  <a:lnTo>
                    <a:pt x="436039" y="105870"/>
                  </a:lnTo>
                  <a:cubicBezTo>
                    <a:pt x="436623" y="101787"/>
                    <a:pt x="437498" y="97412"/>
                    <a:pt x="438664" y="93329"/>
                  </a:cubicBezTo>
                  <a:lnTo>
                    <a:pt x="422623" y="84871"/>
                  </a:lnTo>
                  <a:cubicBezTo>
                    <a:pt x="420290" y="82246"/>
                    <a:pt x="419999" y="78454"/>
                    <a:pt x="421457" y="75538"/>
                  </a:cubicBezTo>
                  <a:lnTo>
                    <a:pt x="432831" y="53664"/>
                  </a:lnTo>
                  <a:cubicBezTo>
                    <a:pt x="435456" y="51331"/>
                    <a:pt x="438956" y="50748"/>
                    <a:pt x="442164" y="52206"/>
                  </a:cubicBezTo>
                  <a:lnTo>
                    <a:pt x="455872" y="58914"/>
                  </a:lnTo>
                  <a:cubicBezTo>
                    <a:pt x="458788" y="55414"/>
                    <a:pt x="461705" y="52206"/>
                    <a:pt x="464621" y="49289"/>
                  </a:cubicBezTo>
                  <a:lnTo>
                    <a:pt x="456455" y="37040"/>
                  </a:lnTo>
                  <a:cubicBezTo>
                    <a:pt x="455288" y="35582"/>
                    <a:pt x="454997" y="33832"/>
                    <a:pt x="454997" y="32082"/>
                  </a:cubicBezTo>
                  <a:cubicBezTo>
                    <a:pt x="454997" y="29165"/>
                    <a:pt x="456455" y="26832"/>
                    <a:pt x="458497" y="25374"/>
                  </a:cubicBezTo>
                  <a:cubicBezTo>
                    <a:pt x="458497" y="25374"/>
                    <a:pt x="478912" y="12250"/>
                    <a:pt x="478912" y="12250"/>
                  </a:cubicBezTo>
                  <a:lnTo>
                    <a:pt x="479496" y="12250"/>
                  </a:lnTo>
                  <a:cubicBezTo>
                    <a:pt x="483287" y="11958"/>
                    <a:pt x="486495" y="13416"/>
                    <a:pt x="488245" y="16041"/>
                  </a:cubicBezTo>
                  <a:lnTo>
                    <a:pt x="496703" y="28874"/>
                  </a:lnTo>
                  <a:cubicBezTo>
                    <a:pt x="500786" y="27124"/>
                    <a:pt x="504869" y="25957"/>
                    <a:pt x="508952" y="24791"/>
                  </a:cubicBezTo>
                  <a:lnTo>
                    <a:pt x="508077" y="9916"/>
                  </a:lnTo>
                  <a:cubicBezTo>
                    <a:pt x="507786" y="7875"/>
                    <a:pt x="508369" y="5833"/>
                    <a:pt x="509536" y="4375"/>
                  </a:cubicBezTo>
                  <a:cubicBezTo>
                    <a:pt x="510702" y="2917"/>
                    <a:pt x="512161" y="1750"/>
                    <a:pt x="513910" y="875"/>
                  </a:cubicBezTo>
                  <a:lnTo>
                    <a:pt x="515369" y="875"/>
                  </a:lnTo>
                  <a:cubicBezTo>
                    <a:pt x="515369" y="875"/>
                    <a:pt x="538993" y="0"/>
                    <a:pt x="538993" y="0"/>
                  </a:cubicBezTo>
                  <a:close/>
                </a:path>
              </a:pathLst>
            </a:custGeom>
            <a:solidFill>
              <a:schemeClr val="bg1">
                <a:lumMod val="85000"/>
              </a:schemeClr>
            </a:solidFill>
            <a:ln w="2913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5" name="Forma libre: forma 834">
              <a:extLst>
                <a:ext uri="{FF2B5EF4-FFF2-40B4-BE49-F238E27FC236}">
                  <a16:creationId xmlns:a16="http://schemas.microsoft.com/office/drawing/2014/main" id="{2529A915-DCF6-1B22-448D-CDF20ED587CC}"/>
                </a:ext>
              </a:extLst>
            </p:cNvPr>
            <p:cNvSpPr/>
            <p:nvPr/>
          </p:nvSpPr>
          <p:spPr>
            <a:xfrm>
              <a:off x="10790808" y="4540736"/>
              <a:ext cx="509188" cy="509184"/>
            </a:xfrm>
            <a:custGeom>
              <a:avLst/>
              <a:gdLst>
                <a:gd name="connsiteX0" fmla="*/ 3429000 w 6858000"/>
                <a:gd name="connsiteY0" fmla="*/ 6400805 h 6857973"/>
                <a:gd name="connsiteX1" fmla="*/ 3314704 w 6858000"/>
                <a:gd name="connsiteY1" fmla="*/ 6515100 h 6857973"/>
                <a:gd name="connsiteX2" fmla="*/ 3429000 w 6858000"/>
                <a:gd name="connsiteY2" fmla="*/ 6629396 h 6857973"/>
                <a:gd name="connsiteX3" fmla="*/ 3543174 w 6858000"/>
                <a:gd name="connsiteY3" fmla="*/ 6515783 h 6857973"/>
                <a:gd name="connsiteX4" fmla="*/ 3542720 w 6858000"/>
                <a:gd name="connsiteY4" fmla="*/ 6514189 h 6857973"/>
                <a:gd name="connsiteX5" fmla="*/ 3542840 w 6858000"/>
                <a:gd name="connsiteY5" fmla="*/ 6513051 h 6857973"/>
                <a:gd name="connsiteX6" fmla="*/ 3429000 w 6858000"/>
                <a:gd name="connsiteY6" fmla="*/ 6400805 h 6857973"/>
                <a:gd name="connsiteX7" fmla="*/ 4800600 w 6858000"/>
                <a:gd name="connsiteY7" fmla="*/ 4914909 h 6857973"/>
                <a:gd name="connsiteX8" fmla="*/ 4686304 w 6858000"/>
                <a:gd name="connsiteY8" fmla="*/ 5029205 h 6857973"/>
                <a:gd name="connsiteX9" fmla="*/ 4800600 w 6858000"/>
                <a:gd name="connsiteY9" fmla="*/ 5143500 h 6857973"/>
                <a:gd name="connsiteX10" fmla="*/ 4914896 w 6858000"/>
                <a:gd name="connsiteY10" fmla="*/ 5029205 h 6857973"/>
                <a:gd name="connsiteX11" fmla="*/ 4800600 w 6858000"/>
                <a:gd name="connsiteY11" fmla="*/ 4914909 h 6857973"/>
                <a:gd name="connsiteX12" fmla="*/ 6516010 w 6858000"/>
                <a:gd name="connsiteY12" fmla="*/ 3314798 h 6857973"/>
                <a:gd name="connsiteX13" fmla="*/ 6514188 w 6858000"/>
                <a:gd name="connsiteY13" fmla="*/ 3315374 h 6857973"/>
                <a:gd name="connsiteX14" fmla="*/ 6511336 w 6858000"/>
                <a:gd name="connsiteY14" fmla="*/ 3315494 h 6857973"/>
                <a:gd name="connsiteX15" fmla="*/ 6400804 w 6858000"/>
                <a:gd name="connsiteY15" fmla="*/ 3429000 h 6857973"/>
                <a:gd name="connsiteX16" fmla="*/ 6515100 w 6858000"/>
                <a:gd name="connsiteY16" fmla="*/ 3543295 h 6857973"/>
                <a:gd name="connsiteX17" fmla="*/ 6629396 w 6858000"/>
                <a:gd name="connsiteY17" fmla="*/ 3428986 h 6857973"/>
                <a:gd name="connsiteX18" fmla="*/ 6516010 w 6858000"/>
                <a:gd name="connsiteY18" fmla="*/ 3314798 h 6857973"/>
                <a:gd name="connsiteX19" fmla="*/ 3429000 w 6858000"/>
                <a:gd name="connsiteY19" fmla="*/ 3314705 h 6857973"/>
                <a:gd name="connsiteX20" fmla="*/ 3314704 w 6858000"/>
                <a:gd name="connsiteY20" fmla="*/ 3429000 h 6857973"/>
                <a:gd name="connsiteX21" fmla="*/ 3429000 w 6858000"/>
                <a:gd name="connsiteY21" fmla="*/ 3543296 h 6857973"/>
                <a:gd name="connsiteX22" fmla="*/ 3543296 w 6858000"/>
                <a:gd name="connsiteY22" fmla="*/ 3429000 h 6857973"/>
                <a:gd name="connsiteX23" fmla="*/ 3429000 w 6858000"/>
                <a:gd name="connsiteY23" fmla="*/ 3314705 h 6857973"/>
                <a:gd name="connsiteX24" fmla="*/ 342887 w 6858000"/>
                <a:gd name="connsiteY24" fmla="*/ 3314703 h 6857973"/>
                <a:gd name="connsiteX25" fmla="*/ 228591 w 6858000"/>
                <a:gd name="connsiteY25" fmla="*/ 3428999 h 6857973"/>
                <a:gd name="connsiteX26" fmla="*/ 341976 w 6858000"/>
                <a:gd name="connsiteY26" fmla="*/ 3543187 h 6857973"/>
                <a:gd name="connsiteX27" fmla="*/ 343811 w 6858000"/>
                <a:gd name="connsiteY27" fmla="*/ 3542611 h 6857973"/>
                <a:gd name="connsiteX28" fmla="*/ 345298 w 6858000"/>
                <a:gd name="connsiteY28" fmla="*/ 3542839 h 6857973"/>
                <a:gd name="connsiteX29" fmla="*/ 457182 w 6858000"/>
                <a:gd name="connsiteY29" fmla="*/ 3428999 h 6857973"/>
                <a:gd name="connsiteX30" fmla="*/ 342887 w 6858000"/>
                <a:gd name="connsiteY30" fmla="*/ 3314703 h 6857973"/>
                <a:gd name="connsiteX31" fmla="*/ 342900 w 6858000"/>
                <a:gd name="connsiteY31" fmla="*/ 3086099 h 6857973"/>
                <a:gd name="connsiteX32" fmla="*/ 685800 w 6858000"/>
                <a:gd name="connsiteY32" fmla="*/ 3428999 h 6857973"/>
                <a:gd name="connsiteX33" fmla="*/ 477207 w 6858000"/>
                <a:gd name="connsiteY33" fmla="*/ 3744467 h 6857973"/>
                <a:gd name="connsiteX34" fmla="*/ 2762636 w 6858000"/>
                <a:gd name="connsiteY34" fmla="*/ 6324790 h 6857973"/>
                <a:gd name="connsiteX35" fmla="*/ 2848454 w 6858000"/>
                <a:gd name="connsiteY35" fmla="*/ 6461722 h 6857973"/>
                <a:gd name="connsiteX36" fmla="*/ 2737132 w 6858000"/>
                <a:gd name="connsiteY36" fmla="*/ 6550528 h 6857973"/>
                <a:gd name="connsiteX37" fmla="*/ 2711536 w 6858000"/>
                <a:gd name="connsiteY37" fmla="*/ 6547675 h 6857973"/>
                <a:gd name="connsiteX38" fmla="*/ 248830 w 6858000"/>
                <a:gd name="connsiteY38" fmla="*/ 3757152 h 6857973"/>
                <a:gd name="connsiteX39" fmla="*/ 0 w 6858000"/>
                <a:gd name="connsiteY39" fmla="*/ 3428999 h 6857973"/>
                <a:gd name="connsiteX40" fmla="*/ 342900 w 6858000"/>
                <a:gd name="connsiteY40" fmla="*/ 3086099 h 6857973"/>
                <a:gd name="connsiteX41" fmla="*/ 4800600 w 6858000"/>
                <a:gd name="connsiteY41" fmla="*/ 1714500 h 6857973"/>
                <a:gd name="connsiteX42" fmla="*/ 4686304 w 6858000"/>
                <a:gd name="connsiteY42" fmla="*/ 1828796 h 6857973"/>
                <a:gd name="connsiteX43" fmla="*/ 4800600 w 6858000"/>
                <a:gd name="connsiteY43" fmla="*/ 1943091 h 6857973"/>
                <a:gd name="connsiteX44" fmla="*/ 4914896 w 6858000"/>
                <a:gd name="connsiteY44" fmla="*/ 1828796 h 6857973"/>
                <a:gd name="connsiteX45" fmla="*/ 4800600 w 6858000"/>
                <a:gd name="connsiteY45" fmla="*/ 1714500 h 6857973"/>
                <a:gd name="connsiteX46" fmla="*/ 800095 w 6858000"/>
                <a:gd name="connsiteY46" fmla="*/ 1714499 h 6857973"/>
                <a:gd name="connsiteX47" fmla="*/ 685800 w 6858000"/>
                <a:gd name="connsiteY47" fmla="*/ 1828795 h 6857973"/>
                <a:gd name="connsiteX48" fmla="*/ 800095 w 6858000"/>
                <a:gd name="connsiteY48" fmla="*/ 1943090 h 6857973"/>
                <a:gd name="connsiteX49" fmla="*/ 914391 w 6858000"/>
                <a:gd name="connsiteY49" fmla="*/ 1828795 h 6857973"/>
                <a:gd name="connsiteX50" fmla="*/ 800095 w 6858000"/>
                <a:gd name="connsiteY50" fmla="*/ 1714499 h 6857973"/>
                <a:gd name="connsiteX51" fmla="*/ 800095 w 6858000"/>
                <a:gd name="connsiteY51" fmla="*/ 1485895 h 6857973"/>
                <a:gd name="connsiteX52" fmla="*/ 1142995 w 6858000"/>
                <a:gd name="connsiteY52" fmla="*/ 1828795 h 6857973"/>
                <a:gd name="connsiteX53" fmla="*/ 800095 w 6858000"/>
                <a:gd name="connsiteY53" fmla="*/ 2171695 h 6857973"/>
                <a:gd name="connsiteX54" fmla="*/ 740999 w 6858000"/>
                <a:gd name="connsiteY54" fmla="*/ 2165748 h 6857973"/>
                <a:gd name="connsiteX55" fmla="*/ 520511 w 6858000"/>
                <a:gd name="connsiteY55" fmla="*/ 2821035 h 6857973"/>
                <a:gd name="connsiteX56" fmla="*/ 408613 w 6858000"/>
                <a:gd name="connsiteY56" fmla="*/ 2912024 h 6857973"/>
                <a:gd name="connsiteX57" fmla="*/ 385186 w 6858000"/>
                <a:gd name="connsiteY57" fmla="*/ 2909627 h 6857973"/>
                <a:gd name="connsiteX58" fmla="*/ 296595 w 6858000"/>
                <a:gd name="connsiteY58" fmla="*/ 2774409 h 6857973"/>
                <a:gd name="connsiteX59" fmla="*/ 541889 w 6858000"/>
                <a:gd name="connsiteY59" fmla="*/ 2052028 h 6857973"/>
                <a:gd name="connsiteX60" fmla="*/ 457195 w 6858000"/>
                <a:gd name="connsiteY60" fmla="*/ 1828795 h 6857973"/>
                <a:gd name="connsiteX61" fmla="*/ 800095 w 6858000"/>
                <a:gd name="connsiteY61" fmla="*/ 1485895 h 6857973"/>
                <a:gd name="connsiteX62" fmla="*/ 3223822 w 6858000"/>
                <a:gd name="connsiteY62" fmla="*/ 615948 h 6857973"/>
                <a:gd name="connsiteX63" fmla="*/ 2178205 w 6858000"/>
                <a:gd name="connsiteY63" fmla="*/ 1873024 h 6857973"/>
                <a:gd name="connsiteX64" fmla="*/ 2177977 w 6858000"/>
                <a:gd name="connsiteY64" fmla="*/ 1873600 h 6857973"/>
                <a:gd name="connsiteX65" fmla="*/ 1828795 w 6858000"/>
                <a:gd name="connsiteY65" fmla="*/ 3429000 h 6857973"/>
                <a:gd name="connsiteX66" fmla="*/ 2134432 w 6858000"/>
                <a:gd name="connsiteY66" fmla="*/ 4935470 h 6857973"/>
                <a:gd name="connsiteX67" fmla="*/ 2187126 w 6858000"/>
                <a:gd name="connsiteY67" fmla="*/ 5029191 h 6857973"/>
                <a:gd name="connsiteX68" fmla="*/ 2183924 w 6858000"/>
                <a:gd name="connsiteY68" fmla="*/ 5044970 h 6857973"/>
                <a:gd name="connsiteX69" fmla="*/ 3212960 w 6858000"/>
                <a:gd name="connsiteY69" fmla="*/ 6250933 h 6857973"/>
                <a:gd name="connsiteX70" fmla="*/ 3314692 w 6858000"/>
                <a:gd name="connsiteY70" fmla="*/ 6193216 h 6857973"/>
                <a:gd name="connsiteX71" fmla="*/ 3314692 w 6858000"/>
                <a:gd name="connsiteY71" fmla="*/ 5143487 h 6857973"/>
                <a:gd name="connsiteX72" fmla="*/ 2514596 w 6858000"/>
                <a:gd name="connsiteY72" fmla="*/ 5143487 h 6857973"/>
                <a:gd name="connsiteX73" fmla="*/ 2400300 w 6858000"/>
                <a:gd name="connsiteY73" fmla="*/ 5029191 h 6857973"/>
                <a:gd name="connsiteX74" fmla="*/ 2514596 w 6858000"/>
                <a:gd name="connsiteY74" fmla="*/ 4914896 h 6857973"/>
                <a:gd name="connsiteX75" fmla="*/ 3314692 w 6858000"/>
                <a:gd name="connsiteY75" fmla="*/ 4914896 h 6857973"/>
                <a:gd name="connsiteX76" fmla="*/ 3314692 w 6858000"/>
                <a:gd name="connsiteY76" fmla="*/ 3750750 h 6857973"/>
                <a:gd name="connsiteX77" fmla="*/ 3107236 w 6858000"/>
                <a:gd name="connsiteY77" fmla="*/ 3543296 h 6857973"/>
                <a:gd name="connsiteX78" fmla="*/ 2171695 w 6858000"/>
                <a:gd name="connsiteY78" fmla="*/ 3543296 h 6857973"/>
                <a:gd name="connsiteX79" fmla="*/ 2057400 w 6858000"/>
                <a:gd name="connsiteY79" fmla="*/ 3429000 h 6857973"/>
                <a:gd name="connsiteX80" fmla="*/ 2171695 w 6858000"/>
                <a:gd name="connsiteY80" fmla="*/ 3314705 h 6857973"/>
                <a:gd name="connsiteX81" fmla="*/ 3107236 w 6858000"/>
                <a:gd name="connsiteY81" fmla="*/ 3314705 h 6857973"/>
                <a:gd name="connsiteX82" fmla="*/ 3314692 w 6858000"/>
                <a:gd name="connsiteY82" fmla="*/ 3107130 h 6857973"/>
                <a:gd name="connsiteX83" fmla="*/ 3314692 w 6858000"/>
                <a:gd name="connsiteY83" fmla="*/ 1943091 h 6857973"/>
                <a:gd name="connsiteX84" fmla="*/ 2514596 w 6858000"/>
                <a:gd name="connsiteY84" fmla="*/ 1943091 h 6857973"/>
                <a:gd name="connsiteX85" fmla="*/ 2400300 w 6858000"/>
                <a:gd name="connsiteY85" fmla="*/ 1828796 h 6857973"/>
                <a:gd name="connsiteX86" fmla="*/ 2514596 w 6858000"/>
                <a:gd name="connsiteY86" fmla="*/ 1714500 h 6857973"/>
                <a:gd name="connsiteX87" fmla="*/ 3314692 w 6858000"/>
                <a:gd name="connsiteY87" fmla="*/ 1714500 h 6857973"/>
                <a:gd name="connsiteX88" fmla="*/ 3314692 w 6858000"/>
                <a:gd name="connsiteY88" fmla="*/ 664637 h 6857973"/>
                <a:gd name="connsiteX89" fmla="*/ 3223822 w 6858000"/>
                <a:gd name="connsiteY89" fmla="*/ 615948 h 6857973"/>
                <a:gd name="connsiteX90" fmla="*/ 3644800 w 6858000"/>
                <a:gd name="connsiteY90" fmla="*/ 607161 h 6857973"/>
                <a:gd name="connsiteX91" fmla="*/ 3543296 w 6858000"/>
                <a:gd name="connsiteY91" fmla="*/ 664771 h 6857973"/>
                <a:gd name="connsiteX92" fmla="*/ 3543296 w 6858000"/>
                <a:gd name="connsiteY92" fmla="*/ 3107130 h 6857973"/>
                <a:gd name="connsiteX93" fmla="*/ 3771900 w 6858000"/>
                <a:gd name="connsiteY93" fmla="*/ 3429000 h 6857973"/>
                <a:gd name="connsiteX94" fmla="*/ 3543296 w 6858000"/>
                <a:gd name="connsiteY94" fmla="*/ 3750871 h 6857973"/>
                <a:gd name="connsiteX95" fmla="*/ 3543296 w 6858000"/>
                <a:gd name="connsiteY95" fmla="*/ 6193230 h 6857973"/>
                <a:gd name="connsiteX96" fmla="*/ 3634056 w 6858000"/>
                <a:gd name="connsiteY96" fmla="*/ 6241919 h 6857973"/>
                <a:gd name="connsiteX97" fmla="*/ 4535776 w 6858000"/>
                <a:gd name="connsiteY97" fmla="*/ 5244294 h 6857973"/>
                <a:gd name="connsiteX98" fmla="*/ 4478850 w 6858000"/>
                <a:gd name="connsiteY98" fmla="*/ 5143487 h 6857973"/>
                <a:gd name="connsiteX99" fmla="*/ 3829054 w 6858000"/>
                <a:gd name="connsiteY99" fmla="*/ 5143487 h 6857973"/>
                <a:gd name="connsiteX100" fmla="*/ 3714760 w 6858000"/>
                <a:gd name="connsiteY100" fmla="*/ 5029191 h 6857973"/>
                <a:gd name="connsiteX101" fmla="*/ 3829054 w 6858000"/>
                <a:gd name="connsiteY101" fmla="*/ 4914896 h 6857973"/>
                <a:gd name="connsiteX102" fmla="*/ 4478850 w 6858000"/>
                <a:gd name="connsiteY102" fmla="*/ 4914896 h 6857973"/>
                <a:gd name="connsiteX103" fmla="*/ 4800600 w 6858000"/>
                <a:gd name="connsiteY103" fmla="*/ 4686291 h 6857973"/>
                <a:gd name="connsiteX104" fmla="*/ 4807002 w 6858000"/>
                <a:gd name="connsiteY104" fmla="*/ 4686974 h 6857973"/>
                <a:gd name="connsiteX105" fmla="*/ 5026686 w 6858000"/>
                <a:gd name="connsiteY105" fmla="*/ 3543282 h 6857973"/>
                <a:gd name="connsiteX106" fmla="*/ 4114800 w 6858000"/>
                <a:gd name="connsiteY106" fmla="*/ 3543282 h 6857973"/>
                <a:gd name="connsiteX107" fmla="*/ 4000504 w 6858000"/>
                <a:gd name="connsiteY107" fmla="*/ 3428987 h 6857973"/>
                <a:gd name="connsiteX108" fmla="*/ 4114800 w 6858000"/>
                <a:gd name="connsiteY108" fmla="*/ 3314691 h 6857973"/>
                <a:gd name="connsiteX109" fmla="*/ 5026806 w 6858000"/>
                <a:gd name="connsiteY109" fmla="*/ 3314691 h 6857973"/>
                <a:gd name="connsiteX110" fmla="*/ 4823236 w 6858000"/>
                <a:gd name="connsiteY110" fmla="*/ 2169405 h 6857973"/>
                <a:gd name="connsiteX111" fmla="*/ 4800600 w 6858000"/>
                <a:gd name="connsiteY111" fmla="*/ 2171696 h 6857973"/>
                <a:gd name="connsiteX112" fmla="*/ 4478850 w 6858000"/>
                <a:gd name="connsiteY112" fmla="*/ 1943091 h 6857973"/>
                <a:gd name="connsiteX113" fmla="*/ 3829054 w 6858000"/>
                <a:gd name="connsiteY113" fmla="*/ 1943091 h 6857973"/>
                <a:gd name="connsiteX114" fmla="*/ 3714760 w 6858000"/>
                <a:gd name="connsiteY114" fmla="*/ 1828796 h 6857973"/>
                <a:gd name="connsiteX115" fmla="*/ 3829054 w 6858000"/>
                <a:gd name="connsiteY115" fmla="*/ 1714500 h 6857973"/>
                <a:gd name="connsiteX116" fmla="*/ 4478850 w 6858000"/>
                <a:gd name="connsiteY116" fmla="*/ 1714500 h 6857973"/>
                <a:gd name="connsiteX117" fmla="*/ 4553028 w 6858000"/>
                <a:gd name="connsiteY117" fmla="*/ 1592771 h 6857973"/>
                <a:gd name="connsiteX118" fmla="*/ 3644800 w 6858000"/>
                <a:gd name="connsiteY118" fmla="*/ 607161 h 6857973"/>
                <a:gd name="connsiteX119" fmla="*/ 4098784 w 6858000"/>
                <a:gd name="connsiteY119" fmla="*/ 308554 h 6857973"/>
                <a:gd name="connsiteX120" fmla="*/ 4144174 w 6858000"/>
                <a:gd name="connsiteY120" fmla="*/ 309748 h 6857973"/>
                <a:gd name="connsiteX121" fmla="*/ 6609168 w 6858000"/>
                <a:gd name="connsiteY121" fmla="*/ 3100847 h 6857973"/>
                <a:gd name="connsiteX122" fmla="*/ 6858000 w 6858000"/>
                <a:gd name="connsiteY122" fmla="*/ 3428986 h 6857973"/>
                <a:gd name="connsiteX123" fmla="*/ 6515100 w 6858000"/>
                <a:gd name="connsiteY123" fmla="*/ 3771886 h 6857973"/>
                <a:gd name="connsiteX124" fmla="*/ 6193348 w 6858000"/>
                <a:gd name="connsiteY124" fmla="*/ 3543282 h 6857973"/>
                <a:gd name="connsiteX125" fmla="*/ 5486400 w 6858000"/>
                <a:gd name="connsiteY125" fmla="*/ 3543282 h 6857973"/>
                <a:gd name="connsiteX126" fmla="*/ 5372104 w 6858000"/>
                <a:gd name="connsiteY126" fmla="*/ 3428986 h 6857973"/>
                <a:gd name="connsiteX127" fmla="*/ 5486400 w 6858000"/>
                <a:gd name="connsiteY127" fmla="*/ 3314691 h 6857973"/>
                <a:gd name="connsiteX128" fmla="*/ 6193336 w 6858000"/>
                <a:gd name="connsiteY128" fmla="*/ 3314691 h 6857973"/>
                <a:gd name="connsiteX129" fmla="*/ 6380792 w 6858000"/>
                <a:gd name="connsiteY129" fmla="*/ 3113518 h 6857973"/>
                <a:gd name="connsiteX130" fmla="*/ 5995484 w 6858000"/>
                <a:gd name="connsiteY130" fmla="*/ 1943091 h 6857973"/>
                <a:gd name="connsiteX131" fmla="*/ 5431642 w 6858000"/>
                <a:gd name="connsiteY131" fmla="*/ 1943091 h 6857973"/>
                <a:gd name="connsiteX132" fmla="*/ 5317348 w 6858000"/>
                <a:gd name="connsiteY132" fmla="*/ 1828795 h 6857973"/>
                <a:gd name="connsiteX133" fmla="*/ 5431642 w 6858000"/>
                <a:gd name="connsiteY133" fmla="*/ 1714500 h 6857973"/>
                <a:gd name="connsiteX134" fmla="*/ 5848842 w 6858000"/>
                <a:gd name="connsiteY134" fmla="*/ 1714500 h 6857973"/>
                <a:gd name="connsiteX135" fmla="*/ 4093316 w 6858000"/>
                <a:gd name="connsiteY135" fmla="*/ 532754 h 6857973"/>
                <a:gd name="connsiteX136" fmla="*/ 4007362 w 6858000"/>
                <a:gd name="connsiteY136" fmla="*/ 395821 h 6857973"/>
                <a:gd name="connsiteX137" fmla="*/ 4098784 w 6858000"/>
                <a:gd name="connsiteY137" fmla="*/ 308554 h 6857973"/>
                <a:gd name="connsiteX138" fmla="*/ 3429000 w 6858000"/>
                <a:gd name="connsiteY138" fmla="*/ 228604 h 6857973"/>
                <a:gd name="connsiteX139" fmla="*/ 3314824 w 6858000"/>
                <a:gd name="connsiteY139" fmla="*/ 342324 h 6857973"/>
                <a:gd name="connsiteX140" fmla="*/ 3315280 w 6858000"/>
                <a:gd name="connsiteY140" fmla="*/ 343811 h 6857973"/>
                <a:gd name="connsiteX141" fmla="*/ 3315160 w 6858000"/>
                <a:gd name="connsiteY141" fmla="*/ 344949 h 6857973"/>
                <a:gd name="connsiteX142" fmla="*/ 3429000 w 6858000"/>
                <a:gd name="connsiteY142" fmla="*/ 457196 h 6857973"/>
                <a:gd name="connsiteX143" fmla="*/ 3543296 w 6858000"/>
                <a:gd name="connsiteY143" fmla="*/ 342900 h 6857973"/>
                <a:gd name="connsiteX144" fmla="*/ 3429000 w 6858000"/>
                <a:gd name="connsiteY144" fmla="*/ 228604 h 6857973"/>
                <a:gd name="connsiteX145" fmla="*/ 3429000 w 6858000"/>
                <a:gd name="connsiteY145" fmla="*/ 0 h 6857973"/>
                <a:gd name="connsiteX146" fmla="*/ 3771926 w 6858000"/>
                <a:gd name="connsiteY146" fmla="*/ 342887 h 6857973"/>
                <a:gd name="connsiteX147" fmla="*/ 3764720 w 6858000"/>
                <a:gd name="connsiteY147" fmla="*/ 412377 h 6857973"/>
                <a:gd name="connsiteX148" fmla="*/ 4758100 w 6858000"/>
                <a:gd name="connsiteY148" fmla="*/ 1490222 h 6857973"/>
                <a:gd name="connsiteX149" fmla="*/ 4800612 w 6858000"/>
                <a:gd name="connsiteY149" fmla="*/ 1485882 h 6857973"/>
                <a:gd name="connsiteX150" fmla="*/ 5143512 w 6858000"/>
                <a:gd name="connsiteY150" fmla="*/ 1828782 h 6857973"/>
                <a:gd name="connsiteX151" fmla="*/ 5033664 w 6858000"/>
                <a:gd name="connsiteY151" fmla="*/ 2078872 h 6857973"/>
                <a:gd name="connsiteX152" fmla="*/ 5257808 w 6858000"/>
                <a:gd name="connsiteY152" fmla="*/ 3428987 h 6857973"/>
                <a:gd name="connsiteX153" fmla="*/ 5020524 w 6858000"/>
                <a:gd name="connsiteY153" fmla="*/ 4768239 h 6857973"/>
                <a:gd name="connsiteX154" fmla="*/ 5143512 w 6858000"/>
                <a:gd name="connsiteY154" fmla="*/ 5029191 h 6857973"/>
                <a:gd name="connsiteX155" fmla="*/ 4800612 w 6858000"/>
                <a:gd name="connsiteY155" fmla="*/ 5372091 h 6857973"/>
                <a:gd name="connsiteX156" fmla="*/ 4729864 w 6858000"/>
                <a:gd name="connsiteY156" fmla="*/ 5364550 h 6857973"/>
                <a:gd name="connsiteX157" fmla="*/ 3842436 w 6858000"/>
                <a:gd name="connsiteY157" fmla="*/ 6369475 h 6857973"/>
                <a:gd name="connsiteX158" fmla="*/ 5853892 w 6858000"/>
                <a:gd name="connsiteY158" fmla="*/ 5143487 h 6857973"/>
                <a:gd name="connsiteX159" fmla="*/ 5431670 w 6858000"/>
                <a:gd name="connsiteY159" fmla="*/ 5143487 h 6857973"/>
                <a:gd name="connsiteX160" fmla="*/ 5317374 w 6858000"/>
                <a:gd name="connsiteY160" fmla="*/ 5029191 h 6857973"/>
                <a:gd name="connsiteX161" fmla="*/ 5431670 w 6858000"/>
                <a:gd name="connsiteY161" fmla="*/ 4914896 h 6857973"/>
                <a:gd name="connsiteX162" fmla="*/ 6000308 w 6858000"/>
                <a:gd name="connsiteY162" fmla="*/ 4914896 h 6857973"/>
                <a:gd name="connsiteX163" fmla="*/ 6337260 w 6858000"/>
                <a:gd name="connsiteY163" fmla="*/ 4037648 h 6857973"/>
                <a:gd name="connsiteX164" fmla="*/ 6472586 w 6858000"/>
                <a:gd name="connsiteY164" fmla="*/ 3949070 h 6857973"/>
                <a:gd name="connsiteX165" fmla="*/ 6561150 w 6858000"/>
                <a:gd name="connsiteY165" fmla="*/ 4084153 h 6857973"/>
                <a:gd name="connsiteX166" fmla="*/ 3757032 w 6858000"/>
                <a:gd name="connsiteY166" fmla="*/ 6609264 h 6857973"/>
                <a:gd name="connsiteX167" fmla="*/ 3428986 w 6858000"/>
                <a:gd name="connsiteY167" fmla="*/ 6857973 h 6857973"/>
                <a:gd name="connsiteX168" fmla="*/ 3086086 w 6858000"/>
                <a:gd name="connsiteY168" fmla="*/ 6515074 h 6857973"/>
                <a:gd name="connsiteX169" fmla="*/ 3093172 w 6858000"/>
                <a:gd name="connsiteY169" fmla="*/ 6445810 h 6857973"/>
                <a:gd name="connsiteX170" fmla="*/ 1976805 w 6858000"/>
                <a:gd name="connsiteY170" fmla="*/ 5143473 h 6857973"/>
                <a:gd name="connsiteX171" fmla="*/ 1428741 w 6858000"/>
                <a:gd name="connsiteY171" fmla="*/ 5143473 h 6857973"/>
                <a:gd name="connsiteX172" fmla="*/ 1314445 w 6858000"/>
                <a:gd name="connsiteY172" fmla="*/ 5029178 h 6857973"/>
                <a:gd name="connsiteX173" fmla="*/ 1428741 w 6858000"/>
                <a:gd name="connsiteY173" fmla="*/ 4914882 h 6857973"/>
                <a:gd name="connsiteX174" fmla="*/ 1874966 w 6858000"/>
                <a:gd name="connsiteY174" fmla="*/ 4914882 h 6857973"/>
                <a:gd name="connsiteX175" fmla="*/ 1604423 w 6858000"/>
                <a:gd name="connsiteY175" fmla="*/ 3543282 h 6857973"/>
                <a:gd name="connsiteX176" fmla="*/ 1028700 w 6858000"/>
                <a:gd name="connsiteY176" fmla="*/ 3543282 h 6857973"/>
                <a:gd name="connsiteX177" fmla="*/ 914404 w 6858000"/>
                <a:gd name="connsiteY177" fmla="*/ 3428987 h 6857973"/>
                <a:gd name="connsiteX178" fmla="*/ 1028700 w 6858000"/>
                <a:gd name="connsiteY178" fmla="*/ 3314691 h 6857973"/>
                <a:gd name="connsiteX179" fmla="*/ 1604664 w 6858000"/>
                <a:gd name="connsiteY179" fmla="*/ 3314691 h 6857973"/>
                <a:gd name="connsiteX180" fmla="*/ 1896357 w 6858000"/>
                <a:gd name="connsiteY180" fmla="*/ 1943091 h 6857973"/>
                <a:gd name="connsiteX181" fmla="*/ 1428754 w 6858000"/>
                <a:gd name="connsiteY181" fmla="*/ 1943091 h 6857973"/>
                <a:gd name="connsiteX182" fmla="*/ 1314459 w 6858000"/>
                <a:gd name="connsiteY182" fmla="*/ 1828796 h 6857973"/>
                <a:gd name="connsiteX183" fmla="*/ 1428754 w 6858000"/>
                <a:gd name="connsiteY183" fmla="*/ 1714500 h 6857973"/>
                <a:gd name="connsiteX184" fmla="*/ 2003339 w 6858000"/>
                <a:gd name="connsiteY184" fmla="*/ 1714500 h 6857973"/>
                <a:gd name="connsiteX185" fmla="*/ 3016608 w 6858000"/>
                <a:gd name="connsiteY185" fmla="*/ 487373 h 6857973"/>
                <a:gd name="connsiteX186" fmla="*/ 1241646 w 6858000"/>
                <a:gd name="connsiteY186" fmla="*/ 1418468 h 6857973"/>
                <a:gd name="connsiteX187" fmla="*/ 1157515 w 6858000"/>
                <a:gd name="connsiteY187" fmla="*/ 1455383 h 6857973"/>
                <a:gd name="connsiteX188" fmla="*/ 1080135 w 6858000"/>
                <a:gd name="connsiteY188" fmla="*/ 1425205 h 6857973"/>
                <a:gd name="connsiteX189" fmla="*/ 1073397 w 6858000"/>
                <a:gd name="connsiteY189" fmla="*/ 1263814 h 6857973"/>
                <a:gd name="connsiteX190" fmla="*/ 3101410 w 6858000"/>
                <a:gd name="connsiteY190" fmla="*/ 247009 h 6857973"/>
                <a:gd name="connsiteX191" fmla="*/ 3429000 w 6858000"/>
                <a:gd name="connsiteY191" fmla="*/ 0 h 6857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6858000" h="6857973">
                  <a:moveTo>
                    <a:pt x="3429000" y="6400805"/>
                  </a:moveTo>
                  <a:cubicBezTo>
                    <a:pt x="3365912" y="6400805"/>
                    <a:pt x="3314704" y="6452119"/>
                    <a:pt x="3314704" y="6515100"/>
                  </a:cubicBezTo>
                  <a:cubicBezTo>
                    <a:pt x="3314704" y="6578081"/>
                    <a:pt x="3365912" y="6629396"/>
                    <a:pt x="3429000" y="6629396"/>
                  </a:cubicBezTo>
                  <a:cubicBezTo>
                    <a:pt x="3491860" y="6629396"/>
                    <a:pt x="3542732" y="6578429"/>
                    <a:pt x="3543174" y="6515783"/>
                  </a:cubicBezTo>
                  <a:cubicBezTo>
                    <a:pt x="3543068" y="6515100"/>
                    <a:pt x="3542720" y="6514765"/>
                    <a:pt x="3542720" y="6514189"/>
                  </a:cubicBezTo>
                  <a:cubicBezTo>
                    <a:pt x="3542720" y="6513734"/>
                    <a:pt x="3542840" y="6513399"/>
                    <a:pt x="3542840" y="6513051"/>
                  </a:cubicBezTo>
                  <a:cubicBezTo>
                    <a:pt x="3541700" y="6450981"/>
                    <a:pt x="3491298" y="6400805"/>
                    <a:pt x="3429000" y="6400805"/>
                  </a:cubicBezTo>
                  <a:close/>
                  <a:moveTo>
                    <a:pt x="4800600" y="4914909"/>
                  </a:moveTo>
                  <a:cubicBezTo>
                    <a:pt x="4737512" y="4914909"/>
                    <a:pt x="4686304" y="4966224"/>
                    <a:pt x="4686304" y="5029205"/>
                  </a:cubicBezTo>
                  <a:cubicBezTo>
                    <a:pt x="4686304" y="5092186"/>
                    <a:pt x="4737512" y="5143500"/>
                    <a:pt x="4800600" y="5143500"/>
                  </a:cubicBezTo>
                  <a:cubicBezTo>
                    <a:pt x="4863688" y="5143500"/>
                    <a:pt x="4914896" y="5092186"/>
                    <a:pt x="4914896" y="5029205"/>
                  </a:cubicBezTo>
                  <a:cubicBezTo>
                    <a:pt x="4914896" y="4966224"/>
                    <a:pt x="4863688" y="4914909"/>
                    <a:pt x="4800600" y="4914909"/>
                  </a:cubicBezTo>
                  <a:close/>
                  <a:moveTo>
                    <a:pt x="6516010" y="3314798"/>
                  </a:moveTo>
                  <a:cubicBezTo>
                    <a:pt x="6515328" y="3314919"/>
                    <a:pt x="6514872" y="3315253"/>
                    <a:pt x="6514188" y="3315374"/>
                  </a:cubicBezTo>
                  <a:cubicBezTo>
                    <a:pt x="6513172" y="3315374"/>
                    <a:pt x="6512368" y="3315374"/>
                    <a:pt x="6511336" y="3315494"/>
                  </a:cubicBezTo>
                  <a:cubicBezTo>
                    <a:pt x="6450176" y="3317557"/>
                    <a:pt x="6400804" y="3367278"/>
                    <a:pt x="6400804" y="3429000"/>
                  </a:cubicBezTo>
                  <a:cubicBezTo>
                    <a:pt x="6400804" y="3491981"/>
                    <a:pt x="6452012" y="3543295"/>
                    <a:pt x="6515100" y="3543295"/>
                  </a:cubicBezTo>
                  <a:cubicBezTo>
                    <a:pt x="6578188" y="3543295"/>
                    <a:pt x="6629396" y="3491981"/>
                    <a:pt x="6629396" y="3428986"/>
                  </a:cubicBezTo>
                  <a:cubicBezTo>
                    <a:pt x="6629396" y="3366233"/>
                    <a:pt x="6578644" y="3315374"/>
                    <a:pt x="6516010" y="3314798"/>
                  </a:cubicBezTo>
                  <a:close/>
                  <a:moveTo>
                    <a:pt x="3429000" y="3314705"/>
                  </a:moveTo>
                  <a:cubicBezTo>
                    <a:pt x="3365912" y="3314705"/>
                    <a:pt x="3314704" y="3366019"/>
                    <a:pt x="3314704" y="3429000"/>
                  </a:cubicBezTo>
                  <a:cubicBezTo>
                    <a:pt x="3314704" y="3491981"/>
                    <a:pt x="3365912" y="3543296"/>
                    <a:pt x="3429000" y="3543296"/>
                  </a:cubicBezTo>
                  <a:cubicBezTo>
                    <a:pt x="3492088" y="3543296"/>
                    <a:pt x="3543296" y="3491981"/>
                    <a:pt x="3543296" y="3429000"/>
                  </a:cubicBezTo>
                  <a:cubicBezTo>
                    <a:pt x="3543296" y="3366019"/>
                    <a:pt x="3492088" y="3314705"/>
                    <a:pt x="3429000" y="3314705"/>
                  </a:cubicBezTo>
                  <a:close/>
                  <a:moveTo>
                    <a:pt x="342887" y="3314703"/>
                  </a:moveTo>
                  <a:cubicBezTo>
                    <a:pt x="279798" y="3314703"/>
                    <a:pt x="228591" y="3366018"/>
                    <a:pt x="228591" y="3428999"/>
                  </a:cubicBezTo>
                  <a:cubicBezTo>
                    <a:pt x="228591" y="3491752"/>
                    <a:pt x="279343" y="3542611"/>
                    <a:pt x="341976" y="3543187"/>
                  </a:cubicBezTo>
                  <a:cubicBezTo>
                    <a:pt x="342672" y="3543067"/>
                    <a:pt x="343128" y="3542732"/>
                    <a:pt x="343811" y="3542611"/>
                  </a:cubicBezTo>
                  <a:cubicBezTo>
                    <a:pt x="344266" y="3542611"/>
                    <a:pt x="344722" y="3542839"/>
                    <a:pt x="345298" y="3542839"/>
                  </a:cubicBezTo>
                  <a:cubicBezTo>
                    <a:pt x="407140" y="3541473"/>
                    <a:pt x="457196" y="3491176"/>
                    <a:pt x="457182" y="3428999"/>
                  </a:cubicBezTo>
                  <a:cubicBezTo>
                    <a:pt x="457182" y="3366018"/>
                    <a:pt x="405975" y="3314703"/>
                    <a:pt x="342887" y="3314703"/>
                  </a:cubicBezTo>
                  <a:close/>
                  <a:moveTo>
                    <a:pt x="342900" y="3086099"/>
                  </a:moveTo>
                  <a:cubicBezTo>
                    <a:pt x="531950" y="3086099"/>
                    <a:pt x="685800" y="3239949"/>
                    <a:pt x="685800" y="3428999"/>
                  </a:cubicBezTo>
                  <a:cubicBezTo>
                    <a:pt x="685800" y="3570392"/>
                    <a:pt x="599620" y="3692121"/>
                    <a:pt x="477207" y="3744467"/>
                  </a:cubicBezTo>
                  <a:cubicBezTo>
                    <a:pt x="610255" y="4990226"/>
                    <a:pt x="1536085" y="6043840"/>
                    <a:pt x="2762636" y="6324790"/>
                  </a:cubicBezTo>
                  <a:cubicBezTo>
                    <a:pt x="2824130" y="6338854"/>
                    <a:pt x="2862532" y="6400228"/>
                    <a:pt x="2848454" y="6461722"/>
                  </a:cubicBezTo>
                  <a:cubicBezTo>
                    <a:pt x="2836346" y="6514751"/>
                    <a:pt x="2789252" y="6550528"/>
                    <a:pt x="2737132" y="6550528"/>
                  </a:cubicBezTo>
                  <a:cubicBezTo>
                    <a:pt x="2728680" y="6550528"/>
                    <a:pt x="2720108" y="6549617"/>
                    <a:pt x="2711536" y="6547675"/>
                  </a:cubicBezTo>
                  <a:cubicBezTo>
                    <a:pt x="1386803" y="6244208"/>
                    <a:pt x="387584" y="5103838"/>
                    <a:pt x="248830" y="3757152"/>
                  </a:cubicBezTo>
                  <a:cubicBezTo>
                    <a:pt x="105616" y="3715897"/>
                    <a:pt x="0" y="3585246"/>
                    <a:pt x="0" y="3428999"/>
                  </a:cubicBezTo>
                  <a:cubicBezTo>
                    <a:pt x="0" y="3239949"/>
                    <a:pt x="153850" y="3086099"/>
                    <a:pt x="342900" y="3086099"/>
                  </a:cubicBezTo>
                  <a:close/>
                  <a:moveTo>
                    <a:pt x="4800600" y="1714500"/>
                  </a:moveTo>
                  <a:cubicBezTo>
                    <a:pt x="4737512" y="1714500"/>
                    <a:pt x="4686304" y="1765814"/>
                    <a:pt x="4686304" y="1828796"/>
                  </a:cubicBezTo>
                  <a:cubicBezTo>
                    <a:pt x="4686304" y="1891777"/>
                    <a:pt x="4737512" y="1943091"/>
                    <a:pt x="4800600" y="1943091"/>
                  </a:cubicBezTo>
                  <a:cubicBezTo>
                    <a:pt x="4863688" y="1943091"/>
                    <a:pt x="4914896" y="1891777"/>
                    <a:pt x="4914896" y="1828796"/>
                  </a:cubicBezTo>
                  <a:cubicBezTo>
                    <a:pt x="4914896" y="1765814"/>
                    <a:pt x="4863688" y="1714500"/>
                    <a:pt x="4800600" y="1714500"/>
                  </a:cubicBezTo>
                  <a:close/>
                  <a:moveTo>
                    <a:pt x="800095" y="1714499"/>
                  </a:moveTo>
                  <a:cubicBezTo>
                    <a:pt x="737007" y="1714499"/>
                    <a:pt x="685800" y="1765814"/>
                    <a:pt x="685800" y="1828795"/>
                  </a:cubicBezTo>
                  <a:cubicBezTo>
                    <a:pt x="685800" y="1891776"/>
                    <a:pt x="737007" y="1943090"/>
                    <a:pt x="800095" y="1943090"/>
                  </a:cubicBezTo>
                  <a:cubicBezTo>
                    <a:pt x="863184" y="1943090"/>
                    <a:pt x="914391" y="1891776"/>
                    <a:pt x="914391" y="1828795"/>
                  </a:cubicBezTo>
                  <a:cubicBezTo>
                    <a:pt x="914391" y="1765814"/>
                    <a:pt x="863184" y="1714499"/>
                    <a:pt x="800095" y="1714499"/>
                  </a:cubicBezTo>
                  <a:close/>
                  <a:moveTo>
                    <a:pt x="800095" y="1485895"/>
                  </a:moveTo>
                  <a:cubicBezTo>
                    <a:pt x="989146" y="1485895"/>
                    <a:pt x="1142995" y="1639745"/>
                    <a:pt x="1142995" y="1828795"/>
                  </a:cubicBezTo>
                  <a:cubicBezTo>
                    <a:pt x="1142995" y="2017846"/>
                    <a:pt x="989146" y="2171695"/>
                    <a:pt x="800095" y="2171695"/>
                  </a:cubicBezTo>
                  <a:cubicBezTo>
                    <a:pt x="779856" y="2171695"/>
                    <a:pt x="760314" y="2169177"/>
                    <a:pt x="740999" y="2165748"/>
                  </a:cubicBezTo>
                  <a:cubicBezTo>
                    <a:pt x="642696" y="2374810"/>
                    <a:pt x="567607" y="2594373"/>
                    <a:pt x="520511" y="2821035"/>
                  </a:cubicBezTo>
                  <a:cubicBezTo>
                    <a:pt x="509193" y="2874988"/>
                    <a:pt x="461642" y="2912024"/>
                    <a:pt x="408613" y="2912024"/>
                  </a:cubicBezTo>
                  <a:cubicBezTo>
                    <a:pt x="400965" y="2912024"/>
                    <a:pt x="393076" y="2911220"/>
                    <a:pt x="385186" y="2909627"/>
                  </a:cubicBezTo>
                  <a:cubicBezTo>
                    <a:pt x="323464" y="2896821"/>
                    <a:pt x="283696" y="2836238"/>
                    <a:pt x="296595" y="2774409"/>
                  </a:cubicBezTo>
                  <a:cubicBezTo>
                    <a:pt x="348727" y="2524427"/>
                    <a:pt x="432041" y="2282227"/>
                    <a:pt x="541889" y="2052028"/>
                  </a:cubicBezTo>
                  <a:cubicBezTo>
                    <a:pt x="489878" y="1991900"/>
                    <a:pt x="457195" y="1914399"/>
                    <a:pt x="457195" y="1828795"/>
                  </a:cubicBezTo>
                  <a:cubicBezTo>
                    <a:pt x="457195" y="1639745"/>
                    <a:pt x="611045" y="1485895"/>
                    <a:pt x="800095" y="1485895"/>
                  </a:cubicBezTo>
                  <a:close/>
                  <a:moveTo>
                    <a:pt x="3223822" y="615948"/>
                  </a:moveTo>
                  <a:cubicBezTo>
                    <a:pt x="2937272" y="829697"/>
                    <a:pt x="2489104" y="1237748"/>
                    <a:pt x="2178205" y="1873024"/>
                  </a:cubicBezTo>
                  <a:cubicBezTo>
                    <a:pt x="2178098" y="1873252"/>
                    <a:pt x="2178098" y="1873372"/>
                    <a:pt x="2177977" y="1873600"/>
                  </a:cubicBezTo>
                  <a:cubicBezTo>
                    <a:pt x="1973617" y="2291148"/>
                    <a:pt x="1828795" y="2806637"/>
                    <a:pt x="1828795" y="3429000"/>
                  </a:cubicBezTo>
                  <a:cubicBezTo>
                    <a:pt x="1828795" y="4035585"/>
                    <a:pt x="1954181" y="4531531"/>
                    <a:pt x="2134432" y="4935470"/>
                  </a:cubicBezTo>
                  <a:cubicBezTo>
                    <a:pt x="2165413" y="4955816"/>
                    <a:pt x="2187126" y="4989302"/>
                    <a:pt x="2187126" y="5029191"/>
                  </a:cubicBezTo>
                  <a:cubicBezTo>
                    <a:pt x="2187126" y="5034804"/>
                    <a:pt x="2184607" y="5039599"/>
                    <a:pt x="2183924" y="5044970"/>
                  </a:cubicBezTo>
                  <a:cubicBezTo>
                    <a:pt x="2491744" y="5671794"/>
                    <a:pt x="2930308" y="6054127"/>
                    <a:pt x="3212960" y="6250933"/>
                  </a:cubicBezTo>
                  <a:cubicBezTo>
                    <a:pt x="3243258" y="6226247"/>
                    <a:pt x="3277200" y="6206584"/>
                    <a:pt x="3314692" y="6193216"/>
                  </a:cubicBezTo>
                  <a:lnTo>
                    <a:pt x="3314692" y="5143487"/>
                  </a:lnTo>
                  <a:lnTo>
                    <a:pt x="2514596" y="5143487"/>
                  </a:lnTo>
                  <a:cubicBezTo>
                    <a:pt x="2451386" y="5143487"/>
                    <a:pt x="2400300" y="5092279"/>
                    <a:pt x="2400300" y="5029191"/>
                  </a:cubicBezTo>
                  <a:cubicBezTo>
                    <a:pt x="2400300" y="4966103"/>
                    <a:pt x="2451386" y="4914896"/>
                    <a:pt x="2514596" y="4914896"/>
                  </a:cubicBezTo>
                  <a:lnTo>
                    <a:pt x="3314692" y="4914896"/>
                  </a:lnTo>
                  <a:lnTo>
                    <a:pt x="3314692" y="3750750"/>
                  </a:lnTo>
                  <a:cubicBezTo>
                    <a:pt x="3217768" y="3716340"/>
                    <a:pt x="3141648" y="3640111"/>
                    <a:pt x="3107236" y="3543296"/>
                  </a:cubicBezTo>
                  <a:lnTo>
                    <a:pt x="2171695" y="3543296"/>
                  </a:lnTo>
                  <a:cubicBezTo>
                    <a:pt x="2108486" y="3543296"/>
                    <a:pt x="2057400" y="3492088"/>
                    <a:pt x="2057400" y="3429000"/>
                  </a:cubicBezTo>
                  <a:cubicBezTo>
                    <a:pt x="2057400" y="3365912"/>
                    <a:pt x="2108486" y="3314705"/>
                    <a:pt x="2171695" y="3314705"/>
                  </a:cubicBezTo>
                  <a:lnTo>
                    <a:pt x="3107236" y="3314705"/>
                  </a:lnTo>
                  <a:cubicBezTo>
                    <a:pt x="3141648" y="3217889"/>
                    <a:pt x="3217768" y="3141647"/>
                    <a:pt x="3314692" y="3107130"/>
                  </a:cubicBezTo>
                  <a:lnTo>
                    <a:pt x="3314692" y="1943091"/>
                  </a:lnTo>
                  <a:lnTo>
                    <a:pt x="2514596" y="1943091"/>
                  </a:lnTo>
                  <a:cubicBezTo>
                    <a:pt x="2451386" y="1943091"/>
                    <a:pt x="2400300" y="1891884"/>
                    <a:pt x="2400300" y="1828796"/>
                  </a:cubicBezTo>
                  <a:cubicBezTo>
                    <a:pt x="2400300" y="1765707"/>
                    <a:pt x="2451386" y="1714500"/>
                    <a:pt x="2514596" y="1714500"/>
                  </a:cubicBezTo>
                  <a:lnTo>
                    <a:pt x="3314692" y="1714500"/>
                  </a:lnTo>
                  <a:lnTo>
                    <a:pt x="3314692" y="664637"/>
                  </a:lnTo>
                  <a:cubicBezTo>
                    <a:pt x="3281660" y="652983"/>
                    <a:pt x="3251254" y="636642"/>
                    <a:pt x="3223822" y="615948"/>
                  </a:cubicBezTo>
                  <a:close/>
                  <a:moveTo>
                    <a:pt x="3644800" y="607161"/>
                  </a:moveTo>
                  <a:cubicBezTo>
                    <a:pt x="3614620" y="631847"/>
                    <a:pt x="3580666" y="651403"/>
                    <a:pt x="3543296" y="664771"/>
                  </a:cubicBezTo>
                  <a:lnTo>
                    <a:pt x="3543296" y="3107130"/>
                  </a:lnTo>
                  <a:cubicBezTo>
                    <a:pt x="3676008" y="3154560"/>
                    <a:pt x="3771900" y="3280174"/>
                    <a:pt x="3771900" y="3429000"/>
                  </a:cubicBezTo>
                  <a:cubicBezTo>
                    <a:pt x="3771900" y="3577827"/>
                    <a:pt x="3675996" y="3703441"/>
                    <a:pt x="3543296" y="3750871"/>
                  </a:cubicBezTo>
                  <a:lnTo>
                    <a:pt x="3543296" y="6193230"/>
                  </a:lnTo>
                  <a:cubicBezTo>
                    <a:pt x="3576220" y="6205003"/>
                    <a:pt x="3606624" y="6221345"/>
                    <a:pt x="3634056" y="6241919"/>
                  </a:cubicBezTo>
                  <a:cubicBezTo>
                    <a:pt x="3870884" y="6065097"/>
                    <a:pt x="4237440" y="5737400"/>
                    <a:pt x="4535776" y="5244294"/>
                  </a:cubicBezTo>
                  <a:cubicBezTo>
                    <a:pt x="4511304" y="5214357"/>
                    <a:pt x="4491988" y="5180523"/>
                    <a:pt x="4478850" y="5143487"/>
                  </a:cubicBezTo>
                  <a:lnTo>
                    <a:pt x="3829054" y="5143487"/>
                  </a:lnTo>
                  <a:cubicBezTo>
                    <a:pt x="3765844" y="5143487"/>
                    <a:pt x="3714760" y="5092279"/>
                    <a:pt x="3714760" y="5029191"/>
                  </a:cubicBezTo>
                  <a:cubicBezTo>
                    <a:pt x="3714760" y="4966103"/>
                    <a:pt x="3765844" y="4914896"/>
                    <a:pt x="3829054" y="4914896"/>
                  </a:cubicBezTo>
                  <a:lnTo>
                    <a:pt x="4478850" y="4914896"/>
                  </a:lnTo>
                  <a:cubicBezTo>
                    <a:pt x="4526160" y="4782076"/>
                    <a:pt x="4651788" y="4686291"/>
                    <a:pt x="4800600" y="4686291"/>
                  </a:cubicBezTo>
                  <a:cubicBezTo>
                    <a:pt x="4802890" y="4686291"/>
                    <a:pt x="4804832" y="4686854"/>
                    <a:pt x="4807002" y="4686974"/>
                  </a:cubicBezTo>
                  <a:cubicBezTo>
                    <a:pt x="4941082" y="4329099"/>
                    <a:pt x="5014912" y="3945279"/>
                    <a:pt x="5026686" y="3543282"/>
                  </a:cubicBezTo>
                  <a:lnTo>
                    <a:pt x="4114800" y="3543282"/>
                  </a:lnTo>
                  <a:cubicBezTo>
                    <a:pt x="4051592" y="3543282"/>
                    <a:pt x="4000504" y="3492075"/>
                    <a:pt x="4000504" y="3428987"/>
                  </a:cubicBezTo>
                  <a:cubicBezTo>
                    <a:pt x="4000504" y="3365899"/>
                    <a:pt x="4051592" y="3314691"/>
                    <a:pt x="4114800" y="3314691"/>
                  </a:cubicBezTo>
                  <a:lnTo>
                    <a:pt x="5026806" y="3314691"/>
                  </a:lnTo>
                  <a:cubicBezTo>
                    <a:pt x="5016064" y="2907096"/>
                    <a:pt x="4947712" y="2522940"/>
                    <a:pt x="4823236" y="2169405"/>
                  </a:cubicBezTo>
                  <a:cubicBezTo>
                    <a:pt x="4815682" y="2169861"/>
                    <a:pt x="4808368" y="2171696"/>
                    <a:pt x="4800600" y="2171696"/>
                  </a:cubicBezTo>
                  <a:cubicBezTo>
                    <a:pt x="4651788" y="2171696"/>
                    <a:pt x="4526172" y="2075911"/>
                    <a:pt x="4478850" y="1943091"/>
                  </a:cubicBezTo>
                  <a:lnTo>
                    <a:pt x="3829054" y="1943091"/>
                  </a:lnTo>
                  <a:cubicBezTo>
                    <a:pt x="3765844" y="1943091"/>
                    <a:pt x="3714760" y="1891884"/>
                    <a:pt x="3714760" y="1828796"/>
                  </a:cubicBezTo>
                  <a:cubicBezTo>
                    <a:pt x="3714760" y="1765707"/>
                    <a:pt x="3765844" y="1714500"/>
                    <a:pt x="3829054" y="1714500"/>
                  </a:cubicBezTo>
                  <a:lnTo>
                    <a:pt x="4478850" y="1714500"/>
                  </a:lnTo>
                  <a:cubicBezTo>
                    <a:pt x="4495084" y="1668664"/>
                    <a:pt x="4520104" y="1627181"/>
                    <a:pt x="4553028" y="1592771"/>
                  </a:cubicBezTo>
                  <a:cubicBezTo>
                    <a:pt x="4255844" y="1091909"/>
                    <a:pt x="3885512" y="774954"/>
                    <a:pt x="3644800" y="607161"/>
                  </a:cubicBezTo>
                  <a:close/>
                  <a:moveTo>
                    <a:pt x="4098784" y="308554"/>
                  </a:moveTo>
                  <a:cubicBezTo>
                    <a:pt x="4113400" y="305963"/>
                    <a:pt x="4128774" y="306205"/>
                    <a:pt x="4144174" y="309748"/>
                  </a:cubicBezTo>
                  <a:cubicBezTo>
                    <a:pt x="5470058" y="612652"/>
                    <a:pt x="6470296" y="1753130"/>
                    <a:pt x="6609168" y="3100847"/>
                  </a:cubicBezTo>
                  <a:cubicBezTo>
                    <a:pt x="6752384" y="3142102"/>
                    <a:pt x="6858000" y="3272753"/>
                    <a:pt x="6858000" y="3428986"/>
                  </a:cubicBezTo>
                  <a:cubicBezTo>
                    <a:pt x="6858000" y="3618037"/>
                    <a:pt x="6704150" y="3771886"/>
                    <a:pt x="6515100" y="3771886"/>
                  </a:cubicBezTo>
                  <a:cubicBezTo>
                    <a:pt x="6366286" y="3771886"/>
                    <a:pt x="6240672" y="3676102"/>
                    <a:pt x="6193348" y="3543282"/>
                  </a:cubicBezTo>
                  <a:lnTo>
                    <a:pt x="5486400" y="3543282"/>
                  </a:lnTo>
                  <a:cubicBezTo>
                    <a:pt x="5423192" y="3543282"/>
                    <a:pt x="5372104" y="3492075"/>
                    <a:pt x="5372104" y="3428986"/>
                  </a:cubicBezTo>
                  <a:cubicBezTo>
                    <a:pt x="5372104" y="3365898"/>
                    <a:pt x="5423192" y="3314691"/>
                    <a:pt x="5486400" y="3314691"/>
                  </a:cubicBezTo>
                  <a:lnTo>
                    <a:pt x="6193336" y="3314691"/>
                  </a:lnTo>
                  <a:cubicBezTo>
                    <a:pt x="6225456" y="3224385"/>
                    <a:pt x="6293232" y="3151010"/>
                    <a:pt x="6380792" y="3113518"/>
                  </a:cubicBezTo>
                  <a:cubicBezTo>
                    <a:pt x="6336096" y="2693921"/>
                    <a:pt x="6201680" y="2296733"/>
                    <a:pt x="5995484" y="1943091"/>
                  </a:cubicBezTo>
                  <a:lnTo>
                    <a:pt x="5431642" y="1943091"/>
                  </a:lnTo>
                  <a:cubicBezTo>
                    <a:pt x="5368434" y="1943091"/>
                    <a:pt x="5317348" y="1891883"/>
                    <a:pt x="5317348" y="1828795"/>
                  </a:cubicBezTo>
                  <a:cubicBezTo>
                    <a:pt x="5317348" y="1765707"/>
                    <a:pt x="5368434" y="1714500"/>
                    <a:pt x="5431642" y="1714500"/>
                  </a:cubicBezTo>
                  <a:lnTo>
                    <a:pt x="5848842" y="1714500"/>
                  </a:lnTo>
                  <a:cubicBezTo>
                    <a:pt x="5434616" y="1131690"/>
                    <a:pt x="4816258" y="697801"/>
                    <a:pt x="4093316" y="532754"/>
                  </a:cubicBezTo>
                  <a:cubicBezTo>
                    <a:pt x="4031712" y="518689"/>
                    <a:pt x="3993296" y="457316"/>
                    <a:pt x="4007362" y="395821"/>
                  </a:cubicBezTo>
                  <a:cubicBezTo>
                    <a:pt x="4017900" y="349611"/>
                    <a:pt x="4054936" y="316329"/>
                    <a:pt x="4098784" y="308554"/>
                  </a:cubicBezTo>
                  <a:close/>
                  <a:moveTo>
                    <a:pt x="3429000" y="228604"/>
                  </a:moveTo>
                  <a:cubicBezTo>
                    <a:pt x="3366140" y="228604"/>
                    <a:pt x="3315160" y="279584"/>
                    <a:pt x="3314824" y="342324"/>
                  </a:cubicBezTo>
                  <a:cubicBezTo>
                    <a:pt x="3314932" y="342900"/>
                    <a:pt x="3315280" y="343235"/>
                    <a:pt x="3315280" y="343811"/>
                  </a:cubicBezTo>
                  <a:cubicBezTo>
                    <a:pt x="3315280" y="344266"/>
                    <a:pt x="3315160" y="344601"/>
                    <a:pt x="3315160" y="344949"/>
                  </a:cubicBezTo>
                  <a:cubicBezTo>
                    <a:pt x="3316298" y="407020"/>
                    <a:pt x="3366702" y="457196"/>
                    <a:pt x="3429000" y="457196"/>
                  </a:cubicBezTo>
                  <a:cubicBezTo>
                    <a:pt x="3492088" y="457196"/>
                    <a:pt x="3543296" y="405881"/>
                    <a:pt x="3543296" y="342900"/>
                  </a:cubicBezTo>
                  <a:cubicBezTo>
                    <a:pt x="3543296" y="279919"/>
                    <a:pt x="3492088" y="228604"/>
                    <a:pt x="3429000" y="228604"/>
                  </a:cubicBezTo>
                  <a:close/>
                  <a:moveTo>
                    <a:pt x="3429000" y="0"/>
                  </a:moveTo>
                  <a:cubicBezTo>
                    <a:pt x="3618050" y="0"/>
                    <a:pt x="3771900" y="153850"/>
                    <a:pt x="3771926" y="342887"/>
                  </a:cubicBezTo>
                  <a:cubicBezTo>
                    <a:pt x="3771926" y="366662"/>
                    <a:pt x="3769516" y="389968"/>
                    <a:pt x="3764720" y="412377"/>
                  </a:cubicBezTo>
                  <a:cubicBezTo>
                    <a:pt x="4025324" y="592279"/>
                    <a:pt x="4433938" y="937925"/>
                    <a:pt x="4758100" y="1490222"/>
                  </a:cubicBezTo>
                  <a:cubicBezTo>
                    <a:pt x="4772150" y="1488400"/>
                    <a:pt x="4786092" y="1485882"/>
                    <a:pt x="4800612" y="1485882"/>
                  </a:cubicBezTo>
                  <a:cubicBezTo>
                    <a:pt x="4989664" y="1485882"/>
                    <a:pt x="5143512" y="1639732"/>
                    <a:pt x="5143512" y="1828782"/>
                  </a:cubicBezTo>
                  <a:cubicBezTo>
                    <a:pt x="5143512" y="1927647"/>
                    <a:pt x="5100878" y="2016239"/>
                    <a:pt x="5033664" y="2078872"/>
                  </a:cubicBezTo>
                  <a:cubicBezTo>
                    <a:pt x="5181796" y="2493781"/>
                    <a:pt x="5257808" y="2947092"/>
                    <a:pt x="5257808" y="3428987"/>
                  </a:cubicBezTo>
                  <a:cubicBezTo>
                    <a:pt x="5257808" y="3900702"/>
                    <a:pt x="5177348" y="4350477"/>
                    <a:pt x="5020524" y="4768239"/>
                  </a:cubicBezTo>
                  <a:cubicBezTo>
                    <a:pt x="5095052" y="4831220"/>
                    <a:pt x="5143512" y="4924258"/>
                    <a:pt x="5143512" y="5029191"/>
                  </a:cubicBezTo>
                  <a:cubicBezTo>
                    <a:pt x="5143512" y="5218242"/>
                    <a:pt x="4989664" y="5372091"/>
                    <a:pt x="4800612" y="5372091"/>
                  </a:cubicBezTo>
                  <a:cubicBezTo>
                    <a:pt x="4776384" y="5372091"/>
                    <a:pt x="4752728" y="5369466"/>
                    <a:pt x="4729864" y="5364550"/>
                  </a:cubicBezTo>
                  <a:cubicBezTo>
                    <a:pt x="4441144" y="5841181"/>
                    <a:pt x="4093328" y="6171852"/>
                    <a:pt x="3842436" y="6369475"/>
                  </a:cubicBezTo>
                  <a:cubicBezTo>
                    <a:pt x="4663574" y="6254255"/>
                    <a:pt x="5387896" y="5799457"/>
                    <a:pt x="5853892" y="5143487"/>
                  </a:cubicBezTo>
                  <a:lnTo>
                    <a:pt x="5431670" y="5143487"/>
                  </a:lnTo>
                  <a:cubicBezTo>
                    <a:pt x="5368460" y="5143487"/>
                    <a:pt x="5317374" y="5092279"/>
                    <a:pt x="5317374" y="5029191"/>
                  </a:cubicBezTo>
                  <a:cubicBezTo>
                    <a:pt x="5317374" y="4966103"/>
                    <a:pt x="5368460" y="4914896"/>
                    <a:pt x="5431670" y="4914896"/>
                  </a:cubicBezTo>
                  <a:lnTo>
                    <a:pt x="6000308" y="4914896"/>
                  </a:lnTo>
                  <a:cubicBezTo>
                    <a:pt x="6155980" y="4646751"/>
                    <a:pt x="6271882" y="4351977"/>
                    <a:pt x="6337260" y="4037648"/>
                  </a:cubicBezTo>
                  <a:cubicBezTo>
                    <a:pt x="6350172" y="3975819"/>
                    <a:pt x="6409832" y="3936157"/>
                    <a:pt x="6472586" y="3949070"/>
                  </a:cubicBezTo>
                  <a:cubicBezTo>
                    <a:pt x="6534308" y="3961862"/>
                    <a:pt x="6574076" y="4022445"/>
                    <a:pt x="6561150" y="4084153"/>
                  </a:cubicBezTo>
                  <a:cubicBezTo>
                    <a:pt x="6278378" y="5443404"/>
                    <a:pt x="5132060" y="6468099"/>
                    <a:pt x="3757032" y="6609264"/>
                  </a:cubicBezTo>
                  <a:cubicBezTo>
                    <a:pt x="3715884" y="6752358"/>
                    <a:pt x="3585234" y="6857973"/>
                    <a:pt x="3428986" y="6857973"/>
                  </a:cubicBezTo>
                  <a:cubicBezTo>
                    <a:pt x="3239936" y="6857973"/>
                    <a:pt x="3086086" y="6704124"/>
                    <a:pt x="3086086" y="6515074"/>
                  </a:cubicBezTo>
                  <a:cubicBezTo>
                    <a:pt x="3086086" y="6491298"/>
                    <a:pt x="3088484" y="6468219"/>
                    <a:pt x="3093172" y="6445810"/>
                  </a:cubicBezTo>
                  <a:cubicBezTo>
                    <a:pt x="2789478" y="6236414"/>
                    <a:pt x="2310556" y="5824250"/>
                    <a:pt x="1976805" y="5143473"/>
                  </a:cubicBezTo>
                  <a:lnTo>
                    <a:pt x="1428741" y="5143473"/>
                  </a:lnTo>
                  <a:cubicBezTo>
                    <a:pt x="1365532" y="5143473"/>
                    <a:pt x="1314445" y="5092266"/>
                    <a:pt x="1314445" y="5029178"/>
                  </a:cubicBezTo>
                  <a:cubicBezTo>
                    <a:pt x="1314445" y="4966090"/>
                    <a:pt x="1365532" y="4914882"/>
                    <a:pt x="1428741" y="4914882"/>
                  </a:cubicBezTo>
                  <a:lnTo>
                    <a:pt x="1874966" y="4914882"/>
                  </a:lnTo>
                  <a:cubicBezTo>
                    <a:pt x="1721237" y="4534143"/>
                    <a:pt x="1617912" y="4078662"/>
                    <a:pt x="1604423" y="3543282"/>
                  </a:cubicBezTo>
                  <a:lnTo>
                    <a:pt x="1028700" y="3543282"/>
                  </a:lnTo>
                  <a:cubicBezTo>
                    <a:pt x="965491" y="3543282"/>
                    <a:pt x="914404" y="3492075"/>
                    <a:pt x="914404" y="3428987"/>
                  </a:cubicBezTo>
                  <a:cubicBezTo>
                    <a:pt x="914404" y="3365899"/>
                    <a:pt x="965491" y="3314691"/>
                    <a:pt x="1028700" y="3314691"/>
                  </a:cubicBezTo>
                  <a:lnTo>
                    <a:pt x="1604664" y="3314691"/>
                  </a:lnTo>
                  <a:cubicBezTo>
                    <a:pt x="1619291" y="2783772"/>
                    <a:pt x="1731993" y="2327943"/>
                    <a:pt x="1896357" y="1943091"/>
                  </a:cubicBezTo>
                  <a:lnTo>
                    <a:pt x="1428754" y="1943091"/>
                  </a:lnTo>
                  <a:cubicBezTo>
                    <a:pt x="1365545" y="1943091"/>
                    <a:pt x="1314459" y="1891884"/>
                    <a:pt x="1314459" y="1828796"/>
                  </a:cubicBezTo>
                  <a:cubicBezTo>
                    <a:pt x="1314459" y="1765707"/>
                    <a:pt x="1365545" y="1714500"/>
                    <a:pt x="1428754" y="1714500"/>
                  </a:cubicBezTo>
                  <a:lnTo>
                    <a:pt x="2003339" y="1714500"/>
                  </a:lnTo>
                  <a:cubicBezTo>
                    <a:pt x="2308172" y="1120372"/>
                    <a:pt x="2721368" y="719407"/>
                    <a:pt x="3016608" y="487373"/>
                  </a:cubicBezTo>
                  <a:cubicBezTo>
                    <a:pt x="2336180" y="581671"/>
                    <a:pt x="1711647" y="907426"/>
                    <a:pt x="1241646" y="1418468"/>
                  </a:cubicBezTo>
                  <a:cubicBezTo>
                    <a:pt x="1219116" y="1443033"/>
                    <a:pt x="1188255" y="1455383"/>
                    <a:pt x="1157515" y="1455383"/>
                  </a:cubicBezTo>
                  <a:cubicBezTo>
                    <a:pt x="1129855" y="1455383"/>
                    <a:pt x="1102195" y="1445431"/>
                    <a:pt x="1080135" y="1425205"/>
                  </a:cubicBezTo>
                  <a:cubicBezTo>
                    <a:pt x="1033736" y="1382570"/>
                    <a:pt x="1030655" y="1310226"/>
                    <a:pt x="1073397" y="1263814"/>
                  </a:cubicBezTo>
                  <a:cubicBezTo>
                    <a:pt x="1606138" y="684434"/>
                    <a:pt x="2323376" y="326210"/>
                    <a:pt x="3101410" y="247009"/>
                  </a:cubicBezTo>
                  <a:cubicBezTo>
                    <a:pt x="3143254" y="104812"/>
                    <a:pt x="3273436" y="0"/>
                    <a:pt x="3429000" y="0"/>
                  </a:cubicBez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9" name="Grupo 98">
              <a:extLst>
                <a:ext uri="{FF2B5EF4-FFF2-40B4-BE49-F238E27FC236}">
                  <a16:creationId xmlns:a16="http://schemas.microsoft.com/office/drawing/2014/main" id="{8EB4425A-33F6-B611-A0C1-CAA15EE2D8C6}"/>
                </a:ext>
              </a:extLst>
            </p:cNvPr>
            <p:cNvGrpSpPr/>
            <p:nvPr/>
          </p:nvGrpSpPr>
          <p:grpSpPr>
            <a:xfrm>
              <a:off x="6730970" y="1994249"/>
              <a:ext cx="4224966" cy="2979377"/>
              <a:chOff x="6566054" y="1994249"/>
              <a:chExt cx="4224966" cy="2979377"/>
            </a:xfrm>
          </p:grpSpPr>
          <p:grpSp>
            <p:nvGrpSpPr>
              <p:cNvPr id="45" name="Grupo 44">
                <a:extLst>
                  <a:ext uri="{FF2B5EF4-FFF2-40B4-BE49-F238E27FC236}">
                    <a16:creationId xmlns:a16="http://schemas.microsoft.com/office/drawing/2014/main" id="{B7768E58-BD44-A53C-22AF-A810879D3E5E}"/>
                  </a:ext>
                </a:extLst>
              </p:cNvPr>
              <p:cNvGrpSpPr/>
              <p:nvPr/>
            </p:nvGrpSpPr>
            <p:grpSpPr>
              <a:xfrm>
                <a:off x="6566054" y="1994249"/>
                <a:ext cx="4224966" cy="2832344"/>
                <a:chOff x="6566054" y="1994249"/>
                <a:chExt cx="4224966" cy="2832344"/>
              </a:xfrm>
            </p:grpSpPr>
            <p:grpSp>
              <p:nvGrpSpPr>
                <p:cNvPr id="825" name="Grupo 824">
                  <a:extLst>
                    <a:ext uri="{FF2B5EF4-FFF2-40B4-BE49-F238E27FC236}">
                      <a16:creationId xmlns:a16="http://schemas.microsoft.com/office/drawing/2014/main" id="{1AAB3CB3-5704-AD85-0977-F9537F49F331}"/>
                    </a:ext>
                  </a:extLst>
                </p:cNvPr>
                <p:cNvGrpSpPr/>
                <p:nvPr/>
              </p:nvGrpSpPr>
              <p:grpSpPr>
                <a:xfrm>
                  <a:off x="8413073" y="2000772"/>
                  <a:ext cx="997378" cy="883494"/>
                  <a:chOff x="7354475" y="2820472"/>
                  <a:chExt cx="3270727" cy="2897266"/>
                </a:xfrm>
              </p:grpSpPr>
              <p:sp>
                <p:nvSpPr>
                  <p:cNvPr id="1106" name="Rectángulo: esquinas redondeadas 1105">
                    <a:extLst>
                      <a:ext uri="{FF2B5EF4-FFF2-40B4-BE49-F238E27FC236}">
                        <a16:creationId xmlns:a16="http://schemas.microsoft.com/office/drawing/2014/main" id="{3D06CC13-81B6-881B-FA72-36DB00FBF3EA}"/>
                      </a:ext>
                    </a:extLst>
                  </p:cNvPr>
                  <p:cNvSpPr/>
                  <p:nvPr/>
                </p:nvSpPr>
                <p:spPr>
                  <a:xfrm>
                    <a:off x="9952894" y="4013385"/>
                    <a:ext cx="179070" cy="464820"/>
                  </a:xfrm>
                  <a:prstGeom prst="roundRect">
                    <a:avLst>
                      <a:gd name="adj" fmla="val 50000"/>
                    </a:avLst>
                  </a:pr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07" name="Gráfico 320">
                    <a:extLst>
                      <a:ext uri="{FF2B5EF4-FFF2-40B4-BE49-F238E27FC236}">
                        <a16:creationId xmlns:a16="http://schemas.microsoft.com/office/drawing/2014/main" id="{52992EB6-42AD-528E-9B8F-D9B25A4A472D}"/>
                      </a:ext>
                    </a:extLst>
                  </p:cNvPr>
                  <p:cNvGrpSpPr/>
                  <p:nvPr/>
                </p:nvGrpSpPr>
                <p:grpSpPr>
                  <a:xfrm>
                    <a:off x="8093615" y="2909769"/>
                    <a:ext cx="2118359" cy="1276349"/>
                    <a:chOff x="5158740" y="2137410"/>
                    <a:chExt cx="2118359" cy="1276349"/>
                  </a:xfrm>
                  <a:solidFill>
                    <a:srgbClr val="E6E9EE"/>
                  </a:solidFill>
                </p:grpSpPr>
                <p:sp>
                  <p:nvSpPr>
                    <p:cNvPr id="1123" name="Forma libre: forma 1122">
                      <a:extLst>
                        <a:ext uri="{FF2B5EF4-FFF2-40B4-BE49-F238E27FC236}">
                          <a16:creationId xmlns:a16="http://schemas.microsoft.com/office/drawing/2014/main" id="{2B16483C-6454-3E5E-A9B3-CF1A0AE353F2}"/>
                        </a:ext>
                      </a:extLst>
                    </p:cNvPr>
                    <p:cNvSpPr/>
                    <p:nvPr/>
                  </p:nvSpPr>
                  <p:spPr>
                    <a:xfrm>
                      <a:off x="6938009" y="3048000"/>
                      <a:ext cx="339090" cy="365759"/>
                    </a:xfrm>
                    <a:custGeom>
                      <a:avLst/>
                      <a:gdLst>
                        <a:gd name="connsiteX0" fmla="*/ 167640 w 339090"/>
                        <a:gd name="connsiteY0" fmla="*/ 365760 h 365759"/>
                        <a:gd name="connsiteX1" fmla="*/ 167640 w 339090"/>
                        <a:gd name="connsiteY1" fmla="*/ 365760 h 365759"/>
                        <a:gd name="connsiteX2" fmla="*/ 11430 w 339090"/>
                        <a:gd name="connsiteY2" fmla="*/ 220980 h 365759"/>
                        <a:gd name="connsiteX3" fmla="*/ 0 w 339090"/>
                        <a:gd name="connsiteY3" fmla="*/ 0 h 365759"/>
                        <a:gd name="connsiteX4" fmla="*/ 339090 w 339090"/>
                        <a:gd name="connsiteY4" fmla="*/ 0 h 365759"/>
                        <a:gd name="connsiteX5" fmla="*/ 323850 w 339090"/>
                        <a:gd name="connsiteY5" fmla="*/ 220980 h 365759"/>
                        <a:gd name="connsiteX6" fmla="*/ 167640 w 339090"/>
                        <a:gd name="connsiteY6" fmla="*/ 365760 h 36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090" h="365759">
                          <a:moveTo>
                            <a:pt x="167640" y="365760"/>
                          </a:moveTo>
                          <a:lnTo>
                            <a:pt x="167640" y="365760"/>
                          </a:lnTo>
                          <a:cubicBezTo>
                            <a:pt x="83820" y="365760"/>
                            <a:pt x="19050" y="300990"/>
                            <a:pt x="11430" y="220980"/>
                          </a:cubicBezTo>
                          <a:lnTo>
                            <a:pt x="0" y="0"/>
                          </a:lnTo>
                          <a:lnTo>
                            <a:pt x="339090" y="0"/>
                          </a:lnTo>
                          <a:lnTo>
                            <a:pt x="323850" y="220980"/>
                          </a:lnTo>
                          <a:cubicBezTo>
                            <a:pt x="320040" y="300990"/>
                            <a:pt x="251460" y="365760"/>
                            <a:pt x="167640" y="365760"/>
                          </a:cubicBezTo>
                          <a:close/>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4" name="Forma libre: forma 1123">
                      <a:extLst>
                        <a:ext uri="{FF2B5EF4-FFF2-40B4-BE49-F238E27FC236}">
                          <a16:creationId xmlns:a16="http://schemas.microsoft.com/office/drawing/2014/main" id="{FC277839-29C2-DFDA-5084-A9E198116EF9}"/>
                        </a:ext>
                      </a:extLst>
                    </p:cNvPr>
                    <p:cNvSpPr/>
                    <p:nvPr/>
                  </p:nvSpPr>
                  <p:spPr>
                    <a:xfrm>
                      <a:off x="5158740" y="2137410"/>
                      <a:ext cx="2007869" cy="632460"/>
                    </a:xfrm>
                    <a:custGeom>
                      <a:avLst/>
                      <a:gdLst>
                        <a:gd name="connsiteX0" fmla="*/ 1973580 w 2007869"/>
                        <a:gd name="connsiteY0" fmla="*/ 632460 h 632460"/>
                        <a:gd name="connsiteX1" fmla="*/ 1924050 w 2007869"/>
                        <a:gd name="connsiteY1" fmla="*/ 518160 h 632460"/>
                        <a:gd name="connsiteX2" fmla="*/ 1424940 w 2007869"/>
                        <a:gd name="connsiteY2" fmla="*/ 297180 h 632460"/>
                        <a:gd name="connsiteX3" fmla="*/ 979170 w 2007869"/>
                        <a:gd name="connsiteY3" fmla="*/ 453390 h 632460"/>
                        <a:gd name="connsiteX4" fmla="*/ 929640 w 2007869"/>
                        <a:gd name="connsiteY4" fmla="*/ 304800 h 632460"/>
                        <a:gd name="connsiteX5" fmla="*/ 552450 w 2007869"/>
                        <a:gd name="connsiteY5" fmla="*/ 38100 h 632460"/>
                        <a:gd name="connsiteX6" fmla="*/ 0 w 2007869"/>
                        <a:gd name="connsiteY6" fmla="*/ 38100 h 632460"/>
                        <a:gd name="connsiteX7" fmla="*/ 0 w 2007869"/>
                        <a:gd name="connsiteY7" fmla="*/ 0 h 632460"/>
                        <a:gd name="connsiteX8" fmla="*/ 556260 w 2007869"/>
                        <a:gd name="connsiteY8" fmla="*/ 0 h 632460"/>
                        <a:gd name="connsiteX9" fmla="*/ 967740 w 2007869"/>
                        <a:gd name="connsiteY9" fmla="*/ 293370 h 632460"/>
                        <a:gd name="connsiteX10" fmla="*/ 1005840 w 2007869"/>
                        <a:gd name="connsiteY10" fmla="*/ 403860 h 632460"/>
                        <a:gd name="connsiteX11" fmla="*/ 1413510 w 2007869"/>
                        <a:gd name="connsiteY11" fmla="*/ 262890 h 632460"/>
                        <a:gd name="connsiteX12" fmla="*/ 1958340 w 2007869"/>
                        <a:gd name="connsiteY12" fmla="*/ 502920 h 632460"/>
                        <a:gd name="connsiteX13" fmla="*/ 2007870 w 2007869"/>
                        <a:gd name="connsiteY13" fmla="*/ 617220 h 632460"/>
                        <a:gd name="connsiteX14" fmla="*/ 1973580 w 2007869"/>
                        <a:gd name="connsiteY14" fmla="*/ 632460 h 63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7869" h="632460">
                          <a:moveTo>
                            <a:pt x="1973580" y="632460"/>
                          </a:moveTo>
                          <a:lnTo>
                            <a:pt x="1924050" y="518160"/>
                          </a:lnTo>
                          <a:cubicBezTo>
                            <a:pt x="1844040" y="323850"/>
                            <a:pt x="1623060" y="228600"/>
                            <a:pt x="1424940" y="297180"/>
                          </a:cubicBezTo>
                          <a:lnTo>
                            <a:pt x="979170" y="453390"/>
                          </a:lnTo>
                          <a:lnTo>
                            <a:pt x="929640" y="304800"/>
                          </a:lnTo>
                          <a:cubicBezTo>
                            <a:pt x="876300" y="144780"/>
                            <a:pt x="723900" y="38100"/>
                            <a:pt x="552450" y="38100"/>
                          </a:cubicBezTo>
                          <a:lnTo>
                            <a:pt x="0" y="38100"/>
                          </a:lnTo>
                          <a:lnTo>
                            <a:pt x="0" y="0"/>
                          </a:lnTo>
                          <a:lnTo>
                            <a:pt x="556260" y="0"/>
                          </a:lnTo>
                          <a:cubicBezTo>
                            <a:pt x="742950" y="0"/>
                            <a:pt x="906780" y="118110"/>
                            <a:pt x="967740" y="293370"/>
                          </a:cubicBezTo>
                          <a:lnTo>
                            <a:pt x="1005840" y="403860"/>
                          </a:lnTo>
                          <a:lnTo>
                            <a:pt x="1413510" y="262890"/>
                          </a:lnTo>
                          <a:cubicBezTo>
                            <a:pt x="1630680" y="186690"/>
                            <a:pt x="1870710" y="293370"/>
                            <a:pt x="1958340" y="502920"/>
                          </a:cubicBezTo>
                          <a:lnTo>
                            <a:pt x="2007870" y="617220"/>
                          </a:lnTo>
                          <a:lnTo>
                            <a:pt x="1973580" y="632460"/>
                          </a:ln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08" name="Gráfico 320">
                    <a:extLst>
                      <a:ext uri="{FF2B5EF4-FFF2-40B4-BE49-F238E27FC236}">
                        <a16:creationId xmlns:a16="http://schemas.microsoft.com/office/drawing/2014/main" id="{CD7A07E1-7BB5-51EC-481B-0B5596F37F1C}"/>
                      </a:ext>
                    </a:extLst>
                  </p:cNvPr>
                  <p:cNvGrpSpPr/>
                  <p:nvPr/>
                </p:nvGrpSpPr>
                <p:grpSpPr>
                  <a:xfrm>
                    <a:off x="7522114" y="3123129"/>
                    <a:ext cx="2460780" cy="1622161"/>
                    <a:chOff x="4587239" y="2350770"/>
                    <a:chExt cx="2460780" cy="1622161"/>
                  </a:xfrm>
                  <a:solidFill>
                    <a:srgbClr val="F9B54C"/>
                  </a:solidFill>
                </p:grpSpPr>
                <p:sp>
                  <p:nvSpPr>
                    <p:cNvPr id="1121" name="Forma libre: forma 1120">
                      <a:extLst>
                        <a:ext uri="{FF2B5EF4-FFF2-40B4-BE49-F238E27FC236}">
                          <a16:creationId xmlns:a16="http://schemas.microsoft.com/office/drawing/2014/main" id="{9ED054E1-37C4-BB42-44ED-E80A5C75E6E0}"/>
                        </a:ext>
                      </a:extLst>
                    </p:cNvPr>
                    <p:cNvSpPr/>
                    <p:nvPr/>
                  </p:nvSpPr>
                  <p:spPr>
                    <a:xfrm>
                      <a:off x="4587239" y="2350770"/>
                      <a:ext cx="951601" cy="1622161"/>
                    </a:xfrm>
                    <a:custGeom>
                      <a:avLst/>
                      <a:gdLst>
                        <a:gd name="connsiteX0" fmla="*/ 632460 w 951601"/>
                        <a:gd name="connsiteY0" fmla="*/ 0 h 1622161"/>
                        <a:gd name="connsiteX1" fmla="*/ 0 w 951601"/>
                        <a:gd name="connsiteY1" fmla="*/ 0 h 1622161"/>
                        <a:gd name="connsiteX2" fmla="*/ 15240 w 951601"/>
                        <a:gd name="connsiteY2" fmla="*/ 87630 h 1622161"/>
                        <a:gd name="connsiteX3" fmla="*/ 483870 w 951601"/>
                        <a:gd name="connsiteY3" fmla="*/ 1459230 h 1622161"/>
                        <a:gd name="connsiteX4" fmla="*/ 777240 w 951601"/>
                        <a:gd name="connsiteY4" fmla="*/ 1611630 h 1622161"/>
                        <a:gd name="connsiteX5" fmla="*/ 944880 w 951601"/>
                        <a:gd name="connsiteY5" fmla="*/ 1325880 h 1622161"/>
                        <a:gd name="connsiteX6" fmla="*/ 632460 w 951601"/>
                        <a:gd name="connsiteY6" fmla="*/ 0 h 162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01" h="1622161">
                          <a:moveTo>
                            <a:pt x="632460" y="0"/>
                          </a:moveTo>
                          <a:lnTo>
                            <a:pt x="0" y="0"/>
                          </a:lnTo>
                          <a:cubicBezTo>
                            <a:pt x="0" y="30480"/>
                            <a:pt x="7620" y="60960"/>
                            <a:pt x="15240" y="87630"/>
                          </a:cubicBezTo>
                          <a:lnTo>
                            <a:pt x="483870" y="1459230"/>
                          </a:lnTo>
                          <a:cubicBezTo>
                            <a:pt x="525780" y="1581150"/>
                            <a:pt x="655320" y="1649730"/>
                            <a:pt x="777240" y="1611630"/>
                          </a:cubicBezTo>
                          <a:cubicBezTo>
                            <a:pt x="899160" y="1577340"/>
                            <a:pt x="975360" y="1451610"/>
                            <a:pt x="944880" y="1325880"/>
                          </a:cubicBezTo>
                          <a:lnTo>
                            <a:pt x="632460" y="0"/>
                          </a:ln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2" name="Forma libre: forma 1121">
                      <a:extLst>
                        <a:ext uri="{FF2B5EF4-FFF2-40B4-BE49-F238E27FC236}">
                          <a16:creationId xmlns:a16="http://schemas.microsoft.com/office/drawing/2014/main" id="{40CFBC3D-2255-7BCC-9CCF-CA2ECC20504A}"/>
                        </a:ext>
                      </a:extLst>
                    </p:cNvPr>
                    <p:cNvSpPr/>
                    <p:nvPr/>
                  </p:nvSpPr>
                  <p:spPr>
                    <a:xfrm rot="-9860512">
                      <a:off x="6339544" y="2720005"/>
                      <a:ext cx="697247" cy="179072"/>
                    </a:xfrm>
                    <a:custGeom>
                      <a:avLst/>
                      <a:gdLst>
                        <a:gd name="connsiteX0" fmla="*/ 0 w 697247"/>
                        <a:gd name="connsiteY0" fmla="*/ 0 h 179072"/>
                        <a:gd name="connsiteX1" fmla="*/ 697247 w 697247"/>
                        <a:gd name="connsiteY1" fmla="*/ 0 h 179072"/>
                        <a:gd name="connsiteX2" fmla="*/ 697247 w 697247"/>
                        <a:gd name="connsiteY2" fmla="*/ 179072 h 179072"/>
                        <a:gd name="connsiteX3" fmla="*/ 0 w 697247"/>
                        <a:gd name="connsiteY3" fmla="*/ 179072 h 179072"/>
                      </a:gdLst>
                      <a:ahLst/>
                      <a:cxnLst>
                        <a:cxn ang="0">
                          <a:pos x="connsiteX0" y="connsiteY0"/>
                        </a:cxn>
                        <a:cxn ang="0">
                          <a:pos x="connsiteX1" y="connsiteY1"/>
                        </a:cxn>
                        <a:cxn ang="0">
                          <a:pos x="connsiteX2" y="connsiteY2"/>
                        </a:cxn>
                        <a:cxn ang="0">
                          <a:pos x="connsiteX3" y="connsiteY3"/>
                        </a:cxn>
                      </a:cxnLst>
                      <a:rect l="l" t="t" r="r" b="b"/>
                      <a:pathLst>
                        <a:path w="697247" h="179072">
                          <a:moveTo>
                            <a:pt x="0" y="0"/>
                          </a:moveTo>
                          <a:lnTo>
                            <a:pt x="697247" y="0"/>
                          </a:lnTo>
                          <a:lnTo>
                            <a:pt x="697247" y="179072"/>
                          </a:lnTo>
                          <a:lnTo>
                            <a:pt x="0" y="179072"/>
                          </a:ln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09" name="Forma libre: forma 1108">
                    <a:extLst>
                      <a:ext uri="{FF2B5EF4-FFF2-40B4-BE49-F238E27FC236}">
                        <a16:creationId xmlns:a16="http://schemas.microsoft.com/office/drawing/2014/main" id="{F4235C14-10A8-404B-DC93-2EC0B680BAD7}"/>
                      </a:ext>
                    </a:extLst>
                  </p:cNvPr>
                  <p:cNvSpPr/>
                  <p:nvPr/>
                </p:nvSpPr>
                <p:spPr>
                  <a:xfrm>
                    <a:off x="7518136" y="2820472"/>
                    <a:ext cx="1962706" cy="881858"/>
                  </a:xfrm>
                  <a:custGeom>
                    <a:avLst/>
                    <a:gdLst>
                      <a:gd name="connsiteX0" fmla="*/ 1787059 w 1962706"/>
                      <a:gd name="connsiteY0" fmla="*/ 413146 h 881858"/>
                      <a:gd name="connsiteX1" fmla="*/ 404029 w 1962706"/>
                      <a:gd name="connsiteY1" fmla="*/ 13096 h 881858"/>
                      <a:gd name="connsiteX2" fmla="*/ 11599 w 1962706"/>
                      <a:gd name="connsiteY2" fmla="*/ 226456 h 881858"/>
                      <a:gd name="connsiteX3" fmla="*/ 255439 w 1962706"/>
                      <a:gd name="connsiteY3" fmla="*/ 615076 h 881858"/>
                      <a:gd name="connsiteX4" fmla="*/ 1680379 w 1962706"/>
                      <a:gd name="connsiteY4" fmla="*/ 877966 h 881858"/>
                      <a:gd name="connsiteX5" fmla="*/ 1958509 w 1962706"/>
                      <a:gd name="connsiteY5" fmla="*/ 695086 h 881858"/>
                      <a:gd name="connsiteX6" fmla="*/ 1787059 w 1962706"/>
                      <a:gd name="connsiteY6" fmla="*/ 413146 h 88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2706" h="881858">
                        <a:moveTo>
                          <a:pt x="1787059" y="413146"/>
                        </a:moveTo>
                        <a:lnTo>
                          <a:pt x="404029" y="13096"/>
                        </a:lnTo>
                        <a:cubicBezTo>
                          <a:pt x="236389" y="-36434"/>
                          <a:pt x="57319" y="58816"/>
                          <a:pt x="11599" y="226456"/>
                        </a:cubicBezTo>
                        <a:cubicBezTo>
                          <a:pt x="-37931" y="401716"/>
                          <a:pt x="76369" y="580786"/>
                          <a:pt x="255439" y="615076"/>
                        </a:cubicBezTo>
                        <a:lnTo>
                          <a:pt x="1680379" y="877966"/>
                        </a:lnTo>
                        <a:cubicBezTo>
                          <a:pt x="1806109" y="900826"/>
                          <a:pt x="1928029" y="820816"/>
                          <a:pt x="1958509" y="695086"/>
                        </a:cubicBezTo>
                        <a:cubicBezTo>
                          <a:pt x="1981369" y="573166"/>
                          <a:pt x="1908979" y="447436"/>
                          <a:pt x="1787059" y="413146"/>
                        </a:cubicBezTo>
                        <a:close/>
                      </a:path>
                    </a:pathLst>
                  </a:custGeom>
                  <a:solidFill>
                    <a:srgbClr val="FFC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0" name="Forma libre: forma 1109">
                    <a:extLst>
                      <a:ext uri="{FF2B5EF4-FFF2-40B4-BE49-F238E27FC236}">
                        <a16:creationId xmlns:a16="http://schemas.microsoft.com/office/drawing/2014/main" id="{7D7AE6A0-AF00-F398-56EA-0DEAE2DA79E8}"/>
                      </a:ext>
                    </a:extLst>
                  </p:cNvPr>
                  <p:cNvSpPr/>
                  <p:nvPr/>
                </p:nvSpPr>
                <p:spPr>
                  <a:xfrm>
                    <a:off x="7708805" y="3001209"/>
                    <a:ext cx="266700" cy="266700"/>
                  </a:xfrm>
                  <a:custGeom>
                    <a:avLst/>
                    <a:gdLst>
                      <a:gd name="connsiteX0" fmla="*/ 266700 w 266700"/>
                      <a:gd name="connsiteY0" fmla="*/ 133350 h 266700"/>
                      <a:gd name="connsiteX1" fmla="*/ 133350 w 266700"/>
                      <a:gd name="connsiteY1" fmla="*/ 266700 h 266700"/>
                      <a:gd name="connsiteX2" fmla="*/ 0 w 266700"/>
                      <a:gd name="connsiteY2" fmla="*/ 133350 h 266700"/>
                      <a:gd name="connsiteX3" fmla="*/ 133350 w 266700"/>
                      <a:gd name="connsiteY3" fmla="*/ 0 h 266700"/>
                      <a:gd name="connsiteX4" fmla="*/ 266700 w 266700"/>
                      <a:gd name="connsiteY4" fmla="*/ 133350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66700">
                        <a:moveTo>
                          <a:pt x="266700" y="133350"/>
                        </a:moveTo>
                        <a:cubicBezTo>
                          <a:pt x="266700" y="206997"/>
                          <a:pt x="206997" y="266700"/>
                          <a:pt x="133350" y="266700"/>
                        </a:cubicBezTo>
                        <a:cubicBezTo>
                          <a:pt x="59703" y="266700"/>
                          <a:pt x="0" y="206997"/>
                          <a:pt x="0" y="133350"/>
                        </a:cubicBezTo>
                        <a:cubicBezTo>
                          <a:pt x="0" y="59703"/>
                          <a:pt x="59703" y="0"/>
                          <a:pt x="133350" y="0"/>
                        </a:cubicBezTo>
                        <a:cubicBezTo>
                          <a:pt x="206997" y="0"/>
                          <a:pt x="266700" y="59703"/>
                          <a:pt x="266700" y="13335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1" name="Forma libre: forma 1110">
                    <a:extLst>
                      <a:ext uri="{FF2B5EF4-FFF2-40B4-BE49-F238E27FC236}">
                        <a16:creationId xmlns:a16="http://schemas.microsoft.com/office/drawing/2014/main" id="{3CCF86A9-A9A6-A1B0-9C82-E610FDE88C80}"/>
                      </a:ext>
                    </a:extLst>
                  </p:cNvPr>
                  <p:cNvSpPr/>
                  <p:nvPr/>
                </p:nvSpPr>
                <p:spPr>
                  <a:xfrm>
                    <a:off x="9789065" y="3443169"/>
                    <a:ext cx="502919" cy="502920"/>
                  </a:xfrm>
                  <a:custGeom>
                    <a:avLst/>
                    <a:gdLst>
                      <a:gd name="connsiteX0" fmla="*/ 502920 w 502919"/>
                      <a:gd name="connsiteY0" fmla="*/ 251460 h 502920"/>
                      <a:gd name="connsiteX1" fmla="*/ 251460 w 502919"/>
                      <a:gd name="connsiteY1" fmla="*/ 502920 h 502920"/>
                      <a:gd name="connsiteX2" fmla="*/ 0 w 502919"/>
                      <a:gd name="connsiteY2" fmla="*/ 251460 h 502920"/>
                      <a:gd name="connsiteX3" fmla="*/ 251460 w 502919"/>
                      <a:gd name="connsiteY3" fmla="*/ 0 h 502920"/>
                      <a:gd name="connsiteX4" fmla="*/ 502920 w 502919"/>
                      <a:gd name="connsiteY4" fmla="*/ 251460 h 502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919" h="502920">
                        <a:moveTo>
                          <a:pt x="502920" y="251460"/>
                        </a:moveTo>
                        <a:cubicBezTo>
                          <a:pt x="502920" y="390338"/>
                          <a:pt x="390338" y="502920"/>
                          <a:pt x="251460" y="502920"/>
                        </a:cubicBezTo>
                        <a:cubicBezTo>
                          <a:pt x="112582" y="502920"/>
                          <a:pt x="0" y="390337"/>
                          <a:pt x="0" y="251460"/>
                        </a:cubicBezTo>
                        <a:cubicBezTo>
                          <a:pt x="0" y="112582"/>
                          <a:pt x="112582" y="0"/>
                          <a:pt x="251460" y="0"/>
                        </a:cubicBezTo>
                        <a:cubicBezTo>
                          <a:pt x="390338" y="0"/>
                          <a:pt x="502920" y="112583"/>
                          <a:pt x="502920" y="251460"/>
                        </a:cubicBezTo>
                        <a:close/>
                      </a:path>
                    </a:pathLst>
                  </a:custGeom>
                  <a:solidFill>
                    <a:srgbClr val="FFC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2" name="Forma libre: forma 1111">
                    <a:extLst>
                      <a:ext uri="{FF2B5EF4-FFF2-40B4-BE49-F238E27FC236}">
                        <a16:creationId xmlns:a16="http://schemas.microsoft.com/office/drawing/2014/main" id="{9EAB7E7D-3235-D316-758C-98E3ACED5BC1}"/>
                      </a:ext>
                    </a:extLst>
                  </p:cNvPr>
                  <p:cNvSpPr/>
                  <p:nvPr/>
                </p:nvSpPr>
                <p:spPr>
                  <a:xfrm>
                    <a:off x="9926225" y="3580329"/>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3" name="Forma libre: forma 1112">
                    <a:extLst>
                      <a:ext uri="{FF2B5EF4-FFF2-40B4-BE49-F238E27FC236}">
                        <a16:creationId xmlns:a16="http://schemas.microsoft.com/office/drawing/2014/main" id="{1E775D67-D551-AC4B-124E-69C8FA56BE72}"/>
                      </a:ext>
                    </a:extLst>
                  </p:cNvPr>
                  <p:cNvSpPr/>
                  <p:nvPr/>
                </p:nvSpPr>
                <p:spPr>
                  <a:xfrm>
                    <a:off x="7480204" y="5070039"/>
                    <a:ext cx="1592579" cy="510539"/>
                  </a:xfrm>
                  <a:custGeom>
                    <a:avLst/>
                    <a:gdLst>
                      <a:gd name="connsiteX0" fmla="*/ 1592580 w 1592579"/>
                      <a:gd name="connsiteY0" fmla="*/ 510540 h 510539"/>
                      <a:gd name="connsiteX1" fmla="*/ 0 w 1592579"/>
                      <a:gd name="connsiteY1" fmla="*/ 510540 h 510539"/>
                      <a:gd name="connsiteX2" fmla="*/ 205740 w 1592579"/>
                      <a:gd name="connsiteY2" fmla="*/ 0 h 510539"/>
                      <a:gd name="connsiteX3" fmla="*/ 1386840 w 1592579"/>
                      <a:gd name="connsiteY3" fmla="*/ 0 h 510539"/>
                    </a:gdLst>
                    <a:ahLst/>
                    <a:cxnLst>
                      <a:cxn ang="0">
                        <a:pos x="connsiteX0" y="connsiteY0"/>
                      </a:cxn>
                      <a:cxn ang="0">
                        <a:pos x="connsiteX1" y="connsiteY1"/>
                      </a:cxn>
                      <a:cxn ang="0">
                        <a:pos x="connsiteX2" y="connsiteY2"/>
                      </a:cxn>
                      <a:cxn ang="0">
                        <a:pos x="connsiteX3" y="connsiteY3"/>
                      </a:cxn>
                    </a:cxnLst>
                    <a:rect l="l" t="t" r="r" b="b"/>
                    <a:pathLst>
                      <a:path w="1592579" h="510539">
                        <a:moveTo>
                          <a:pt x="1592580" y="510540"/>
                        </a:moveTo>
                        <a:lnTo>
                          <a:pt x="0" y="510540"/>
                        </a:lnTo>
                        <a:lnTo>
                          <a:pt x="205740" y="0"/>
                        </a:lnTo>
                        <a:lnTo>
                          <a:pt x="1386840" y="0"/>
                        </a:lnTo>
                        <a:close/>
                      </a:path>
                    </a:pathLst>
                  </a:custGeom>
                  <a:solidFill>
                    <a:srgbClr val="FFC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14" name="Gráfico 320">
                    <a:extLst>
                      <a:ext uri="{FF2B5EF4-FFF2-40B4-BE49-F238E27FC236}">
                        <a16:creationId xmlns:a16="http://schemas.microsoft.com/office/drawing/2014/main" id="{B4625C4D-63C5-FFEC-0C0F-46B46C548421}"/>
                      </a:ext>
                    </a:extLst>
                  </p:cNvPr>
                  <p:cNvGrpSpPr/>
                  <p:nvPr/>
                </p:nvGrpSpPr>
                <p:grpSpPr>
                  <a:xfrm>
                    <a:off x="7354475" y="4948118"/>
                    <a:ext cx="1844040" cy="769620"/>
                    <a:chOff x="4419600" y="4175759"/>
                    <a:chExt cx="1844040" cy="769620"/>
                  </a:xfrm>
                  <a:solidFill>
                    <a:srgbClr val="F9B54C"/>
                  </a:solidFill>
                </p:grpSpPr>
                <p:sp>
                  <p:nvSpPr>
                    <p:cNvPr id="1119" name="Forma libre: forma 1118">
                      <a:extLst>
                        <a:ext uri="{FF2B5EF4-FFF2-40B4-BE49-F238E27FC236}">
                          <a16:creationId xmlns:a16="http://schemas.microsoft.com/office/drawing/2014/main" id="{7D755E19-7D2C-601C-6728-E191C788BFCF}"/>
                        </a:ext>
                      </a:extLst>
                    </p:cNvPr>
                    <p:cNvSpPr/>
                    <p:nvPr/>
                  </p:nvSpPr>
                  <p:spPr>
                    <a:xfrm>
                      <a:off x="4419600" y="4777740"/>
                      <a:ext cx="1844040" cy="167640"/>
                    </a:xfrm>
                    <a:custGeom>
                      <a:avLst/>
                      <a:gdLst>
                        <a:gd name="connsiteX0" fmla="*/ 1760220 w 1844040"/>
                        <a:gd name="connsiteY0" fmla="*/ 167640 h 167640"/>
                        <a:gd name="connsiteX1" fmla="*/ 83820 w 1844040"/>
                        <a:gd name="connsiteY1" fmla="*/ 167640 h 167640"/>
                        <a:gd name="connsiteX2" fmla="*/ 0 w 1844040"/>
                        <a:gd name="connsiteY2" fmla="*/ 83820 h 167640"/>
                        <a:gd name="connsiteX3" fmla="*/ 0 w 1844040"/>
                        <a:gd name="connsiteY3" fmla="*/ 83820 h 167640"/>
                        <a:gd name="connsiteX4" fmla="*/ 83820 w 1844040"/>
                        <a:gd name="connsiteY4" fmla="*/ 0 h 167640"/>
                        <a:gd name="connsiteX5" fmla="*/ 1760220 w 1844040"/>
                        <a:gd name="connsiteY5" fmla="*/ 0 h 167640"/>
                        <a:gd name="connsiteX6" fmla="*/ 1844040 w 1844040"/>
                        <a:gd name="connsiteY6" fmla="*/ 83820 h 167640"/>
                        <a:gd name="connsiteX7" fmla="*/ 1844040 w 1844040"/>
                        <a:gd name="connsiteY7" fmla="*/ 83820 h 167640"/>
                        <a:gd name="connsiteX8" fmla="*/ 1760220 w 1844040"/>
                        <a:gd name="connsiteY8" fmla="*/ 167640 h 1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40" h="167640">
                          <a:moveTo>
                            <a:pt x="1760220" y="167640"/>
                          </a:moveTo>
                          <a:lnTo>
                            <a:pt x="83820" y="167640"/>
                          </a:lnTo>
                          <a:cubicBezTo>
                            <a:pt x="38100" y="167640"/>
                            <a:pt x="0" y="129540"/>
                            <a:pt x="0" y="83820"/>
                          </a:cubicBezTo>
                          <a:lnTo>
                            <a:pt x="0" y="83820"/>
                          </a:lnTo>
                          <a:cubicBezTo>
                            <a:pt x="0" y="38100"/>
                            <a:pt x="38100" y="0"/>
                            <a:pt x="83820" y="0"/>
                          </a:cubicBezTo>
                          <a:lnTo>
                            <a:pt x="1760220" y="0"/>
                          </a:lnTo>
                          <a:cubicBezTo>
                            <a:pt x="1805940" y="0"/>
                            <a:pt x="1844040" y="38100"/>
                            <a:pt x="1844040" y="83820"/>
                          </a:cubicBezTo>
                          <a:lnTo>
                            <a:pt x="1844040" y="83820"/>
                          </a:lnTo>
                          <a:cubicBezTo>
                            <a:pt x="1844040" y="129540"/>
                            <a:pt x="1805940" y="167640"/>
                            <a:pt x="1760220" y="16764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0" name="Forma libre: forma 1119">
                      <a:extLst>
                        <a:ext uri="{FF2B5EF4-FFF2-40B4-BE49-F238E27FC236}">
                          <a16:creationId xmlns:a16="http://schemas.microsoft.com/office/drawing/2014/main" id="{7238582F-A9E2-24F7-B5AD-F2472B348695}"/>
                        </a:ext>
                      </a:extLst>
                    </p:cNvPr>
                    <p:cNvSpPr/>
                    <p:nvPr/>
                  </p:nvSpPr>
                  <p:spPr>
                    <a:xfrm>
                      <a:off x="4640579" y="4175759"/>
                      <a:ext cx="1402079" cy="167640"/>
                    </a:xfrm>
                    <a:custGeom>
                      <a:avLst/>
                      <a:gdLst>
                        <a:gd name="connsiteX0" fmla="*/ 1318260 w 1402079"/>
                        <a:gd name="connsiteY0" fmla="*/ 167640 h 167640"/>
                        <a:gd name="connsiteX1" fmla="*/ 83820 w 1402079"/>
                        <a:gd name="connsiteY1" fmla="*/ 167640 h 167640"/>
                        <a:gd name="connsiteX2" fmla="*/ 0 w 1402079"/>
                        <a:gd name="connsiteY2" fmla="*/ 83820 h 167640"/>
                        <a:gd name="connsiteX3" fmla="*/ 0 w 1402079"/>
                        <a:gd name="connsiteY3" fmla="*/ 83820 h 167640"/>
                        <a:gd name="connsiteX4" fmla="*/ 83820 w 1402079"/>
                        <a:gd name="connsiteY4" fmla="*/ 0 h 167640"/>
                        <a:gd name="connsiteX5" fmla="*/ 1318260 w 1402079"/>
                        <a:gd name="connsiteY5" fmla="*/ 0 h 167640"/>
                        <a:gd name="connsiteX6" fmla="*/ 1402080 w 1402079"/>
                        <a:gd name="connsiteY6" fmla="*/ 83820 h 167640"/>
                        <a:gd name="connsiteX7" fmla="*/ 1402080 w 1402079"/>
                        <a:gd name="connsiteY7" fmla="*/ 83820 h 167640"/>
                        <a:gd name="connsiteX8" fmla="*/ 1318260 w 1402079"/>
                        <a:gd name="connsiteY8" fmla="*/ 167640 h 1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2079" h="167640">
                          <a:moveTo>
                            <a:pt x="1318260" y="167640"/>
                          </a:moveTo>
                          <a:lnTo>
                            <a:pt x="83820" y="167640"/>
                          </a:lnTo>
                          <a:cubicBezTo>
                            <a:pt x="38100" y="167640"/>
                            <a:pt x="0" y="129540"/>
                            <a:pt x="0" y="83820"/>
                          </a:cubicBezTo>
                          <a:lnTo>
                            <a:pt x="0" y="83820"/>
                          </a:lnTo>
                          <a:cubicBezTo>
                            <a:pt x="0" y="38100"/>
                            <a:pt x="38100" y="0"/>
                            <a:pt x="83820" y="0"/>
                          </a:cubicBezTo>
                          <a:lnTo>
                            <a:pt x="1318260" y="0"/>
                          </a:lnTo>
                          <a:cubicBezTo>
                            <a:pt x="1363980" y="0"/>
                            <a:pt x="1402080" y="38100"/>
                            <a:pt x="1402080" y="83820"/>
                          </a:cubicBezTo>
                          <a:lnTo>
                            <a:pt x="1402080" y="83820"/>
                          </a:lnTo>
                          <a:cubicBezTo>
                            <a:pt x="1398270" y="129540"/>
                            <a:pt x="1363980" y="167640"/>
                            <a:pt x="1318260" y="16764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15" name="Forma libre: forma 1114">
                    <a:extLst>
                      <a:ext uri="{FF2B5EF4-FFF2-40B4-BE49-F238E27FC236}">
                        <a16:creationId xmlns:a16="http://schemas.microsoft.com/office/drawing/2014/main" id="{7866B19A-8ED1-FC5C-FE69-737FFFE887A8}"/>
                      </a:ext>
                    </a:extLst>
                  </p:cNvPr>
                  <p:cNvSpPr/>
                  <p:nvPr/>
                </p:nvSpPr>
                <p:spPr>
                  <a:xfrm>
                    <a:off x="7815485" y="4334709"/>
                    <a:ext cx="922019" cy="617219"/>
                  </a:xfrm>
                  <a:custGeom>
                    <a:avLst/>
                    <a:gdLst>
                      <a:gd name="connsiteX0" fmla="*/ 922020 w 922019"/>
                      <a:gd name="connsiteY0" fmla="*/ 617220 h 617219"/>
                      <a:gd name="connsiteX1" fmla="*/ 0 w 922019"/>
                      <a:gd name="connsiteY1" fmla="*/ 617220 h 617219"/>
                      <a:gd name="connsiteX2" fmla="*/ 0 w 922019"/>
                      <a:gd name="connsiteY2" fmla="*/ 461010 h 617219"/>
                      <a:gd name="connsiteX3" fmla="*/ 461010 w 922019"/>
                      <a:gd name="connsiteY3" fmla="*/ 0 h 617219"/>
                      <a:gd name="connsiteX4" fmla="*/ 461010 w 922019"/>
                      <a:gd name="connsiteY4" fmla="*/ 0 h 617219"/>
                      <a:gd name="connsiteX5" fmla="*/ 922020 w 922019"/>
                      <a:gd name="connsiteY5" fmla="*/ 461010 h 617219"/>
                      <a:gd name="connsiteX6" fmla="*/ 922020 w 922019"/>
                      <a:gd name="connsiteY6" fmla="*/ 617220 h 617219"/>
                      <a:gd name="connsiteX7" fmla="*/ 922020 w 922019"/>
                      <a:gd name="connsiteY7" fmla="*/ 617220 h 61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019" h="617219">
                        <a:moveTo>
                          <a:pt x="922020" y="617220"/>
                        </a:moveTo>
                        <a:lnTo>
                          <a:pt x="0" y="617220"/>
                        </a:lnTo>
                        <a:lnTo>
                          <a:pt x="0" y="461010"/>
                        </a:lnTo>
                        <a:cubicBezTo>
                          <a:pt x="0" y="205740"/>
                          <a:pt x="205740" y="0"/>
                          <a:pt x="461010" y="0"/>
                        </a:cubicBezTo>
                        <a:lnTo>
                          <a:pt x="461010" y="0"/>
                        </a:lnTo>
                        <a:cubicBezTo>
                          <a:pt x="716280" y="0"/>
                          <a:pt x="922020" y="205740"/>
                          <a:pt x="922020" y="461010"/>
                        </a:cubicBezTo>
                        <a:lnTo>
                          <a:pt x="922020" y="617220"/>
                        </a:lnTo>
                        <a:lnTo>
                          <a:pt x="922020" y="617220"/>
                        </a:lnTo>
                        <a:close/>
                      </a:path>
                    </a:pathLst>
                  </a:custGeom>
                  <a:solidFill>
                    <a:srgbClr val="FFC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6" name="Forma libre: forma 1115">
                    <a:extLst>
                      <a:ext uri="{FF2B5EF4-FFF2-40B4-BE49-F238E27FC236}">
                        <a16:creationId xmlns:a16="http://schemas.microsoft.com/office/drawing/2014/main" id="{12A29B76-042A-FDD9-DE94-746975B987DB}"/>
                      </a:ext>
                    </a:extLst>
                  </p:cNvPr>
                  <p:cNvSpPr/>
                  <p:nvPr/>
                </p:nvSpPr>
                <p:spPr>
                  <a:xfrm>
                    <a:off x="8185055" y="4582359"/>
                    <a:ext cx="182879" cy="182880"/>
                  </a:xfrm>
                  <a:custGeom>
                    <a:avLst/>
                    <a:gdLst>
                      <a:gd name="connsiteX0" fmla="*/ 182880 w 182879"/>
                      <a:gd name="connsiteY0" fmla="*/ 91440 h 182880"/>
                      <a:gd name="connsiteX1" fmla="*/ 91440 w 182879"/>
                      <a:gd name="connsiteY1" fmla="*/ 182880 h 182880"/>
                      <a:gd name="connsiteX2" fmla="*/ 0 w 182879"/>
                      <a:gd name="connsiteY2" fmla="*/ 91440 h 182880"/>
                      <a:gd name="connsiteX3" fmla="*/ 91440 w 182879"/>
                      <a:gd name="connsiteY3" fmla="*/ 0 h 182880"/>
                      <a:gd name="connsiteX4" fmla="*/ 182880 w 182879"/>
                      <a:gd name="connsiteY4" fmla="*/ 9144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79" h="182880">
                        <a:moveTo>
                          <a:pt x="182880" y="91440"/>
                        </a:moveTo>
                        <a:cubicBezTo>
                          <a:pt x="182880" y="141941"/>
                          <a:pt x="141941" y="182880"/>
                          <a:pt x="91440" y="182880"/>
                        </a:cubicBezTo>
                        <a:cubicBezTo>
                          <a:pt x="40939" y="182880"/>
                          <a:pt x="0" y="141941"/>
                          <a:pt x="0" y="91440"/>
                        </a:cubicBezTo>
                        <a:cubicBezTo>
                          <a:pt x="0" y="40939"/>
                          <a:pt x="40939" y="0"/>
                          <a:pt x="91440" y="0"/>
                        </a:cubicBezTo>
                        <a:cubicBezTo>
                          <a:pt x="141941" y="0"/>
                          <a:pt x="182880" y="40939"/>
                          <a:pt x="182880" y="9144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7" name="Forma libre: forma 1116">
                    <a:extLst>
                      <a:ext uri="{FF2B5EF4-FFF2-40B4-BE49-F238E27FC236}">
                        <a16:creationId xmlns:a16="http://schemas.microsoft.com/office/drawing/2014/main" id="{FA3C6455-256F-8C18-7B6A-7C6E7705EF41}"/>
                      </a:ext>
                    </a:extLst>
                  </p:cNvPr>
                  <p:cNvSpPr/>
                  <p:nvPr/>
                </p:nvSpPr>
                <p:spPr>
                  <a:xfrm rot="18771515">
                    <a:off x="9864544" y="4488555"/>
                    <a:ext cx="727029" cy="794286"/>
                  </a:xfrm>
                  <a:custGeom>
                    <a:avLst/>
                    <a:gdLst>
                      <a:gd name="connsiteX0" fmla="*/ 725005 w 727029"/>
                      <a:gd name="connsiteY0" fmla="*/ 405000 h 794286"/>
                      <a:gd name="connsiteX1" fmla="*/ 649405 w 727029"/>
                      <a:gd name="connsiteY1" fmla="*/ 162000 h 794286"/>
                      <a:gd name="connsiteX2" fmla="*/ 627805 w 727029"/>
                      <a:gd name="connsiteY2" fmla="*/ 135000 h 794286"/>
                      <a:gd name="connsiteX3" fmla="*/ 384805 w 727029"/>
                      <a:gd name="connsiteY3" fmla="*/ 5400 h 794286"/>
                      <a:gd name="connsiteX4" fmla="*/ 352405 w 727029"/>
                      <a:gd name="connsiteY4" fmla="*/ 0 h 794286"/>
                      <a:gd name="connsiteX5" fmla="*/ 109405 w 727029"/>
                      <a:gd name="connsiteY5" fmla="*/ 70200 h 794286"/>
                      <a:gd name="connsiteX6" fmla="*/ 77005 w 727029"/>
                      <a:gd name="connsiteY6" fmla="*/ 108000 h 794286"/>
                      <a:gd name="connsiteX7" fmla="*/ 1405 w 727029"/>
                      <a:gd name="connsiteY7" fmla="*/ 594000 h 794286"/>
                      <a:gd name="connsiteX8" fmla="*/ 23005 w 727029"/>
                      <a:gd name="connsiteY8" fmla="*/ 642600 h 794286"/>
                      <a:gd name="connsiteX9" fmla="*/ 77005 w 727029"/>
                      <a:gd name="connsiteY9" fmla="*/ 675000 h 794286"/>
                      <a:gd name="connsiteX10" fmla="*/ 136405 w 727029"/>
                      <a:gd name="connsiteY10" fmla="*/ 658800 h 794286"/>
                      <a:gd name="connsiteX11" fmla="*/ 120205 w 727029"/>
                      <a:gd name="connsiteY11" fmla="*/ 599400 h 794286"/>
                      <a:gd name="connsiteX12" fmla="*/ 93205 w 727029"/>
                      <a:gd name="connsiteY12" fmla="*/ 583200 h 794286"/>
                      <a:gd name="connsiteX13" fmla="*/ 158005 w 727029"/>
                      <a:gd name="connsiteY13" fmla="*/ 156600 h 794286"/>
                      <a:gd name="connsiteX14" fmla="*/ 352405 w 727029"/>
                      <a:gd name="connsiteY14" fmla="*/ 102600 h 794286"/>
                      <a:gd name="connsiteX15" fmla="*/ 563005 w 727029"/>
                      <a:gd name="connsiteY15" fmla="*/ 216000 h 794286"/>
                      <a:gd name="connsiteX16" fmla="*/ 622405 w 727029"/>
                      <a:gd name="connsiteY16" fmla="*/ 410400 h 794286"/>
                      <a:gd name="connsiteX17" fmla="*/ 303805 w 727029"/>
                      <a:gd name="connsiteY17" fmla="*/ 696600 h 794286"/>
                      <a:gd name="connsiteX18" fmla="*/ 276805 w 727029"/>
                      <a:gd name="connsiteY18" fmla="*/ 680400 h 794286"/>
                      <a:gd name="connsiteX19" fmla="*/ 217405 w 727029"/>
                      <a:gd name="connsiteY19" fmla="*/ 696600 h 794286"/>
                      <a:gd name="connsiteX20" fmla="*/ 233605 w 727029"/>
                      <a:gd name="connsiteY20" fmla="*/ 756000 h 794286"/>
                      <a:gd name="connsiteX21" fmla="*/ 287605 w 727029"/>
                      <a:gd name="connsiteY21" fmla="*/ 788400 h 794286"/>
                      <a:gd name="connsiteX22" fmla="*/ 341605 w 727029"/>
                      <a:gd name="connsiteY22" fmla="*/ 783000 h 794286"/>
                      <a:gd name="connsiteX23" fmla="*/ 708805 w 727029"/>
                      <a:gd name="connsiteY23" fmla="*/ 459000 h 794286"/>
                      <a:gd name="connsiteX24" fmla="*/ 725005 w 727029"/>
                      <a:gd name="connsiteY24" fmla="*/ 405000 h 79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7029" h="794286">
                        <a:moveTo>
                          <a:pt x="725005" y="405000"/>
                        </a:moveTo>
                        <a:lnTo>
                          <a:pt x="649405" y="162000"/>
                        </a:lnTo>
                        <a:cubicBezTo>
                          <a:pt x="644005" y="151200"/>
                          <a:pt x="638605" y="140400"/>
                          <a:pt x="627805" y="135000"/>
                        </a:cubicBezTo>
                        <a:lnTo>
                          <a:pt x="384805" y="5400"/>
                        </a:lnTo>
                        <a:cubicBezTo>
                          <a:pt x="374005" y="0"/>
                          <a:pt x="363205" y="0"/>
                          <a:pt x="352405" y="0"/>
                        </a:cubicBezTo>
                        <a:lnTo>
                          <a:pt x="109405" y="70200"/>
                        </a:lnTo>
                        <a:cubicBezTo>
                          <a:pt x="93205" y="75600"/>
                          <a:pt x="82405" y="91800"/>
                          <a:pt x="77005" y="108000"/>
                        </a:cubicBezTo>
                        <a:lnTo>
                          <a:pt x="1405" y="594000"/>
                        </a:lnTo>
                        <a:cubicBezTo>
                          <a:pt x="-3995" y="615600"/>
                          <a:pt x="6805" y="631800"/>
                          <a:pt x="23005" y="642600"/>
                        </a:cubicBezTo>
                        <a:lnTo>
                          <a:pt x="77005" y="675000"/>
                        </a:lnTo>
                        <a:cubicBezTo>
                          <a:pt x="98605" y="685800"/>
                          <a:pt x="125605" y="680400"/>
                          <a:pt x="136405" y="658800"/>
                        </a:cubicBezTo>
                        <a:cubicBezTo>
                          <a:pt x="147205" y="637200"/>
                          <a:pt x="141805" y="610200"/>
                          <a:pt x="120205" y="599400"/>
                        </a:cubicBezTo>
                        <a:lnTo>
                          <a:pt x="93205" y="583200"/>
                        </a:lnTo>
                        <a:lnTo>
                          <a:pt x="158005" y="156600"/>
                        </a:lnTo>
                        <a:lnTo>
                          <a:pt x="352405" y="102600"/>
                        </a:lnTo>
                        <a:lnTo>
                          <a:pt x="563005" y="216000"/>
                        </a:lnTo>
                        <a:lnTo>
                          <a:pt x="622405" y="410400"/>
                        </a:lnTo>
                        <a:lnTo>
                          <a:pt x="303805" y="696600"/>
                        </a:lnTo>
                        <a:lnTo>
                          <a:pt x="276805" y="680400"/>
                        </a:lnTo>
                        <a:cubicBezTo>
                          <a:pt x="255205" y="669600"/>
                          <a:pt x="228205" y="675000"/>
                          <a:pt x="217405" y="696600"/>
                        </a:cubicBezTo>
                        <a:cubicBezTo>
                          <a:pt x="206605" y="718200"/>
                          <a:pt x="212005" y="745200"/>
                          <a:pt x="233605" y="756000"/>
                        </a:cubicBezTo>
                        <a:lnTo>
                          <a:pt x="287605" y="788400"/>
                        </a:lnTo>
                        <a:cubicBezTo>
                          <a:pt x="303805" y="799200"/>
                          <a:pt x="325405" y="793800"/>
                          <a:pt x="341605" y="783000"/>
                        </a:cubicBezTo>
                        <a:lnTo>
                          <a:pt x="708805" y="459000"/>
                        </a:lnTo>
                        <a:cubicBezTo>
                          <a:pt x="725005" y="437400"/>
                          <a:pt x="730405" y="421200"/>
                          <a:pt x="725005" y="405000"/>
                        </a:cubicBezTo>
                        <a:close/>
                      </a:path>
                    </a:pathLst>
                  </a:custGeom>
                  <a:solidFill>
                    <a:schemeClr val="bg1">
                      <a:lumMod val="7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8" name="Forma libre: forma 1117">
                    <a:extLst>
                      <a:ext uri="{FF2B5EF4-FFF2-40B4-BE49-F238E27FC236}">
                        <a16:creationId xmlns:a16="http://schemas.microsoft.com/office/drawing/2014/main" id="{4F4C27BE-5DC0-DE18-59EF-FB21D7DD176C}"/>
                      </a:ext>
                    </a:extLst>
                  </p:cNvPr>
                  <p:cNvSpPr/>
                  <p:nvPr/>
                </p:nvSpPr>
                <p:spPr>
                  <a:xfrm rot="18771515">
                    <a:off x="9863743" y="4304521"/>
                    <a:ext cx="421199" cy="421199"/>
                  </a:xfrm>
                  <a:custGeom>
                    <a:avLst/>
                    <a:gdLst>
                      <a:gd name="connsiteX0" fmla="*/ 421200 w 421199"/>
                      <a:gd name="connsiteY0" fmla="*/ 210600 h 421199"/>
                      <a:gd name="connsiteX1" fmla="*/ 210600 w 421199"/>
                      <a:gd name="connsiteY1" fmla="*/ 421200 h 421199"/>
                      <a:gd name="connsiteX2" fmla="*/ 0 w 421199"/>
                      <a:gd name="connsiteY2" fmla="*/ 210600 h 421199"/>
                      <a:gd name="connsiteX3" fmla="*/ 210600 w 421199"/>
                      <a:gd name="connsiteY3" fmla="*/ 0 h 421199"/>
                      <a:gd name="connsiteX4" fmla="*/ 421200 w 421199"/>
                      <a:gd name="connsiteY4" fmla="*/ 210600 h 421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199" h="421199">
                        <a:moveTo>
                          <a:pt x="421200" y="210600"/>
                        </a:moveTo>
                        <a:cubicBezTo>
                          <a:pt x="421200" y="326911"/>
                          <a:pt x="326911" y="421200"/>
                          <a:pt x="210600" y="421200"/>
                        </a:cubicBezTo>
                        <a:cubicBezTo>
                          <a:pt x="94289" y="421200"/>
                          <a:pt x="0" y="326911"/>
                          <a:pt x="0" y="210600"/>
                        </a:cubicBezTo>
                        <a:cubicBezTo>
                          <a:pt x="0" y="94289"/>
                          <a:pt x="94289" y="0"/>
                          <a:pt x="210600" y="0"/>
                        </a:cubicBezTo>
                        <a:cubicBezTo>
                          <a:pt x="326911" y="0"/>
                          <a:pt x="421200" y="94289"/>
                          <a:pt x="421200" y="210600"/>
                        </a:cubicBezTo>
                        <a:close/>
                      </a:path>
                    </a:pathLst>
                  </a:custGeom>
                  <a:solidFill>
                    <a:srgbClr val="FFC000"/>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26" name="Grupo 825">
                  <a:extLst>
                    <a:ext uri="{FF2B5EF4-FFF2-40B4-BE49-F238E27FC236}">
                      <a16:creationId xmlns:a16="http://schemas.microsoft.com/office/drawing/2014/main" id="{71BF18A7-69B4-49DE-65CD-D8E04EEDEF96}"/>
                    </a:ext>
                  </a:extLst>
                </p:cNvPr>
                <p:cNvGrpSpPr/>
                <p:nvPr/>
              </p:nvGrpSpPr>
              <p:grpSpPr>
                <a:xfrm flipH="1">
                  <a:off x="9255228" y="3231595"/>
                  <a:ext cx="1535792" cy="662523"/>
                  <a:chOff x="3923346" y="2491739"/>
                  <a:chExt cx="4345306" cy="1874519"/>
                </a:xfrm>
              </p:grpSpPr>
              <p:sp>
                <p:nvSpPr>
                  <p:cNvPr id="1054" name="Rectángulo: esquinas superiores redondeadas 1053">
                    <a:extLst>
                      <a:ext uri="{FF2B5EF4-FFF2-40B4-BE49-F238E27FC236}">
                        <a16:creationId xmlns:a16="http://schemas.microsoft.com/office/drawing/2014/main" id="{596F0855-E961-50F6-54B1-B9BD6D0C2CD3}"/>
                      </a:ext>
                    </a:extLst>
                  </p:cNvPr>
                  <p:cNvSpPr/>
                  <p:nvPr/>
                </p:nvSpPr>
                <p:spPr>
                  <a:xfrm>
                    <a:off x="5325427" y="2491739"/>
                    <a:ext cx="2943225" cy="1491615"/>
                  </a:xfrm>
                  <a:prstGeom prst="round2SameRect">
                    <a:avLst>
                      <a:gd name="adj1" fmla="val 7242"/>
                      <a:gd name="adj2" fmla="val 0"/>
                    </a:avLst>
                  </a:prstGeom>
                  <a:solidFill>
                    <a:srgbClr val="646B7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55" name="Gráfico 365">
                    <a:extLst>
                      <a:ext uri="{FF2B5EF4-FFF2-40B4-BE49-F238E27FC236}">
                        <a16:creationId xmlns:a16="http://schemas.microsoft.com/office/drawing/2014/main" id="{D2AF5194-3AE0-0E91-F022-5E9115373834}"/>
                      </a:ext>
                    </a:extLst>
                  </p:cNvPr>
                  <p:cNvGrpSpPr/>
                  <p:nvPr/>
                </p:nvGrpSpPr>
                <p:grpSpPr>
                  <a:xfrm>
                    <a:off x="5267324" y="2587942"/>
                    <a:ext cx="3001327" cy="1614487"/>
                    <a:chOff x="5267324" y="2587942"/>
                    <a:chExt cx="3001327" cy="1614487"/>
                  </a:xfrm>
                  <a:solidFill>
                    <a:srgbClr val="414753"/>
                  </a:solidFill>
                </p:grpSpPr>
                <p:sp>
                  <p:nvSpPr>
                    <p:cNvPr id="1091" name="Forma libre: forma 1090">
                      <a:extLst>
                        <a:ext uri="{FF2B5EF4-FFF2-40B4-BE49-F238E27FC236}">
                          <a16:creationId xmlns:a16="http://schemas.microsoft.com/office/drawing/2014/main" id="{7FE30FC2-3865-84A1-A5B6-B0F30EE9A153}"/>
                        </a:ext>
                      </a:extLst>
                    </p:cNvPr>
                    <p:cNvSpPr/>
                    <p:nvPr/>
                  </p:nvSpPr>
                  <p:spPr>
                    <a:xfrm>
                      <a:off x="5441632" y="2587942"/>
                      <a:ext cx="72389" cy="1298257"/>
                    </a:xfrm>
                    <a:custGeom>
                      <a:avLst/>
                      <a:gdLst>
                        <a:gd name="connsiteX0" fmla="*/ 0 w 72389"/>
                        <a:gd name="connsiteY0" fmla="*/ 0 h 1298257"/>
                        <a:gd name="connsiteX1" fmla="*/ 72390 w 72389"/>
                        <a:gd name="connsiteY1" fmla="*/ 0 h 1298257"/>
                        <a:gd name="connsiteX2" fmla="*/ 72390 w 72389"/>
                        <a:gd name="connsiteY2" fmla="*/ 1298258 h 1298257"/>
                        <a:gd name="connsiteX3" fmla="*/ 0 w 72389"/>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89"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2" name="Forma libre: forma 1091">
                      <a:extLst>
                        <a:ext uri="{FF2B5EF4-FFF2-40B4-BE49-F238E27FC236}">
                          <a16:creationId xmlns:a16="http://schemas.microsoft.com/office/drawing/2014/main" id="{A4D1788A-73B0-B4EE-B555-EFD93D6B0177}"/>
                        </a:ext>
                      </a:extLst>
                    </p:cNvPr>
                    <p:cNvSpPr/>
                    <p:nvPr/>
                  </p:nvSpPr>
                  <p:spPr>
                    <a:xfrm>
                      <a:off x="5644514" y="2587942"/>
                      <a:ext cx="72389" cy="1298257"/>
                    </a:xfrm>
                    <a:custGeom>
                      <a:avLst/>
                      <a:gdLst>
                        <a:gd name="connsiteX0" fmla="*/ 0 w 72389"/>
                        <a:gd name="connsiteY0" fmla="*/ 0 h 1298257"/>
                        <a:gd name="connsiteX1" fmla="*/ 72390 w 72389"/>
                        <a:gd name="connsiteY1" fmla="*/ 0 h 1298257"/>
                        <a:gd name="connsiteX2" fmla="*/ 72390 w 72389"/>
                        <a:gd name="connsiteY2" fmla="*/ 1298258 h 1298257"/>
                        <a:gd name="connsiteX3" fmla="*/ 0 w 72389"/>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89"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3" name="Forma libre: forma 1092">
                      <a:extLst>
                        <a:ext uri="{FF2B5EF4-FFF2-40B4-BE49-F238E27FC236}">
                          <a16:creationId xmlns:a16="http://schemas.microsoft.com/office/drawing/2014/main" id="{17271E5C-073D-3455-CFD8-B55AC9A47E5B}"/>
                        </a:ext>
                      </a:extLst>
                    </p:cNvPr>
                    <p:cNvSpPr/>
                    <p:nvPr/>
                  </p:nvSpPr>
                  <p:spPr>
                    <a:xfrm>
                      <a:off x="5847397" y="2587942"/>
                      <a:ext cx="72389" cy="1298257"/>
                    </a:xfrm>
                    <a:custGeom>
                      <a:avLst/>
                      <a:gdLst>
                        <a:gd name="connsiteX0" fmla="*/ 0 w 72389"/>
                        <a:gd name="connsiteY0" fmla="*/ 0 h 1298257"/>
                        <a:gd name="connsiteX1" fmla="*/ 72390 w 72389"/>
                        <a:gd name="connsiteY1" fmla="*/ 0 h 1298257"/>
                        <a:gd name="connsiteX2" fmla="*/ 72390 w 72389"/>
                        <a:gd name="connsiteY2" fmla="*/ 1298258 h 1298257"/>
                        <a:gd name="connsiteX3" fmla="*/ 0 w 72389"/>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89"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4" name="Forma libre: forma 1093">
                      <a:extLst>
                        <a:ext uri="{FF2B5EF4-FFF2-40B4-BE49-F238E27FC236}">
                          <a16:creationId xmlns:a16="http://schemas.microsoft.com/office/drawing/2014/main" id="{8241A4E0-9317-0C55-E77A-82D34DF5F8B1}"/>
                        </a:ext>
                      </a:extLst>
                    </p:cNvPr>
                    <p:cNvSpPr/>
                    <p:nvPr/>
                  </p:nvSpPr>
                  <p:spPr>
                    <a:xfrm>
                      <a:off x="6050279"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5" name="Forma libre: forma 1094">
                      <a:extLst>
                        <a:ext uri="{FF2B5EF4-FFF2-40B4-BE49-F238E27FC236}">
                          <a16:creationId xmlns:a16="http://schemas.microsoft.com/office/drawing/2014/main" id="{8C961105-34FB-4463-AE87-C55E4DE0130F}"/>
                        </a:ext>
                      </a:extLst>
                    </p:cNvPr>
                    <p:cNvSpPr/>
                    <p:nvPr/>
                  </p:nvSpPr>
                  <p:spPr>
                    <a:xfrm>
                      <a:off x="6253162"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6" name="Forma libre: forma 1095">
                      <a:extLst>
                        <a:ext uri="{FF2B5EF4-FFF2-40B4-BE49-F238E27FC236}">
                          <a16:creationId xmlns:a16="http://schemas.microsoft.com/office/drawing/2014/main" id="{D19C01CF-711E-92C7-7129-109EEB94CFEF}"/>
                        </a:ext>
                      </a:extLst>
                    </p:cNvPr>
                    <p:cNvSpPr/>
                    <p:nvPr/>
                  </p:nvSpPr>
                  <p:spPr>
                    <a:xfrm>
                      <a:off x="6456044"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7" name="Forma libre: forma 1096">
                      <a:extLst>
                        <a:ext uri="{FF2B5EF4-FFF2-40B4-BE49-F238E27FC236}">
                          <a16:creationId xmlns:a16="http://schemas.microsoft.com/office/drawing/2014/main" id="{BECA0B7E-66B5-99D7-601C-6440115C1C0F}"/>
                        </a:ext>
                      </a:extLst>
                    </p:cNvPr>
                    <p:cNvSpPr/>
                    <p:nvPr/>
                  </p:nvSpPr>
                  <p:spPr>
                    <a:xfrm>
                      <a:off x="6658927"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8" name="Forma libre: forma 1097">
                      <a:extLst>
                        <a:ext uri="{FF2B5EF4-FFF2-40B4-BE49-F238E27FC236}">
                          <a16:creationId xmlns:a16="http://schemas.microsoft.com/office/drawing/2014/main" id="{753571E7-3615-97CB-AAC1-C53821A740F1}"/>
                        </a:ext>
                      </a:extLst>
                    </p:cNvPr>
                    <p:cNvSpPr/>
                    <p:nvPr/>
                  </p:nvSpPr>
                  <p:spPr>
                    <a:xfrm>
                      <a:off x="6861809"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9" name="Forma libre: forma 1098">
                      <a:extLst>
                        <a:ext uri="{FF2B5EF4-FFF2-40B4-BE49-F238E27FC236}">
                          <a16:creationId xmlns:a16="http://schemas.microsoft.com/office/drawing/2014/main" id="{E5483DD6-1260-F23B-B25A-715F37049BDD}"/>
                        </a:ext>
                      </a:extLst>
                    </p:cNvPr>
                    <p:cNvSpPr/>
                    <p:nvPr/>
                  </p:nvSpPr>
                  <p:spPr>
                    <a:xfrm>
                      <a:off x="7064692"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0" name="Forma libre: forma 1099">
                      <a:extLst>
                        <a:ext uri="{FF2B5EF4-FFF2-40B4-BE49-F238E27FC236}">
                          <a16:creationId xmlns:a16="http://schemas.microsoft.com/office/drawing/2014/main" id="{49A2081B-5E79-1C4E-3268-B7729EA977D1}"/>
                        </a:ext>
                      </a:extLst>
                    </p:cNvPr>
                    <p:cNvSpPr/>
                    <p:nvPr/>
                  </p:nvSpPr>
                  <p:spPr>
                    <a:xfrm>
                      <a:off x="7267574"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1" name="Forma libre: forma 1100">
                      <a:extLst>
                        <a:ext uri="{FF2B5EF4-FFF2-40B4-BE49-F238E27FC236}">
                          <a16:creationId xmlns:a16="http://schemas.microsoft.com/office/drawing/2014/main" id="{65720C66-C7B5-46A6-BFFF-35AF27A76683}"/>
                        </a:ext>
                      </a:extLst>
                    </p:cNvPr>
                    <p:cNvSpPr/>
                    <p:nvPr/>
                  </p:nvSpPr>
                  <p:spPr>
                    <a:xfrm>
                      <a:off x="7470457"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2" name="Forma libre: forma 1101">
                      <a:extLst>
                        <a:ext uri="{FF2B5EF4-FFF2-40B4-BE49-F238E27FC236}">
                          <a16:creationId xmlns:a16="http://schemas.microsoft.com/office/drawing/2014/main" id="{9F96A8EC-9136-B14A-6E0F-07FB65B8C625}"/>
                        </a:ext>
                      </a:extLst>
                    </p:cNvPr>
                    <p:cNvSpPr/>
                    <p:nvPr/>
                  </p:nvSpPr>
                  <p:spPr>
                    <a:xfrm>
                      <a:off x="7673339"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3" name="Forma libre: forma 1102">
                      <a:extLst>
                        <a:ext uri="{FF2B5EF4-FFF2-40B4-BE49-F238E27FC236}">
                          <a16:creationId xmlns:a16="http://schemas.microsoft.com/office/drawing/2014/main" id="{DB61E235-BE5A-A1E0-7843-6A88358595E3}"/>
                        </a:ext>
                      </a:extLst>
                    </p:cNvPr>
                    <p:cNvSpPr/>
                    <p:nvPr/>
                  </p:nvSpPr>
                  <p:spPr>
                    <a:xfrm>
                      <a:off x="7876222"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4" name="Forma libre: forma 1103">
                      <a:extLst>
                        <a:ext uri="{FF2B5EF4-FFF2-40B4-BE49-F238E27FC236}">
                          <a16:creationId xmlns:a16="http://schemas.microsoft.com/office/drawing/2014/main" id="{0DC3C269-D342-B2F6-11AC-FF580F16D0A9}"/>
                        </a:ext>
                      </a:extLst>
                    </p:cNvPr>
                    <p:cNvSpPr/>
                    <p:nvPr/>
                  </p:nvSpPr>
                  <p:spPr>
                    <a:xfrm>
                      <a:off x="8079104" y="2587942"/>
                      <a:ext cx="72390" cy="1298257"/>
                    </a:xfrm>
                    <a:custGeom>
                      <a:avLst/>
                      <a:gdLst>
                        <a:gd name="connsiteX0" fmla="*/ 0 w 72390"/>
                        <a:gd name="connsiteY0" fmla="*/ 0 h 1298257"/>
                        <a:gd name="connsiteX1" fmla="*/ 72390 w 72390"/>
                        <a:gd name="connsiteY1" fmla="*/ 0 h 1298257"/>
                        <a:gd name="connsiteX2" fmla="*/ 72390 w 72390"/>
                        <a:gd name="connsiteY2" fmla="*/ 1298258 h 1298257"/>
                        <a:gd name="connsiteX3" fmla="*/ 0 w 72390"/>
                        <a:gd name="connsiteY3" fmla="*/ 1298258 h 1298257"/>
                      </a:gdLst>
                      <a:ahLst/>
                      <a:cxnLst>
                        <a:cxn ang="0">
                          <a:pos x="connsiteX0" y="connsiteY0"/>
                        </a:cxn>
                        <a:cxn ang="0">
                          <a:pos x="connsiteX1" y="connsiteY1"/>
                        </a:cxn>
                        <a:cxn ang="0">
                          <a:pos x="connsiteX2" y="connsiteY2"/>
                        </a:cxn>
                        <a:cxn ang="0">
                          <a:pos x="connsiteX3" y="connsiteY3"/>
                        </a:cxn>
                      </a:cxnLst>
                      <a:rect l="l" t="t" r="r" b="b"/>
                      <a:pathLst>
                        <a:path w="72390" h="1298257">
                          <a:moveTo>
                            <a:pt x="0" y="0"/>
                          </a:moveTo>
                          <a:lnTo>
                            <a:pt x="72390" y="0"/>
                          </a:lnTo>
                          <a:lnTo>
                            <a:pt x="72390" y="1298258"/>
                          </a:lnTo>
                          <a:lnTo>
                            <a:pt x="0" y="1298258"/>
                          </a:lnTo>
                          <a:close/>
                        </a:path>
                      </a:pathLst>
                    </a:custGeom>
                    <a:solidFill>
                      <a:srgbClr val="41475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5" name="Forma libre: forma 1104">
                      <a:extLst>
                        <a:ext uri="{FF2B5EF4-FFF2-40B4-BE49-F238E27FC236}">
                          <a16:creationId xmlns:a16="http://schemas.microsoft.com/office/drawing/2014/main" id="{833640A4-96E8-26D1-ADA2-0D03F43EFD7E}"/>
                        </a:ext>
                      </a:extLst>
                    </p:cNvPr>
                    <p:cNvSpPr/>
                    <p:nvPr/>
                  </p:nvSpPr>
                  <p:spPr>
                    <a:xfrm>
                      <a:off x="5267324" y="3983354"/>
                      <a:ext cx="3001327" cy="219075"/>
                    </a:xfrm>
                    <a:custGeom>
                      <a:avLst/>
                      <a:gdLst>
                        <a:gd name="connsiteX0" fmla="*/ 0 w 3001327"/>
                        <a:gd name="connsiteY0" fmla="*/ 0 h 219075"/>
                        <a:gd name="connsiteX1" fmla="*/ 3001328 w 3001327"/>
                        <a:gd name="connsiteY1" fmla="*/ 0 h 219075"/>
                        <a:gd name="connsiteX2" fmla="*/ 3001328 w 3001327"/>
                        <a:gd name="connsiteY2" fmla="*/ 219075 h 219075"/>
                        <a:gd name="connsiteX3" fmla="*/ 0 w 3001327"/>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3001327" h="219075">
                          <a:moveTo>
                            <a:pt x="0" y="0"/>
                          </a:moveTo>
                          <a:lnTo>
                            <a:pt x="3001328" y="0"/>
                          </a:lnTo>
                          <a:lnTo>
                            <a:pt x="3001328" y="219075"/>
                          </a:lnTo>
                          <a:lnTo>
                            <a:pt x="0" y="219075"/>
                          </a:lnTo>
                          <a:close/>
                        </a:path>
                      </a:pathLst>
                    </a:custGeom>
                    <a:solidFill>
                      <a:schemeClr val="bg2">
                        <a:lumMod val="2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56" name="Forma libre: forma 1055">
                    <a:extLst>
                      <a:ext uri="{FF2B5EF4-FFF2-40B4-BE49-F238E27FC236}">
                        <a16:creationId xmlns:a16="http://schemas.microsoft.com/office/drawing/2014/main" id="{2DC774FF-B789-7E12-3F03-BD4BB02CFE06}"/>
                      </a:ext>
                    </a:extLst>
                  </p:cNvPr>
                  <p:cNvSpPr/>
                  <p:nvPr/>
                </p:nvSpPr>
                <p:spPr>
                  <a:xfrm>
                    <a:off x="3923346" y="2875596"/>
                    <a:ext cx="1343977" cy="1326832"/>
                  </a:xfrm>
                  <a:custGeom>
                    <a:avLst/>
                    <a:gdLst>
                      <a:gd name="connsiteX0" fmla="*/ 1343978 w 1343977"/>
                      <a:gd name="connsiteY0" fmla="*/ 0 h 1326832"/>
                      <a:gd name="connsiteX1" fmla="*/ 866775 w 1343977"/>
                      <a:gd name="connsiteY1" fmla="*/ 0 h 1326832"/>
                      <a:gd name="connsiteX2" fmla="*/ 705803 w 1343977"/>
                      <a:gd name="connsiteY2" fmla="*/ 100965 h 1326832"/>
                      <a:gd name="connsiteX3" fmla="*/ 549593 w 1343977"/>
                      <a:gd name="connsiteY3" fmla="*/ 429578 h 1326832"/>
                      <a:gd name="connsiteX4" fmla="*/ 388620 w 1343977"/>
                      <a:gd name="connsiteY4" fmla="*/ 530543 h 1326832"/>
                      <a:gd name="connsiteX5" fmla="*/ 178117 w 1343977"/>
                      <a:gd name="connsiteY5" fmla="*/ 530543 h 1326832"/>
                      <a:gd name="connsiteX6" fmla="*/ 0 w 1343977"/>
                      <a:gd name="connsiteY6" fmla="*/ 708660 h 1326832"/>
                      <a:gd name="connsiteX7" fmla="*/ 0 w 1343977"/>
                      <a:gd name="connsiteY7" fmla="*/ 1326833 h 1326832"/>
                      <a:gd name="connsiteX8" fmla="*/ 1343978 w 1343977"/>
                      <a:gd name="connsiteY8" fmla="*/ 1326833 h 1326832"/>
                      <a:gd name="connsiteX9" fmla="*/ 1343978 w 1343977"/>
                      <a:gd name="connsiteY9" fmla="*/ 0 h 132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3977" h="1326832">
                        <a:moveTo>
                          <a:pt x="1343978" y="0"/>
                        </a:moveTo>
                        <a:lnTo>
                          <a:pt x="866775" y="0"/>
                        </a:lnTo>
                        <a:cubicBezTo>
                          <a:pt x="798195" y="0"/>
                          <a:pt x="735330" y="39053"/>
                          <a:pt x="705803" y="100965"/>
                        </a:cubicBezTo>
                        <a:lnTo>
                          <a:pt x="549593" y="429578"/>
                        </a:lnTo>
                        <a:cubicBezTo>
                          <a:pt x="520065" y="491490"/>
                          <a:pt x="457200" y="530543"/>
                          <a:pt x="388620" y="530543"/>
                        </a:cubicBezTo>
                        <a:lnTo>
                          <a:pt x="178117" y="530543"/>
                        </a:lnTo>
                        <a:cubicBezTo>
                          <a:pt x="80010" y="530543"/>
                          <a:pt x="0" y="610553"/>
                          <a:pt x="0" y="708660"/>
                        </a:cubicBezTo>
                        <a:lnTo>
                          <a:pt x="0" y="1326833"/>
                        </a:lnTo>
                        <a:lnTo>
                          <a:pt x="1343978" y="1326833"/>
                        </a:lnTo>
                        <a:lnTo>
                          <a:pt x="1343978" y="0"/>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57" name="Gráfico 365">
                    <a:extLst>
                      <a:ext uri="{FF2B5EF4-FFF2-40B4-BE49-F238E27FC236}">
                        <a16:creationId xmlns:a16="http://schemas.microsoft.com/office/drawing/2014/main" id="{3ED457B8-25EE-2CFA-9EAF-7DA2BE9D18C8}"/>
                      </a:ext>
                    </a:extLst>
                  </p:cNvPr>
                  <p:cNvGrpSpPr/>
                  <p:nvPr/>
                </p:nvGrpSpPr>
                <p:grpSpPr>
                  <a:xfrm>
                    <a:off x="4525326" y="2971799"/>
                    <a:ext cx="644842" cy="428625"/>
                    <a:chOff x="4525326" y="2971799"/>
                    <a:chExt cx="644842" cy="428625"/>
                  </a:xfrm>
                  <a:solidFill>
                    <a:srgbClr val="6EB1E1"/>
                  </a:solidFill>
                </p:grpSpPr>
                <p:sp>
                  <p:nvSpPr>
                    <p:cNvPr id="1089" name="Forma libre: forma 1088">
                      <a:extLst>
                        <a:ext uri="{FF2B5EF4-FFF2-40B4-BE49-F238E27FC236}">
                          <a16:creationId xmlns:a16="http://schemas.microsoft.com/office/drawing/2014/main" id="{37C8FD6C-33C3-874B-27B3-E69642BCACC5}"/>
                        </a:ext>
                      </a:extLst>
                    </p:cNvPr>
                    <p:cNvSpPr/>
                    <p:nvPr/>
                  </p:nvSpPr>
                  <p:spPr>
                    <a:xfrm>
                      <a:off x="4525326" y="2971799"/>
                      <a:ext cx="434339" cy="427672"/>
                    </a:xfrm>
                    <a:custGeom>
                      <a:avLst/>
                      <a:gdLst>
                        <a:gd name="connsiteX0" fmla="*/ 434340 w 434339"/>
                        <a:gd name="connsiteY0" fmla="*/ 0 h 427672"/>
                        <a:gd name="connsiteX1" fmla="*/ 264795 w 434339"/>
                        <a:gd name="connsiteY1" fmla="*/ 0 h 427672"/>
                        <a:gd name="connsiteX2" fmla="*/ 191452 w 434339"/>
                        <a:gd name="connsiteY2" fmla="*/ 45720 h 427672"/>
                        <a:gd name="connsiteX3" fmla="*/ 34290 w 434339"/>
                        <a:gd name="connsiteY3" fmla="*/ 374333 h 427672"/>
                        <a:gd name="connsiteX4" fmla="*/ 0 w 434339"/>
                        <a:gd name="connsiteY4" fmla="*/ 427672 h 427672"/>
                        <a:gd name="connsiteX5" fmla="*/ 433388 w 434339"/>
                        <a:gd name="connsiteY5" fmla="*/ 427672 h 427672"/>
                        <a:gd name="connsiteX6" fmla="*/ 433388 w 434339"/>
                        <a:gd name="connsiteY6" fmla="*/ 0 h 427672"/>
                        <a:gd name="connsiteX7" fmla="*/ 434340 w 434339"/>
                        <a:gd name="connsiteY7" fmla="*/ 0 h 42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339" h="427672">
                          <a:moveTo>
                            <a:pt x="434340" y="0"/>
                          </a:moveTo>
                          <a:lnTo>
                            <a:pt x="264795" y="0"/>
                          </a:lnTo>
                          <a:cubicBezTo>
                            <a:pt x="233363" y="0"/>
                            <a:pt x="204788" y="18097"/>
                            <a:pt x="191452" y="45720"/>
                          </a:cubicBezTo>
                          <a:lnTo>
                            <a:pt x="34290" y="374333"/>
                          </a:lnTo>
                          <a:cubicBezTo>
                            <a:pt x="24765" y="394335"/>
                            <a:pt x="13335" y="411480"/>
                            <a:pt x="0" y="427672"/>
                          </a:cubicBezTo>
                          <a:lnTo>
                            <a:pt x="433388" y="427672"/>
                          </a:lnTo>
                          <a:lnTo>
                            <a:pt x="433388" y="0"/>
                          </a:lnTo>
                          <a:lnTo>
                            <a:pt x="434340" y="0"/>
                          </a:lnTo>
                          <a:close/>
                        </a:path>
                      </a:pathLst>
                    </a:custGeom>
                    <a:solidFill>
                      <a:schemeClr val="accent5">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0" name="Forma libre: forma 1089">
                      <a:extLst>
                        <a:ext uri="{FF2B5EF4-FFF2-40B4-BE49-F238E27FC236}">
                          <a16:creationId xmlns:a16="http://schemas.microsoft.com/office/drawing/2014/main" id="{DEDA19F1-F9FE-0CAB-7DFF-42C18B4937D9}"/>
                        </a:ext>
                      </a:extLst>
                    </p:cNvPr>
                    <p:cNvSpPr/>
                    <p:nvPr/>
                  </p:nvSpPr>
                  <p:spPr>
                    <a:xfrm>
                      <a:off x="5022532" y="2971799"/>
                      <a:ext cx="147637" cy="428625"/>
                    </a:xfrm>
                    <a:custGeom>
                      <a:avLst/>
                      <a:gdLst>
                        <a:gd name="connsiteX0" fmla="*/ 0 w 147637"/>
                        <a:gd name="connsiteY0" fmla="*/ 0 h 428625"/>
                        <a:gd name="connsiteX1" fmla="*/ 147638 w 147637"/>
                        <a:gd name="connsiteY1" fmla="*/ 0 h 428625"/>
                        <a:gd name="connsiteX2" fmla="*/ 147638 w 147637"/>
                        <a:gd name="connsiteY2" fmla="*/ 428625 h 428625"/>
                        <a:gd name="connsiteX3" fmla="*/ 0 w 147637"/>
                        <a:gd name="connsiteY3" fmla="*/ 428625 h 428625"/>
                      </a:gdLst>
                      <a:ahLst/>
                      <a:cxnLst>
                        <a:cxn ang="0">
                          <a:pos x="connsiteX0" y="connsiteY0"/>
                        </a:cxn>
                        <a:cxn ang="0">
                          <a:pos x="connsiteX1" y="connsiteY1"/>
                        </a:cxn>
                        <a:cxn ang="0">
                          <a:pos x="connsiteX2" y="connsiteY2"/>
                        </a:cxn>
                        <a:cxn ang="0">
                          <a:pos x="connsiteX3" y="connsiteY3"/>
                        </a:cxn>
                      </a:cxnLst>
                      <a:rect l="l" t="t" r="r" b="b"/>
                      <a:pathLst>
                        <a:path w="147637" h="428625">
                          <a:moveTo>
                            <a:pt x="0" y="0"/>
                          </a:moveTo>
                          <a:lnTo>
                            <a:pt x="147638" y="0"/>
                          </a:lnTo>
                          <a:lnTo>
                            <a:pt x="147638" y="428625"/>
                          </a:lnTo>
                          <a:lnTo>
                            <a:pt x="0" y="428625"/>
                          </a:lnTo>
                          <a:close/>
                        </a:path>
                      </a:pathLst>
                    </a:custGeom>
                    <a:solidFill>
                      <a:schemeClr val="accent5">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58" name="Forma libre: forma 1057">
                    <a:extLst>
                      <a:ext uri="{FF2B5EF4-FFF2-40B4-BE49-F238E27FC236}">
                        <a16:creationId xmlns:a16="http://schemas.microsoft.com/office/drawing/2014/main" id="{B0F3605F-8E11-07CA-F9B0-EF2BF560C533}"/>
                      </a:ext>
                    </a:extLst>
                  </p:cNvPr>
                  <p:cNvSpPr/>
                  <p:nvPr/>
                </p:nvSpPr>
                <p:spPr>
                  <a:xfrm>
                    <a:off x="3923347" y="3983354"/>
                    <a:ext cx="1343977" cy="219075"/>
                  </a:xfrm>
                  <a:custGeom>
                    <a:avLst/>
                    <a:gdLst>
                      <a:gd name="connsiteX0" fmla="*/ 0 w 1343977"/>
                      <a:gd name="connsiteY0" fmla="*/ 0 h 219075"/>
                      <a:gd name="connsiteX1" fmla="*/ 1343978 w 1343977"/>
                      <a:gd name="connsiteY1" fmla="*/ 0 h 219075"/>
                      <a:gd name="connsiteX2" fmla="*/ 1343978 w 1343977"/>
                      <a:gd name="connsiteY2" fmla="*/ 219075 h 219075"/>
                      <a:gd name="connsiteX3" fmla="*/ 0 w 1343977"/>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343977" h="219075">
                        <a:moveTo>
                          <a:pt x="0" y="0"/>
                        </a:moveTo>
                        <a:lnTo>
                          <a:pt x="1343978" y="0"/>
                        </a:lnTo>
                        <a:lnTo>
                          <a:pt x="1343978" y="219075"/>
                        </a:lnTo>
                        <a:lnTo>
                          <a:pt x="0" y="219075"/>
                        </a:lnTo>
                        <a:close/>
                      </a:path>
                    </a:pathLst>
                  </a:custGeom>
                  <a:solidFill>
                    <a:schemeClr val="bg2">
                      <a:lumMod val="2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9" name="Forma libre: forma 1058">
                    <a:extLst>
                      <a:ext uri="{FF2B5EF4-FFF2-40B4-BE49-F238E27FC236}">
                        <a16:creationId xmlns:a16="http://schemas.microsoft.com/office/drawing/2014/main" id="{4D9895DF-D312-A33A-7BAF-B94914C59484}"/>
                      </a:ext>
                    </a:extLst>
                  </p:cNvPr>
                  <p:cNvSpPr/>
                  <p:nvPr/>
                </p:nvSpPr>
                <p:spPr>
                  <a:xfrm>
                    <a:off x="4053839" y="3825239"/>
                    <a:ext cx="598170" cy="377190"/>
                  </a:xfrm>
                  <a:custGeom>
                    <a:avLst/>
                    <a:gdLst>
                      <a:gd name="connsiteX0" fmla="*/ 598170 w 598170"/>
                      <a:gd name="connsiteY0" fmla="*/ 299085 h 377190"/>
                      <a:gd name="connsiteX1" fmla="*/ 299085 w 598170"/>
                      <a:gd name="connsiteY1" fmla="*/ 0 h 377190"/>
                      <a:gd name="connsiteX2" fmla="*/ 0 w 598170"/>
                      <a:gd name="connsiteY2" fmla="*/ 299085 h 377190"/>
                      <a:gd name="connsiteX3" fmla="*/ 10478 w 598170"/>
                      <a:gd name="connsiteY3" fmla="*/ 377190 h 377190"/>
                      <a:gd name="connsiteX4" fmla="*/ 586740 w 598170"/>
                      <a:gd name="connsiteY4" fmla="*/ 377190 h 377190"/>
                      <a:gd name="connsiteX5" fmla="*/ 598170 w 598170"/>
                      <a:gd name="connsiteY5" fmla="*/ 299085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170" h="377190">
                        <a:moveTo>
                          <a:pt x="598170" y="299085"/>
                        </a:moveTo>
                        <a:cubicBezTo>
                          <a:pt x="598170" y="134303"/>
                          <a:pt x="463868" y="0"/>
                          <a:pt x="299085" y="0"/>
                        </a:cubicBezTo>
                        <a:cubicBezTo>
                          <a:pt x="134303" y="0"/>
                          <a:pt x="0" y="133350"/>
                          <a:pt x="0" y="299085"/>
                        </a:cubicBezTo>
                        <a:cubicBezTo>
                          <a:pt x="0" y="326707"/>
                          <a:pt x="3810" y="352425"/>
                          <a:pt x="10478" y="377190"/>
                        </a:cubicBezTo>
                        <a:lnTo>
                          <a:pt x="586740" y="377190"/>
                        </a:lnTo>
                        <a:cubicBezTo>
                          <a:pt x="594360" y="352425"/>
                          <a:pt x="598170" y="325755"/>
                          <a:pt x="598170" y="299085"/>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0" name="Forma libre: forma 1059">
                    <a:extLst>
                      <a:ext uri="{FF2B5EF4-FFF2-40B4-BE49-F238E27FC236}">
                        <a16:creationId xmlns:a16="http://schemas.microsoft.com/office/drawing/2014/main" id="{9BB9D18A-FE5E-1CD2-E922-AA8F0402EB44}"/>
                      </a:ext>
                    </a:extLst>
                  </p:cNvPr>
                  <p:cNvSpPr/>
                  <p:nvPr/>
                </p:nvSpPr>
                <p:spPr>
                  <a:xfrm>
                    <a:off x="4110989" y="3882389"/>
                    <a:ext cx="483870" cy="483869"/>
                  </a:xfrm>
                  <a:custGeom>
                    <a:avLst/>
                    <a:gdLst>
                      <a:gd name="connsiteX0" fmla="*/ 483870 w 483870"/>
                      <a:gd name="connsiteY0" fmla="*/ 241935 h 483869"/>
                      <a:gd name="connsiteX1" fmla="*/ 241935 w 483870"/>
                      <a:gd name="connsiteY1" fmla="*/ 483870 h 483869"/>
                      <a:gd name="connsiteX2" fmla="*/ 0 w 483870"/>
                      <a:gd name="connsiteY2" fmla="*/ 241935 h 483869"/>
                      <a:gd name="connsiteX3" fmla="*/ 241935 w 483870"/>
                      <a:gd name="connsiteY3" fmla="*/ 0 h 483869"/>
                      <a:gd name="connsiteX4" fmla="*/ 483870 w 483870"/>
                      <a:gd name="connsiteY4" fmla="*/ 241935 h 48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70" h="483869">
                        <a:moveTo>
                          <a:pt x="483870" y="241935"/>
                        </a:moveTo>
                        <a:cubicBezTo>
                          <a:pt x="483870" y="375552"/>
                          <a:pt x="375552" y="483870"/>
                          <a:pt x="241935" y="483870"/>
                        </a:cubicBezTo>
                        <a:cubicBezTo>
                          <a:pt x="108318" y="483870"/>
                          <a:pt x="0" y="375552"/>
                          <a:pt x="0" y="241935"/>
                        </a:cubicBezTo>
                        <a:cubicBezTo>
                          <a:pt x="0" y="108318"/>
                          <a:pt x="108318" y="0"/>
                          <a:pt x="241935" y="0"/>
                        </a:cubicBezTo>
                        <a:cubicBezTo>
                          <a:pt x="375552" y="0"/>
                          <a:pt x="483870" y="108318"/>
                          <a:pt x="483870" y="241935"/>
                        </a:cubicBezTo>
                        <a:close/>
                      </a:path>
                    </a:pathLst>
                  </a:custGeom>
                  <a:solidFill>
                    <a:srgbClr val="393D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1" name="Forma libre: forma 1060">
                    <a:extLst>
                      <a:ext uri="{FF2B5EF4-FFF2-40B4-BE49-F238E27FC236}">
                        <a16:creationId xmlns:a16="http://schemas.microsoft.com/office/drawing/2014/main" id="{B6572CA8-5261-7E61-CD3F-E012D62C1FA5}"/>
                      </a:ext>
                    </a:extLst>
                  </p:cNvPr>
                  <p:cNvSpPr/>
                  <p:nvPr/>
                </p:nvSpPr>
                <p:spPr>
                  <a:xfrm>
                    <a:off x="4171949" y="3943349"/>
                    <a:ext cx="361950" cy="361950"/>
                  </a:xfrm>
                  <a:custGeom>
                    <a:avLst/>
                    <a:gdLst>
                      <a:gd name="connsiteX0" fmla="*/ 361950 w 361950"/>
                      <a:gd name="connsiteY0" fmla="*/ 180975 h 361950"/>
                      <a:gd name="connsiteX1" fmla="*/ 180975 w 361950"/>
                      <a:gd name="connsiteY1" fmla="*/ 361950 h 361950"/>
                      <a:gd name="connsiteX2" fmla="*/ 0 w 361950"/>
                      <a:gd name="connsiteY2" fmla="*/ 180975 h 361950"/>
                      <a:gd name="connsiteX3" fmla="*/ 180975 w 361950"/>
                      <a:gd name="connsiteY3" fmla="*/ 0 h 361950"/>
                      <a:gd name="connsiteX4" fmla="*/ 361950 w 361950"/>
                      <a:gd name="connsiteY4" fmla="*/ 180975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361950">
                        <a:moveTo>
                          <a:pt x="361950" y="180975"/>
                        </a:moveTo>
                        <a:cubicBezTo>
                          <a:pt x="361950" y="280925"/>
                          <a:pt x="280925" y="361950"/>
                          <a:pt x="180975" y="361950"/>
                        </a:cubicBezTo>
                        <a:cubicBezTo>
                          <a:pt x="81025" y="361950"/>
                          <a:pt x="0" y="280925"/>
                          <a:pt x="0" y="180975"/>
                        </a:cubicBezTo>
                        <a:cubicBezTo>
                          <a:pt x="0" y="81025"/>
                          <a:pt x="81025" y="0"/>
                          <a:pt x="180975" y="0"/>
                        </a:cubicBezTo>
                        <a:cubicBezTo>
                          <a:pt x="280925" y="0"/>
                          <a:pt x="361950" y="81025"/>
                          <a:pt x="361950" y="180975"/>
                        </a:cubicBezTo>
                        <a:close/>
                      </a:path>
                    </a:pathLst>
                  </a:custGeom>
                  <a:solidFill>
                    <a:srgbClr val="3338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2" name="Forma libre: forma 1061">
                    <a:extLst>
                      <a:ext uri="{FF2B5EF4-FFF2-40B4-BE49-F238E27FC236}">
                        <a16:creationId xmlns:a16="http://schemas.microsoft.com/office/drawing/2014/main" id="{70F7A039-A6DB-296E-8C5D-D5C0110E0390}"/>
                      </a:ext>
                    </a:extLst>
                  </p:cNvPr>
                  <p:cNvSpPr/>
                  <p:nvPr/>
                </p:nvSpPr>
                <p:spPr>
                  <a:xfrm>
                    <a:off x="4211954" y="3983354"/>
                    <a:ext cx="281939" cy="281940"/>
                  </a:xfrm>
                  <a:custGeom>
                    <a:avLst/>
                    <a:gdLst>
                      <a:gd name="connsiteX0" fmla="*/ 281940 w 281939"/>
                      <a:gd name="connsiteY0" fmla="*/ 140970 h 281940"/>
                      <a:gd name="connsiteX1" fmla="*/ 140970 w 281939"/>
                      <a:gd name="connsiteY1" fmla="*/ 281940 h 281940"/>
                      <a:gd name="connsiteX2" fmla="*/ 0 w 281939"/>
                      <a:gd name="connsiteY2" fmla="*/ 140970 h 281940"/>
                      <a:gd name="connsiteX3" fmla="*/ 140970 w 281939"/>
                      <a:gd name="connsiteY3" fmla="*/ 0 h 281940"/>
                      <a:gd name="connsiteX4" fmla="*/ 281940 w 281939"/>
                      <a:gd name="connsiteY4" fmla="*/ 140970 h 281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39" h="281940">
                        <a:moveTo>
                          <a:pt x="281940" y="140970"/>
                        </a:moveTo>
                        <a:cubicBezTo>
                          <a:pt x="281940" y="218826"/>
                          <a:pt x="218826" y="281940"/>
                          <a:pt x="140970" y="281940"/>
                        </a:cubicBezTo>
                        <a:cubicBezTo>
                          <a:pt x="63114" y="281940"/>
                          <a:pt x="0" y="218825"/>
                          <a:pt x="0" y="140970"/>
                        </a:cubicBezTo>
                        <a:cubicBezTo>
                          <a:pt x="0" y="63114"/>
                          <a:pt x="63114" y="0"/>
                          <a:pt x="140970" y="0"/>
                        </a:cubicBezTo>
                        <a:cubicBezTo>
                          <a:pt x="218826" y="0"/>
                          <a:pt x="281940" y="63115"/>
                          <a:pt x="281940" y="140970"/>
                        </a:cubicBezTo>
                        <a:close/>
                      </a:path>
                    </a:pathLst>
                  </a:custGeom>
                  <a:solidFill>
                    <a:srgbClr val="F1F3F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63" name="Gráfico 365">
                    <a:extLst>
                      <a:ext uri="{FF2B5EF4-FFF2-40B4-BE49-F238E27FC236}">
                        <a16:creationId xmlns:a16="http://schemas.microsoft.com/office/drawing/2014/main" id="{F5B997E9-94D6-43CB-FEE0-A4AF96BBAF76}"/>
                      </a:ext>
                    </a:extLst>
                  </p:cNvPr>
                  <p:cNvGrpSpPr/>
                  <p:nvPr/>
                </p:nvGrpSpPr>
                <p:grpSpPr>
                  <a:xfrm>
                    <a:off x="4265294" y="4037647"/>
                    <a:ext cx="176212" cy="176212"/>
                    <a:chOff x="4265294" y="4037647"/>
                    <a:chExt cx="176212" cy="176212"/>
                  </a:xfrm>
                  <a:solidFill>
                    <a:srgbClr val="BDBDBE"/>
                  </a:solidFill>
                </p:grpSpPr>
                <p:sp>
                  <p:nvSpPr>
                    <p:cNvPr id="1084" name="Forma libre: forma 1083">
                      <a:extLst>
                        <a:ext uri="{FF2B5EF4-FFF2-40B4-BE49-F238E27FC236}">
                          <a16:creationId xmlns:a16="http://schemas.microsoft.com/office/drawing/2014/main" id="{DC680DCB-90A1-ADB0-AB91-C6CC550EFF74}"/>
                        </a:ext>
                      </a:extLst>
                    </p:cNvPr>
                    <p:cNvSpPr/>
                    <p:nvPr/>
                  </p:nvSpPr>
                  <p:spPr>
                    <a:xfrm>
                      <a:off x="4313872" y="4085272"/>
                      <a:ext cx="78104" cy="78105"/>
                    </a:xfrm>
                    <a:custGeom>
                      <a:avLst/>
                      <a:gdLst>
                        <a:gd name="connsiteX0" fmla="*/ 78105 w 78104"/>
                        <a:gd name="connsiteY0" fmla="*/ 39053 h 78105"/>
                        <a:gd name="connsiteX1" fmla="*/ 39053 w 78104"/>
                        <a:gd name="connsiteY1" fmla="*/ 78105 h 78105"/>
                        <a:gd name="connsiteX2" fmla="*/ 0 w 78104"/>
                        <a:gd name="connsiteY2" fmla="*/ 39053 h 78105"/>
                        <a:gd name="connsiteX3" fmla="*/ 39053 w 78104"/>
                        <a:gd name="connsiteY3" fmla="*/ 0 h 78105"/>
                        <a:gd name="connsiteX4" fmla="*/ 78105 w 78104"/>
                        <a:gd name="connsiteY4" fmla="*/ 39053 h 78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4" h="78105">
                          <a:moveTo>
                            <a:pt x="78105" y="39053"/>
                          </a:moveTo>
                          <a:cubicBezTo>
                            <a:pt x="78105" y="60621"/>
                            <a:pt x="60621" y="78105"/>
                            <a:pt x="39053" y="78105"/>
                          </a:cubicBezTo>
                          <a:cubicBezTo>
                            <a:pt x="17484" y="78105"/>
                            <a:pt x="0" y="60621"/>
                            <a:pt x="0" y="39053"/>
                          </a:cubicBezTo>
                          <a:cubicBezTo>
                            <a:pt x="0" y="17484"/>
                            <a:pt x="17484" y="0"/>
                            <a:pt x="39053" y="0"/>
                          </a:cubicBezTo>
                          <a:cubicBezTo>
                            <a:pt x="60621" y="0"/>
                            <a:pt x="78105" y="17484"/>
                            <a:pt x="78105" y="39053"/>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5" name="Forma libre: forma 1084">
                      <a:extLst>
                        <a:ext uri="{FF2B5EF4-FFF2-40B4-BE49-F238E27FC236}">
                          <a16:creationId xmlns:a16="http://schemas.microsoft.com/office/drawing/2014/main" id="{6C52C996-8744-6155-3850-6C86F52A7E8E}"/>
                        </a:ext>
                      </a:extLst>
                    </p:cNvPr>
                    <p:cNvSpPr/>
                    <p:nvPr/>
                  </p:nvSpPr>
                  <p:spPr>
                    <a:xfrm>
                      <a:off x="4265294" y="4037647"/>
                      <a:ext cx="45720" cy="45719"/>
                    </a:xfrm>
                    <a:custGeom>
                      <a:avLst/>
                      <a:gdLst>
                        <a:gd name="connsiteX0" fmla="*/ 45720 w 45720"/>
                        <a:gd name="connsiteY0" fmla="*/ 22860 h 45719"/>
                        <a:gd name="connsiteX1" fmla="*/ 22860 w 45720"/>
                        <a:gd name="connsiteY1" fmla="*/ 45720 h 45719"/>
                        <a:gd name="connsiteX2" fmla="*/ 0 w 45720"/>
                        <a:gd name="connsiteY2" fmla="*/ 22860 h 45719"/>
                        <a:gd name="connsiteX3" fmla="*/ 22860 w 45720"/>
                        <a:gd name="connsiteY3" fmla="*/ 0 h 45719"/>
                        <a:gd name="connsiteX4" fmla="*/ 45720 w 45720"/>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6" name="Forma libre: forma 1085">
                      <a:extLst>
                        <a:ext uri="{FF2B5EF4-FFF2-40B4-BE49-F238E27FC236}">
                          <a16:creationId xmlns:a16="http://schemas.microsoft.com/office/drawing/2014/main" id="{AC798391-CC00-DF2E-04D7-1F9F4C939B8B}"/>
                        </a:ext>
                      </a:extLst>
                    </p:cNvPr>
                    <p:cNvSpPr/>
                    <p:nvPr/>
                  </p:nvSpPr>
                  <p:spPr>
                    <a:xfrm>
                      <a:off x="4395787" y="4168139"/>
                      <a:ext cx="45720" cy="45719"/>
                    </a:xfrm>
                    <a:custGeom>
                      <a:avLst/>
                      <a:gdLst>
                        <a:gd name="connsiteX0" fmla="*/ 45720 w 45720"/>
                        <a:gd name="connsiteY0" fmla="*/ 22860 h 45719"/>
                        <a:gd name="connsiteX1" fmla="*/ 22860 w 45720"/>
                        <a:gd name="connsiteY1" fmla="*/ 45720 h 45719"/>
                        <a:gd name="connsiteX2" fmla="*/ 0 w 45720"/>
                        <a:gd name="connsiteY2" fmla="*/ 22860 h 45719"/>
                        <a:gd name="connsiteX3" fmla="*/ 22860 w 45720"/>
                        <a:gd name="connsiteY3" fmla="*/ 0 h 45719"/>
                        <a:gd name="connsiteX4" fmla="*/ 45720 w 45720"/>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7" name="Forma libre: forma 1086">
                      <a:extLst>
                        <a:ext uri="{FF2B5EF4-FFF2-40B4-BE49-F238E27FC236}">
                          <a16:creationId xmlns:a16="http://schemas.microsoft.com/office/drawing/2014/main" id="{6F7BCD87-9C93-127F-2BEF-0F29203BF7B0}"/>
                        </a:ext>
                      </a:extLst>
                    </p:cNvPr>
                    <p:cNvSpPr/>
                    <p:nvPr/>
                  </p:nvSpPr>
                  <p:spPr>
                    <a:xfrm>
                      <a:off x="4395787" y="4037647"/>
                      <a:ext cx="45720" cy="45719"/>
                    </a:xfrm>
                    <a:custGeom>
                      <a:avLst/>
                      <a:gdLst>
                        <a:gd name="connsiteX0" fmla="*/ 45720 w 45720"/>
                        <a:gd name="connsiteY0" fmla="*/ 22860 h 45719"/>
                        <a:gd name="connsiteX1" fmla="*/ 22860 w 45720"/>
                        <a:gd name="connsiteY1" fmla="*/ 45720 h 45719"/>
                        <a:gd name="connsiteX2" fmla="*/ 0 w 45720"/>
                        <a:gd name="connsiteY2" fmla="*/ 22860 h 45719"/>
                        <a:gd name="connsiteX3" fmla="*/ 22860 w 45720"/>
                        <a:gd name="connsiteY3" fmla="*/ 0 h 45719"/>
                        <a:gd name="connsiteX4" fmla="*/ 45720 w 45720"/>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8" name="Forma libre: forma 1087">
                      <a:extLst>
                        <a:ext uri="{FF2B5EF4-FFF2-40B4-BE49-F238E27FC236}">
                          <a16:creationId xmlns:a16="http://schemas.microsoft.com/office/drawing/2014/main" id="{EA845FF1-91E8-F721-9741-3259DCFB7593}"/>
                        </a:ext>
                      </a:extLst>
                    </p:cNvPr>
                    <p:cNvSpPr/>
                    <p:nvPr/>
                  </p:nvSpPr>
                  <p:spPr>
                    <a:xfrm>
                      <a:off x="4265294" y="4168139"/>
                      <a:ext cx="45720" cy="45719"/>
                    </a:xfrm>
                    <a:custGeom>
                      <a:avLst/>
                      <a:gdLst>
                        <a:gd name="connsiteX0" fmla="*/ 45720 w 45720"/>
                        <a:gd name="connsiteY0" fmla="*/ 22860 h 45719"/>
                        <a:gd name="connsiteX1" fmla="*/ 22860 w 45720"/>
                        <a:gd name="connsiteY1" fmla="*/ 45720 h 45719"/>
                        <a:gd name="connsiteX2" fmla="*/ 0 w 45720"/>
                        <a:gd name="connsiteY2" fmla="*/ 22860 h 45719"/>
                        <a:gd name="connsiteX3" fmla="*/ 22860 w 45720"/>
                        <a:gd name="connsiteY3" fmla="*/ 0 h 45719"/>
                        <a:gd name="connsiteX4" fmla="*/ 45720 w 45720"/>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4" name="Forma libre: forma 1063">
                    <a:extLst>
                      <a:ext uri="{FF2B5EF4-FFF2-40B4-BE49-F238E27FC236}">
                        <a16:creationId xmlns:a16="http://schemas.microsoft.com/office/drawing/2014/main" id="{D274ECE5-D219-762D-5AB4-308C7FCEF3D4}"/>
                      </a:ext>
                    </a:extLst>
                  </p:cNvPr>
                  <p:cNvSpPr/>
                  <p:nvPr/>
                </p:nvSpPr>
                <p:spPr>
                  <a:xfrm>
                    <a:off x="6757987" y="3825239"/>
                    <a:ext cx="597222" cy="377190"/>
                  </a:xfrm>
                  <a:custGeom>
                    <a:avLst/>
                    <a:gdLst>
                      <a:gd name="connsiteX0" fmla="*/ 299085 w 597222"/>
                      <a:gd name="connsiteY0" fmla="*/ 0 h 377190"/>
                      <a:gd name="connsiteX1" fmla="*/ 0 w 597222"/>
                      <a:gd name="connsiteY1" fmla="*/ 299085 h 377190"/>
                      <a:gd name="connsiteX2" fmla="*/ 10478 w 597222"/>
                      <a:gd name="connsiteY2" fmla="*/ 377190 h 377190"/>
                      <a:gd name="connsiteX3" fmla="*/ 586740 w 597222"/>
                      <a:gd name="connsiteY3" fmla="*/ 377190 h 377190"/>
                      <a:gd name="connsiteX4" fmla="*/ 597218 w 597222"/>
                      <a:gd name="connsiteY4" fmla="*/ 299085 h 377190"/>
                      <a:gd name="connsiteX5" fmla="*/ 299085 w 597222"/>
                      <a:gd name="connsiteY5" fmla="*/ 0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222" h="377190">
                        <a:moveTo>
                          <a:pt x="299085" y="0"/>
                        </a:moveTo>
                        <a:cubicBezTo>
                          <a:pt x="134303" y="0"/>
                          <a:pt x="0" y="133350"/>
                          <a:pt x="0" y="299085"/>
                        </a:cubicBezTo>
                        <a:cubicBezTo>
                          <a:pt x="0" y="326707"/>
                          <a:pt x="3810" y="352425"/>
                          <a:pt x="10478" y="377190"/>
                        </a:cubicBezTo>
                        <a:lnTo>
                          <a:pt x="586740" y="377190"/>
                        </a:lnTo>
                        <a:cubicBezTo>
                          <a:pt x="593407" y="352425"/>
                          <a:pt x="597218" y="325755"/>
                          <a:pt x="597218" y="299085"/>
                        </a:cubicBezTo>
                        <a:cubicBezTo>
                          <a:pt x="598170" y="133350"/>
                          <a:pt x="463868" y="0"/>
                          <a:pt x="299085" y="0"/>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5" name="Forma libre: forma 1064">
                    <a:extLst>
                      <a:ext uri="{FF2B5EF4-FFF2-40B4-BE49-F238E27FC236}">
                        <a16:creationId xmlns:a16="http://schemas.microsoft.com/office/drawing/2014/main" id="{52F15D61-A0B7-B30C-2FB3-4A3811C9CE66}"/>
                      </a:ext>
                    </a:extLst>
                  </p:cNvPr>
                  <p:cNvSpPr/>
                  <p:nvPr/>
                </p:nvSpPr>
                <p:spPr>
                  <a:xfrm>
                    <a:off x="6815137" y="3882389"/>
                    <a:ext cx="483869" cy="483869"/>
                  </a:xfrm>
                  <a:custGeom>
                    <a:avLst/>
                    <a:gdLst>
                      <a:gd name="connsiteX0" fmla="*/ 483870 w 483869"/>
                      <a:gd name="connsiteY0" fmla="*/ 241935 h 483869"/>
                      <a:gd name="connsiteX1" fmla="*/ 241935 w 483869"/>
                      <a:gd name="connsiteY1" fmla="*/ 483870 h 483869"/>
                      <a:gd name="connsiteX2" fmla="*/ 0 w 483869"/>
                      <a:gd name="connsiteY2" fmla="*/ 241935 h 483869"/>
                      <a:gd name="connsiteX3" fmla="*/ 241935 w 483869"/>
                      <a:gd name="connsiteY3" fmla="*/ 0 h 483869"/>
                      <a:gd name="connsiteX4" fmla="*/ 483870 w 483869"/>
                      <a:gd name="connsiteY4" fmla="*/ 241935 h 48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9" h="483869">
                        <a:moveTo>
                          <a:pt x="483870" y="241935"/>
                        </a:moveTo>
                        <a:cubicBezTo>
                          <a:pt x="483870" y="375552"/>
                          <a:pt x="375552" y="483870"/>
                          <a:pt x="241935" y="483870"/>
                        </a:cubicBezTo>
                        <a:cubicBezTo>
                          <a:pt x="108318" y="483870"/>
                          <a:pt x="0" y="375552"/>
                          <a:pt x="0" y="241935"/>
                        </a:cubicBezTo>
                        <a:cubicBezTo>
                          <a:pt x="0" y="108318"/>
                          <a:pt x="108318" y="0"/>
                          <a:pt x="241935" y="0"/>
                        </a:cubicBezTo>
                        <a:cubicBezTo>
                          <a:pt x="375552" y="0"/>
                          <a:pt x="483870" y="108318"/>
                          <a:pt x="483870" y="241935"/>
                        </a:cubicBezTo>
                        <a:close/>
                      </a:path>
                    </a:pathLst>
                  </a:custGeom>
                  <a:solidFill>
                    <a:srgbClr val="393D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6" name="Forma libre: forma 1065">
                    <a:extLst>
                      <a:ext uri="{FF2B5EF4-FFF2-40B4-BE49-F238E27FC236}">
                        <a16:creationId xmlns:a16="http://schemas.microsoft.com/office/drawing/2014/main" id="{B2BFA4FC-CEA9-3CC9-F3F8-2EF10763FE24}"/>
                      </a:ext>
                    </a:extLst>
                  </p:cNvPr>
                  <p:cNvSpPr/>
                  <p:nvPr/>
                </p:nvSpPr>
                <p:spPr>
                  <a:xfrm>
                    <a:off x="6876097" y="3943349"/>
                    <a:ext cx="361950" cy="361950"/>
                  </a:xfrm>
                  <a:custGeom>
                    <a:avLst/>
                    <a:gdLst>
                      <a:gd name="connsiteX0" fmla="*/ 361950 w 361950"/>
                      <a:gd name="connsiteY0" fmla="*/ 180975 h 361950"/>
                      <a:gd name="connsiteX1" fmla="*/ 180975 w 361950"/>
                      <a:gd name="connsiteY1" fmla="*/ 361950 h 361950"/>
                      <a:gd name="connsiteX2" fmla="*/ 0 w 361950"/>
                      <a:gd name="connsiteY2" fmla="*/ 180975 h 361950"/>
                      <a:gd name="connsiteX3" fmla="*/ 180975 w 361950"/>
                      <a:gd name="connsiteY3" fmla="*/ 0 h 361950"/>
                      <a:gd name="connsiteX4" fmla="*/ 361950 w 361950"/>
                      <a:gd name="connsiteY4" fmla="*/ 180975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361950">
                        <a:moveTo>
                          <a:pt x="361950" y="180975"/>
                        </a:moveTo>
                        <a:cubicBezTo>
                          <a:pt x="361950" y="280925"/>
                          <a:pt x="280925" y="361950"/>
                          <a:pt x="180975" y="361950"/>
                        </a:cubicBezTo>
                        <a:cubicBezTo>
                          <a:pt x="81025" y="361950"/>
                          <a:pt x="0" y="280925"/>
                          <a:pt x="0" y="180975"/>
                        </a:cubicBezTo>
                        <a:cubicBezTo>
                          <a:pt x="0" y="81025"/>
                          <a:pt x="81025" y="0"/>
                          <a:pt x="180975" y="0"/>
                        </a:cubicBezTo>
                        <a:cubicBezTo>
                          <a:pt x="280925" y="0"/>
                          <a:pt x="361950" y="81025"/>
                          <a:pt x="361950" y="180975"/>
                        </a:cubicBezTo>
                        <a:close/>
                      </a:path>
                    </a:pathLst>
                  </a:custGeom>
                  <a:solidFill>
                    <a:srgbClr val="3338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7" name="Forma libre: forma 1066">
                    <a:extLst>
                      <a:ext uri="{FF2B5EF4-FFF2-40B4-BE49-F238E27FC236}">
                        <a16:creationId xmlns:a16="http://schemas.microsoft.com/office/drawing/2014/main" id="{BADC1750-A304-F830-BDFA-B50BB51B1F66}"/>
                      </a:ext>
                    </a:extLst>
                  </p:cNvPr>
                  <p:cNvSpPr/>
                  <p:nvPr/>
                </p:nvSpPr>
                <p:spPr>
                  <a:xfrm>
                    <a:off x="6916102" y="3983354"/>
                    <a:ext cx="281940" cy="281940"/>
                  </a:xfrm>
                  <a:custGeom>
                    <a:avLst/>
                    <a:gdLst>
                      <a:gd name="connsiteX0" fmla="*/ 281940 w 281940"/>
                      <a:gd name="connsiteY0" fmla="*/ 140970 h 281940"/>
                      <a:gd name="connsiteX1" fmla="*/ 140970 w 281940"/>
                      <a:gd name="connsiteY1" fmla="*/ 281940 h 281940"/>
                      <a:gd name="connsiteX2" fmla="*/ 0 w 281940"/>
                      <a:gd name="connsiteY2" fmla="*/ 140970 h 281940"/>
                      <a:gd name="connsiteX3" fmla="*/ 140970 w 281940"/>
                      <a:gd name="connsiteY3" fmla="*/ 0 h 281940"/>
                      <a:gd name="connsiteX4" fmla="*/ 281940 w 281940"/>
                      <a:gd name="connsiteY4" fmla="*/ 140970 h 281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40" h="281940">
                        <a:moveTo>
                          <a:pt x="281940" y="140970"/>
                        </a:moveTo>
                        <a:cubicBezTo>
                          <a:pt x="281940" y="218826"/>
                          <a:pt x="218826" y="281940"/>
                          <a:pt x="140970" y="281940"/>
                        </a:cubicBezTo>
                        <a:cubicBezTo>
                          <a:pt x="63115" y="281940"/>
                          <a:pt x="0" y="218825"/>
                          <a:pt x="0" y="140970"/>
                        </a:cubicBezTo>
                        <a:cubicBezTo>
                          <a:pt x="0" y="63114"/>
                          <a:pt x="63115" y="0"/>
                          <a:pt x="140970" y="0"/>
                        </a:cubicBezTo>
                        <a:cubicBezTo>
                          <a:pt x="218826" y="0"/>
                          <a:pt x="281940" y="63115"/>
                          <a:pt x="281940" y="140970"/>
                        </a:cubicBezTo>
                        <a:close/>
                      </a:path>
                    </a:pathLst>
                  </a:custGeom>
                  <a:solidFill>
                    <a:srgbClr val="F1F3F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68" name="Gráfico 365">
                    <a:extLst>
                      <a:ext uri="{FF2B5EF4-FFF2-40B4-BE49-F238E27FC236}">
                        <a16:creationId xmlns:a16="http://schemas.microsoft.com/office/drawing/2014/main" id="{35248C92-A807-6C68-1D95-FB3A9F5D18D8}"/>
                      </a:ext>
                    </a:extLst>
                  </p:cNvPr>
                  <p:cNvGrpSpPr/>
                  <p:nvPr/>
                </p:nvGrpSpPr>
                <p:grpSpPr>
                  <a:xfrm>
                    <a:off x="6968489" y="4037647"/>
                    <a:ext cx="176212" cy="176212"/>
                    <a:chOff x="6968489" y="4037647"/>
                    <a:chExt cx="176212" cy="176212"/>
                  </a:xfrm>
                  <a:solidFill>
                    <a:srgbClr val="BDBDBE"/>
                  </a:solidFill>
                </p:grpSpPr>
                <p:sp>
                  <p:nvSpPr>
                    <p:cNvPr id="1079" name="Forma libre: forma 1078">
                      <a:extLst>
                        <a:ext uri="{FF2B5EF4-FFF2-40B4-BE49-F238E27FC236}">
                          <a16:creationId xmlns:a16="http://schemas.microsoft.com/office/drawing/2014/main" id="{496845AC-8639-4692-7F29-A32D69F70C43}"/>
                        </a:ext>
                      </a:extLst>
                    </p:cNvPr>
                    <p:cNvSpPr/>
                    <p:nvPr/>
                  </p:nvSpPr>
                  <p:spPr>
                    <a:xfrm>
                      <a:off x="7018019" y="4085272"/>
                      <a:ext cx="78105" cy="78105"/>
                    </a:xfrm>
                    <a:custGeom>
                      <a:avLst/>
                      <a:gdLst>
                        <a:gd name="connsiteX0" fmla="*/ 78105 w 78105"/>
                        <a:gd name="connsiteY0" fmla="*/ 39053 h 78105"/>
                        <a:gd name="connsiteX1" fmla="*/ 39052 w 78105"/>
                        <a:gd name="connsiteY1" fmla="*/ 78105 h 78105"/>
                        <a:gd name="connsiteX2" fmla="*/ 0 w 78105"/>
                        <a:gd name="connsiteY2" fmla="*/ 39053 h 78105"/>
                        <a:gd name="connsiteX3" fmla="*/ 39052 w 78105"/>
                        <a:gd name="connsiteY3" fmla="*/ 0 h 78105"/>
                        <a:gd name="connsiteX4" fmla="*/ 78105 w 78105"/>
                        <a:gd name="connsiteY4" fmla="*/ 39053 h 78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05">
                          <a:moveTo>
                            <a:pt x="78105" y="39053"/>
                          </a:moveTo>
                          <a:cubicBezTo>
                            <a:pt x="78105" y="60621"/>
                            <a:pt x="60621" y="78105"/>
                            <a:pt x="39052" y="78105"/>
                          </a:cubicBezTo>
                          <a:cubicBezTo>
                            <a:pt x="17484" y="78105"/>
                            <a:pt x="0" y="60621"/>
                            <a:pt x="0" y="39053"/>
                          </a:cubicBezTo>
                          <a:cubicBezTo>
                            <a:pt x="0" y="17484"/>
                            <a:pt x="17484" y="0"/>
                            <a:pt x="39052" y="0"/>
                          </a:cubicBezTo>
                          <a:cubicBezTo>
                            <a:pt x="60621" y="0"/>
                            <a:pt x="78105" y="17484"/>
                            <a:pt x="78105" y="39053"/>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0" name="Forma libre: forma 1079">
                      <a:extLst>
                        <a:ext uri="{FF2B5EF4-FFF2-40B4-BE49-F238E27FC236}">
                          <a16:creationId xmlns:a16="http://schemas.microsoft.com/office/drawing/2014/main" id="{4FCF4BCA-C400-3F60-2D3E-5EE04CE8B2C5}"/>
                        </a:ext>
                      </a:extLst>
                    </p:cNvPr>
                    <p:cNvSpPr/>
                    <p:nvPr/>
                  </p:nvSpPr>
                  <p:spPr>
                    <a:xfrm>
                      <a:off x="6968489" y="4037647"/>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1" name="Forma libre: forma 1080">
                      <a:extLst>
                        <a:ext uri="{FF2B5EF4-FFF2-40B4-BE49-F238E27FC236}">
                          <a16:creationId xmlns:a16="http://schemas.microsoft.com/office/drawing/2014/main" id="{40D88F6C-FB5D-D6DC-F4AA-C5DB6E3D1B29}"/>
                        </a:ext>
                      </a:extLst>
                    </p:cNvPr>
                    <p:cNvSpPr/>
                    <p:nvPr/>
                  </p:nvSpPr>
                  <p:spPr>
                    <a:xfrm>
                      <a:off x="7098982" y="4168139"/>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2" name="Forma libre: forma 1081">
                      <a:extLst>
                        <a:ext uri="{FF2B5EF4-FFF2-40B4-BE49-F238E27FC236}">
                          <a16:creationId xmlns:a16="http://schemas.microsoft.com/office/drawing/2014/main" id="{DC851BDB-B1C8-F4F0-E2DA-13AA1C175F5A}"/>
                        </a:ext>
                      </a:extLst>
                    </p:cNvPr>
                    <p:cNvSpPr/>
                    <p:nvPr/>
                  </p:nvSpPr>
                  <p:spPr>
                    <a:xfrm>
                      <a:off x="7098982" y="4037647"/>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3" name="Forma libre: forma 1082">
                      <a:extLst>
                        <a:ext uri="{FF2B5EF4-FFF2-40B4-BE49-F238E27FC236}">
                          <a16:creationId xmlns:a16="http://schemas.microsoft.com/office/drawing/2014/main" id="{70CC489D-B8A3-EA98-47F0-A5BBE66EE7B8}"/>
                        </a:ext>
                      </a:extLst>
                    </p:cNvPr>
                    <p:cNvSpPr/>
                    <p:nvPr/>
                  </p:nvSpPr>
                  <p:spPr>
                    <a:xfrm>
                      <a:off x="6968489" y="4168139"/>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9" name="Forma libre: forma 1068">
                    <a:extLst>
                      <a:ext uri="{FF2B5EF4-FFF2-40B4-BE49-F238E27FC236}">
                        <a16:creationId xmlns:a16="http://schemas.microsoft.com/office/drawing/2014/main" id="{E1EA4AE2-9E78-984A-30CA-86BF28CE104C}"/>
                      </a:ext>
                    </a:extLst>
                  </p:cNvPr>
                  <p:cNvSpPr/>
                  <p:nvPr/>
                </p:nvSpPr>
                <p:spPr>
                  <a:xfrm>
                    <a:off x="7372349" y="3825239"/>
                    <a:ext cx="597217" cy="377190"/>
                  </a:xfrm>
                  <a:custGeom>
                    <a:avLst/>
                    <a:gdLst>
                      <a:gd name="connsiteX0" fmla="*/ 299085 w 597217"/>
                      <a:gd name="connsiteY0" fmla="*/ 0 h 377190"/>
                      <a:gd name="connsiteX1" fmla="*/ 0 w 597217"/>
                      <a:gd name="connsiteY1" fmla="*/ 299085 h 377190"/>
                      <a:gd name="connsiteX2" fmla="*/ 10478 w 597217"/>
                      <a:gd name="connsiteY2" fmla="*/ 377190 h 377190"/>
                      <a:gd name="connsiteX3" fmla="*/ 586740 w 597217"/>
                      <a:gd name="connsiteY3" fmla="*/ 377190 h 377190"/>
                      <a:gd name="connsiteX4" fmla="*/ 597218 w 597217"/>
                      <a:gd name="connsiteY4" fmla="*/ 299085 h 377190"/>
                      <a:gd name="connsiteX5" fmla="*/ 299085 w 597217"/>
                      <a:gd name="connsiteY5" fmla="*/ 0 h 3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7217" h="377190">
                        <a:moveTo>
                          <a:pt x="299085" y="0"/>
                        </a:moveTo>
                        <a:cubicBezTo>
                          <a:pt x="134303" y="0"/>
                          <a:pt x="0" y="133350"/>
                          <a:pt x="0" y="299085"/>
                        </a:cubicBezTo>
                        <a:cubicBezTo>
                          <a:pt x="0" y="326707"/>
                          <a:pt x="3810" y="352425"/>
                          <a:pt x="10478" y="377190"/>
                        </a:cubicBezTo>
                        <a:lnTo>
                          <a:pt x="586740" y="377190"/>
                        </a:lnTo>
                        <a:cubicBezTo>
                          <a:pt x="593407" y="352425"/>
                          <a:pt x="597218" y="325755"/>
                          <a:pt x="597218" y="299085"/>
                        </a:cubicBezTo>
                        <a:cubicBezTo>
                          <a:pt x="597218" y="133350"/>
                          <a:pt x="463868" y="0"/>
                          <a:pt x="299085" y="0"/>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0" name="Forma libre: forma 1069">
                    <a:extLst>
                      <a:ext uri="{FF2B5EF4-FFF2-40B4-BE49-F238E27FC236}">
                        <a16:creationId xmlns:a16="http://schemas.microsoft.com/office/drawing/2014/main" id="{DAC9E8BB-E9B9-0A70-36B0-AD3C17FB60AF}"/>
                      </a:ext>
                    </a:extLst>
                  </p:cNvPr>
                  <p:cNvSpPr/>
                  <p:nvPr/>
                </p:nvSpPr>
                <p:spPr>
                  <a:xfrm>
                    <a:off x="7429499" y="3882389"/>
                    <a:ext cx="483869" cy="483869"/>
                  </a:xfrm>
                  <a:custGeom>
                    <a:avLst/>
                    <a:gdLst>
                      <a:gd name="connsiteX0" fmla="*/ 483870 w 483869"/>
                      <a:gd name="connsiteY0" fmla="*/ 241935 h 483869"/>
                      <a:gd name="connsiteX1" fmla="*/ 241935 w 483869"/>
                      <a:gd name="connsiteY1" fmla="*/ 483870 h 483869"/>
                      <a:gd name="connsiteX2" fmla="*/ 0 w 483869"/>
                      <a:gd name="connsiteY2" fmla="*/ 241935 h 483869"/>
                      <a:gd name="connsiteX3" fmla="*/ 241935 w 483869"/>
                      <a:gd name="connsiteY3" fmla="*/ 0 h 483869"/>
                      <a:gd name="connsiteX4" fmla="*/ 483870 w 483869"/>
                      <a:gd name="connsiteY4" fmla="*/ 241935 h 48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9" h="483869">
                        <a:moveTo>
                          <a:pt x="483870" y="241935"/>
                        </a:moveTo>
                        <a:cubicBezTo>
                          <a:pt x="483870" y="375552"/>
                          <a:pt x="375552" y="483870"/>
                          <a:pt x="241935" y="483870"/>
                        </a:cubicBezTo>
                        <a:cubicBezTo>
                          <a:pt x="108318" y="483870"/>
                          <a:pt x="0" y="375552"/>
                          <a:pt x="0" y="241935"/>
                        </a:cubicBezTo>
                        <a:cubicBezTo>
                          <a:pt x="0" y="108318"/>
                          <a:pt x="108318" y="0"/>
                          <a:pt x="241935" y="0"/>
                        </a:cubicBezTo>
                        <a:cubicBezTo>
                          <a:pt x="375552" y="0"/>
                          <a:pt x="483870" y="108318"/>
                          <a:pt x="483870" y="241935"/>
                        </a:cubicBezTo>
                        <a:close/>
                      </a:path>
                    </a:pathLst>
                  </a:custGeom>
                  <a:solidFill>
                    <a:srgbClr val="393D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1" name="Forma libre: forma 1070">
                    <a:extLst>
                      <a:ext uri="{FF2B5EF4-FFF2-40B4-BE49-F238E27FC236}">
                        <a16:creationId xmlns:a16="http://schemas.microsoft.com/office/drawing/2014/main" id="{8F322324-E505-027D-49EE-A3A5E02F159E}"/>
                      </a:ext>
                    </a:extLst>
                  </p:cNvPr>
                  <p:cNvSpPr/>
                  <p:nvPr/>
                </p:nvSpPr>
                <p:spPr>
                  <a:xfrm>
                    <a:off x="7490459" y="3943349"/>
                    <a:ext cx="361950" cy="361950"/>
                  </a:xfrm>
                  <a:custGeom>
                    <a:avLst/>
                    <a:gdLst>
                      <a:gd name="connsiteX0" fmla="*/ 361950 w 361950"/>
                      <a:gd name="connsiteY0" fmla="*/ 180975 h 361950"/>
                      <a:gd name="connsiteX1" fmla="*/ 180975 w 361950"/>
                      <a:gd name="connsiteY1" fmla="*/ 361950 h 361950"/>
                      <a:gd name="connsiteX2" fmla="*/ 0 w 361950"/>
                      <a:gd name="connsiteY2" fmla="*/ 180975 h 361950"/>
                      <a:gd name="connsiteX3" fmla="*/ 180975 w 361950"/>
                      <a:gd name="connsiteY3" fmla="*/ 0 h 361950"/>
                      <a:gd name="connsiteX4" fmla="*/ 361950 w 361950"/>
                      <a:gd name="connsiteY4" fmla="*/ 180975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361950">
                        <a:moveTo>
                          <a:pt x="361950" y="180975"/>
                        </a:moveTo>
                        <a:cubicBezTo>
                          <a:pt x="361950" y="280925"/>
                          <a:pt x="280925" y="361950"/>
                          <a:pt x="180975" y="361950"/>
                        </a:cubicBezTo>
                        <a:cubicBezTo>
                          <a:pt x="81025" y="361950"/>
                          <a:pt x="0" y="280925"/>
                          <a:pt x="0" y="180975"/>
                        </a:cubicBezTo>
                        <a:cubicBezTo>
                          <a:pt x="0" y="81025"/>
                          <a:pt x="81025" y="0"/>
                          <a:pt x="180975" y="0"/>
                        </a:cubicBezTo>
                        <a:cubicBezTo>
                          <a:pt x="280925" y="0"/>
                          <a:pt x="361950" y="81025"/>
                          <a:pt x="361950" y="180975"/>
                        </a:cubicBezTo>
                        <a:close/>
                      </a:path>
                    </a:pathLst>
                  </a:custGeom>
                  <a:solidFill>
                    <a:srgbClr val="33384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2" name="Forma libre: forma 1071">
                    <a:extLst>
                      <a:ext uri="{FF2B5EF4-FFF2-40B4-BE49-F238E27FC236}">
                        <a16:creationId xmlns:a16="http://schemas.microsoft.com/office/drawing/2014/main" id="{32C4027D-1F70-D5B0-D8E6-CF7D0787269A}"/>
                      </a:ext>
                    </a:extLst>
                  </p:cNvPr>
                  <p:cNvSpPr/>
                  <p:nvPr/>
                </p:nvSpPr>
                <p:spPr>
                  <a:xfrm>
                    <a:off x="7530464" y="3983354"/>
                    <a:ext cx="281940" cy="281940"/>
                  </a:xfrm>
                  <a:custGeom>
                    <a:avLst/>
                    <a:gdLst>
                      <a:gd name="connsiteX0" fmla="*/ 281940 w 281940"/>
                      <a:gd name="connsiteY0" fmla="*/ 140970 h 281940"/>
                      <a:gd name="connsiteX1" fmla="*/ 140970 w 281940"/>
                      <a:gd name="connsiteY1" fmla="*/ 281940 h 281940"/>
                      <a:gd name="connsiteX2" fmla="*/ 0 w 281940"/>
                      <a:gd name="connsiteY2" fmla="*/ 140970 h 281940"/>
                      <a:gd name="connsiteX3" fmla="*/ 140970 w 281940"/>
                      <a:gd name="connsiteY3" fmla="*/ 0 h 281940"/>
                      <a:gd name="connsiteX4" fmla="*/ 281940 w 281940"/>
                      <a:gd name="connsiteY4" fmla="*/ 140970 h 281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40" h="281940">
                        <a:moveTo>
                          <a:pt x="281940" y="140970"/>
                        </a:moveTo>
                        <a:cubicBezTo>
                          <a:pt x="281940" y="218826"/>
                          <a:pt x="218826" y="281940"/>
                          <a:pt x="140970" y="281940"/>
                        </a:cubicBezTo>
                        <a:cubicBezTo>
                          <a:pt x="63115" y="281940"/>
                          <a:pt x="0" y="218825"/>
                          <a:pt x="0" y="140970"/>
                        </a:cubicBezTo>
                        <a:cubicBezTo>
                          <a:pt x="0" y="63114"/>
                          <a:pt x="63115" y="0"/>
                          <a:pt x="140970" y="0"/>
                        </a:cubicBezTo>
                        <a:cubicBezTo>
                          <a:pt x="218826" y="0"/>
                          <a:pt x="281940" y="63115"/>
                          <a:pt x="281940" y="140970"/>
                        </a:cubicBezTo>
                        <a:close/>
                      </a:path>
                    </a:pathLst>
                  </a:custGeom>
                  <a:solidFill>
                    <a:srgbClr val="F1F3F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73" name="Gráfico 365">
                    <a:extLst>
                      <a:ext uri="{FF2B5EF4-FFF2-40B4-BE49-F238E27FC236}">
                        <a16:creationId xmlns:a16="http://schemas.microsoft.com/office/drawing/2014/main" id="{D07F4E1A-DFD5-0088-35C3-A893CF02D844}"/>
                      </a:ext>
                    </a:extLst>
                  </p:cNvPr>
                  <p:cNvGrpSpPr/>
                  <p:nvPr/>
                </p:nvGrpSpPr>
                <p:grpSpPr>
                  <a:xfrm>
                    <a:off x="7582852" y="4037647"/>
                    <a:ext cx="176212" cy="176212"/>
                    <a:chOff x="7582852" y="4037647"/>
                    <a:chExt cx="176212" cy="176212"/>
                  </a:xfrm>
                  <a:solidFill>
                    <a:srgbClr val="BDBDBE"/>
                  </a:solidFill>
                </p:grpSpPr>
                <p:sp>
                  <p:nvSpPr>
                    <p:cNvPr id="1074" name="Forma libre: forma 1073">
                      <a:extLst>
                        <a:ext uri="{FF2B5EF4-FFF2-40B4-BE49-F238E27FC236}">
                          <a16:creationId xmlns:a16="http://schemas.microsoft.com/office/drawing/2014/main" id="{186897DB-DE5B-F665-73A6-381083934061}"/>
                        </a:ext>
                      </a:extLst>
                    </p:cNvPr>
                    <p:cNvSpPr/>
                    <p:nvPr/>
                  </p:nvSpPr>
                  <p:spPr>
                    <a:xfrm>
                      <a:off x="7632382" y="4085272"/>
                      <a:ext cx="78105" cy="78105"/>
                    </a:xfrm>
                    <a:custGeom>
                      <a:avLst/>
                      <a:gdLst>
                        <a:gd name="connsiteX0" fmla="*/ 78105 w 78105"/>
                        <a:gd name="connsiteY0" fmla="*/ 39053 h 78105"/>
                        <a:gd name="connsiteX1" fmla="*/ 39052 w 78105"/>
                        <a:gd name="connsiteY1" fmla="*/ 78105 h 78105"/>
                        <a:gd name="connsiteX2" fmla="*/ 0 w 78105"/>
                        <a:gd name="connsiteY2" fmla="*/ 39053 h 78105"/>
                        <a:gd name="connsiteX3" fmla="*/ 39052 w 78105"/>
                        <a:gd name="connsiteY3" fmla="*/ 0 h 78105"/>
                        <a:gd name="connsiteX4" fmla="*/ 78105 w 78105"/>
                        <a:gd name="connsiteY4" fmla="*/ 39053 h 78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 h="78105">
                          <a:moveTo>
                            <a:pt x="78105" y="39053"/>
                          </a:moveTo>
                          <a:cubicBezTo>
                            <a:pt x="78105" y="60621"/>
                            <a:pt x="60621" y="78105"/>
                            <a:pt x="39052" y="78105"/>
                          </a:cubicBezTo>
                          <a:cubicBezTo>
                            <a:pt x="17484" y="78105"/>
                            <a:pt x="0" y="60621"/>
                            <a:pt x="0" y="39053"/>
                          </a:cubicBezTo>
                          <a:cubicBezTo>
                            <a:pt x="0" y="17484"/>
                            <a:pt x="17484" y="0"/>
                            <a:pt x="39052" y="0"/>
                          </a:cubicBezTo>
                          <a:cubicBezTo>
                            <a:pt x="60621" y="0"/>
                            <a:pt x="78105" y="17484"/>
                            <a:pt x="78105" y="39053"/>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5" name="Forma libre: forma 1074">
                      <a:extLst>
                        <a:ext uri="{FF2B5EF4-FFF2-40B4-BE49-F238E27FC236}">
                          <a16:creationId xmlns:a16="http://schemas.microsoft.com/office/drawing/2014/main" id="{EAF0D6DA-C73B-FA11-8278-75E5FBB89A48}"/>
                        </a:ext>
                      </a:extLst>
                    </p:cNvPr>
                    <p:cNvSpPr/>
                    <p:nvPr/>
                  </p:nvSpPr>
                  <p:spPr>
                    <a:xfrm>
                      <a:off x="7582852" y="4037647"/>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6" name="Forma libre: forma 1075">
                      <a:extLst>
                        <a:ext uri="{FF2B5EF4-FFF2-40B4-BE49-F238E27FC236}">
                          <a16:creationId xmlns:a16="http://schemas.microsoft.com/office/drawing/2014/main" id="{CF4BEDD2-E0C8-11B3-9605-CCD28038B904}"/>
                        </a:ext>
                      </a:extLst>
                    </p:cNvPr>
                    <p:cNvSpPr/>
                    <p:nvPr/>
                  </p:nvSpPr>
                  <p:spPr>
                    <a:xfrm>
                      <a:off x="7713344" y="4168139"/>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7" name="Forma libre: forma 1076">
                      <a:extLst>
                        <a:ext uri="{FF2B5EF4-FFF2-40B4-BE49-F238E27FC236}">
                          <a16:creationId xmlns:a16="http://schemas.microsoft.com/office/drawing/2014/main" id="{32839EB8-31C1-61BF-3765-53B0B35B219C}"/>
                        </a:ext>
                      </a:extLst>
                    </p:cNvPr>
                    <p:cNvSpPr/>
                    <p:nvPr/>
                  </p:nvSpPr>
                  <p:spPr>
                    <a:xfrm>
                      <a:off x="7713344" y="4037647"/>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8" name="Forma libre: forma 1077">
                      <a:extLst>
                        <a:ext uri="{FF2B5EF4-FFF2-40B4-BE49-F238E27FC236}">
                          <a16:creationId xmlns:a16="http://schemas.microsoft.com/office/drawing/2014/main" id="{D55E1B48-6F20-3322-425E-AE9231926094}"/>
                        </a:ext>
                      </a:extLst>
                    </p:cNvPr>
                    <p:cNvSpPr/>
                    <p:nvPr/>
                  </p:nvSpPr>
                  <p:spPr>
                    <a:xfrm>
                      <a:off x="7582852" y="4168139"/>
                      <a:ext cx="45719" cy="45719"/>
                    </a:xfrm>
                    <a:custGeom>
                      <a:avLst/>
                      <a:gdLst>
                        <a:gd name="connsiteX0" fmla="*/ 45720 w 45719"/>
                        <a:gd name="connsiteY0" fmla="*/ 22860 h 45719"/>
                        <a:gd name="connsiteX1" fmla="*/ 22860 w 45719"/>
                        <a:gd name="connsiteY1" fmla="*/ 45720 h 45719"/>
                        <a:gd name="connsiteX2" fmla="*/ 0 w 45719"/>
                        <a:gd name="connsiteY2" fmla="*/ 22860 h 45719"/>
                        <a:gd name="connsiteX3" fmla="*/ 22860 w 45719"/>
                        <a:gd name="connsiteY3" fmla="*/ 0 h 45719"/>
                        <a:gd name="connsiteX4" fmla="*/ 45720 w 45719"/>
                        <a:gd name="connsiteY4" fmla="*/ 2286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45720" y="22860"/>
                          </a:moveTo>
                          <a:cubicBezTo>
                            <a:pt x="45720" y="35485"/>
                            <a:pt x="35485" y="45720"/>
                            <a:pt x="22860" y="45720"/>
                          </a:cubicBezTo>
                          <a:cubicBezTo>
                            <a:pt x="10235" y="45720"/>
                            <a:pt x="0" y="35485"/>
                            <a:pt x="0" y="22860"/>
                          </a:cubicBezTo>
                          <a:cubicBezTo>
                            <a:pt x="0" y="10235"/>
                            <a:pt x="10235" y="0"/>
                            <a:pt x="22860" y="0"/>
                          </a:cubicBezTo>
                          <a:cubicBezTo>
                            <a:pt x="35485" y="0"/>
                            <a:pt x="45720" y="10235"/>
                            <a:pt x="45720" y="22860"/>
                          </a:cubicBezTo>
                          <a:close/>
                        </a:path>
                      </a:pathLst>
                    </a:custGeom>
                    <a:solidFill>
                      <a:srgbClr val="BDBDB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27" name="Gráfico 423">
                  <a:extLst>
                    <a:ext uri="{FF2B5EF4-FFF2-40B4-BE49-F238E27FC236}">
                      <a16:creationId xmlns:a16="http://schemas.microsoft.com/office/drawing/2014/main" id="{53252954-5566-B899-02E6-D0699E0C6459}"/>
                    </a:ext>
                  </a:extLst>
                </p:cNvPr>
                <p:cNvGrpSpPr/>
                <p:nvPr/>
              </p:nvGrpSpPr>
              <p:grpSpPr>
                <a:xfrm>
                  <a:off x="7444154" y="2006096"/>
                  <a:ext cx="1081584" cy="1028974"/>
                  <a:chOff x="4105275" y="1535182"/>
                  <a:chExt cx="3984774" cy="3790959"/>
                </a:xfrm>
              </p:grpSpPr>
              <p:sp>
                <p:nvSpPr>
                  <p:cNvPr id="993" name="Forma libre: forma 992">
                    <a:extLst>
                      <a:ext uri="{FF2B5EF4-FFF2-40B4-BE49-F238E27FC236}">
                        <a16:creationId xmlns:a16="http://schemas.microsoft.com/office/drawing/2014/main" id="{386809A3-7D50-CE8C-F331-BF34D9E4CC29}"/>
                      </a:ext>
                    </a:extLst>
                  </p:cNvPr>
                  <p:cNvSpPr/>
                  <p:nvPr/>
                </p:nvSpPr>
                <p:spPr>
                  <a:xfrm>
                    <a:off x="4105275" y="2963941"/>
                    <a:ext cx="3629025" cy="2362200"/>
                  </a:xfrm>
                  <a:custGeom>
                    <a:avLst/>
                    <a:gdLst>
                      <a:gd name="connsiteX0" fmla="*/ 0 w 3629025"/>
                      <a:gd name="connsiteY0" fmla="*/ 0 h 2362200"/>
                      <a:gd name="connsiteX1" fmla="*/ 3629025 w 3629025"/>
                      <a:gd name="connsiteY1" fmla="*/ 0 h 2362200"/>
                      <a:gd name="connsiteX2" fmla="*/ 3629025 w 3629025"/>
                      <a:gd name="connsiteY2" fmla="*/ 2362200 h 2362200"/>
                      <a:gd name="connsiteX3" fmla="*/ 0 w 3629025"/>
                      <a:gd name="connsiteY3" fmla="*/ 2362200 h 2362200"/>
                    </a:gdLst>
                    <a:ahLst/>
                    <a:cxnLst>
                      <a:cxn ang="0">
                        <a:pos x="connsiteX0" y="connsiteY0"/>
                      </a:cxn>
                      <a:cxn ang="0">
                        <a:pos x="connsiteX1" y="connsiteY1"/>
                      </a:cxn>
                      <a:cxn ang="0">
                        <a:pos x="connsiteX2" y="connsiteY2"/>
                      </a:cxn>
                      <a:cxn ang="0">
                        <a:pos x="connsiteX3" y="connsiteY3"/>
                      </a:cxn>
                    </a:cxnLst>
                    <a:rect l="l" t="t" r="r" b="b"/>
                    <a:pathLst>
                      <a:path w="3629025" h="2362200">
                        <a:moveTo>
                          <a:pt x="0" y="0"/>
                        </a:moveTo>
                        <a:lnTo>
                          <a:pt x="3629025" y="0"/>
                        </a:lnTo>
                        <a:lnTo>
                          <a:pt x="3629025" y="2362200"/>
                        </a:lnTo>
                        <a:lnTo>
                          <a:pt x="0" y="2362200"/>
                        </a:lnTo>
                        <a:close/>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4" name="Forma libre: forma 993">
                    <a:extLst>
                      <a:ext uri="{FF2B5EF4-FFF2-40B4-BE49-F238E27FC236}">
                        <a16:creationId xmlns:a16="http://schemas.microsoft.com/office/drawing/2014/main" id="{BB75250B-0D9F-EB05-A426-1FD794681467}"/>
                      </a:ext>
                    </a:extLst>
                  </p:cNvPr>
                  <p:cNvSpPr/>
                  <p:nvPr/>
                </p:nvSpPr>
                <p:spPr>
                  <a:xfrm>
                    <a:off x="4352925" y="1535182"/>
                    <a:ext cx="752475" cy="1428749"/>
                  </a:xfrm>
                  <a:custGeom>
                    <a:avLst/>
                    <a:gdLst>
                      <a:gd name="connsiteX0" fmla="*/ 752475 w 752475"/>
                      <a:gd name="connsiteY0" fmla="*/ 1428750 h 1428749"/>
                      <a:gd name="connsiteX1" fmla="*/ 0 w 752475"/>
                      <a:gd name="connsiteY1" fmla="*/ 1428750 h 1428749"/>
                      <a:gd name="connsiteX2" fmla="*/ 56007 w 752475"/>
                      <a:gd name="connsiteY2" fmla="*/ 361950 h 1428749"/>
                      <a:gd name="connsiteX3" fmla="*/ 144570 w 752475"/>
                      <a:gd name="connsiteY3" fmla="*/ 293075 h 1428749"/>
                      <a:gd name="connsiteX4" fmla="*/ 64008 w 752475"/>
                      <a:gd name="connsiteY4" fmla="*/ 209550 h 1428749"/>
                      <a:gd name="connsiteX5" fmla="*/ 74962 w 752475"/>
                      <a:gd name="connsiteY5" fmla="*/ 0 h 1428749"/>
                      <a:gd name="connsiteX6" fmla="*/ 677513 w 752475"/>
                      <a:gd name="connsiteY6" fmla="*/ 0 h 1428749"/>
                      <a:gd name="connsiteX7" fmla="*/ 688467 w 752475"/>
                      <a:gd name="connsiteY7" fmla="*/ 209550 h 1428749"/>
                      <a:gd name="connsiteX8" fmla="*/ 606533 w 752475"/>
                      <a:gd name="connsiteY8" fmla="*/ 288312 h 1428749"/>
                      <a:gd name="connsiteX9" fmla="*/ 696468 w 752475"/>
                      <a:gd name="connsiteY9" fmla="*/ 361950 h 142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475" h="1428749">
                        <a:moveTo>
                          <a:pt x="752475" y="1428750"/>
                        </a:moveTo>
                        <a:lnTo>
                          <a:pt x="0" y="1428750"/>
                        </a:lnTo>
                        <a:lnTo>
                          <a:pt x="56007" y="361950"/>
                        </a:lnTo>
                        <a:lnTo>
                          <a:pt x="144570" y="293075"/>
                        </a:lnTo>
                        <a:lnTo>
                          <a:pt x="64008" y="209550"/>
                        </a:lnTo>
                        <a:lnTo>
                          <a:pt x="74962" y="0"/>
                        </a:lnTo>
                        <a:lnTo>
                          <a:pt x="677513" y="0"/>
                        </a:lnTo>
                        <a:lnTo>
                          <a:pt x="688467" y="209550"/>
                        </a:lnTo>
                        <a:lnTo>
                          <a:pt x="606533" y="288312"/>
                        </a:lnTo>
                        <a:lnTo>
                          <a:pt x="696468" y="361950"/>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5" name="Forma libre: forma 994">
                    <a:extLst>
                      <a:ext uri="{FF2B5EF4-FFF2-40B4-BE49-F238E27FC236}">
                        <a16:creationId xmlns:a16="http://schemas.microsoft.com/office/drawing/2014/main" id="{BA2C8D68-2188-1B78-DD01-F258A90217A8}"/>
                      </a:ext>
                    </a:extLst>
                  </p:cNvPr>
                  <p:cNvSpPr/>
                  <p:nvPr/>
                </p:nvSpPr>
                <p:spPr>
                  <a:xfrm>
                    <a:off x="4408931" y="1744732"/>
                    <a:ext cx="640461" cy="152400"/>
                  </a:xfrm>
                  <a:custGeom>
                    <a:avLst/>
                    <a:gdLst>
                      <a:gd name="connsiteX0" fmla="*/ 640461 w 640461"/>
                      <a:gd name="connsiteY0" fmla="*/ 152400 h 152400"/>
                      <a:gd name="connsiteX1" fmla="*/ 0 w 640461"/>
                      <a:gd name="connsiteY1" fmla="*/ 152400 h 152400"/>
                      <a:gd name="connsiteX2" fmla="*/ 8001 w 640461"/>
                      <a:gd name="connsiteY2" fmla="*/ 0 h 152400"/>
                      <a:gd name="connsiteX3" fmla="*/ 632460 w 640461"/>
                      <a:gd name="connsiteY3" fmla="*/ 0 h 152400"/>
                    </a:gdLst>
                    <a:ahLst/>
                    <a:cxnLst>
                      <a:cxn ang="0">
                        <a:pos x="connsiteX0" y="connsiteY0"/>
                      </a:cxn>
                      <a:cxn ang="0">
                        <a:pos x="connsiteX1" y="connsiteY1"/>
                      </a:cxn>
                      <a:cxn ang="0">
                        <a:pos x="connsiteX2" y="connsiteY2"/>
                      </a:cxn>
                      <a:cxn ang="0">
                        <a:pos x="connsiteX3" y="connsiteY3"/>
                      </a:cxn>
                    </a:cxnLst>
                    <a:rect l="l" t="t" r="r" b="b"/>
                    <a:pathLst>
                      <a:path w="640461" h="152400">
                        <a:moveTo>
                          <a:pt x="640461" y="152400"/>
                        </a:moveTo>
                        <a:lnTo>
                          <a:pt x="0" y="152400"/>
                        </a:lnTo>
                        <a:lnTo>
                          <a:pt x="8001" y="0"/>
                        </a:lnTo>
                        <a:lnTo>
                          <a:pt x="632460" y="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6" name="Forma libre: forma 995">
                    <a:extLst>
                      <a:ext uri="{FF2B5EF4-FFF2-40B4-BE49-F238E27FC236}">
                        <a16:creationId xmlns:a16="http://schemas.microsoft.com/office/drawing/2014/main" id="{B62E6E03-542D-ED95-D48C-B1D84942F72B}"/>
                      </a:ext>
                    </a:extLst>
                  </p:cNvPr>
                  <p:cNvSpPr/>
                  <p:nvPr/>
                </p:nvSpPr>
                <p:spPr>
                  <a:xfrm>
                    <a:off x="5230329" y="1535182"/>
                    <a:ext cx="752475" cy="1428749"/>
                  </a:xfrm>
                  <a:custGeom>
                    <a:avLst/>
                    <a:gdLst>
                      <a:gd name="connsiteX0" fmla="*/ 752475 w 752475"/>
                      <a:gd name="connsiteY0" fmla="*/ 1428750 h 1428749"/>
                      <a:gd name="connsiteX1" fmla="*/ 0 w 752475"/>
                      <a:gd name="connsiteY1" fmla="*/ 1428750 h 1428749"/>
                      <a:gd name="connsiteX2" fmla="*/ 56007 w 752475"/>
                      <a:gd name="connsiteY2" fmla="*/ 361950 h 1428749"/>
                      <a:gd name="connsiteX3" fmla="*/ 138703 w 752475"/>
                      <a:gd name="connsiteY3" fmla="*/ 293075 h 1428749"/>
                      <a:gd name="connsiteX4" fmla="*/ 64008 w 752475"/>
                      <a:gd name="connsiteY4" fmla="*/ 209550 h 1428749"/>
                      <a:gd name="connsiteX5" fmla="*/ 74962 w 752475"/>
                      <a:gd name="connsiteY5" fmla="*/ 0 h 1428749"/>
                      <a:gd name="connsiteX6" fmla="*/ 677513 w 752475"/>
                      <a:gd name="connsiteY6" fmla="*/ 0 h 1428749"/>
                      <a:gd name="connsiteX7" fmla="*/ 688467 w 752475"/>
                      <a:gd name="connsiteY7" fmla="*/ 209550 h 1428749"/>
                      <a:gd name="connsiteX8" fmla="*/ 619716 w 752475"/>
                      <a:gd name="connsiteY8" fmla="*/ 288312 h 1428749"/>
                      <a:gd name="connsiteX9" fmla="*/ 696468 w 752475"/>
                      <a:gd name="connsiteY9" fmla="*/ 361950 h 142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475" h="1428749">
                        <a:moveTo>
                          <a:pt x="752475" y="1428750"/>
                        </a:moveTo>
                        <a:lnTo>
                          <a:pt x="0" y="1428750"/>
                        </a:lnTo>
                        <a:lnTo>
                          <a:pt x="56007" y="361950"/>
                        </a:lnTo>
                        <a:lnTo>
                          <a:pt x="138703" y="293075"/>
                        </a:lnTo>
                        <a:lnTo>
                          <a:pt x="64008" y="209550"/>
                        </a:lnTo>
                        <a:lnTo>
                          <a:pt x="74962" y="0"/>
                        </a:lnTo>
                        <a:lnTo>
                          <a:pt x="677513" y="0"/>
                        </a:lnTo>
                        <a:lnTo>
                          <a:pt x="688467" y="209550"/>
                        </a:lnTo>
                        <a:lnTo>
                          <a:pt x="619716" y="288312"/>
                        </a:lnTo>
                        <a:lnTo>
                          <a:pt x="696468" y="361950"/>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7" name="Forma libre: forma 996">
                    <a:extLst>
                      <a:ext uri="{FF2B5EF4-FFF2-40B4-BE49-F238E27FC236}">
                        <a16:creationId xmlns:a16="http://schemas.microsoft.com/office/drawing/2014/main" id="{74B241DF-AE91-02DD-66D1-5379A7CB45E2}"/>
                      </a:ext>
                    </a:extLst>
                  </p:cNvPr>
                  <p:cNvSpPr/>
                  <p:nvPr/>
                </p:nvSpPr>
                <p:spPr>
                  <a:xfrm>
                    <a:off x="5286336" y="1744732"/>
                    <a:ext cx="640460" cy="152400"/>
                  </a:xfrm>
                  <a:custGeom>
                    <a:avLst/>
                    <a:gdLst>
                      <a:gd name="connsiteX0" fmla="*/ 640461 w 640460"/>
                      <a:gd name="connsiteY0" fmla="*/ 152400 h 152400"/>
                      <a:gd name="connsiteX1" fmla="*/ 0 w 640460"/>
                      <a:gd name="connsiteY1" fmla="*/ 152400 h 152400"/>
                      <a:gd name="connsiteX2" fmla="*/ 8001 w 640460"/>
                      <a:gd name="connsiteY2" fmla="*/ 0 h 152400"/>
                      <a:gd name="connsiteX3" fmla="*/ 632460 w 640460"/>
                      <a:gd name="connsiteY3" fmla="*/ 0 h 152400"/>
                    </a:gdLst>
                    <a:ahLst/>
                    <a:cxnLst>
                      <a:cxn ang="0">
                        <a:pos x="connsiteX0" y="connsiteY0"/>
                      </a:cxn>
                      <a:cxn ang="0">
                        <a:pos x="connsiteX1" y="connsiteY1"/>
                      </a:cxn>
                      <a:cxn ang="0">
                        <a:pos x="connsiteX2" y="connsiteY2"/>
                      </a:cxn>
                      <a:cxn ang="0">
                        <a:pos x="connsiteX3" y="connsiteY3"/>
                      </a:cxn>
                    </a:cxnLst>
                    <a:rect l="l" t="t" r="r" b="b"/>
                    <a:pathLst>
                      <a:path w="640460" h="152400">
                        <a:moveTo>
                          <a:pt x="640461" y="152400"/>
                        </a:moveTo>
                        <a:lnTo>
                          <a:pt x="0" y="152400"/>
                        </a:lnTo>
                        <a:lnTo>
                          <a:pt x="8001" y="0"/>
                        </a:lnTo>
                        <a:lnTo>
                          <a:pt x="632460" y="0"/>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8" name="Forma libre: forma 997">
                    <a:extLst>
                      <a:ext uri="{FF2B5EF4-FFF2-40B4-BE49-F238E27FC236}">
                        <a16:creationId xmlns:a16="http://schemas.microsoft.com/office/drawing/2014/main" id="{E7BE4013-B883-4EC1-E740-C4F1F5AE8856}"/>
                      </a:ext>
                    </a:extLst>
                  </p:cNvPr>
                  <p:cNvSpPr/>
                  <p:nvPr/>
                </p:nvSpPr>
                <p:spPr>
                  <a:xfrm>
                    <a:off x="6115050" y="2697241"/>
                    <a:ext cx="1914820" cy="2628900"/>
                  </a:xfrm>
                  <a:custGeom>
                    <a:avLst/>
                    <a:gdLst>
                      <a:gd name="connsiteX0" fmla="*/ 0 w 1914820"/>
                      <a:gd name="connsiteY0" fmla="*/ 0 h 2628900"/>
                      <a:gd name="connsiteX1" fmla="*/ 1914820 w 1914820"/>
                      <a:gd name="connsiteY1" fmla="*/ 0 h 2628900"/>
                      <a:gd name="connsiteX2" fmla="*/ 1914820 w 1914820"/>
                      <a:gd name="connsiteY2" fmla="*/ 2628900 h 2628900"/>
                      <a:gd name="connsiteX3" fmla="*/ 0 w 1914820"/>
                      <a:gd name="connsiteY3" fmla="*/ 2628900 h 2628900"/>
                    </a:gdLst>
                    <a:ahLst/>
                    <a:cxnLst>
                      <a:cxn ang="0">
                        <a:pos x="connsiteX0" y="connsiteY0"/>
                      </a:cxn>
                      <a:cxn ang="0">
                        <a:pos x="connsiteX1" y="connsiteY1"/>
                      </a:cxn>
                      <a:cxn ang="0">
                        <a:pos x="connsiteX2" y="connsiteY2"/>
                      </a:cxn>
                      <a:cxn ang="0">
                        <a:pos x="connsiteX3" y="connsiteY3"/>
                      </a:cxn>
                    </a:cxnLst>
                    <a:rect l="l" t="t" r="r" b="b"/>
                    <a:pathLst>
                      <a:path w="1914820" h="2628900">
                        <a:moveTo>
                          <a:pt x="0" y="0"/>
                        </a:moveTo>
                        <a:lnTo>
                          <a:pt x="1914820" y="0"/>
                        </a:lnTo>
                        <a:lnTo>
                          <a:pt x="1914820" y="2628900"/>
                        </a:lnTo>
                        <a:lnTo>
                          <a:pt x="0" y="2628900"/>
                        </a:lnTo>
                        <a:close/>
                      </a:path>
                    </a:pathLst>
                  </a:custGeom>
                  <a:solidFill>
                    <a:schemeClr val="bg1">
                      <a:lumMod val="8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99" name="Gráfico 423">
                    <a:extLst>
                      <a:ext uri="{FF2B5EF4-FFF2-40B4-BE49-F238E27FC236}">
                        <a16:creationId xmlns:a16="http://schemas.microsoft.com/office/drawing/2014/main" id="{0252824B-767B-EB68-2DFB-9539B077CBD8}"/>
                      </a:ext>
                    </a:extLst>
                  </p:cNvPr>
                  <p:cNvGrpSpPr/>
                  <p:nvPr/>
                </p:nvGrpSpPr>
                <p:grpSpPr>
                  <a:xfrm>
                    <a:off x="4210050" y="3097291"/>
                    <a:ext cx="381000" cy="790575"/>
                    <a:chOff x="4210050" y="3097291"/>
                    <a:chExt cx="381000" cy="790575"/>
                  </a:xfrm>
                </p:grpSpPr>
                <p:sp>
                  <p:nvSpPr>
                    <p:cNvPr id="1051" name="Forma libre: forma 1050">
                      <a:extLst>
                        <a:ext uri="{FF2B5EF4-FFF2-40B4-BE49-F238E27FC236}">
                          <a16:creationId xmlns:a16="http://schemas.microsoft.com/office/drawing/2014/main" id="{5ED583CC-334E-33A3-C32E-E9AFA13EEE63}"/>
                        </a:ext>
                      </a:extLst>
                    </p:cNvPr>
                    <p:cNvSpPr/>
                    <p:nvPr/>
                  </p:nvSpPr>
                  <p:spPr>
                    <a:xfrm>
                      <a:off x="4210050" y="309729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2" name="Forma libre: forma 1051">
                      <a:extLst>
                        <a:ext uri="{FF2B5EF4-FFF2-40B4-BE49-F238E27FC236}">
                          <a16:creationId xmlns:a16="http://schemas.microsoft.com/office/drawing/2014/main" id="{0118D2B9-D5FC-DAA2-A988-5EB86209550A}"/>
                        </a:ext>
                      </a:extLst>
                    </p:cNvPr>
                    <p:cNvSpPr/>
                    <p:nvPr/>
                  </p:nvSpPr>
                  <p:spPr>
                    <a:xfrm>
                      <a:off x="4257675" y="314491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3" name="Forma libre: forma 1052">
                      <a:extLst>
                        <a:ext uri="{FF2B5EF4-FFF2-40B4-BE49-F238E27FC236}">
                          <a16:creationId xmlns:a16="http://schemas.microsoft.com/office/drawing/2014/main" id="{5BD3F5C4-142D-76CC-932E-2AEC21B57B65}"/>
                        </a:ext>
                      </a:extLst>
                    </p:cNvPr>
                    <p:cNvSpPr/>
                    <p:nvPr/>
                  </p:nvSpPr>
                  <p:spPr>
                    <a:xfrm>
                      <a:off x="4291764" y="341696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0" name="Gráfico 423">
                    <a:extLst>
                      <a:ext uri="{FF2B5EF4-FFF2-40B4-BE49-F238E27FC236}">
                        <a16:creationId xmlns:a16="http://schemas.microsoft.com/office/drawing/2014/main" id="{1CE73024-3435-704F-7CE4-520767A6214D}"/>
                      </a:ext>
                    </a:extLst>
                  </p:cNvPr>
                  <p:cNvGrpSpPr/>
                  <p:nvPr/>
                </p:nvGrpSpPr>
                <p:grpSpPr>
                  <a:xfrm>
                    <a:off x="4679946" y="3097291"/>
                    <a:ext cx="381000" cy="790575"/>
                    <a:chOff x="4679946" y="3097291"/>
                    <a:chExt cx="381000" cy="790575"/>
                  </a:xfrm>
                </p:grpSpPr>
                <p:sp>
                  <p:nvSpPr>
                    <p:cNvPr id="1048" name="Forma libre: forma 1047">
                      <a:extLst>
                        <a:ext uri="{FF2B5EF4-FFF2-40B4-BE49-F238E27FC236}">
                          <a16:creationId xmlns:a16="http://schemas.microsoft.com/office/drawing/2014/main" id="{FD03D480-0CED-DEEA-5378-6137797B5438}"/>
                        </a:ext>
                      </a:extLst>
                    </p:cNvPr>
                    <p:cNvSpPr/>
                    <p:nvPr/>
                  </p:nvSpPr>
                  <p:spPr>
                    <a:xfrm>
                      <a:off x="4679946" y="309729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9" name="Forma libre: forma 1048">
                      <a:extLst>
                        <a:ext uri="{FF2B5EF4-FFF2-40B4-BE49-F238E27FC236}">
                          <a16:creationId xmlns:a16="http://schemas.microsoft.com/office/drawing/2014/main" id="{2926A8D6-03E3-DDF5-A563-BC61EBE3569F}"/>
                        </a:ext>
                      </a:extLst>
                    </p:cNvPr>
                    <p:cNvSpPr/>
                    <p:nvPr/>
                  </p:nvSpPr>
                  <p:spPr>
                    <a:xfrm>
                      <a:off x="4727571" y="314491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0" name="Forma libre: forma 1049">
                      <a:extLst>
                        <a:ext uri="{FF2B5EF4-FFF2-40B4-BE49-F238E27FC236}">
                          <a16:creationId xmlns:a16="http://schemas.microsoft.com/office/drawing/2014/main" id="{8CBDC420-18F1-DF15-F8DA-639B17E0D8DE}"/>
                        </a:ext>
                      </a:extLst>
                    </p:cNvPr>
                    <p:cNvSpPr/>
                    <p:nvPr/>
                  </p:nvSpPr>
                  <p:spPr>
                    <a:xfrm>
                      <a:off x="4761671" y="341696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1" name="Gráfico 423">
                    <a:extLst>
                      <a:ext uri="{FF2B5EF4-FFF2-40B4-BE49-F238E27FC236}">
                        <a16:creationId xmlns:a16="http://schemas.microsoft.com/office/drawing/2014/main" id="{A7E47F37-8D1A-E827-B257-FDECF2426301}"/>
                      </a:ext>
                    </a:extLst>
                  </p:cNvPr>
                  <p:cNvGrpSpPr/>
                  <p:nvPr/>
                </p:nvGrpSpPr>
                <p:grpSpPr>
                  <a:xfrm>
                    <a:off x="5149853" y="3097291"/>
                    <a:ext cx="381000" cy="790575"/>
                    <a:chOff x="5149853" y="3097291"/>
                    <a:chExt cx="381000" cy="790575"/>
                  </a:xfrm>
                </p:grpSpPr>
                <p:sp>
                  <p:nvSpPr>
                    <p:cNvPr id="1045" name="Forma libre: forma 1044">
                      <a:extLst>
                        <a:ext uri="{FF2B5EF4-FFF2-40B4-BE49-F238E27FC236}">
                          <a16:creationId xmlns:a16="http://schemas.microsoft.com/office/drawing/2014/main" id="{A243D292-6AFA-45C5-18D0-1FBAC8E19949}"/>
                        </a:ext>
                      </a:extLst>
                    </p:cNvPr>
                    <p:cNvSpPr/>
                    <p:nvPr/>
                  </p:nvSpPr>
                  <p:spPr>
                    <a:xfrm>
                      <a:off x="5149853" y="309729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6" name="Forma libre: forma 1045">
                      <a:extLst>
                        <a:ext uri="{FF2B5EF4-FFF2-40B4-BE49-F238E27FC236}">
                          <a16:creationId xmlns:a16="http://schemas.microsoft.com/office/drawing/2014/main" id="{89D78788-74A6-E7B0-3103-10C604F00EF2}"/>
                        </a:ext>
                      </a:extLst>
                    </p:cNvPr>
                    <p:cNvSpPr/>
                    <p:nvPr/>
                  </p:nvSpPr>
                  <p:spPr>
                    <a:xfrm>
                      <a:off x="5197478" y="314491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7" name="Forma libre: forma 1046">
                      <a:extLst>
                        <a:ext uri="{FF2B5EF4-FFF2-40B4-BE49-F238E27FC236}">
                          <a16:creationId xmlns:a16="http://schemas.microsoft.com/office/drawing/2014/main" id="{2EB8ECD5-832E-AB04-6E39-51F544230F56}"/>
                        </a:ext>
                      </a:extLst>
                    </p:cNvPr>
                    <p:cNvSpPr/>
                    <p:nvPr/>
                  </p:nvSpPr>
                  <p:spPr>
                    <a:xfrm>
                      <a:off x="5231568" y="341696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2" name="Gráfico 423">
                    <a:extLst>
                      <a:ext uri="{FF2B5EF4-FFF2-40B4-BE49-F238E27FC236}">
                        <a16:creationId xmlns:a16="http://schemas.microsoft.com/office/drawing/2014/main" id="{278165D8-26A5-9A6E-7753-D09884CC92B7}"/>
                      </a:ext>
                    </a:extLst>
                  </p:cNvPr>
                  <p:cNvGrpSpPr/>
                  <p:nvPr/>
                </p:nvGrpSpPr>
                <p:grpSpPr>
                  <a:xfrm>
                    <a:off x="5619750" y="3097291"/>
                    <a:ext cx="381000" cy="790575"/>
                    <a:chOff x="5619750" y="3097291"/>
                    <a:chExt cx="381000" cy="790575"/>
                  </a:xfrm>
                </p:grpSpPr>
                <p:sp>
                  <p:nvSpPr>
                    <p:cNvPr id="1042" name="Forma libre: forma 1041">
                      <a:extLst>
                        <a:ext uri="{FF2B5EF4-FFF2-40B4-BE49-F238E27FC236}">
                          <a16:creationId xmlns:a16="http://schemas.microsoft.com/office/drawing/2014/main" id="{4E155C8E-1D35-6BAE-842B-41EDC9D9FD9C}"/>
                        </a:ext>
                      </a:extLst>
                    </p:cNvPr>
                    <p:cNvSpPr/>
                    <p:nvPr/>
                  </p:nvSpPr>
                  <p:spPr>
                    <a:xfrm>
                      <a:off x="5619750" y="309729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3" name="Forma libre: forma 1042">
                      <a:extLst>
                        <a:ext uri="{FF2B5EF4-FFF2-40B4-BE49-F238E27FC236}">
                          <a16:creationId xmlns:a16="http://schemas.microsoft.com/office/drawing/2014/main" id="{7FDA73D7-2442-A912-AD18-627CA1D462B0}"/>
                        </a:ext>
                      </a:extLst>
                    </p:cNvPr>
                    <p:cNvSpPr/>
                    <p:nvPr/>
                  </p:nvSpPr>
                  <p:spPr>
                    <a:xfrm>
                      <a:off x="5667375" y="314491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4" name="Forma libre: forma 1043">
                      <a:extLst>
                        <a:ext uri="{FF2B5EF4-FFF2-40B4-BE49-F238E27FC236}">
                          <a16:creationId xmlns:a16="http://schemas.microsoft.com/office/drawing/2014/main" id="{BB9FD632-880E-24ED-A343-A5FF0B9A0AD1}"/>
                        </a:ext>
                      </a:extLst>
                    </p:cNvPr>
                    <p:cNvSpPr/>
                    <p:nvPr/>
                  </p:nvSpPr>
                  <p:spPr>
                    <a:xfrm>
                      <a:off x="5701464" y="341696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3" name="Gráfico 423">
                    <a:extLst>
                      <a:ext uri="{FF2B5EF4-FFF2-40B4-BE49-F238E27FC236}">
                        <a16:creationId xmlns:a16="http://schemas.microsoft.com/office/drawing/2014/main" id="{E1A1187F-8EE2-5B0D-DD71-CA6471865BF6}"/>
                      </a:ext>
                    </a:extLst>
                  </p:cNvPr>
                  <p:cNvGrpSpPr/>
                  <p:nvPr/>
                </p:nvGrpSpPr>
                <p:grpSpPr>
                  <a:xfrm>
                    <a:off x="6242475" y="2849641"/>
                    <a:ext cx="1659978" cy="790575"/>
                    <a:chOff x="6242475" y="2849641"/>
                    <a:chExt cx="1659978" cy="790575"/>
                  </a:xfrm>
                </p:grpSpPr>
                <p:grpSp>
                  <p:nvGrpSpPr>
                    <p:cNvPr id="1030" name="Gráfico 423">
                      <a:extLst>
                        <a:ext uri="{FF2B5EF4-FFF2-40B4-BE49-F238E27FC236}">
                          <a16:creationId xmlns:a16="http://schemas.microsoft.com/office/drawing/2014/main" id="{31E03461-2B7C-2274-0522-7DB52A5FBF13}"/>
                        </a:ext>
                      </a:extLst>
                    </p:cNvPr>
                    <p:cNvGrpSpPr/>
                    <p:nvPr/>
                  </p:nvGrpSpPr>
                  <p:grpSpPr>
                    <a:xfrm>
                      <a:off x="6242475" y="2849641"/>
                      <a:ext cx="381000" cy="790575"/>
                      <a:chOff x="6242475" y="2849641"/>
                      <a:chExt cx="381000" cy="790575"/>
                    </a:xfrm>
                  </p:grpSpPr>
                  <p:sp>
                    <p:nvSpPr>
                      <p:cNvPr id="1039" name="Forma libre: forma 1038">
                        <a:extLst>
                          <a:ext uri="{FF2B5EF4-FFF2-40B4-BE49-F238E27FC236}">
                            <a16:creationId xmlns:a16="http://schemas.microsoft.com/office/drawing/2014/main" id="{A028750C-B634-F38D-221A-E6BC43DD1C9F}"/>
                          </a:ext>
                        </a:extLst>
                      </p:cNvPr>
                      <p:cNvSpPr/>
                      <p:nvPr/>
                    </p:nvSpPr>
                    <p:spPr>
                      <a:xfrm>
                        <a:off x="6242475" y="284964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0" name="Forma libre: forma 1039">
                        <a:extLst>
                          <a:ext uri="{FF2B5EF4-FFF2-40B4-BE49-F238E27FC236}">
                            <a16:creationId xmlns:a16="http://schemas.microsoft.com/office/drawing/2014/main" id="{7DBA6593-15D6-C8BD-10EC-5A9FFC497C9A}"/>
                          </a:ext>
                        </a:extLst>
                      </p:cNvPr>
                      <p:cNvSpPr/>
                      <p:nvPr/>
                    </p:nvSpPr>
                    <p:spPr>
                      <a:xfrm>
                        <a:off x="6290100" y="289726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1" name="Forma libre: forma 1040">
                        <a:extLst>
                          <a:ext uri="{FF2B5EF4-FFF2-40B4-BE49-F238E27FC236}">
                            <a16:creationId xmlns:a16="http://schemas.microsoft.com/office/drawing/2014/main" id="{3B25AB8F-C2B0-9EEE-B2E9-F1BC122BB103}"/>
                          </a:ext>
                        </a:extLst>
                      </p:cNvPr>
                      <p:cNvSpPr/>
                      <p:nvPr/>
                    </p:nvSpPr>
                    <p:spPr>
                      <a:xfrm>
                        <a:off x="6324190" y="316931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31" name="Gráfico 423">
                      <a:extLst>
                        <a:ext uri="{FF2B5EF4-FFF2-40B4-BE49-F238E27FC236}">
                          <a16:creationId xmlns:a16="http://schemas.microsoft.com/office/drawing/2014/main" id="{DB361414-1497-286D-29AC-9B6E4094F1EF}"/>
                        </a:ext>
                      </a:extLst>
                    </p:cNvPr>
                    <p:cNvGrpSpPr/>
                    <p:nvPr/>
                  </p:nvGrpSpPr>
                  <p:grpSpPr>
                    <a:xfrm>
                      <a:off x="6881964" y="2849641"/>
                      <a:ext cx="381000" cy="790575"/>
                      <a:chOff x="6881964" y="2849641"/>
                      <a:chExt cx="381000" cy="790575"/>
                    </a:xfrm>
                  </p:grpSpPr>
                  <p:sp>
                    <p:nvSpPr>
                      <p:cNvPr id="1036" name="Forma libre: forma 1035">
                        <a:extLst>
                          <a:ext uri="{FF2B5EF4-FFF2-40B4-BE49-F238E27FC236}">
                            <a16:creationId xmlns:a16="http://schemas.microsoft.com/office/drawing/2014/main" id="{BED0913C-BE89-7470-F11F-63CC3D82467D}"/>
                          </a:ext>
                        </a:extLst>
                      </p:cNvPr>
                      <p:cNvSpPr/>
                      <p:nvPr/>
                    </p:nvSpPr>
                    <p:spPr>
                      <a:xfrm>
                        <a:off x="6881964" y="284964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7" name="Forma libre: forma 1036">
                        <a:extLst>
                          <a:ext uri="{FF2B5EF4-FFF2-40B4-BE49-F238E27FC236}">
                            <a16:creationId xmlns:a16="http://schemas.microsoft.com/office/drawing/2014/main" id="{EE33C628-F4F1-A36F-0A9C-B773B1B3B5CF}"/>
                          </a:ext>
                        </a:extLst>
                      </p:cNvPr>
                      <p:cNvSpPr/>
                      <p:nvPr/>
                    </p:nvSpPr>
                    <p:spPr>
                      <a:xfrm>
                        <a:off x="6929589" y="289726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8" name="Forma libre: forma 1037">
                        <a:extLst>
                          <a:ext uri="{FF2B5EF4-FFF2-40B4-BE49-F238E27FC236}">
                            <a16:creationId xmlns:a16="http://schemas.microsoft.com/office/drawing/2014/main" id="{6FE9C192-94ED-4654-0C2D-29A14C1A80CB}"/>
                          </a:ext>
                        </a:extLst>
                      </p:cNvPr>
                      <p:cNvSpPr/>
                      <p:nvPr/>
                    </p:nvSpPr>
                    <p:spPr>
                      <a:xfrm>
                        <a:off x="6963679" y="316931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32" name="Gráfico 423">
                      <a:extLst>
                        <a:ext uri="{FF2B5EF4-FFF2-40B4-BE49-F238E27FC236}">
                          <a16:creationId xmlns:a16="http://schemas.microsoft.com/office/drawing/2014/main" id="{B5FF877D-DF35-556A-987A-67BDA0CE69C6}"/>
                        </a:ext>
                      </a:extLst>
                    </p:cNvPr>
                    <p:cNvGrpSpPr/>
                    <p:nvPr/>
                  </p:nvGrpSpPr>
                  <p:grpSpPr>
                    <a:xfrm>
                      <a:off x="7521454" y="2849641"/>
                      <a:ext cx="381000" cy="790575"/>
                      <a:chOff x="7521454" y="2849641"/>
                      <a:chExt cx="381000" cy="790575"/>
                    </a:xfrm>
                  </p:grpSpPr>
                  <p:sp>
                    <p:nvSpPr>
                      <p:cNvPr id="1033" name="Forma libre: forma 1032">
                        <a:extLst>
                          <a:ext uri="{FF2B5EF4-FFF2-40B4-BE49-F238E27FC236}">
                            <a16:creationId xmlns:a16="http://schemas.microsoft.com/office/drawing/2014/main" id="{FA25D8C4-DDA7-12AA-C4AE-5896961FA2DF}"/>
                          </a:ext>
                        </a:extLst>
                      </p:cNvPr>
                      <p:cNvSpPr/>
                      <p:nvPr/>
                    </p:nvSpPr>
                    <p:spPr>
                      <a:xfrm>
                        <a:off x="7521454" y="2849641"/>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4" name="Forma libre: forma 1033">
                        <a:extLst>
                          <a:ext uri="{FF2B5EF4-FFF2-40B4-BE49-F238E27FC236}">
                            <a16:creationId xmlns:a16="http://schemas.microsoft.com/office/drawing/2014/main" id="{451879CC-156F-71B3-524A-7969CC371448}"/>
                          </a:ext>
                        </a:extLst>
                      </p:cNvPr>
                      <p:cNvSpPr/>
                      <p:nvPr/>
                    </p:nvSpPr>
                    <p:spPr>
                      <a:xfrm>
                        <a:off x="7569079" y="2897266"/>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5" name="Forma libre: forma 1034">
                        <a:extLst>
                          <a:ext uri="{FF2B5EF4-FFF2-40B4-BE49-F238E27FC236}">
                            <a16:creationId xmlns:a16="http://schemas.microsoft.com/office/drawing/2014/main" id="{CDC71DFF-CF1C-B8D2-EC61-F6A6A7CBE380}"/>
                          </a:ext>
                        </a:extLst>
                      </p:cNvPr>
                      <p:cNvSpPr/>
                      <p:nvPr/>
                    </p:nvSpPr>
                    <p:spPr>
                      <a:xfrm>
                        <a:off x="7603169" y="3169319"/>
                        <a:ext cx="229142" cy="400564"/>
                      </a:xfrm>
                      <a:custGeom>
                        <a:avLst/>
                        <a:gdLst>
                          <a:gd name="connsiteX0" fmla="*/ 229143 w 229142"/>
                          <a:gd name="connsiteY0" fmla="*/ 0 h 400564"/>
                          <a:gd name="connsiteX1" fmla="*/ 229143 w 229142"/>
                          <a:gd name="connsiteY1" fmla="*/ 400564 h 400564"/>
                          <a:gd name="connsiteX2" fmla="*/ 0 w 229142"/>
                          <a:gd name="connsiteY2" fmla="*/ 400564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4"/>
                            </a:lnTo>
                            <a:lnTo>
                              <a:pt x="0" y="400564"/>
                            </a:lnTo>
                            <a:cubicBezTo>
                              <a:pt x="0" y="400564"/>
                              <a:pt x="201073" y="336242"/>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04" name="Gráfico 423">
                    <a:extLst>
                      <a:ext uri="{FF2B5EF4-FFF2-40B4-BE49-F238E27FC236}">
                        <a16:creationId xmlns:a16="http://schemas.microsoft.com/office/drawing/2014/main" id="{D8000B06-9D33-D256-277B-1C5124AB8400}"/>
                      </a:ext>
                    </a:extLst>
                  </p:cNvPr>
                  <p:cNvGrpSpPr/>
                  <p:nvPr/>
                </p:nvGrpSpPr>
                <p:grpSpPr>
                  <a:xfrm>
                    <a:off x="4210050" y="3979935"/>
                    <a:ext cx="381000" cy="790575"/>
                    <a:chOff x="4210050" y="3979935"/>
                    <a:chExt cx="381000" cy="790575"/>
                  </a:xfrm>
                </p:grpSpPr>
                <p:sp>
                  <p:nvSpPr>
                    <p:cNvPr id="1027" name="Forma libre: forma 1026">
                      <a:extLst>
                        <a:ext uri="{FF2B5EF4-FFF2-40B4-BE49-F238E27FC236}">
                          <a16:creationId xmlns:a16="http://schemas.microsoft.com/office/drawing/2014/main" id="{D84AC979-CEA5-91AB-F28D-30DDD3F2B68F}"/>
                        </a:ext>
                      </a:extLst>
                    </p:cNvPr>
                    <p:cNvSpPr/>
                    <p:nvPr/>
                  </p:nvSpPr>
                  <p:spPr>
                    <a:xfrm>
                      <a:off x="4210050" y="3979935"/>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8" name="Forma libre: forma 1027">
                      <a:extLst>
                        <a:ext uri="{FF2B5EF4-FFF2-40B4-BE49-F238E27FC236}">
                          <a16:creationId xmlns:a16="http://schemas.microsoft.com/office/drawing/2014/main" id="{F278A2B4-DA8D-377C-EB54-2206174EDFED}"/>
                        </a:ext>
                      </a:extLst>
                    </p:cNvPr>
                    <p:cNvSpPr/>
                    <p:nvPr/>
                  </p:nvSpPr>
                  <p:spPr>
                    <a:xfrm>
                      <a:off x="4257675" y="4027560"/>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9" name="Forma libre: forma 1028">
                      <a:extLst>
                        <a:ext uri="{FF2B5EF4-FFF2-40B4-BE49-F238E27FC236}">
                          <a16:creationId xmlns:a16="http://schemas.microsoft.com/office/drawing/2014/main" id="{0E72CA73-77AE-C7EB-904F-D58DA6238116}"/>
                        </a:ext>
                      </a:extLst>
                    </p:cNvPr>
                    <p:cNvSpPr/>
                    <p:nvPr/>
                  </p:nvSpPr>
                  <p:spPr>
                    <a:xfrm>
                      <a:off x="4291764" y="4299623"/>
                      <a:ext cx="229142" cy="400564"/>
                    </a:xfrm>
                    <a:custGeom>
                      <a:avLst/>
                      <a:gdLst>
                        <a:gd name="connsiteX0" fmla="*/ 229143 w 229142"/>
                        <a:gd name="connsiteY0" fmla="*/ 0 h 400564"/>
                        <a:gd name="connsiteX1" fmla="*/ 229143 w 229142"/>
                        <a:gd name="connsiteY1" fmla="*/ 400565 h 400564"/>
                        <a:gd name="connsiteX2" fmla="*/ 0 w 229142"/>
                        <a:gd name="connsiteY2" fmla="*/ 400565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5"/>
                          </a:lnTo>
                          <a:lnTo>
                            <a:pt x="0" y="400565"/>
                          </a:lnTo>
                          <a:cubicBezTo>
                            <a:pt x="0" y="400565"/>
                            <a:pt x="201073" y="336233"/>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5" name="Gráfico 423">
                    <a:extLst>
                      <a:ext uri="{FF2B5EF4-FFF2-40B4-BE49-F238E27FC236}">
                        <a16:creationId xmlns:a16="http://schemas.microsoft.com/office/drawing/2014/main" id="{608134B0-C7C0-1C3B-BF5E-416D41BE073D}"/>
                      </a:ext>
                    </a:extLst>
                  </p:cNvPr>
                  <p:cNvGrpSpPr/>
                  <p:nvPr/>
                </p:nvGrpSpPr>
                <p:grpSpPr>
                  <a:xfrm>
                    <a:off x="4679946" y="3979935"/>
                    <a:ext cx="381000" cy="790575"/>
                    <a:chOff x="4679946" y="3979935"/>
                    <a:chExt cx="381000" cy="790575"/>
                  </a:xfrm>
                </p:grpSpPr>
                <p:sp>
                  <p:nvSpPr>
                    <p:cNvPr id="1024" name="Forma libre: forma 1023">
                      <a:extLst>
                        <a:ext uri="{FF2B5EF4-FFF2-40B4-BE49-F238E27FC236}">
                          <a16:creationId xmlns:a16="http://schemas.microsoft.com/office/drawing/2014/main" id="{3C61B612-CD2A-78B7-04EA-7BDAEA3BB760}"/>
                        </a:ext>
                      </a:extLst>
                    </p:cNvPr>
                    <p:cNvSpPr/>
                    <p:nvPr/>
                  </p:nvSpPr>
                  <p:spPr>
                    <a:xfrm>
                      <a:off x="4679946" y="3979935"/>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5" name="Forma libre: forma 1024">
                      <a:extLst>
                        <a:ext uri="{FF2B5EF4-FFF2-40B4-BE49-F238E27FC236}">
                          <a16:creationId xmlns:a16="http://schemas.microsoft.com/office/drawing/2014/main" id="{8FD43A1D-153D-A46B-F060-2A5A50D4AFBD}"/>
                        </a:ext>
                      </a:extLst>
                    </p:cNvPr>
                    <p:cNvSpPr/>
                    <p:nvPr/>
                  </p:nvSpPr>
                  <p:spPr>
                    <a:xfrm>
                      <a:off x="4727571" y="4027560"/>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6" name="Forma libre: forma 1025">
                      <a:extLst>
                        <a:ext uri="{FF2B5EF4-FFF2-40B4-BE49-F238E27FC236}">
                          <a16:creationId xmlns:a16="http://schemas.microsoft.com/office/drawing/2014/main" id="{9856D0FF-068F-2370-1BA9-9625C432429E}"/>
                        </a:ext>
                      </a:extLst>
                    </p:cNvPr>
                    <p:cNvSpPr/>
                    <p:nvPr/>
                  </p:nvSpPr>
                  <p:spPr>
                    <a:xfrm>
                      <a:off x="4761671" y="4299623"/>
                      <a:ext cx="229142" cy="400564"/>
                    </a:xfrm>
                    <a:custGeom>
                      <a:avLst/>
                      <a:gdLst>
                        <a:gd name="connsiteX0" fmla="*/ 229143 w 229142"/>
                        <a:gd name="connsiteY0" fmla="*/ 0 h 400564"/>
                        <a:gd name="connsiteX1" fmla="*/ 229143 w 229142"/>
                        <a:gd name="connsiteY1" fmla="*/ 400565 h 400564"/>
                        <a:gd name="connsiteX2" fmla="*/ 0 w 229142"/>
                        <a:gd name="connsiteY2" fmla="*/ 400565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5"/>
                          </a:lnTo>
                          <a:lnTo>
                            <a:pt x="0" y="400565"/>
                          </a:lnTo>
                          <a:cubicBezTo>
                            <a:pt x="0" y="400565"/>
                            <a:pt x="201073" y="336233"/>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6" name="Gráfico 423">
                    <a:extLst>
                      <a:ext uri="{FF2B5EF4-FFF2-40B4-BE49-F238E27FC236}">
                        <a16:creationId xmlns:a16="http://schemas.microsoft.com/office/drawing/2014/main" id="{668917C4-1B6F-A153-A70C-B0625B6247B5}"/>
                      </a:ext>
                    </a:extLst>
                  </p:cNvPr>
                  <p:cNvGrpSpPr/>
                  <p:nvPr/>
                </p:nvGrpSpPr>
                <p:grpSpPr>
                  <a:xfrm>
                    <a:off x="5149853" y="3979935"/>
                    <a:ext cx="381000" cy="790575"/>
                    <a:chOff x="5149853" y="3979935"/>
                    <a:chExt cx="381000" cy="790575"/>
                  </a:xfrm>
                </p:grpSpPr>
                <p:sp>
                  <p:nvSpPr>
                    <p:cNvPr id="1021" name="Forma libre: forma 1020">
                      <a:extLst>
                        <a:ext uri="{FF2B5EF4-FFF2-40B4-BE49-F238E27FC236}">
                          <a16:creationId xmlns:a16="http://schemas.microsoft.com/office/drawing/2014/main" id="{1EB0E886-E250-285C-D763-1A59F1FFC931}"/>
                        </a:ext>
                      </a:extLst>
                    </p:cNvPr>
                    <p:cNvSpPr/>
                    <p:nvPr/>
                  </p:nvSpPr>
                  <p:spPr>
                    <a:xfrm>
                      <a:off x="5149853" y="3979935"/>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2" name="Forma libre: forma 1021">
                      <a:extLst>
                        <a:ext uri="{FF2B5EF4-FFF2-40B4-BE49-F238E27FC236}">
                          <a16:creationId xmlns:a16="http://schemas.microsoft.com/office/drawing/2014/main" id="{32A21CBD-26A8-0993-837C-D49643B7B224}"/>
                        </a:ext>
                      </a:extLst>
                    </p:cNvPr>
                    <p:cNvSpPr/>
                    <p:nvPr/>
                  </p:nvSpPr>
                  <p:spPr>
                    <a:xfrm>
                      <a:off x="5197478" y="4027560"/>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3" name="Forma libre: forma 1022">
                      <a:extLst>
                        <a:ext uri="{FF2B5EF4-FFF2-40B4-BE49-F238E27FC236}">
                          <a16:creationId xmlns:a16="http://schemas.microsoft.com/office/drawing/2014/main" id="{5C8CC3AF-4366-B9F8-8BD6-666F264AD280}"/>
                        </a:ext>
                      </a:extLst>
                    </p:cNvPr>
                    <p:cNvSpPr/>
                    <p:nvPr/>
                  </p:nvSpPr>
                  <p:spPr>
                    <a:xfrm>
                      <a:off x="5231568" y="4299623"/>
                      <a:ext cx="229142" cy="400564"/>
                    </a:xfrm>
                    <a:custGeom>
                      <a:avLst/>
                      <a:gdLst>
                        <a:gd name="connsiteX0" fmla="*/ 229143 w 229142"/>
                        <a:gd name="connsiteY0" fmla="*/ 0 h 400564"/>
                        <a:gd name="connsiteX1" fmla="*/ 229143 w 229142"/>
                        <a:gd name="connsiteY1" fmla="*/ 400565 h 400564"/>
                        <a:gd name="connsiteX2" fmla="*/ 0 w 229142"/>
                        <a:gd name="connsiteY2" fmla="*/ 400565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5"/>
                          </a:lnTo>
                          <a:lnTo>
                            <a:pt x="0" y="400565"/>
                          </a:lnTo>
                          <a:cubicBezTo>
                            <a:pt x="0" y="400565"/>
                            <a:pt x="201073" y="336233"/>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07" name="Gráfico 423">
                    <a:extLst>
                      <a:ext uri="{FF2B5EF4-FFF2-40B4-BE49-F238E27FC236}">
                        <a16:creationId xmlns:a16="http://schemas.microsoft.com/office/drawing/2014/main" id="{9D2CE701-C748-940F-99B7-A39A4704D80F}"/>
                      </a:ext>
                    </a:extLst>
                  </p:cNvPr>
                  <p:cNvGrpSpPr/>
                  <p:nvPr/>
                </p:nvGrpSpPr>
                <p:grpSpPr>
                  <a:xfrm>
                    <a:off x="5619750" y="3979935"/>
                    <a:ext cx="381000" cy="790575"/>
                    <a:chOff x="5619750" y="3979935"/>
                    <a:chExt cx="381000" cy="790575"/>
                  </a:xfrm>
                </p:grpSpPr>
                <p:sp>
                  <p:nvSpPr>
                    <p:cNvPr id="1018" name="Forma libre: forma 1017">
                      <a:extLst>
                        <a:ext uri="{FF2B5EF4-FFF2-40B4-BE49-F238E27FC236}">
                          <a16:creationId xmlns:a16="http://schemas.microsoft.com/office/drawing/2014/main" id="{CC2789B5-ED26-5704-7B94-80BC9C1EEC12}"/>
                        </a:ext>
                      </a:extLst>
                    </p:cNvPr>
                    <p:cNvSpPr/>
                    <p:nvPr/>
                  </p:nvSpPr>
                  <p:spPr>
                    <a:xfrm>
                      <a:off x="5619750" y="3979935"/>
                      <a:ext cx="381000" cy="790575"/>
                    </a:xfrm>
                    <a:custGeom>
                      <a:avLst/>
                      <a:gdLst>
                        <a:gd name="connsiteX0" fmla="*/ 0 w 381000"/>
                        <a:gd name="connsiteY0" fmla="*/ 0 h 790575"/>
                        <a:gd name="connsiteX1" fmla="*/ 381000 w 381000"/>
                        <a:gd name="connsiteY1" fmla="*/ 0 h 790575"/>
                        <a:gd name="connsiteX2" fmla="*/ 381000 w 381000"/>
                        <a:gd name="connsiteY2" fmla="*/ 790575 h 790575"/>
                        <a:gd name="connsiteX3" fmla="*/ 0 w 381000"/>
                        <a:gd name="connsiteY3" fmla="*/ 790575 h 790575"/>
                      </a:gdLst>
                      <a:ahLst/>
                      <a:cxnLst>
                        <a:cxn ang="0">
                          <a:pos x="connsiteX0" y="connsiteY0"/>
                        </a:cxn>
                        <a:cxn ang="0">
                          <a:pos x="connsiteX1" y="connsiteY1"/>
                        </a:cxn>
                        <a:cxn ang="0">
                          <a:pos x="connsiteX2" y="connsiteY2"/>
                        </a:cxn>
                        <a:cxn ang="0">
                          <a:pos x="connsiteX3" y="connsiteY3"/>
                        </a:cxn>
                      </a:cxnLst>
                      <a:rect l="l" t="t" r="r" b="b"/>
                      <a:pathLst>
                        <a:path w="381000" h="790575">
                          <a:moveTo>
                            <a:pt x="0" y="0"/>
                          </a:moveTo>
                          <a:lnTo>
                            <a:pt x="381000" y="0"/>
                          </a:lnTo>
                          <a:lnTo>
                            <a:pt x="381000" y="790575"/>
                          </a:lnTo>
                          <a:lnTo>
                            <a:pt x="0" y="790575"/>
                          </a:lnTo>
                          <a:close/>
                        </a:path>
                      </a:pathLst>
                    </a:custGeom>
                    <a:solidFill>
                      <a:srgbClr val="CCCCC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9" name="Forma libre: forma 1018">
                      <a:extLst>
                        <a:ext uri="{FF2B5EF4-FFF2-40B4-BE49-F238E27FC236}">
                          <a16:creationId xmlns:a16="http://schemas.microsoft.com/office/drawing/2014/main" id="{087FB6C3-4EBC-A471-78C5-DFC1B8ABE440}"/>
                        </a:ext>
                      </a:extLst>
                    </p:cNvPr>
                    <p:cNvSpPr/>
                    <p:nvPr/>
                  </p:nvSpPr>
                  <p:spPr>
                    <a:xfrm>
                      <a:off x="5667375" y="4027560"/>
                      <a:ext cx="285750" cy="695325"/>
                    </a:xfrm>
                    <a:custGeom>
                      <a:avLst/>
                      <a:gdLst>
                        <a:gd name="connsiteX0" fmla="*/ 0 w 285750"/>
                        <a:gd name="connsiteY0" fmla="*/ 0 h 695325"/>
                        <a:gd name="connsiteX1" fmla="*/ 285750 w 285750"/>
                        <a:gd name="connsiteY1" fmla="*/ 0 h 695325"/>
                        <a:gd name="connsiteX2" fmla="*/ 285750 w 285750"/>
                        <a:gd name="connsiteY2" fmla="*/ 695325 h 695325"/>
                        <a:gd name="connsiteX3" fmla="*/ 0 w 285750"/>
                        <a:gd name="connsiteY3" fmla="*/ 695325 h 695325"/>
                      </a:gdLst>
                      <a:ahLst/>
                      <a:cxnLst>
                        <a:cxn ang="0">
                          <a:pos x="connsiteX0" y="connsiteY0"/>
                        </a:cxn>
                        <a:cxn ang="0">
                          <a:pos x="connsiteX1" y="connsiteY1"/>
                        </a:cxn>
                        <a:cxn ang="0">
                          <a:pos x="connsiteX2" y="connsiteY2"/>
                        </a:cxn>
                        <a:cxn ang="0">
                          <a:pos x="connsiteX3" y="connsiteY3"/>
                        </a:cxn>
                      </a:cxnLst>
                      <a:rect l="l" t="t" r="r" b="b"/>
                      <a:pathLst>
                        <a:path w="285750" h="695325">
                          <a:moveTo>
                            <a:pt x="0" y="0"/>
                          </a:moveTo>
                          <a:lnTo>
                            <a:pt x="285750" y="0"/>
                          </a:lnTo>
                          <a:lnTo>
                            <a:pt x="285750" y="695325"/>
                          </a:lnTo>
                          <a:lnTo>
                            <a:pt x="0" y="695325"/>
                          </a:lnTo>
                          <a:close/>
                        </a:path>
                      </a:pathLst>
                    </a:custGeom>
                    <a:solidFill>
                      <a:srgbClr val="02AEF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0" name="Forma libre: forma 1019">
                      <a:extLst>
                        <a:ext uri="{FF2B5EF4-FFF2-40B4-BE49-F238E27FC236}">
                          <a16:creationId xmlns:a16="http://schemas.microsoft.com/office/drawing/2014/main" id="{B8E830E6-974D-0C2B-FC65-3630802606AB}"/>
                        </a:ext>
                      </a:extLst>
                    </p:cNvPr>
                    <p:cNvSpPr/>
                    <p:nvPr/>
                  </p:nvSpPr>
                  <p:spPr>
                    <a:xfrm>
                      <a:off x="5701464" y="4299623"/>
                      <a:ext cx="229142" cy="400564"/>
                    </a:xfrm>
                    <a:custGeom>
                      <a:avLst/>
                      <a:gdLst>
                        <a:gd name="connsiteX0" fmla="*/ 229143 w 229142"/>
                        <a:gd name="connsiteY0" fmla="*/ 0 h 400564"/>
                        <a:gd name="connsiteX1" fmla="*/ 229143 w 229142"/>
                        <a:gd name="connsiteY1" fmla="*/ 400565 h 400564"/>
                        <a:gd name="connsiteX2" fmla="*/ 0 w 229142"/>
                        <a:gd name="connsiteY2" fmla="*/ 400565 h 400564"/>
                        <a:gd name="connsiteX3" fmla="*/ 229143 w 229142"/>
                        <a:gd name="connsiteY3" fmla="*/ 0 h 400564"/>
                      </a:gdLst>
                      <a:ahLst/>
                      <a:cxnLst>
                        <a:cxn ang="0">
                          <a:pos x="connsiteX0" y="connsiteY0"/>
                        </a:cxn>
                        <a:cxn ang="0">
                          <a:pos x="connsiteX1" y="connsiteY1"/>
                        </a:cxn>
                        <a:cxn ang="0">
                          <a:pos x="connsiteX2" y="connsiteY2"/>
                        </a:cxn>
                        <a:cxn ang="0">
                          <a:pos x="connsiteX3" y="connsiteY3"/>
                        </a:cxn>
                      </a:cxnLst>
                      <a:rect l="l" t="t" r="r" b="b"/>
                      <a:pathLst>
                        <a:path w="229142" h="400564">
                          <a:moveTo>
                            <a:pt x="229143" y="0"/>
                          </a:moveTo>
                          <a:lnTo>
                            <a:pt x="229143" y="400565"/>
                          </a:lnTo>
                          <a:lnTo>
                            <a:pt x="0" y="400565"/>
                          </a:lnTo>
                          <a:cubicBezTo>
                            <a:pt x="0" y="400565"/>
                            <a:pt x="201073" y="336233"/>
                            <a:pt x="229143" y="0"/>
                          </a:cubicBezTo>
                          <a:close/>
                        </a:path>
                      </a:pathLst>
                    </a:custGeom>
                    <a:solidFill>
                      <a:srgbClr val="FCFAFA">
                        <a:alpha val="2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08" name="Forma libre: forma 1007">
                    <a:extLst>
                      <a:ext uri="{FF2B5EF4-FFF2-40B4-BE49-F238E27FC236}">
                        <a16:creationId xmlns:a16="http://schemas.microsoft.com/office/drawing/2014/main" id="{7A0EEC81-FAB3-E263-A277-FD19C4DDDA41}"/>
                      </a:ext>
                    </a:extLst>
                  </p:cNvPr>
                  <p:cNvSpPr/>
                  <p:nvPr/>
                </p:nvSpPr>
                <p:spPr>
                  <a:xfrm>
                    <a:off x="6383483" y="4259341"/>
                    <a:ext cx="1377953" cy="1066800"/>
                  </a:xfrm>
                  <a:custGeom>
                    <a:avLst/>
                    <a:gdLst>
                      <a:gd name="connsiteX0" fmla="*/ 0 w 1377953"/>
                      <a:gd name="connsiteY0" fmla="*/ 0 h 1066800"/>
                      <a:gd name="connsiteX1" fmla="*/ 1377953 w 1377953"/>
                      <a:gd name="connsiteY1" fmla="*/ 0 h 1066800"/>
                      <a:gd name="connsiteX2" fmla="*/ 1377953 w 1377953"/>
                      <a:gd name="connsiteY2" fmla="*/ 1066800 h 1066800"/>
                      <a:gd name="connsiteX3" fmla="*/ 0 w 1377953"/>
                      <a:gd name="connsiteY3" fmla="*/ 1066800 h 1066800"/>
                    </a:gdLst>
                    <a:ahLst/>
                    <a:cxnLst>
                      <a:cxn ang="0">
                        <a:pos x="connsiteX0" y="connsiteY0"/>
                      </a:cxn>
                      <a:cxn ang="0">
                        <a:pos x="connsiteX1" y="connsiteY1"/>
                      </a:cxn>
                      <a:cxn ang="0">
                        <a:pos x="connsiteX2" y="connsiteY2"/>
                      </a:cxn>
                      <a:cxn ang="0">
                        <a:pos x="connsiteX3" y="connsiteY3"/>
                      </a:cxn>
                    </a:cxnLst>
                    <a:rect l="l" t="t" r="r" b="b"/>
                    <a:pathLst>
                      <a:path w="1377953" h="1066800">
                        <a:moveTo>
                          <a:pt x="0" y="0"/>
                        </a:moveTo>
                        <a:lnTo>
                          <a:pt x="1377953" y="0"/>
                        </a:lnTo>
                        <a:lnTo>
                          <a:pt x="1377953" y="1066800"/>
                        </a:lnTo>
                        <a:lnTo>
                          <a:pt x="0" y="1066800"/>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9" name="Rectángulo: esquinas redondeadas 1008">
                    <a:extLst>
                      <a:ext uri="{FF2B5EF4-FFF2-40B4-BE49-F238E27FC236}">
                        <a16:creationId xmlns:a16="http://schemas.microsoft.com/office/drawing/2014/main" id="{DBF23616-6460-6ACB-5370-E9517668A538}"/>
                      </a:ext>
                    </a:extLst>
                  </p:cNvPr>
                  <p:cNvSpPr/>
                  <p:nvPr/>
                </p:nvSpPr>
                <p:spPr>
                  <a:xfrm>
                    <a:off x="6383483" y="3826815"/>
                    <a:ext cx="1377953" cy="290362"/>
                  </a:xfrm>
                  <a:prstGeom prst="roundRect">
                    <a:avLst/>
                  </a:pr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0" name="Forma libre: forma 1009">
                    <a:extLst>
                      <a:ext uri="{FF2B5EF4-FFF2-40B4-BE49-F238E27FC236}">
                        <a16:creationId xmlns:a16="http://schemas.microsoft.com/office/drawing/2014/main" id="{C8CBFD88-A2AC-944E-F0B5-CA0B4F6F9D1A}"/>
                      </a:ext>
                    </a:extLst>
                  </p:cNvPr>
                  <p:cNvSpPr/>
                  <p:nvPr/>
                </p:nvSpPr>
                <p:spPr>
                  <a:xfrm>
                    <a:off x="6431108" y="4306966"/>
                    <a:ext cx="1282703" cy="1019175"/>
                  </a:xfrm>
                  <a:custGeom>
                    <a:avLst/>
                    <a:gdLst>
                      <a:gd name="connsiteX0" fmla="*/ 0 w 1282703"/>
                      <a:gd name="connsiteY0" fmla="*/ 0 h 1019175"/>
                      <a:gd name="connsiteX1" fmla="*/ 1282703 w 1282703"/>
                      <a:gd name="connsiteY1" fmla="*/ 0 h 1019175"/>
                      <a:gd name="connsiteX2" fmla="*/ 1282703 w 1282703"/>
                      <a:gd name="connsiteY2" fmla="*/ 1019175 h 1019175"/>
                      <a:gd name="connsiteX3" fmla="*/ 0 w 1282703"/>
                      <a:gd name="connsiteY3" fmla="*/ 1019175 h 1019175"/>
                    </a:gdLst>
                    <a:ahLst/>
                    <a:cxnLst>
                      <a:cxn ang="0">
                        <a:pos x="connsiteX0" y="connsiteY0"/>
                      </a:cxn>
                      <a:cxn ang="0">
                        <a:pos x="connsiteX1" y="connsiteY1"/>
                      </a:cxn>
                      <a:cxn ang="0">
                        <a:pos x="connsiteX2" y="connsiteY2"/>
                      </a:cxn>
                      <a:cxn ang="0">
                        <a:pos x="connsiteX3" y="connsiteY3"/>
                      </a:cxn>
                    </a:cxnLst>
                    <a:rect l="l" t="t" r="r" b="b"/>
                    <a:pathLst>
                      <a:path w="1282703" h="1019175">
                        <a:moveTo>
                          <a:pt x="0" y="0"/>
                        </a:moveTo>
                        <a:lnTo>
                          <a:pt x="1282703" y="0"/>
                        </a:lnTo>
                        <a:lnTo>
                          <a:pt x="1282703" y="1019175"/>
                        </a:lnTo>
                        <a:lnTo>
                          <a:pt x="0" y="1019175"/>
                        </a:lnTo>
                        <a:close/>
                      </a:path>
                    </a:pathLst>
                  </a:custGeom>
                  <a:solidFill>
                    <a:schemeClr val="tx1">
                      <a:lumMod val="65000"/>
                      <a:lumOff val="3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1" name="Forma libre: forma 1010">
                    <a:extLst>
                      <a:ext uri="{FF2B5EF4-FFF2-40B4-BE49-F238E27FC236}">
                        <a16:creationId xmlns:a16="http://schemas.microsoft.com/office/drawing/2014/main" id="{9EB45E7D-B206-D4AB-5097-826CE357868C}"/>
                      </a:ext>
                    </a:extLst>
                  </p:cNvPr>
                  <p:cNvSpPr/>
                  <p:nvPr/>
                </p:nvSpPr>
                <p:spPr>
                  <a:xfrm>
                    <a:off x="6054871" y="2560710"/>
                    <a:ext cx="2035178" cy="136521"/>
                  </a:xfrm>
                  <a:custGeom>
                    <a:avLst/>
                    <a:gdLst>
                      <a:gd name="connsiteX0" fmla="*/ 0 w 2035178"/>
                      <a:gd name="connsiteY0" fmla="*/ 0 h 136521"/>
                      <a:gd name="connsiteX1" fmla="*/ 2035178 w 2035178"/>
                      <a:gd name="connsiteY1" fmla="*/ 0 h 136521"/>
                      <a:gd name="connsiteX2" fmla="*/ 2035178 w 2035178"/>
                      <a:gd name="connsiteY2" fmla="*/ 136522 h 136521"/>
                      <a:gd name="connsiteX3" fmla="*/ 0 w 2035178"/>
                      <a:gd name="connsiteY3" fmla="*/ 136522 h 136521"/>
                    </a:gdLst>
                    <a:ahLst/>
                    <a:cxnLst>
                      <a:cxn ang="0">
                        <a:pos x="connsiteX0" y="connsiteY0"/>
                      </a:cxn>
                      <a:cxn ang="0">
                        <a:pos x="connsiteX1" y="connsiteY1"/>
                      </a:cxn>
                      <a:cxn ang="0">
                        <a:pos x="connsiteX2" y="connsiteY2"/>
                      </a:cxn>
                      <a:cxn ang="0">
                        <a:pos x="connsiteX3" y="connsiteY3"/>
                      </a:cxn>
                    </a:cxnLst>
                    <a:rect l="l" t="t" r="r" b="b"/>
                    <a:pathLst>
                      <a:path w="2035178" h="136521">
                        <a:moveTo>
                          <a:pt x="0" y="0"/>
                        </a:moveTo>
                        <a:lnTo>
                          <a:pt x="2035178" y="0"/>
                        </a:lnTo>
                        <a:lnTo>
                          <a:pt x="2035178" y="136522"/>
                        </a:lnTo>
                        <a:lnTo>
                          <a:pt x="0" y="136522"/>
                        </a:lnTo>
                        <a:close/>
                      </a:path>
                    </a:pathLst>
                  </a:custGeom>
                  <a:solidFill>
                    <a:srgbClr val="B3B3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2" name="Forma libre: forma 1011">
                    <a:extLst>
                      <a:ext uri="{FF2B5EF4-FFF2-40B4-BE49-F238E27FC236}">
                        <a16:creationId xmlns:a16="http://schemas.microsoft.com/office/drawing/2014/main" id="{96F59E81-BCFC-F35F-9CA6-43158682F1D9}"/>
                      </a:ext>
                    </a:extLst>
                  </p:cNvPr>
                  <p:cNvSpPr/>
                  <p:nvPr/>
                </p:nvSpPr>
                <p:spPr>
                  <a:xfrm>
                    <a:off x="6400800" y="1868566"/>
                    <a:ext cx="123825" cy="692181"/>
                  </a:xfrm>
                  <a:custGeom>
                    <a:avLst/>
                    <a:gdLst>
                      <a:gd name="connsiteX0" fmla="*/ 0 w 123825"/>
                      <a:gd name="connsiteY0" fmla="*/ 0 h 692181"/>
                      <a:gd name="connsiteX1" fmla="*/ 123825 w 123825"/>
                      <a:gd name="connsiteY1" fmla="*/ 0 h 692181"/>
                      <a:gd name="connsiteX2" fmla="*/ 123825 w 123825"/>
                      <a:gd name="connsiteY2" fmla="*/ 692182 h 692181"/>
                      <a:gd name="connsiteX3" fmla="*/ 0 w 123825"/>
                      <a:gd name="connsiteY3" fmla="*/ 692182 h 692181"/>
                    </a:gdLst>
                    <a:ahLst/>
                    <a:cxnLst>
                      <a:cxn ang="0">
                        <a:pos x="connsiteX0" y="connsiteY0"/>
                      </a:cxn>
                      <a:cxn ang="0">
                        <a:pos x="connsiteX1" y="connsiteY1"/>
                      </a:cxn>
                      <a:cxn ang="0">
                        <a:pos x="connsiteX2" y="connsiteY2"/>
                      </a:cxn>
                      <a:cxn ang="0">
                        <a:pos x="connsiteX3" y="connsiteY3"/>
                      </a:cxn>
                    </a:cxnLst>
                    <a:rect l="l" t="t" r="r" b="b"/>
                    <a:pathLst>
                      <a:path w="123825" h="692181">
                        <a:moveTo>
                          <a:pt x="0" y="0"/>
                        </a:moveTo>
                        <a:lnTo>
                          <a:pt x="123825" y="0"/>
                        </a:lnTo>
                        <a:lnTo>
                          <a:pt x="123825" y="692182"/>
                        </a:lnTo>
                        <a:lnTo>
                          <a:pt x="0" y="692182"/>
                        </a:lnTo>
                        <a:close/>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3" name="Forma libre: forma 1012">
                    <a:extLst>
                      <a:ext uri="{FF2B5EF4-FFF2-40B4-BE49-F238E27FC236}">
                        <a16:creationId xmlns:a16="http://schemas.microsoft.com/office/drawing/2014/main" id="{9CEADEB1-EC76-EC08-FFB5-A581044DF334}"/>
                      </a:ext>
                    </a:extLst>
                  </p:cNvPr>
                  <p:cNvSpPr/>
                  <p:nvPr/>
                </p:nvSpPr>
                <p:spPr>
                  <a:xfrm>
                    <a:off x="6627018" y="1868566"/>
                    <a:ext cx="123825" cy="692181"/>
                  </a:xfrm>
                  <a:custGeom>
                    <a:avLst/>
                    <a:gdLst>
                      <a:gd name="connsiteX0" fmla="*/ 0 w 123825"/>
                      <a:gd name="connsiteY0" fmla="*/ 0 h 692181"/>
                      <a:gd name="connsiteX1" fmla="*/ 123825 w 123825"/>
                      <a:gd name="connsiteY1" fmla="*/ 0 h 692181"/>
                      <a:gd name="connsiteX2" fmla="*/ 123825 w 123825"/>
                      <a:gd name="connsiteY2" fmla="*/ 692182 h 692181"/>
                      <a:gd name="connsiteX3" fmla="*/ 0 w 123825"/>
                      <a:gd name="connsiteY3" fmla="*/ 692182 h 692181"/>
                    </a:gdLst>
                    <a:ahLst/>
                    <a:cxnLst>
                      <a:cxn ang="0">
                        <a:pos x="connsiteX0" y="connsiteY0"/>
                      </a:cxn>
                      <a:cxn ang="0">
                        <a:pos x="connsiteX1" y="connsiteY1"/>
                      </a:cxn>
                      <a:cxn ang="0">
                        <a:pos x="connsiteX2" y="connsiteY2"/>
                      </a:cxn>
                      <a:cxn ang="0">
                        <a:pos x="connsiteX3" y="connsiteY3"/>
                      </a:cxn>
                    </a:cxnLst>
                    <a:rect l="l" t="t" r="r" b="b"/>
                    <a:pathLst>
                      <a:path w="123825" h="692181">
                        <a:moveTo>
                          <a:pt x="0" y="0"/>
                        </a:moveTo>
                        <a:lnTo>
                          <a:pt x="123825" y="0"/>
                        </a:lnTo>
                        <a:lnTo>
                          <a:pt x="123825" y="692182"/>
                        </a:lnTo>
                        <a:lnTo>
                          <a:pt x="0" y="692182"/>
                        </a:lnTo>
                        <a:close/>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4" name="Forma libre: forma 1013">
                    <a:extLst>
                      <a:ext uri="{FF2B5EF4-FFF2-40B4-BE49-F238E27FC236}">
                        <a16:creationId xmlns:a16="http://schemas.microsoft.com/office/drawing/2014/main" id="{D689A47D-3A21-0A56-A1AB-E908E6137495}"/>
                      </a:ext>
                    </a:extLst>
                  </p:cNvPr>
                  <p:cNvSpPr/>
                  <p:nvPr/>
                </p:nvSpPr>
                <p:spPr>
                  <a:xfrm>
                    <a:off x="6853237" y="1868566"/>
                    <a:ext cx="123825" cy="692181"/>
                  </a:xfrm>
                  <a:custGeom>
                    <a:avLst/>
                    <a:gdLst>
                      <a:gd name="connsiteX0" fmla="*/ 0 w 123825"/>
                      <a:gd name="connsiteY0" fmla="*/ 0 h 692181"/>
                      <a:gd name="connsiteX1" fmla="*/ 123825 w 123825"/>
                      <a:gd name="connsiteY1" fmla="*/ 0 h 692181"/>
                      <a:gd name="connsiteX2" fmla="*/ 123825 w 123825"/>
                      <a:gd name="connsiteY2" fmla="*/ 692182 h 692181"/>
                      <a:gd name="connsiteX3" fmla="*/ 0 w 123825"/>
                      <a:gd name="connsiteY3" fmla="*/ 692182 h 692181"/>
                    </a:gdLst>
                    <a:ahLst/>
                    <a:cxnLst>
                      <a:cxn ang="0">
                        <a:pos x="connsiteX0" y="connsiteY0"/>
                      </a:cxn>
                      <a:cxn ang="0">
                        <a:pos x="connsiteX1" y="connsiteY1"/>
                      </a:cxn>
                      <a:cxn ang="0">
                        <a:pos x="connsiteX2" y="connsiteY2"/>
                      </a:cxn>
                      <a:cxn ang="0">
                        <a:pos x="connsiteX3" y="connsiteY3"/>
                      </a:cxn>
                    </a:cxnLst>
                    <a:rect l="l" t="t" r="r" b="b"/>
                    <a:pathLst>
                      <a:path w="123825" h="692181">
                        <a:moveTo>
                          <a:pt x="0" y="0"/>
                        </a:moveTo>
                        <a:lnTo>
                          <a:pt x="123825" y="0"/>
                        </a:lnTo>
                        <a:lnTo>
                          <a:pt x="123825" y="692182"/>
                        </a:lnTo>
                        <a:lnTo>
                          <a:pt x="0" y="692182"/>
                        </a:lnTo>
                        <a:close/>
                      </a:path>
                    </a:pathLst>
                  </a:custGeom>
                  <a:solidFill>
                    <a:schemeClr val="bg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5" name="Forma libre: forma 1014">
                    <a:extLst>
                      <a:ext uri="{FF2B5EF4-FFF2-40B4-BE49-F238E27FC236}">
                        <a16:creationId xmlns:a16="http://schemas.microsoft.com/office/drawing/2014/main" id="{CB03D79E-846A-8523-BB1B-2CB95966D72C}"/>
                      </a:ext>
                    </a:extLst>
                  </p:cNvPr>
                  <p:cNvSpPr/>
                  <p:nvPr/>
                </p:nvSpPr>
                <p:spPr>
                  <a:xfrm>
                    <a:off x="6400800" y="1982866"/>
                    <a:ext cx="123825" cy="85725"/>
                  </a:xfrm>
                  <a:custGeom>
                    <a:avLst/>
                    <a:gdLst>
                      <a:gd name="connsiteX0" fmla="*/ 0 w 123825"/>
                      <a:gd name="connsiteY0" fmla="*/ 0 h 85725"/>
                      <a:gd name="connsiteX1" fmla="*/ 123825 w 123825"/>
                      <a:gd name="connsiteY1" fmla="*/ 0 h 85725"/>
                      <a:gd name="connsiteX2" fmla="*/ 123825 w 123825"/>
                      <a:gd name="connsiteY2" fmla="*/ 85725 h 85725"/>
                      <a:gd name="connsiteX3" fmla="*/ 0 w 123825"/>
                      <a:gd name="connsiteY3" fmla="*/ 85725 h 85725"/>
                    </a:gdLst>
                    <a:ahLst/>
                    <a:cxnLst>
                      <a:cxn ang="0">
                        <a:pos x="connsiteX0" y="connsiteY0"/>
                      </a:cxn>
                      <a:cxn ang="0">
                        <a:pos x="connsiteX1" y="connsiteY1"/>
                      </a:cxn>
                      <a:cxn ang="0">
                        <a:pos x="connsiteX2" y="connsiteY2"/>
                      </a:cxn>
                      <a:cxn ang="0">
                        <a:pos x="connsiteX3" y="connsiteY3"/>
                      </a:cxn>
                    </a:cxnLst>
                    <a:rect l="l" t="t" r="r" b="b"/>
                    <a:pathLst>
                      <a:path w="123825" h="85725">
                        <a:moveTo>
                          <a:pt x="0" y="0"/>
                        </a:moveTo>
                        <a:lnTo>
                          <a:pt x="123825" y="0"/>
                        </a:lnTo>
                        <a:lnTo>
                          <a:pt x="123825" y="85725"/>
                        </a:lnTo>
                        <a:lnTo>
                          <a:pt x="0" y="85725"/>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6" name="Forma libre: forma 1015">
                    <a:extLst>
                      <a:ext uri="{FF2B5EF4-FFF2-40B4-BE49-F238E27FC236}">
                        <a16:creationId xmlns:a16="http://schemas.microsoft.com/office/drawing/2014/main" id="{C5CC9A0F-9773-817D-49DF-1EB948A5723C}"/>
                      </a:ext>
                    </a:extLst>
                  </p:cNvPr>
                  <p:cNvSpPr/>
                  <p:nvPr/>
                </p:nvSpPr>
                <p:spPr>
                  <a:xfrm>
                    <a:off x="6627018" y="1982866"/>
                    <a:ext cx="123825" cy="85725"/>
                  </a:xfrm>
                  <a:custGeom>
                    <a:avLst/>
                    <a:gdLst>
                      <a:gd name="connsiteX0" fmla="*/ 0 w 123825"/>
                      <a:gd name="connsiteY0" fmla="*/ 0 h 85725"/>
                      <a:gd name="connsiteX1" fmla="*/ 123825 w 123825"/>
                      <a:gd name="connsiteY1" fmla="*/ 0 h 85725"/>
                      <a:gd name="connsiteX2" fmla="*/ 123825 w 123825"/>
                      <a:gd name="connsiteY2" fmla="*/ 85725 h 85725"/>
                      <a:gd name="connsiteX3" fmla="*/ 0 w 123825"/>
                      <a:gd name="connsiteY3" fmla="*/ 85725 h 85725"/>
                    </a:gdLst>
                    <a:ahLst/>
                    <a:cxnLst>
                      <a:cxn ang="0">
                        <a:pos x="connsiteX0" y="connsiteY0"/>
                      </a:cxn>
                      <a:cxn ang="0">
                        <a:pos x="connsiteX1" y="connsiteY1"/>
                      </a:cxn>
                      <a:cxn ang="0">
                        <a:pos x="connsiteX2" y="connsiteY2"/>
                      </a:cxn>
                      <a:cxn ang="0">
                        <a:pos x="connsiteX3" y="connsiteY3"/>
                      </a:cxn>
                    </a:cxnLst>
                    <a:rect l="l" t="t" r="r" b="b"/>
                    <a:pathLst>
                      <a:path w="123825" h="85725">
                        <a:moveTo>
                          <a:pt x="0" y="0"/>
                        </a:moveTo>
                        <a:lnTo>
                          <a:pt x="123825" y="0"/>
                        </a:lnTo>
                        <a:lnTo>
                          <a:pt x="123825" y="85725"/>
                        </a:lnTo>
                        <a:lnTo>
                          <a:pt x="0" y="85725"/>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7" name="Forma libre: forma 1016">
                    <a:extLst>
                      <a:ext uri="{FF2B5EF4-FFF2-40B4-BE49-F238E27FC236}">
                        <a16:creationId xmlns:a16="http://schemas.microsoft.com/office/drawing/2014/main" id="{40A4AA31-7D6A-050E-209A-CFDB822C9DC5}"/>
                      </a:ext>
                    </a:extLst>
                  </p:cNvPr>
                  <p:cNvSpPr/>
                  <p:nvPr/>
                </p:nvSpPr>
                <p:spPr>
                  <a:xfrm>
                    <a:off x="6853237" y="1982866"/>
                    <a:ext cx="123825" cy="85725"/>
                  </a:xfrm>
                  <a:custGeom>
                    <a:avLst/>
                    <a:gdLst>
                      <a:gd name="connsiteX0" fmla="*/ 0 w 123825"/>
                      <a:gd name="connsiteY0" fmla="*/ 0 h 85725"/>
                      <a:gd name="connsiteX1" fmla="*/ 123825 w 123825"/>
                      <a:gd name="connsiteY1" fmla="*/ 0 h 85725"/>
                      <a:gd name="connsiteX2" fmla="*/ 123825 w 123825"/>
                      <a:gd name="connsiteY2" fmla="*/ 85725 h 85725"/>
                      <a:gd name="connsiteX3" fmla="*/ 0 w 123825"/>
                      <a:gd name="connsiteY3" fmla="*/ 85725 h 85725"/>
                    </a:gdLst>
                    <a:ahLst/>
                    <a:cxnLst>
                      <a:cxn ang="0">
                        <a:pos x="connsiteX0" y="connsiteY0"/>
                      </a:cxn>
                      <a:cxn ang="0">
                        <a:pos x="connsiteX1" y="connsiteY1"/>
                      </a:cxn>
                      <a:cxn ang="0">
                        <a:pos x="connsiteX2" y="connsiteY2"/>
                      </a:cxn>
                      <a:cxn ang="0">
                        <a:pos x="connsiteX3" y="connsiteY3"/>
                      </a:cxn>
                    </a:cxnLst>
                    <a:rect l="l" t="t" r="r" b="b"/>
                    <a:pathLst>
                      <a:path w="123825" h="85725">
                        <a:moveTo>
                          <a:pt x="0" y="0"/>
                        </a:moveTo>
                        <a:lnTo>
                          <a:pt x="123825" y="0"/>
                        </a:lnTo>
                        <a:lnTo>
                          <a:pt x="123825" y="85725"/>
                        </a:lnTo>
                        <a:lnTo>
                          <a:pt x="0" y="85725"/>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28" name="Grupo 827">
                  <a:extLst>
                    <a:ext uri="{FF2B5EF4-FFF2-40B4-BE49-F238E27FC236}">
                      <a16:creationId xmlns:a16="http://schemas.microsoft.com/office/drawing/2014/main" id="{E6B3C4D3-9B9A-EC92-29BD-54A6876236FA}"/>
                    </a:ext>
                  </a:extLst>
                </p:cNvPr>
                <p:cNvGrpSpPr/>
                <p:nvPr/>
              </p:nvGrpSpPr>
              <p:grpSpPr>
                <a:xfrm>
                  <a:off x="6566054" y="3710317"/>
                  <a:ext cx="1358527" cy="1116276"/>
                  <a:chOff x="9239825" y="1903015"/>
                  <a:chExt cx="1399420" cy="1149878"/>
                </a:xfrm>
              </p:grpSpPr>
              <p:grpSp>
                <p:nvGrpSpPr>
                  <p:cNvPr id="930" name="Grupo 929">
                    <a:extLst>
                      <a:ext uri="{FF2B5EF4-FFF2-40B4-BE49-F238E27FC236}">
                        <a16:creationId xmlns:a16="http://schemas.microsoft.com/office/drawing/2014/main" id="{32BA2457-F778-74BF-B2E4-3FC8150344FC}"/>
                      </a:ext>
                    </a:extLst>
                  </p:cNvPr>
                  <p:cNvGrpSpPr/>
                  <p:nvPr/>
                </p:nvGrpSpPr>
                <p:grpSpPr>
                  <a:xfrm>
                    <a:off x="9239825" y="1903015"/>
                    <a:ext cx="803537" cy="820664"/>
                    <a:chOff x="3385199" y="987176"/>
                    <a:chExt cx="5621400" cy="5741223"/>
                  </a:xfrm>
                </p:grpSpPr>
                <p:sp>
                  <p:nvSpPr>
                    <p:cNvPr id="975" name="Forma libre: forma 974">
                      <a:extLst>
                        <a:ext uri="{FF2B5EF4-FFF2-40B4-BE49-F238E27FC236}">
                          <a16:creationId xmlns:a16="http://schemas.microsoft.com/office/drawing/2014/main" id="{D1B528CF-662B-3B1E-052F-AB62A8947721}"/>
                        </a:ext>
                      </a:extLst>
                    </p:cNvPr>
                    <p:cNvSpPr/>
                    <p:nvPr/>
                  </p:nvSpPr>
                  <p:spPr>
                    <a:xfrm>
                      <a:off x="4632600" y="2953800"/>
                      <a:ext cx="523799" cy="3774599"/>
                    </a:xfrm>
                    <a:custGeom>
                      <a:avLst/>
                      <a:gdLst>
                        <a:gd name="connsiteX0" fmla="*/ 523800 w 523799"/>
                        <a:gd name="connsiteY0" fmla="*/ 3774600 h 3774599"/>
                        <a:gd name="connsiteX1" fmla="*/ 0 w 523799"/>
                        <a:gd name="connsiteY1" fmla="*/ 3574800 h 3774599"/>
                        <a:gd name="connsiteX2" fmla="*/ 151200 w 523799"/>
                        <a:gd name="connsiteY2" fmla="*/ 264600 h 3774599"/>
                        <a:gd name="connsiteX3" fmla="*/ 156600 w 523799"/>
                        <a:gd name="connsiteY3" fmla="*/ 75600 h 3774599"/>
                        <a:gd name="connsiteX4" fmla="*/ 162000 w 523799"/>
                        <a:gd name="connsiteY4" fmla="*/ 0 h 3774599"/>
                        <a:gd name="connsiteX5" fmla="*/ 351000 w 523799"/>
                        <a:gd name="connsiteY5" fmla="*/ 0 h 3774599"/>
                        <a:gd name="connsiteX6" fmla="*/ 356400 w 523799"/>
                        <a:gd name="connsiteY6" fmla="*/ 113400 h 3774599"/>
                        <a:gd name="connsiteX7" fmla="*/ 361800 w 523799"/>
                        <a:gd name="connsiteY7" fmla="*/ 280800 h 3774599"/>
                        <a:gd name="connsiteX8" fmla="*/ 523800 w 523799"/>
                        <a:gd name="connsiteY8" fmla="*/ 3774600 h 377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3799" h="3774599">
                          <a:moveTo>
                            <a:pt x="523800" y="3774600"/>
                          </a:moveTo>
                          <a:cubicBezTo>
                            <a:pt x="340200" y="3720600"/>
                            <a:pt x="167400" y="3655800"/>
                            <a:pt x="0" y="3574800"/>
                          </a:cubicBezTo>
                          <a:lnTo>
                            <a:pt x="151200" y="264600"/>
                          </a:lnTo>
                          <a:lnTo>
                            <a:pt x="156600" y="75600"/>
                          </a:lnTo>
                          <a:lnTo>
                            <a:pt x="162000" y="0"/>
                          </a:lnTo>
                          <a:lnTo>
                            <a:pt x="351000" y="0"/>
                          </a:lnTo>
                          <a:lnTo>
                            <a:pt x="356400" y="113400"/>
                          </a:lnTo>
                          <a:lnTo>
                            <a:pt x="361800" y="280800"/>
                          </a:lnTo>
                          <a:lnTo>
                            <a:pt x="523800" y="3774600"/>
                          </a:lnTo>
                          <a:close/>
                        </a:path>
                      </a:pathLst>
                    </a:custGeom>
                    <a:solidFill>
                      <a:schemeClr val="bg1">
                        <a:lumMod val="7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6" name="Forma libre: forma 975">
                      <a:extLst>
                        <a:ext uri="{FF2B5EF4-FFF2-40B4-BE49-F238E27FC236}">
                          <a16:creationId xmlns:a16="http://schemas.microsoft.com/office/drawing/2014/main" id="{F4DA5A4E-23ED-F2F8-C2FC-36379F4E0AD5}"/>
                        </a:ext>
                      </a:extLst>
                    </p:cNvPr>
                    <p:cNvSpPr/>
                    <p:nvPr/>
                  </p:nvSpPr>
                  <p:spPr>
                    <a:xfrm>
                      <a:off x="4589399" y="987176"/>
                      <a:ext cx="460023" cy="1783023"/>
                    </a:xfrm>
                    <a:custGeom>
                      <a:avLst/>
                      <a:gdLst>
                        <a:gd name="connsiteX0" fmla="*/ 459000 w 460023"/>
                        <a:gd name="connsiteY0" fmla="*/ 1718223 h 1783023"/>
                        <a:gd name="connsiteX1" fmla="*/ 64800 w 460023"/>
                        <a:gd name="connsiteY1" fmla="*/ 44223 h 1783023"/>
                        <a:gd name="connsiteX2" fmla="*/ 0 w 460023"/>
                        <a:gd name="connsiteY2" fmla="*/ 1023 h 1783023"/>
                        <a:gd name="connsiteX3" fmla="*/ 0 w 460023"/>
                        <a:gd name="connsiteY3" fmla="*/ 1023 h 1783023"/>
                        <a:gd name="connsiteX4" fmla="*/ 415800 w 460023"/>
                        <a:gd name="connsiteY4" fmla="*/ 1783023 h 1783023"/>
                        <a:gd name="connsiteX5" fmla="*/ 415800 w 460023"/>
                        <a:gd name="connsiteY5" fmla="*/ 1783023 h 1783023"/>
                        <a:gd name="connsiteX6" fmla="*/ 459000 w 460023"/>
                        <a:gd name="connsiteY6" fmla="*/ 1718223 h 178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023" h="1783023">
                          <a:moveTo>
                            <a:pt x="459000" y="1718223"/>
                          </a:moveTo>
                          <a:lnTo>
                            <a:pt x="64800" y="44223"/>
                          </a:lnTo>
                          <a:cubicBezTo>
                            <a:pt x="59400" y="11823"/>
                            <a:pt x="27000" y="-4377"/>
                            <a:pt x="0" y="1023"/>
                          </a:cubicBezTo>
                          <a:lnTo>
                            <a:pt x="0" y="1023"/>
                          </a:lnTo>
                          <a:lnTo>
                            <a:pt x="415800" y="1783023"/>
                          </a:lnTo>
                          <a:lnTo>
                            <a:pt x="415800" y="1783023"/>
                          </a:lnTo>
                          <a:cubicBezTo>
                            <a:pt x="448200" y="1777623"/>
                            <a:pt x="464400" y="1750623"/>
                            <a:pt x="459000" y="1718223"/>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7" name="Forma libre: forma 976">
                      <a:extLst>
                        <a:ext uri="{FF2B5EF4-FFF2-40B4-BE49-F238E27FC236}">
                          <a16:creationId xmlns:a16="http://schemas.microsoft.com/office/drawing/2014/main" id="{A3C5313E-9666-5BB6-952E-2DA20545C76B}"/>
                        </a:ext>
                      </a:extLst>
                    </p:cNvPr>
                    <p:cNvSpPr/>
                    <p:nvPr/>
                  </p:nvSpPr>
                  <p:spPr>
                    <a:xfrm>
                      <a:off x="4578600" y="988199"/>
                      <a:ext cx="426599" cy="1782000"/>
                    </a:xfrm>
                    <a:custGeom>
                      <a:avLst/>
                      <a:gdLst>
                        <a:gd name="connsiteX0" fmla="*/ 10800 w 426599"/>
                        <a:gd name="connsiteY0" fmla="*/ 0 h 1782000"/>
                        <a:gd name="connsiteX1" fmla="*/ 0 w 426599"/>
                        <a:gd name="connsiteY1" fmla="*/ 1306800 h 1782000"/>
                        <a:gd name="connsiteX2" fmla="*/ 426600 w 426599"/>
                        <a:gd name="connsiteY2" fmla="*/ 1782000 h 1782000"/>
                      </a:gdLst>
                      <a:ahLst/>
                      <a:cxnLst>
                        <a:cxn ang="0">
                          <a:pos x="connsiteX0" y="connsiteY0"/>
                        </a:cxn>
                        <a:cxn ang="0">
                          <a:pos x="connsiteX1" y="connsiteY1"/>
                        </a:cxn>
                        <a:cxn ang="0">
                          <a:pos x="connsiteX2" y="connsiteY2"/>
                        </a:cxn>
                      </a:cxnLst>
                      <a:rect l="l" t="t" r="r" b="b"/>
                      <a:pathLst>
                        <a:path w="426599" h="1782000">
                          <a:moveTo>
                            <a:pt x="10800" y="0"/>
                          </a:moveTo>
                          <a:lnTo>
                            <a:pt x="0" y="1306800"/>
                          </a:lnTo>
                          <a:lnTo>
                            <a:pt x="426600" y="178200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8" name="Forma libre: forma 977">
                      <a:extLst>
                        <a:ext uri="{FF2B5EF4-FFF2-40B4-BE49-F238E27FC236}">
                          <a16:creationId xmlns:a16="http://schemas.microsoft.com/office/drawing/2014/main" id="{DF37BA5C-B03E-299D-A9A2-A3EE2011AEA4}"/>
                        </a:ext>
                      </a:extLst>
                    </p:cNvPr>
                    <p:cNvSpPr/>
                    <p:nvPr/>
                  </p:nvSpPr>
                  <p:spPr>
                    <a:xfrm>
                      <a:off x="3385199" y="2900418"/>
                      <a:ext cx="1355400" cy="1273781"/>
                    </a:xfrm>
                    <a:custGeom>
                      <a:avLst/>
                      <a:gdLst>
                        <a:gd name="connsiteX0" fmla="*/ 1269000 w 1355400"/>
                        <a:gd name="connsiteY0" fmla="*/ 15581 h 1273781"/>
                        <a:gd name="connsiteX1" fmla="*/ 16200 w 1355400"/>
                        <a:gd name="connsiteY1" fmla="*/ 1192782 h 1273781"/>
                        <a:gd name="connsiteX2" fmla="*/ 16200 w 1355400"/>
                        <a:gd name="connsiteY2" fmla="*/ 1273782 h 1273781"/>
                        <a:gd name="connsiteX3" fmla="*/ 16200 w 1355400"/>
                        <a:gd name="connsiteY3" fmla="*/ 1273782 h 1273781"/>
                        <a:gd name="connsiteX4" fmla="*/ 1355400 w 1355400"/>
                        <a:gd name="connsiteY4" fmla="*/ 20981 h 1273781"/>
                        <a:gd name="connsiteX5" fmla="*/ 1355400 w 1355400"/>
                        <a:gd name="connsiteY5" fmla="*/ 20981 h 1273781"/>
                        <a:gd name="connsiteX6" fmla="*/ 1269000 w 1355400"/>
                        <a:gd name="connsiteY6" fmla="*/ 15581 h 127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5400" h="1273781">
                          <a:moveTo>
                            <a:pt x="1269000" y="15581"/>
                          </a:moveTo>
                          <a:lnTo>
                            <a:pt x="16200" y="1192782"/>
                          </a:lnTo>
                          <a:cubicBezTo>
                            <a:pt x="-5400" y="1214381"/>
                            <a:pt x="-5400" y="1246782"/>
                            <a:pt x="16200" y="1273782"/>
                          </a:cubicBezTo>
                          <a:lnTo>
                            <a:pt x="16200" y="1273782"/>
                          </a:lnTo>
                          <a:lnTo>
                            <a:pt x="1355400" y="20981"/>
                          </a:lnTo>
                          <a:lnTo>
                            <a:pt x="1355400" y="20981"/>
                          </a:lnTo>
                          <a:cubicBezTo>
                            <a:pt x="1328400" y="-6019"/>
                            <a:pt x="1290600" y="-6019"/>
                            <a:pt x="1269000" y="15581"/>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9" name="Forma libre: forma 978">
                      <a:extLst>
                        <a:ext uri="{FF2B5EF4-FFF2-40B4-BE49-F238E27FC236}">
                          <a16:creationId xmlns:a16="http://schemas.microsoft.com/office/drawing/2014/main" id="{B4048AF9-6D5C-FF61-8F42-E1F2BDAF9C98}"/>
                        </a:ext>
                      </a:extLst>
                    </p:cNvPr>
                    <p:cNvSpPr/>
                    <p:nvPr/>
                  </p:nvSpPr>
                  <p:spPr>
                    <a:xfrm>
                      <a:off x="3396000" y="2916000"/>
                      <a:ext cx="1339199" cy="1252799"/>
                    </a:xfrm>
                    <a:custGeom>
                      <a:avLst/>
                      <a:gdLst>
                        <a:gd name="connsiteX0" fmla="*/ 0 w 1339199"/>
                        <a:gd name="connsiteY0" fmla="*/ 1252800 h 1252799"/>
                        <a:gd name="connsiteX1" fmla="*/ 1134000 w 1339199"/>
                        <a:gd name="connsiteY1" fmla="*/ 610200 h 1252799"/>
                        <a:gd name="connsiteX2" fmla="*/ 1339200 w 1339199"/>
                        <a:gd name="connsiteY2" fmla="*/ 0 h 1252799"/>
                      </a:gdLst>
                      <a:ahLst/>
                      <a:cxnLst>
                        <a:cxn ang="0">
                          <a:pos x="connsiteX0" y="connsiteY0"/>
                        </a:cxn>
                        <a:cxn ang="0">
                          <a:pos x="connsiteX1" y="connsiteY1"/>
                        </a:cxn>
                        <a:cxn ang="0">
                          <a:pos x="connsiteX2" y="connsiteY2"/>
                        </a:cxn>
                      </a:cxnLst>
                      <a:rect l="l" t="t" r="r" b="b"/>
                      <a:pathLst>
                        <a:path w="1339199" h="1252799">
                          <a:moveTo>
                            <a:pt x="0" y="1252800"/>
                          </a:moveTo>
                          <a:lnTo>
                            <a:pt x="1134000" y="610200"/>
                          </a:lnTo>
                          <a:lnTo>
                            <a:pt x="1339200" y="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0" name="Forma libre: forma 979">
                      <a:extLst>
                        <a:ext uri="{FF2B5EF4-FFF2-40B4-BE49-F238E27FC236}">
                          <a16:creationId xmlns:a16="http://schemas.microsoft.com/office/drawing/2014/main" id="{FFCDC071-A4BC-DB70-C7E7-AA05AC0D3845}"/>
                        </a:ext>
                      </a:extLst>
                    </p:cNvPr>
                    <p:cNvSpPr/>
                    <p:nvPr/>
                  </p:nvSpPr>
                  <p:spPr>
                    <a:xfrm>
                      <a:off x="4993365" y="3078000"/>
                      <a:ext cx="1756034" cy="570331"/>
                    </a:xfrm>
                    <a:custGeom>
                      <a:avLst/>
                      <a:gdLst>
                        <a:gd name="connsiteX0" fmla="*/ 38835 w 1756034"/>
                        <a:gd name="connsiteY0" fmla="*/ 70200 h 570331"/>
                        <a:gd name="connsiteX1" fmla="*/ 1685835 w 1756034"/>
                        <a:gd name="connsiteY1" fmla="*/ 567000 h 570331"/>
                        <a:gd name="connsiteX2" fmla="*/ 1756035 w 1756034"/>
                        <a:gd name="connsiteY2" fmla="*/ 529200 h 570331"/>
                        <a:gd name="connsiteX3" fmla="*/ 1756035 w 1756034"/>
                        <a:gd name="connsiteY3" fmla="*/ 529200 h 570331"/>
                        <a:gd name="connsiteX4" fmla="*/ 1035 w 1756034"/>
                        <a:gd name="connsiteY4" fmla="*/ 0 h 570331"/>
                        <a:gd name="connsiteX5" fmla="*/ 1035 w 1756034"/>
                        <a:gd name="connsiteY5" fmla="*/ 0 h 570331"/>
                        <a:gd name="connsiteX6" fmla="*/ 38835 w 1756034"/>
                        <a:gd name="connsiteY6" fmla="*/ 70200 h 57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6034" h="570331">
                          <a:moveTo>
                            <a:pt x="38835" y="70200"/>
                          </a:moveTo>
                          <a:lnTo>
                            <a:pt x="1685835" y="567000"/>
                          </a:lnTo>
                          <a:cubicBezTo>
                            <a:pt x="1712835" y="577800"/>
                            <a:pt x="1745235" y="561600"/>
                            <a:pt x="1756035" y="529200"/>
                          </a:cubicBezTo>
                          <a:lnTo>
                            <a:pt x="1756035" y="529200"/>
                          </a:lnTo>
                          <a:lnTo>
                            <a:pt x="1035" y="0"/>
                          </a:lnTo>
                          <a:lnTo>
                            <a:pt x="1035" y="0"/>
                          </a:lnTo>
                          <a:cubicBezTo>
                            <a:pt x="-4365" y="32400"/>
                            <a:pt x="11835" y="59400"/>
                            <a:pt x="38835" y="70200"/>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1" name="Forma libre: forma 980">
                      <a:extLst>
                        <a:ext uri="{FF2B5EF4-FFF2-40B4-BE49-F238E27FC236}">
                          <a16:creationId xmlns:a16="http://schemas.microsoft.com/office/drawing/2014/main" id="{0AFEFAF7-1E39-8173-05E9-148314EFCA43}"/>
                        </a:ext>
                      </a:extLst>
                    </p:cNvPr>
                    <p:cNvSpPr/>
                    <p:nvPr/>
                  </p:nvSpPr>
                  <p:spPr>
                    <a:xfrm>
                      <a:off x="4994399" y="2948399"/>
                      <a:ext cx="1755000" cy="664200"/>
                    </a:xfrm>
                    <a:custGeom>
                      <a:avLst/>
                      <a:gdLst>
                        <a:gd name="connsiteX0" fmla="*/ 1755000 w 1755000"/>
                        <a:gd name="connsiteY0" fmla="*/ 664200 h 664200"/>
                        <a:gd name="connsiteX1" fmla="*/ 631800 w 1755000"/>
                        <a:gd name="connsiteY1" fmla="*/ 0 h 664200"/>
                        <a:gd name="connsiteX2" fmla="*/ 0 w 1755000"/>
                        <a:gd name="connsiteY2" fmla="*/ 129600 h 664200"/>
                      </a:gdLst>
                      <a:ahLst/>
                      <a:cxnLst>
                        <a:cxn ang="0">
                          <a:pos x="connsiteX0" y="connsiteY0"/>
                        </a:cxn>
                        <a:cxn ang="0">
                          <a:pos x="connsiteX1" y="connsiteY1"/>
                        </a:cxn>
                        <a:cxn ang="0">
                          <a:pos x="connsiteX2" y="connsiteY2"/>
                        </a:cxn>
                      </a:cxnLst>
                      <a:rect l="l" t="t" r="r" b="b"/>
                      <a:pathLst>
                        <a:path w="1755000" h="664200">
                          <a:moveTo>
                            <a:pt x="1755000" y="664200"/>
                          </a:moveTo>
                          <a:lnTo>
                            <a:pt x="631800" y="0"/>
                          </a:lnTo>
                          <a:lnTo>
                            <a:pt x="0" y="12960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2" name="Forma libre: forma 981">
                      <a:extLst>
                        <a:ext uri="{FF2B5EF4-FFF2-40B4-BE49-F238E27FC236}">
                          <a16:creationId xmlns:a16="http://schemas.microsoft.com/office/drawing/2014/main" id="{090A8278-5AA0-85E1-D94B-CC85E6FA7D3C}"/>
                        </a:ext>
                      </a:extLst>
                    </p:cNvPr>
                    <p:cNvSpPr/>
                    <p:nvPr/>
                  </p:nvSpPr>
                  <p:spPr>
                    <a:xfrm>
                      <a:off x="4589400" y="2597400"/>
                      <a:ext cx="648000" cy="648000"/>
                    </a:xfrm>
                    <a:custGeom>
                      <a:avLst/>
                      <a:gdLst>
                        <a:gd name="connsiteX0" fmla="*/ 648000 w 648000"/>
                        <a:gd name="connsiteY0" fmla="*/ 324000 h 648000"/>
                        <a:gd name="connsiteX1" fmla="*/ 324000 w 648000"/>
                        <a:gd name="connsiteY1" fmla="*/ 648000 h 648000"/>
                        <a:gd name="connsiteX2" fmla="*/ 0 w 648000"/>
                        <a:gd name="connsiteY2" fmla="*/ 324000 h 648000"/>
                        <a:gd name="connsiteX3" fmla="*/ 324000 w 648000"/>
                        <a:gd name="connsiteY3" fmla="*/ 0 h 648000"/>
                        <a:gd name="connsiteX4" fmla="*/ 648000 w 648000"/>
                        <a:gd name="connsiteY4" fmla="*/ 324000 h 64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8000" h="648000">
                          <a:moveTo>
                            <a:pt x="648000" y="324000"/>
                          </a:moveTo>
                          <a:cubicBezTo>
                            <a:pt x="648000" y="502940"/>
                            <a:pt x="502940" y="648000"/>
                            <a:pt x="324000" y="648000"/>
                          </a:cubicBezTo>
                          <a:cubicBezTo>
                            <a:pt x="145060" y="648000"/>
                            <a:pt x="0" y="502940"/>
                            <a:pt x="0" y="324000"/>
                          </a:cubicBezTo>
                          <a:cubicBezTo>
                            <a:pt x="0" y="145060"/>
                            <a:pt x="145060" y="0"/>
                            <a:pt x="324000" y="0"/>
                          </a:cubicBezTo>
                          <a:cubicBezTo>
                            <a:pt x="502940" y="0"/>
                            <a:pt x="648000" y="145060"/>
                            <a:pt x="648000" y="324000"/>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3" name="Forma libre: forma 982">
                      <a:extLst>
                        <a:ext uri="{FF2B5EF4-FFF2-40B4-BE49-F238E27FC236}">
                          <a16:creationId xmlns:a16="http://schemas.microsoft.com/office/drawing/2014/main" id="{77ACD87A-CB53-9B49-A8F3-71074A21587B}"/>
                        </a:ext>
                      </a:extLst>
                    </p:cNvPr>
                    <p:cNvSpPr/>
                    <p:nvPr/>
                  </p:nvSpPr>
                  <p:spPr>
                    <a:xfrm>
                      <a:off x="4751400" y="2759400"/>
                      <a:ext cx="324000" cy="324000"/>
                    </a:xfrm>
                    <a:custGeom>
                      <a:avLst/>
                      <a:gdLst>
                        <a:gd name="connsiteX0" fmla="*/ 324000 w 324000"/>
                        <a:gd name="connsiteY0" fmla="*/ 162000 h 324000"/>
                        <a:gd name="connsiteX1" fmla="*/ 162000 w 324000"/>
                        <a:gd name="connsiteY1" fmla="*/ 324000 h 324000"/>
                        <a:gd name="connsiteX2" fmla="*/ 0 w 324000"/>
                        <a:gd name="connsiteY2" fmla="*/ 162000 h 324000"/>
                        <a:gd name="connsiteX3" fmla="*/ 162000 w 324000"/>
                        <a:gd name="connsiteY3" fmla="*/ 0 h 324000"/>
                        <a:gd name="connsiteX4" fmla="*/ 324000 w 324000"/>
                        <a:gd name="connsiteY4" fmla="*/ 16200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000" h="324000">
                          <a:moveTo>
                            <a:pt x="324000" y="162000"/>
                          </a:moveTo>
                          <a:cubicBezTo>
                            <a:pt x="324000" y="251470"/>
                            <a:pt x="251470" y="324000"/>
                            <a:pt x="162000" y="324000"/>
                          </a:cubicBezTo>
                          <a:cubicBezTo>
                            <a:pt x="72530" y="324000"/>
                            <a:pt x="0" y="251470"/>
                            <a:pt x="0" y="162000"/>
                          </a:cubicBezTo>
                          <a:cubicBezTo>
                            <a:pt x="0" y="72530"/>
                            <a:pt x="72530" y="0"/>
                            <a:pt x="162000" y="0"/>
                          </a:cubicBezTo>
                          <a:cubicBezTo>
                            <a:pt x="251470" y="0"/>
                            <a:pt x="324000" y="72530"/>
                            <a:pt x="324000" y="162000"/>
                          </a:cubicBezTo>
                          <a:close/>
                        </a:path>
                      </a:pathLst>
                    </a:custGeom>
                    <a:solidFill>
                      <a:srgbClr val="E6E9EE"/>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4" name="Forma libre: forma 983">
                      <a:extLst>
                        <a:ext uri="{FF2B5EF4-FFF2-40B4-BE49-F238E27FC236}">
                          <a16:creationId xmlns:a16="http://schemas.microsoft.com/office/drawing/2014/main" id="{F6295DF6-56EB-E1E9-87F3-4EE96C1457AE}"/>
                        </a:ext>
                      </a:extLst>
                    </p:cNvPr>
                    <p:cNvSpPr/>
                    <p:nvPr/>
                  </p:nvSpPr>
                  <p:spPr>
                    <a:xfrm>
                      <a:off x="7030200" y="3402000"/>
                      <a:ext cx="469799" cy="3321000"/>
                    </a:xfrm>
                    <a:custGeom>
                      <a:avLst/>
                      <a:gdLst>
                        <a:gd name="connsiteX0" fmla="*/ 469800 w 469799"/>
                        <a:gd name="connsiteY0" fmla="*/ 3153600 h 3321000"/>
                        <a:gd name="connsiteX1" fmla="*/ 0 w 469799"/>
                        <a:gd name="connsiteY1" fmla="*/ 3321000 h 3321000"/>
                        <a:gd name="connsiteX2" fmla="*/ 140400 w 469799"/>
                        <a:gd name="connsiteY2" fmla="*/ 243000 h 3321000"/>
                        <a:gd name="connsiteX3" fmla="*/ 145800 w 469799"/>
                        <a:gd name="connsiteY3" fmla="*/ 81000 h 3321000"/>
                        <a:gd name="connsiteX4" fmla="*/ 151200 w 469799"/>
                        <a:gd name="connsiteY4" fmla="*/ 0 h 3321000"/>
                        <a:gd name="connsiteX5" fmla="*/ 324000 w 469799"/>
                        <a:gd name="connsiteY5" fmla="*/ 0 h 3321000"/>
                        <a:gd name="connsiteX6" fmla="*/ 329400 w 469799"/>
                        <a:gd name="connsiteY6" fmla="*/ 81000 h 3321000"/>
                        <a:gd name="connsiteX7" fmla="*/ 334800 w 469799"/>
                        <a:gd name="connsiteY7" fmla="*/ 243000 h 3321000"/>
                        <a:gd name="connsiteX8" fmla="*/ 469800 w 469799"/>
                        <a:gd name="connsiteY8" fmla="*/ 3153600 h 33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9799" h="3321000">
                          <a:moveTo>
                            <a:pt x="469800" y="3153600"/>
                          </a:moveTo>
                          <a:cubicBezTo>
                            <a:pt x="318600" y="3218400"/>
                            <a:pt x="162000" y="3277800"/>
                            <a:pt x="0" y="3321000"/>
                          </a:cubicBezTo>
                          <a:lnTo>
                            <a:pt x="140400" y="243000"/>
                          </a:lnTo>
                          <a:lnTo>
                            <a:pt x="145800" y="81000"/>
                          </a:lnTo>
                          <a:lnTo>
                            <a:pt x="151200" y="0"/>
                          </a:lnTo>
                          <a:lnTo>
                            <a:pt x="324000" y="0"/>
                          </a:lnTo>
                          <a:lnTo>
                            <a:pt x="329400" y="81000"/>
                          </a:lnTo>
                          <a:lnTo>
                            <a:pt x="334800" y="243000"/>
                          </a:lnTo>
                          <a:lnTo>
                            <a:pt x="469800" y="3153600"/>
                          </a:lnTo>
                          <a:close/>
                        </a:path>
                      </a:pathLst>
                    </a:custGeom>
                    <a:solidFill>
                      <a:schemeClr val="bg1">
                        <a:lumMod val="7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5" name="Forma libre: forma 984">
                      <a:extLst>
                        <a:ext uri="{FF2B5EF4-FFF2-40B4-BE49-F238E27FC236}">
                          <a16:creationId xmlns:a16="http://schemas.microsoft.com/office/drawing/2014/main" id="{5E5ED5FB-D174-1EBF-9E08-3B1173D15044}"/>
                        </a:ext>
                      </a:extLst>
                    </p:cNvPr>
                    <p:cNvSpPr/>
                    <p:nvPr/>
                  </p:nvSpPr>
                  <p:spPr>
                    <a:xfrm>
                      <a:off x="7367067" y="3504600"/>
                      <a:ext cx="1639532" cy="324832"/>
                    </a:xfrm>
                    <a:custGeom>
                      <a:avLst/>
                      <a:gdLst>
                        <a:gd name="connsiteX0" fmla="*/ 41132 w 1639532"/>
                        <a:gd name="connsiteY0" fmla="*/ 59400 h 324832"/>
                        <a:gd name="connsiteX1" fmla="*/ 1580132 w 1639532"/>
                        <a:gd name="connsiteY1" fmla="*/ 324000 h 324832"/>
                        <a:gd name="connsiteX2" fmla="*/ 1639532 w 1639532"/>
                        <a:gd name="connsiteY2" fmla="*/ 280800 h 324832"/>
                        <a:gd name="connsiteX3" fmla="*/ 1639532 w 1639532"/>
                        <a:gd name="connsiteY3" fmla="*/ 280800 h 324832"/>
                        <a:gd name="connsiteX4" fmla="*/ 3332 w 1639532"/>
                        <a:gd name="connsiteY4" fmla="*/ 0 h 324832"/>
                        <a:gd name="connsiteX5" fmla="*/ 3332 w 1639532"/>
                        <a:gd name="connsiteY5" fmla="*/ 0 h 324832"/>
                        <a:gd name="connsiteX6" fmla="*/ 41132 w 1639532"/>
                        <a:gd name="connsiteY6" fmla="*/ 59400 h 32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532" h="324832">
                          <a:moveTo>
                            <a:pt x="41132" y="59400"/>
                          </a:moveTo>
                          <a:lnTo>
                            <a:pt x="1580132" y="324000"/>
                          </a:lnTo>
                          <a:cubicBezTo>
                            <a:pt x="1607132" y="329400"/>
                            <a:pt x="1634132" y="307800"/>
                            <a:pt x="1639532" y="280800"/>
                          </a:cubicBezTo>
                          <a:lnTo>
                            <a:pt x="1639532" y="280800"/>
                          </a:lnTo>
                          <a:lnTo>
                            <a:pt x="3332" y="0"/>
                          </a:lnTo>
                          <a:lnTo>
                            <a:pt x="3332" y="0"/>
                          </a:lnTo>
                          <a:cubicBezTo>
                            <a:pt x="-7468" y="27000"/>
                            <a:pt x="8732" y="54000"/>
                            <a:pt x="41132" y="59400"/>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6" name="Forma libre: forma 985">
                      <a:extLst>
                        <a:ext uri="{FF2B5EF4-FFF2-40B4-BE49-F238E27FC236}">
                          <a16:creationId xmlns:a16="http://schemas.microsoft.com/office/drawing/2014/main" id="{825EB8E3-A662-F5BD-2215-89ECE96F16C2}"/>
                        </a:ext>
                      </a:extLst>
                    </p:cNvPr>
                    <p:cNvSpPr/>
                    <p:nvPr/>
                  </p:nvSpPr>
                  <p:spPr>
                    <a:xfrm>
                      <a:off x="7365000" y="3315600"/>
                      <a:ext cx="1636200" cy="469799"/>
                    </a:xfrm>
                    <a:custGeom>
                      <a:avLst/>
                      <a:gdLst>
                        <a:gd name="connsiteX0" fmla="*/ 1636200 w 1636200"/>
                        <a:gd name="connsiteY0" fmla="*/ 469800 h 469799"/>
                        <a:gd name="connsiteX1" fmla="*/ 550800 w 1636200"/>
                        <a:gd name="connsiteY1" fmla="*/ 0 h 469799"/>
                        <a:gd name="connsiteX2" fmla="*/ 0 w 1636200"/>
                        <a:gd name="connsiteY2" fmla="*/ 189000 h 469799"/>
                      </a:gdLst>
                      <a:ahLst/>
                      <a:cxnLst>
                        <a:cxn ang="0">
                          <a:pos x="connsiteX0" y="connsiteY0"/>
                        </a:cxn>
                        <a:cxn ang="0">
                          <a:pos x="connsiteX1" y="connsiteY1"/>
                        </a:cxn>
                        <a:cxn ang="0">
                          <a:pos x="connsiteX2" y="connsiteY2"/>
                        </a:cxn>
                      </a:cxnLst>
                      <a:rect l="l" t="t" r="r" b="b"/>
                      <a:pathLst>
                        <a:path w="1636200" h="469799">
                          <a:moveTo>
                            <a:pt x="1636200" y="469800"/>
                          </a:moveTo>
                          <a:lnTo>
                            <a:pt x="550800" y="0"/>
                          </a:lnTo>
                          <a:lnTo>
                            <a:pt x="0" y="18900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7" name="Forma libre: forma 986">
                      <a:extLst>
                        <a:ext uri="{FF2B5EF4-FFF2-40B4-BE49-F238E27FC236}">
                          <a16:creationId xmlns:a16="http://schemas.microsoft.com/office/drawing/2014/main" id="{D81D18EC-9BEE-232A-5036-39F2FF372604}"/>
                        </a:ext>
                      </a:extLst>
                    </p:cNvPr>
                    <p:cNvSpPr/>
                    <p:nvPr/>
                  </p:nvSpPr>
                  <p:spPr>
                    <a:xfrm>
                      <a:off x="6765600" y="1667249"/>
                      <a:ext cx="606149" cy="1556550"/>
                    </a:xfrm>
                    <a:custGeom>
                      <a:avLst/>
                      <a:gdLst>
                        <a:gd name="connsiteX0" fmla="*/ 604800 w 606149"/>
                        <a:gd name="connsiteY0" fmla="*/ 1497150 h 1556550"/>
                        <a:gd name="connsiteX1" fmla="*/ 64800 w 606149"/>
                        <a:gd name="connsiteY1" fmla="*/ 33750 h 1556550"/>
                        <a:gd name="connsiteX2" fmla="*/ 0 w 606149"/>
                        <a:gd name="connsiteY2" fmla="*/ 1350 h 1556550"/>
                        <a:gd name="connsiteX3" fmla="*/ 0 w 606149"/>
                        <a:gd name="connsiteY3" fmla="*/ 1350 h 1556550"/>
                        <a:gd name="connsiteX4" fmla="*/ 572400 w 606149"/>
                        <a:gd name="connsiteY4" fmla="*/ 1556550 h 1556550"/>
                        <a:gd name="connsiteX5" fmla="*/ 572400 w 606149"/>
                        <a:gd name="connsiteY5" fmla="*/ 1556550 h 1556550"/>
                        <a:gd name="connsiteX6" fmla="*/ 604800 w 606149"/>
                        <a:gd name="connsiteY6" fmla="*/ 1497150 h 155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149" h="1556550">
                          <a:moveTo>
                            <a:pt x="604800" y="1497150"/>
                          </a:moveTo>
                          <a:lnTo>
                            <a:pt x="64800" y="33750"/>
                          </a:lnTo>
                          <a:cubicBezTo>
                            <a:pt x="54000" y="6750"/>
                            <a:pt x="27000" y="-4050"/>
                            <a:pt x="0" y="1350"/>
                          </a:cubicBezTo>
                          <a:lnTo>
                            <a:pt x="0" y="1350"/>
                          </a:lnTo>
                          <a:lnTo>
                            <a:pt x="572400" y="1556550"/>
                          </a:lnTo>
                          <a:lnTo>
                            <a:pt x="572400" y="1556550"/>
                          </a:lnTo>
                          <a:cubicBezTo>
                            <a:pt x="599400" y="1551150"/>
                            <a:pt x="610200" y="1518750"/>
                            <a:pt x="604800" y="1497150"/>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8" name="Forma libre: forma 987">
                      <a:extLst>
                        <a:ext uri="{FF2B5EF4-FFF2-40B4-BE49-F238E27FC236}">
                          <a16:creationId xmlns:a16="http://schemas.microsoft.com/office/drawing/2014/main" id="{3DAC6BF8-B72D-F362-7E1E-A96D5CC04775}"/>
                        </a:ext>
                      </a:extLst>
                    </p:cNvPr>
                    <p:cNvSpPr/>
                    <p:nvPr/>
                  </p:nvSpPr>
                  <p:spPr>
                    <a:xfrm>
                      <a:off x="6765600" y="1668599"/>
                      <a:ext cx="572399" cy="1555200"/>
                    </a:xfrm>
                    <a:custGeom>
                      <a:avLst/>
                      <a:gdLst>
                        <a:gd name="connsiteX0" fmla="*/ 0 w 572399"/>
                        <a:gd name="connsiteY0" fmla="*/ 0 h 1555200"/>
                        <a:gd name="connsiteX1" fmla="*/ 135000 w 572399"/>
                        <a:gd name="connsiteY1" fmla="*/ 1171800 h 1555200"/>
                        <a:gd name="connsiteX2" fmla="*/ 572400 w 572399"/>
                        <a:gd name="connsiteY2" fmla="*/ 1555200 h 1555200"/>
                      </a:gdLst>
                      <a:ahLst/>
                      <a:cxnLst>
                        <a:cxn ang="0">
                          <a:pos x="connsiteX0" y="connsiteY0"/>
                        </a:cxn>
                        <a:cxn ang="0">
                          <a:pos x="connsiteX1" y="connsiteY1"/>
                        </a:cxn>
                        <a:cxn ang="0">
                          <a:pos x="connsiteX2" y="connsiteY2"/>
                        </a:cxn>
                      </a:cxnLst>
                      <a:rect l="l" t="t" r="r" b="b"/>
                      <a:pathLst>
                        <a:path w="572399" h="1555200">
                          <a:moveTo>
                            <a:pt x="0" y="0"/>
                          </a:moveTo>
                          <a:lnTo>
                            <a:pt x="135000" y="1171800"/>
                          </a:lnTo>
                          <a:lnTo>
                            <a:pt x="572400" y="155520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9" name="Forma libre: forma 988">
                      <a:extLst>
                        <a:ext uri="{FF2B5EF4-FFF2-40B4-BE49-F238E27FC236}">
                          <a16:creationId xmlns:a16="http://schemas.microsoft.com/office/drawing/2014/main" id="{31B338BB-C807-19DE-8608-EB93EEBBDD0A}"/>
                        </a:ext>
                      </a:extLst>
                    </p:cNvPr>
                    <p:cNvSpPr/>
                    <p:nvPr/>
                  </p:nvSpPr>
                  <p:spPr>
                    <a:xfrm>
                      <a:off x="6030452" y="3376953"/>
                      <a:ext cx="1075347" cy="1288646"/>
                    </a:xfrm>
                    <a:custGeom>
                      <a:avLst/>
                      <a:gdLst>
                        <a:gd name="connsiteX0" fmla="*/ 1010548 w 1075347"/>
                        <a:gd name="connsiteY0" fmla="*/ 14247 h 1288646"/>
                        <a:gd name="connsiteX1" fmla="*/ 11548 w 1075347"/>
                        <a:gd name="connsiteY1" fmla="*/ 1218447 h 1288646"/>
                        <a:gd name="connsiteX2" fmla="*/ 16947 w 1075347"/>
                        <a:gd name="connsiteY2" fmla="*/ 1288647 h 1288646"/>
                        <a:gd name="connsiteX3" fmla="*/ 16947 w 1075347"/>
                        <a:gd name="connsiteY3" fmla="*/ 1288647 h 1288646"/>
                        <a:gd name="connsiteX4" fmla="*/ 1075347 w 1075347"/>
                        <a:gd name="connsiteY4" fmla="*/ 14247 h 1288646"/>
                        <a:gd name="connsiteX5" fmla="*/ 1075347 w 1075347"/>
                        <a:gd name="connsiteY5" fmla="*/ 14247 h 1288646"/>
                        <a:gd name="connsiteX6" fmla="*/ 1010548 w 1075347"/>
                        <a:gd name="connsiteY6" fmla="*/ 14247 h 128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5347" h="1288646">
                          <a:moveTo>
                            <a:pt x="1010548" y="14247"/>
                          </a:moveTo>
                          <a:lnTo>
                            <a:pt x="11548" y="1218447"/>
                          </a:lnTo>
                          <a:cubicBezTo>
                            <a:pt x="-4652" y="1240047"/>
                            <a:pt x="-4652" y="1272447"/>
                            <a:pt x="16947" y="1288647"/>
                          </a:cubicBezTo>
                          <a:lnTo>
                            <a:pt x="16947" y="1288647"/>
                          </a:lnTo>
                          <a:lnTo>
                            <a:pt x="1075347" y="14247"/>
                          </a:lnTo>
                          <a:lnTo>
                            <a:pt x="1075347" y="14247"/>
                          </a:lnTo>
                          <a:cubicBezTo>
                            <a:pt x="1059148" y="-7353"/>
                            <a:pt x="1026748" y="-1953"/>
                            <a:pt x="1010548" y="14247"/>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0" name="Forma libre: forma 989">
                      <a:extLst>
                        <a:ext uri="{FF2B5EF4-FFF2-40B4-BE49-F238E27FC236}">
                          <a16:creationId xmlns:a16="http://schemas.microsoft.com/office/drawing/2014/main" id="{2E88054F-613B-1396-7D4C-134F160A5073}"/>
                        </a:ext>
                      </a:extLst>
                    </p:cNvPr>
                    <p:cNvSpPr/>
                    <p:nvPr/>
                  </p:nvSpPr>
                  <p:spPr>
                    <a:xfrm>
                      <a:off x="6052800" y="3385800"/>
                      <a:ext cx="1058400" cy="1279800"/>
                    </a:xfrm>
                    <a:custGeom>
                      <a:avLst/>
                      <a:gdLst>
                        <a:gd name="connsiteX0" fmla="*/ 0 w 1058400"/>
                        <a:gd name="connsiteY0" fmla="*/ 1279800 h 1279800"/>
                        <a:gd name="connsiteX1" fmla="*/ 945000 w 1058400"/>
                        <a:gd name="connsiteY1" fmla="*/ 572400 h 1279800"/>
                        <a:gd name="connsiteX2" fmla="*/ 1058400 w 1058400"/>
                        <a:gd name="connsiteY2" fmla="*/ 0 h 1279800"/>
                      </a:gdLst>
                      <a:ahLst/>
                      <a:cxnLst>
                        <a:cxn ang="0">
                          <a:pos x="connsiteX0" y="connsiteY0"/>
                        </a:cxn>
                        <a:cxn ang="0">
                          <a:pos x="connsiteX1" y="connsiteY1"/>
                        </a:cxn>
                        <a:cxn ang="0">
                          <a:pos x="connsiteX2" y="connsiteY2"/>
                        </a:cxn>
                      </a:cxnLst>
                      <a:rect l="l" t="t" r="r" b="b"/>
                      <a:pathLst>
                        <a:path w="1058400" h="1279800">
                          <a:moveTo>
                            <a:pt x="0" y="1279800"/>
                          </a:moveTo>
                          <a:lnTo>
                            <a:pt x="945000" y="572400"/>
                          </a:lnTo>
                          <a:lnTo>
                            <a:pt x="1058400" y="0"/>
                          </a:lnTo>
                          <a:close/>
                        </a:path>
                      </a:pathLst>
                    </a:custGeom>
                    <a:solidFill>
                      <a:schemeClr val="bg1">
                        <a:lumMod val="8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1" name="Forma libre: forma 990">
                      <a:extLst>
                        <a:ext uri="{FF2B5EF4-FFF2-40B4-BE49-F238E27FC236}">
                          <a16:creationId xmlns:a16="http://schemas.microsoft.com/office/drawing/2014/main" id="{2BE4413F-45CE-5B47-A152-6759DBBB8F10}"/>
                        </a:ext>
                      </a:extLst>
                    </p:cNvPr>
                    <p:cNvSpPr/>
                    <p:nvPr/>
                  </p:nvSpPr>
                  <p:spPr>
                    <a:xfrm>
                      <a:off x="6981600" y="3083400"/>
                      <a:ext cx="583200" cy="583200"/>
                    </a:xfrm>
                    <a:custGeom>
                      <a:avLst/>
                      <a:gdLst>
                        <a:gd name="connsiteX0" fmla="*/ 583200 w 583200"/>
                        <a:gd name="connsiteY0" fmla="*/ 291600 h 583200"/>
                        <a:gd name="connsiteX1" fmla="*/ 291600 w 583200"/>
                        <a:gd name="connsiteY1" fmla="*/ 583200 h 583200"/>
                        <a:gd name="connsiteX2" fmla="*/ 0 w 583200"/>
                        <a:gd name="connsiteY2" fmla="*/ 291600 h 583200"/>
                        <a:gd name="connsiteX3" fmla="*/ 291600 w 583200"/>
                        <a:gd name="connsiteY3" fmla="*/ 0 h 583200"/>
                        <a:gd name="connsiteX4" fmla="*/ 583200 w 583200"/>
                        <a:gd name="connsiteY4" fmla="*/ 291600 h 58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200" h="583200">
                          <a:moveTo>
                            <a:pt x="583200" y="291600"/>
                          </a:moveTo>
                          <a:cubicBezTo>
                            <a:pt x="583200" y="452646"/>
                            <a:pt x="452646" y="583200"/>
                            <a:pt x="291600" y="583200"/>
                          </a:cubicBezTo>
                          <a:cubicBezTo>
                            <a:pt x="130554" y="583200"/>
                            <a:pt x="0" y="452646"/>
                            <a:pt x="0" y="291600"/>
                          </a:cubicBezTo>
                          <a:cubicBezTo>
                            <a:pt x="0" y="130554"/>
                            <a:pt x="130554" y="0"/>
                            <a:pt x="291600" y="0"/>
                          </a:cubicBezTo>
                          <a:cubicBezTo>
                            <a:pt x="452646" y="0"/>
                            <a:pt x="583200" y="130554"/>
                            <a:pt x="583200" y="291600"/>
                          </a:cubicBezTo>
                          <a:close/>
                        </a:path>
                      </a:pathLst>
                    </a:custGeom>
                    <a:solidFill>
                      <a:schemeClr val="bg1">
                        <a:lumMod val="65000"/>
                      </a:schemeClr>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2" name="Forma libre: forma 991">
                      <a:extLst>
                        <a:ext uri="{FF2B5EF4-FFF2-40B4-BE49-F238E27FC236}">
                          <a16:creationId xmlns:a16="http://schemas.microsoft.com/office/drawing/2014/main" id="{0A3CA8DF-1EE5-4667-AEDA-E8CC9E8055DC}"/>
                        </a:ext>
                      </a:extLst>
                    </p:cNvPr>
                    <p:cNvSpPr/>
                    <p:nvPr/>
                  </p:nvSpPr>
                  <p:spPr>
                    <a:xfrm>
                      <a:off x="7127400" y="3229200"/>
                      <a:ext cx="291600" cy="291600"/>
                    </a:xfrm>
                    <a:custGeom>
                      <a:avLst/>
                      <a:gdLst>
                        <a:gd name="connsiteX0" fmla="*/ 291600 w 291600"/>
                        <a:gd name="connsiteY0" fmla="*/ 145800 h 291600"/>
                        <a:gd name="connsiteX1" fmla="*/ 145800 w 291600"/>
                        <a:gd name="connsiteY1" fmla="*/ 291600 h 291600"/>
                        <a:gd name="connsiteX2" fmla="*/ 0 w 291600"/>
                        <a:gd name="connsiteY2" fmla="*/ 145800 h 291600"/>
                        <a:gd name="connsiteX3" fmla="*/ 145800 w 291600"/>
                        <a:gd name="connsiteY3" fmla="*/ 0 h 291600"/>
                        <a:gd name="connsiteX4" fmla="*/ 291600 w 291600"/>
                        <a:gd name="connsiteY4" fmla="*/ 145800 h 29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600" h="291600">
                          <a:moveTo>
                            <a:pt x="291600" y="145800"/>
                          </a:moveTo>
                          <a:cubicBezTo>
                            <a:pt x="291600" y="226323"/>
                            <a:pt x="226323" y="291600"/>
                            <a:pt x="145800" y="291600"/>
                          </a:cubicBezTo>
                          <a:cubicBezTo>
                            <a:pt x="65277" y="291600"/>
                            <a:pt x="0" y="226323"/>
                            <a:pt x="0" y="145800"/>
                          </a:cubicBezTo>
                          <a:cubicBezTo>
                            <a:pt x="0" y="65277"/>
                            <a:pt x="65277" y="0"/>
                            <a:pt x="145800" y="0"/>
                          </a:cubicBezTo>
                          <a:cubicBezTo>
                            <a:pt x="226323" y="0"/>
                            <a:pt x="291600" y="65277"/>
                            <a:pt x="291600" y="145800"/>
                          </a:cubicBezTo>
                          <a:close/>
                        </a:path>
                      </a:pathLst>
                    </a:custGeom>
                    <a:solidFill>
                      <a:srgbClr val="E6E9EE"/>
                    </a:solidFill>
                    <a:ln w="13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31" name="Grupo 930">
                    <a:extLst>
                      <a:ext uri="{FF2B5EF4-FFF2-40B4-BE49-F238E27FC236}">
                        <a16:creationId xmlns:a16="http://schemas.microsoft.com/office/drawing/2014/main" id="{40FACD39-0432-3A28-D038-036F575F1328}"/>
                      </a:ext>
                    </a:extLst>
                  </p:cNvPr>
                  <p:cNvGrpSpPr/>
                  <p:nvPr/>
                </p:nvGrpSpPr>
                <p:grpSpPr>
                  <a:xfrm>
                    <a:off x="9665417" y="2101550"/>
                    <a:ext cx="973828" cy="951343"/>
                    <a:chOff x="3448343" y="1223764"/>
                    <a:chExt cx="5669516" cy="5538611"/>
                  </a:xfrm>
                </p:grpSpPr>
                <p:grpSp>
                  <p:nvGrpSpPr>
                    <p:cNvPr id="932" name="Gráfico 496">
                      <a:extLst>
                        <a:ext uri="{FF2B5EF4-FFF2-40B4-BE49-F238E27FC236}">
                          <a16:creationId xmlns:a16="http://schemas.microsoft.com/office/drawing/2014/main" id="{B5F2D0B5-285C-AD08-4E19-6ECBCA1333F4}"/>
                        </a:ext>
                      </a:extLst>
                    </p:cNvPr>
                    <p:cNvGrpSpPr/>
                    <p:nvPr/>
                  </p:nvGrpSpPr>
                  <p:grpSpPr>
                    <a:xfrm>
                      <a:off x="4097656" y="4706248"/>
                      <a:ext cx="3243887" cy="2056127"/>
                      <a:chOff x="4097656" y="4706248"/>
                      <a:chExt cx="3243887" cy="2056127"/>
                    </a:xfrm>
                    <a:solidFill>
                      <a:srgbClr val="FEFEFE"/>
                    </a:solidFill>
                  </p:grpSpPr>
                  <p:sp>
                    <p:nvSpPr>
                      <p:cNvPr id="973" name="Forma libre: forma 972">
                        <a:extLst>
                          <a:ext uri="{FF2B5EF4-FFF2-40B4-BE49-F238E27FC236}">
                            <a16:creationId xmlns:a16="http://schemas.microsoft.com/office/drawing/2014/main" id="{8E1FBAFF-32DA-A970-9166-8C006077AFD4}"/>
                          </a:ext>
                        </a:extLst>
                      </p:cNvPr>
                      <p:cNvSpPr/>
                      <p:nvPr/>
                    </p:nvSpPr>
                    <p:spPr>
                      <a:xfrm>
                        <a:off x="6902859" y="4717044"/>
                        <a:ext cx="438684" cy="2045331"/>
                      </a:xfrm>
                      <a:custGeom>
                        <a:avLst/>
                        <a:gdLst>
                          <a:gd name="connsiteX0" fmla="*/ 0 w 438684"/>
                          <a:gd name="connsiteY0" fmla="*/ 0 h 2045331"/>
                          <a:gd name="connsiteX1" fmla="*/ 438684 w 438684"/>
                          <a:gd name="connsiteY1" fmla="*/ 0 h 2045331"/>
                          <a:gd name="connsiteX2" fmla="*/ 438684 w 438684"/>
                          <a:gd name="connsiteY2" fmla="*/ 1907703 h 2045331"/>
                          <a:gd name="connsiteX3" fmla="*/ 0 w 438684"/>
                          <a:gd name="connsiteY3" fmla="*/ 2045332 h 2045331"/>
                          <a:gd name="connsiteX4" fmla="*/ 0 w 438684"/>
                          <a:gd name="connsiteY4" fmla="*/ 0 h 2045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684" h="2045331">
                            <a:moveTo>
                              <a:pt x="0" y="0"/>
                            </a:moveTo>
                            <a:lnTo>
                              <a:pt x="438684" y="0"/>
                            </a:lnTo>
                            <a:lnTo>
                              <a:pt x="438684" y="1907703"/>
                            </a:lnTo>
                            <a:cubicBezTo>
                              <a:pt x="296836" y="1963009"/>
                              <a:pt x="150367" y="2009086"/>
                              <a:pt x="0" y="2045332"/>
                            </a:cubicBezTo>
                            <a:lnTo>
                              <a:pt x="0" y="0"/>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4" name="Forma libre: forma 973">
                        <a:extLst>
                          <a:ext uri="{FF2B5EF4-FFF2-40B4-BE49-F238E27FC236}">
                            <a16:creationId xmlns:a16="http://schemas.microsoft.com/office/drawing/2014/main" id="{C7CEA4CA-C6C3-BC97-EB46-B34321608ABE}"/>
                          </a:ext>
                        </a:extLst>
                      </p:cNvPr>
                      <p:cNvSpPr/>
                      <p:nvPr/>
                    </p:nvSpPr>
                    <p:spPr>
                      <a:xfrm>
                        <a:off x="4097656" y="4706248"/>
                        <a:ext cx="150286" cy="676508"/>
                      </a:xfrm>
                      <a:custGeom>
                        <a:avLst/>
                        <a:gdLst>
                          <a:gd name="connsiteX0" fmla="*/ 0 w 150286"/>
                          <a:gd name="connsiteY0" fmla="*/ 0 h 676508"/>
                          <a:gd name="connsiteX1" fmla="*/ 150287 w 150286"/>
                          <a:gd name="connsiteY1" fmla="*/ 0 h 676508"/>
                          <a:gd name="connsiteX2" fmla="*/ 150287 w 150286"/>
                          <a:gd name="connsiteY2" fmla="*/ 653613 h 676508"/>
                          <a:gd name="connsiteX3" fmla="*/ 0 w 150286"/>
                          <a:gd name="connsiteY3" fmla="*/ 668213 h 676508"/>
                          <a:gd name="connsiteX4" fmla="*/ 0 w 150286"/>
                          <a:gd name="connsiteY4" fmla="*/ 0 h 676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6" h="676508">
                            <a:moveTo>
                              <a:pt x="0" y="0"/>
                            </a:moveTo>
                            <a:lnTo>
                              <a:pt x="150287" y="0"/>
                            </a:lnTo>
                            <a:lnTo>
                              <a:pt x="150287" y="653613"/>
                            </a:lnTo>
                            <a:cubicBezTo>
                              <a:pt x="133423" y="677857"/>
                              <a:pt x="50605" y="683054"/>
                              <a:pt x="0" y="668213"/>
                            </a:cubicBezTo>
                            <a:lnTo>
                              <a:pt x="0" y="0"/>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33" name="Gráfico 496">
                      <a:extLst>
                        <a:ext uri="{FF2B5EF4-FFF2-40B4-BE49-F238E27FC236}">
                          <a16:creationId xmlns:a16="http://schemas.microsoft.com/office/drawing/2014/main" id="{8CC9708A-0266-2C56-B6BD-5B1F3FADC1EB}"/>
                        </a:ext>
                      </a:extLst>
                    </p:cNvPr>
                    <p:cNvGrpSpPr/>
                    <p:nvPr/>
                  </p:nvGrpSpPr>
                  <p:grpSpPr>
                    <a:xfrm>
                      <a:off x="6902859" y="4717044"/>
                      <a:ext cx="438684" cy="1927660"/>
                      <a:chOff x="6902859" y="4717044"/>
                      <a:chExt cx="438684" cy="1927660"/>
                    </a:xfrm>
                    <a:solidFill>
                      <a:srgbClr val="E4E7ED"/>
                    </a:solidFill>
                  </p:grpSpPr>
                  <p:sp>
                    <p:nvSpPr>
                      <p:cNvPr id="971" name="Forma libre: forma 970">
                        <a:extLst>
                          <a:ext uri="{FF2B5EF4-FFF2-40B4-BE49-F238E27FC236}">
                            <a16:creationId xmlns:a16="http://schemas.microsoft.com/office/drawing/2014/main" id="{F725C43D-D48A-67C0-FCD7-A05EAEE98237}"/>
                          </a:ext>
                        </a:extLst>
                      </p:cNvPr>
                      <p:cNvSpPr/>
                      <p:nvPr/>
                    </p:nvSpPr>
                    <p:spPr>
                      <a:xfrm>
                        <a:off x="6902859" y="4717044"/>
                        <a:ext cx="438684" cy="1234708"/>
                      </a:xfrm>
                      <a:custGeom>
                        <a:avLst/>
                        <a:gdLst>
                          <a:gd name="connsiteX0" fmla="*/ 0 w 438684"/>
                          <a:gd name="connsiteY0" fmla="*/ 0 h 1234708"/>
                          <a:gd name="connsiteX1" fmla="*/ 438684 w 438684"/>
                          <a:gd name="connsiteY1" fmla="*/ 0 h 1234708"/>
                          <a:gd name="connsiteX2" fmla="*/ 438684 w 438684"/>
                          <a:gd name="connsiteY2" fmla="*/ 1234708 h 1234708"/>
                          <a:gd name="connsiteX3" fmla="*/ 0 w 438684"/>
                          <a:gd name="connsiteY3" fmla="*/ 545412 h 1234708"/>
                        </a:gdLst>
                        <a:ahLst/>
                        <a:cxnLst>
                          <a:cxn ang="0">
                            <a:pos x="connsiteX0" y="connsiteY0"/>
                          </a:cxn>
                          <a:cxn ang="0">
                            <a:pos x="connsiteX1" y="connsiteY1"/>
                          </a:cxn>
                          <a:cxn ang="0">
                            <a:pos x="connsiteX2" y="connsiteY2"/>
                          </a:cxn>
                          <a:cxn ang="0">
                            <a:pos x="connsiteX3" y="connsiteY3"/>
                          </a:cxn>
                        </a:cxnLst>
                        <a:rect l="l" t="t" r="r" b="b"/>
                        <a:pathLst>
                          <a:path w="438684" h="1234708">
                            <a:moveTo>
                              <a:pt x="0" y="0"/>
                            </a:moveTo>
                            <a:lnTo>
                              <a:pt x="438684" y="0"/>
                            </a:lnTo>
                            <a:lnTo>
                              <a:pt x="438684" y="1234708"/>
                            </a:lnTo>
                            <a:lnTo>
                              <a:pt x="0" y="545412"/>
                            </a:ln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 name="Forma libre: forma 971">
                        <a:extLst>
                          <a:ext uri="{FF2B5EF4-FFF2-40B4-BE49-F238E27FC236}">
                            <a16:creationId xmlns:a16="http://schemas.microsoft.com/office/drawing/2014/main" id="{188E44B3-53DA-4F91-4697-ECF4D22C3279}"/>
                          </a:ext>
                        </a:extLst>
                      </p:cNvPr>
                      <p:cNvSpPr/>
                      <p:nvPr/>
                    </p:nvSpPr>
                    <p:spPr>
                      <a:xfrm>
                        <a:off x="7289064" y="4717044"/>
                        <a:ext cx="52385" cy="1927660"/>
                      </a:xfrm>
                      <a:custGeom>
                        <a:avLst/>
                        <a:gdLst>
                          <a:gd name="connsiteX0" fmla="*/ 0 w 52385"/>
                          <a:gd name="connsiteY0" fmla="*/ 0 h 1927660"/>
                          <a:gd name="connsiteX1" fmla="*/ 52386 w 52385"/>
                          <a:gd name="connsiteY1" fmla="*/ 0 h 1927660"/>
                          <a:gd name="connsiteX2" fmla="*/ 52386 w 52385"/>
                          <a:gd name="connsiteY2" fmla="*/ 1907703 h 1927660"/>
                          <a:gd name="connsiteX3" fmla="*/ 0 w 52385"/>
                          <a:gd name="connsiteY3" fmla="*/ 1927661 h 1927660"/>
                          <a:gd name="connsiteX4" fmla="*/ 0 w 52385"/>
                          <a:gd name="connsiteY4" fmla="*/ 0 h 1927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85" h="1927660">
                            <a:moveTo>
                              <a:pt x="0" y="0"/>
                            </a:moveTo>
                            <a:lnTo>
                              <a:pt x="52386" y="0"/>
                            </a:lnTo>
                            <a:lnTo>
                              <a:pt x="52386" y="1907703"/>
                            </a:lnTo>
                            <a:cubicBezTo>
                              <a:pt x="35027" y="1914521"/>
                              <a:pt x="17506" y="1921084"/>
                              <a:pt x="0" y="1927661"/>
                            </a:cubicBezTo>
                            <a:lnTo>
                              <a:pt x="0" y="0"/>
                            </a:lnTo>
                            <a:close/>
                          </a:path>
                        </a:pathLst>
                      </a:custGeom>
                      <a:solidFill>
                        <a:srgbClr val="E4E7ED"/>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34" name="Forma libre: forma 933">
                      <a:extLst>
                        <a:ext uri="{FF2B5EF4-FFF2-40B4-BE49-F238E27FC236}">
                          <a16:creationId xmlns:a16="http://schemas.microsoft.com/office/drawing/2014/main" id="{3A2318E7-594E-86C7-EEAD-75EABE43505E}"/>
                        </a:ext>
                      </a:extLst>
                    </p:cNvPr>
                    <p:cNvSpPr/>
                    <p:nvPr/>
                  </p:nvSpPr>
                  <p:spPr>
                    <a:xfrm>
                      <a:off x="3448343" y="3510385"/>
                      <a:ext cx="1385249" cy="1276244"/>
                    </a:xfrm>
                    <a:custGeom>
                      <a:avLst/>
                      <a:gdLst>
                        <a:gd name="connsiteX0" fmla="*/ 257992 w 1385249"/>
                        <a:gd name="connsiteY0" fmla="*/ 199431 h 1276244"/>
                        <a:gd name="connsiteX1" fmla="*/ 1385249 w 1385249"/>
                        <a:gd name="connsiteY1" fmla="*/ 0 h 1276244"/>
                        <a:gd name="connsiteX2" fmla="*/ 982810 w 1385249"/>
                        <a:gd name="connsiteY2" fmla="*/ 1276244 h 1276244"/>
                        <a:gd name="connsiteX3" fmla="*/ 0 w 1385249"/>
                        <a:gd name="connsiteY3" fmla="*/ 1040876 h 1276244"/>
                      </a:gdLst>
                      <a:ahLst/>
                      <a:cxnLst>
                        <a:cxn ang="0">
                          <a:pos x="connsiteX0" y="connsiteY0"/>
                        </a:cxn>
                        <a:cxn ang="0">
                          <a:pos x="connsiteX1" y="connsiteY1"/>
                        </a:cxn>
                        <a:cxn ang="0">
                          <a:pos x="connsiteX2" y="connsiteY2"/>
                        </a:cxn>
                        <a:cxn ang="0">
                          <a:pos x="connsiteX3" y="connsiteY3"/>
                        </a:cxn>
                      </a:cxnLst>
                      <a:rect l="l" t="t" r="r" b="b"/>
                      <a:pathLst>
                        <a:path w="1385249" h="1276244">
                          <a:moveTo>
                            <a:pt x="257992" y="199431"/>
                          </a:moveTo>
                          <a:lnTo>
                            <a:pt x="1385249" y="0"/>
                          </a:lnTo>
                          <a:lnTo>
                            <a:pt x="982810" y="1276244"/>
                          </a:lnTo>
                          <a:lnTo>
                            <a:pt x="0" y="1040876"/>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35" name="Gráfico 496">
                      <a:extLst>
                        <a:ext uri="{FF2B5EF4-FFF2-40B4-BE49-F238E27FC236}">
                          <a16:creationId xmlns:a16="http://schemas.microsoft.com/office/drawing/2014/main" id="{943F0390-011F-AA78-8BFE-10002CDB7D49}"/>
                        </a:ext>
                      </a:extLst>
                    </p:cNvPr>
                    <p:cNvGrpSpPr/>
                    <p:nvPr/>
                  </p:nvGrpSpPr>
                  <p:grpSpPr>
                    <a:xfrm>
                      <a:off x="3493040" y="3591891"/>
                      <a:ext cx="1196587" cy="1120854"/>
                      <a:chOff x="3493040" y="3591891"/>
                      <a:chExt cx="1196587" cy="1120854"/>
                    </a:xfrm>
                    <a:solidFill>
                      <a:srgbClr val="8597B1"/>
                    </a:solidFill>
                  </p:grpSpPr>
                  <p:sp>
                    <p:nvSpPr>
                      <p:cNvPr id="967" name="Forma libre: forma 966">
                        <a:extLst>
                          <a:ext uri="{FF2B5EF4-FFF2-40B4-BE49-F238E27FC236}">
                            <a16:creationId xmlns:a16="http://schemas.microsoft.com/office/drawing/2014/main" id="{DEBF90A0-4137-0293-552A-7155317C5FED}"/>
                          </a:ext>
                        </a:extLst>
                      </p:cNvPr>
                      <p:cNvSpPr/>
                      <p:nvPr/>
                    </p:nvSpPr>
                    <p:spPr>
                      <a:xfrm>
                        <a:off x="3665535" y="3591891"/>
                        <a:ext cx="1024092" cy="355396"/>
                      </a:xfrm>
                      <a:custGeom>
                        <a:avLst/>
                        <a:gdLst>
                          <a:gd name="connsiteX0" fmla="*/ 56123 w 1024092"/>
                          <a:gd name="connsiteY0" fmla="*/ 157506 h 355396"/>
                          <a:gd name="connsiteX1" fmla="*/ 0 w 1024092"/>
                          <a:gd name="connsiteY1" fmla="*/ 355397 h 355396"/>
                          <a:gd name="connsiteX2" fmla="*/ 938046 w 1024092"/>
                          <a:gd name="connsiteY2" fmla="*/ 264314 h 355396"/>
                          <a:gd name="connsiteX3" fmla="*/ 1024092 w 1024092"/>
                          <a:gd name="connsiteY3" fmla="*/ 0 h 355396"/>
                        </a:gdLst>
                        <a:ahLst/>
                        <a:cxnLst>
                          <a:cxn ang="0">
                            <a:pos x="connsiteX0" y="connsiteY0"/>
                          </a:cxn>
                          <a:cxn ang="0">
                            <a:pos x="connsiteX1" y="connsiteY1"/>
                          </a:cxn>
                          <a:cxn ang="0">
                            <a:pos x="connsiteX2" y="connsiteY2"/>
                          </a:cxn>
                          <a:cxn ang="0">
                            <a:pos x="connsiteX3" y="connsiteY3"/>
                          </a:cxn>
                        </a:cxnLst>
                        <a:rect l="l" t="t" r="r" b="b"/>
                        <a:pathLst>
                          <a:path w="1024092" h="355396">
                            <a:moveTo>
                              <a:pt x="56123" y="157506"/>
                            </a:moveTo>
                            <a:lnTo>
                              <a:pt x="0" y="355397"/>
                            </a:lnTo>
                            <a:lnTo>
                              <a:pt x="938046" y="264314"/>
                            </a:lnTo>
                            <a:lnTo>
                              <a:pt x="1024092" y="0"/>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8" name="Forma libre: forma 967">
                        <a:extLst>
                          <a:ext uri="{FF2B5EF4-FFF2-40B4-BE49-F238E27FC236}">
                            <a16:creationId xmlns:a16="http://schemas.microsoft.com/office/drawing/2014/main" id="{D2B4CA41-22D1-2CE2-508B-1D5FE1D1B506}"/>
                          </a:ext>
                        </a:extLst>
                      </p:cNvPr>
                      <p:cNvSpPr/>
                      <p:nvPr/>
                    </p:nvSpPr>
                    <p:spPr>
                      <a:xfrm>
                        <a:off x="3608849" y="3881025"/>
                        <a:ext cx="987913" cy="255808"/>
                      </a:xfrm>
                      <a:custGeom>
                        <a:avLst/>
                        <a:gdLst>
                          <a:gd name="connsiteX0" fmla="*/ 48421 w 987913"/>
                          <a:gd name="connsiteY0" fmla="*/ 84024 h 255808"/>
                          <a:gd name="connsiteX1" fmla="*/ 0 w 987913"/>
                          <a:gd name="connsiteY1" fmla="*/ 255809 h 255808"/>
                          <a:gd name="connsiteX2" fmla="*/ 911444 w 987913"/>
                          <a:gd name="connsiteY2" fmla="*/ 254014 h 255808"/>
                          <a:gd name="connsiteX3" fmla="*/ 987914 w 987913"/>
                          <a:gd name="connsiteY3" fmla="*/ 0 h 255808"/>
                        </a:gdLst>
                        <a:ahLst/>
                        <a:cxnLst>
                          <a:cxn ang="0">
                            <a:pos x="connsiteX0" y="connsiteY0"/>
                          </a:cxn>
                          <a:cxn ang="0">
                            <a:pos x="connsiteX1" y="connsiteY1"/>
                          </a:cxn>
                          <a:cxn ang="0">
                            <a:pos x="connsiteX2" y="connsiteY2"/>
                          </a:cxn>
                          <a:cxn ang="0">
                            <a:pos x="connsiteX3" y="connsiteY3"/>
                          </a:cxn>
                        </a:cxnLst>
                        <a:rect l="l" t="t" r="r" b="b"/>
                        <a:pathLst>
                          <a:path w="987913" h="255808">
                            <a:moveTo>
                              <a:pt x="48421" y="84024"/>
                            </a:moveTo>
                            <a:lnTo>
                              <a:pt x="0" y="255809"/>
                            </a:lnTo>
                            <a:lnTo>
                              <a:pt x="911444" y="254014"/>
                            </a:lnTo>
                            <a:lnTo>
                              <a:pt x="987914" y="0"/>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9" name="Forma libre: forma 968">
                        <a:extLst>
                          <a:ext uri="{FF2B5EF4-FFF2-40B4-BE49-F238E27FC236}">
                            <a16:creationId xmlns:a16="http://schemas.microsoft.com/office/drawing/2014/main" id="{79181A95-E8B2-6755-1DEB-549B6CBC66A9}"/>
                          </a:ext>
                        </a:extLst>
                      </p:cNvPr>
                      <p:cNvSpPr/>
                      <p:nvPr/>
                    </p:nvSpPr>
                    <p:spPr>
                      <a:xfrm>
                        <a:off x="3550784" y="4154675"/>
                        <a:ext cx="959932" cy="286535"/>
                      </a:xfrm>
                      <a:custGeom>
                        <a:avLst/>
                        <a:gdLst>
                          <a:gd name="connsiteX0" fmla="*/ 53203 w 959932"/>
                          <a:gd name="connsiteY0" fmla="*/ 0 h 286535"/>
                          <a:gd name="connsiteX1" fmla="*/ 0 w 959932"/>
                          <a:gd name="connsiteY1" fmla="*/ 180451 h 286535"/>
                          <a:gd name="connsiteX2" fmla="*/ 874850 w 959932"/>
                          <a:gd name="connsiteY2" fmla="*/ 286536 h 286535"/>
                          <a:gd name="connsiteX3" fmla="*/ 959933 w 959932"/>
                          <a:gd name="connsiteY3" fmla="*/ 9885 h 286535"/>
                        </a:gdLst>
                        <a:ahLst/>
                        <a:cxnLst>
                          <a:cxn ang="0">
                            <a:pos x="connsiteX0" y="connsiteY0"/>
                          </a:cxn>
                          <a:cxn ang="0">
                            <a:pos x="connsiteX1" y="connsiteY1"/>
                          </a:cxn>
                          <a:cxn ang="0">
                            <a:pos x="connsiteX2" y="connsiteY2"/>
                          </a:cxn>
                          <a:cxn ang="0">
                            <a:pos x="connsiteX3" y="connsiteY3"/>
                          </a:cxn>
                        </a:cxnLst>
                        <a:rect l="l" t="t" r="r" b="b"/>
                        <a:pathLst>
                          <a:path w="959932" h="286535">
                            <a:moveTo>
                              <a:pt x="53203" y="0"/>
                            </a:moveTo>
                            <a:lnTo>
                              <a:pt x="0" y="180451"/>
                            </a:lnTo>
                            <a:lnTo>
                              <a:pt x="874850" y="286536"/>
                            </a:lnTo>
                            <a:lnTo>
                              <a:pt x="959933" y="9885"/>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0" name="Forma libre: forma 969">
                        <a:extLst>
                          <a:ext uri="{FF2B5EF4-FFF2-40B4-BE49-F238E27FC236}">
                            <a16:creationId xmlns:a16="http://schemas.microsoft.com/office/drawing/2014/main" id="{36F148F7-02AF-8F4E-99C4-3D8D949DAE76}"/>
                          </a:ext>
                        </a:extLst>
                      </p:cNvPr>
                      <p:cNvSpPr/>
                      <p:nvPr/>
                    </p:nvSpPr>
                    <p:spPr>
                      <a:xfrm>
                        <a:off x="3493040" y="4360187"/>
                        <a:ext cx="920833" cy="352557"/>
                      </a:xfrm>
                      <a:custGeom>
                        <a:avLst/>
                        <a:gdLst>
                          <a:gd name="connsiteX0" fmla="*/ 49064 w 920833"/>
                          <a:gd name="connsiteY0" fmla="*/ 0 h 352557"/>
                          <a:gd name="connsiteX1" fmla="*/ 0 w 920833"/>
                          <a:gd name="connsiteY1" fmla="*/ 161070 h 352557"/>
                          <a:gd name="connsiteX2" fmla="*/ 848169 w 920833"/>
                          <a:gd name="connsiteY2" fmla="*/ 352558 h 352557"/>
                          <a:gd name="connsiteX3" fmla="*/ 920834 w 920833"/>
                          <a:gd name="connsiteY3" fmla="*/ 111027 h 352557"/>
                        </a:gdLst>
                        <a:ahLst/>
                        <a:cxnLst>
                          <a:cxn ang="0">
                            <a:pos x="connsiteX0" y="connsiteY0"/>
                          </a:cxn>
                          <a:cxn ang="0">
                            <a:pos x="connsiteX1" y="connsiteY1"/>
                          </a:cxn>
                          <a:cxn ang="0">
                            <a:pos x="connsiteX2" y="connsiteY2"/>
                          </a:cxn>
                          <a:cxn ang="0">
                            <a:pos x="connsiteX3" y="connsiteY3"/>
                          </a:cxn>
                        </a:cxnLst>
                        <a:rect l="l" t="t" r="r" b="b"/>
                        <a:pathLst>
                          <a:path w="920833" h="352557">
                            <a:moveTo>
                              <a:pt x="49064" y="0"/>
                            </a:moveTo>
                            <a:lnTo>
                              <a:pt x="0" y="161070"/>
                            </a:lnTo>
                            <a:lnTo>
                              <a:pt x="848169" y="352558"/>
                            </a:lnTo>
                            <a:lnTo>
                              <a:pt x="920834" y="111027"/>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36" name="Gráfico 496">
                      <a:extLst>
                        <a:ext uri="{FF2B5EF4-FFF2-40B4-BE49-F238E27FC236}">
                          <a16:creationId xmlns:a16="http://schemas.microsoft.com/office/drawing/2014/main" id="{9A005E22-6696-0376-1C0C-18FDE30BA3FC}"/>
                        </a:ext>
                      </a:extLst>
                    </p:cNvPr>
                    <p:cNvGrpSpPr/>
                    <p:nvPr/>
                  </p:nvGrpSpPr>
                  <p:grpSpPr>
                    <a:xfrm>
                      <a:off x="3510801" y="3620689"/>
                      <a:ext cx="1147844" cy="1053613"/>
                      <a:chOff x="3510801" y="3620689"/>
                      <a:chExt cx="1147844" cy="1053613"/>
                    </a:xfrm>
                    <a:solidFill>
                      <a:srgbClr val="ECF0F1"/>
                    </a:solidFill>
                  </p:grpSpPr>
                  <p:sp>
                    <p:nvSpPr>
                      <p:cNvPr id="957" name="Forma libre: forma 956">
                        <a:extLst>
                          <a:ext uri="{FF2B5EF4-FFF2-40B4-BE49-F238E27FC236}">
                            <a16:creationId xmlns:a16="http://schemas.microsoft.com/office/drawing/2014/main" id="{5ED5ED03-50E6-D8B9-4389-BA4CEE1C47FF}"/>
                          </a:ext>
                        </a:extLst>
                      </p:cNvPr>
                      <p:cNvSpPr/>
                      <p:nvPr/>
                    </p:nvSpPr>
                    <p:spPr>
                      <a:xfrm>
                        <a:off x="3583949" y="3736096"/>
                        <a:ext cx="219228" cy="799840"/>
                      </a:xfrm>
                      <a:custGeom>
                        <a:avLst/>
                        <a:gdLst>
                          <a:gd name="connsiteX0" fmla="*/ 166990 w 219228"/>
                          <a:gd name="connsiteY0" fmla="*/ 107303 h 799840"/>
                          <a:gd name="connsiteX1" fmla="*/ 189546 w 219228"/>
                          <a:gd name="connsiteY1" fmla="*/ 87346 h 799840"/>
                          <a:gd name="connsiteX2" fmla="*/ 212491 w 219228"/>
                          <a:gd name="connsiteY2" fmla="*/ 1138 h 799840"/>
                          <a:gd name="connsiteX3" fmla="*/ 219228 w 219228"/>
                          <a:gd name="connsiteY3" fmla="*/ 0 h 799840"/>
                          <a:gd name="connsiteX4" fmla="*/ 195466 w 219228"/>
                          <a:gd name="connsiteY4" fmla="*/ 87587 h 799840"/>
                          <a:gd name="connsiteX5" fmla="*/ 209330 w 219228"/>
                          <a:gd name="connsiteY5" fmla="*/ 100084 h 799840"/>
                          <a:gd name="connsiteX6" fmla="*/ 185648 w 219228"/>
                          <a:gd name="connsiteY6" fmla="*/ 124408 h 799840"/>
                          <a:gd name="connsiteX7" fmla="*/ 139665 w 219228"/>
                          <a:gd name="connsiteY7" fmla="*/ 296675 h 799840"/>
                          <a:gd name="connsiteX8" fmla="*/ 153689 w 219228"/>
                          <a:gd name="connsiteY8" fmla="*/ 312414 h 799840"/>
                          <a:gd name="connsiteX9" fmla="*/ 129847 w 219228"/>
                          <a:gd name="connsiteY9" fmla="*/ 333738 h 799840"/>
                          <a:gd name="connsiteX10" fmla="*/ 83944 w 219228"/>
                          <a:gd name="connsiteY10" fmla="*/ 505844 h 799840"/>
                          <a:gd name="connsiteX11" fmla="*/ 98463 w 219228"/>
                          <a:gd name="connsiteY11" fmla="*/ 524651 h 799840"/>
                          <a:gd name="connsiteX12" fmla="*/ 73965 w 219228"/>
                          <a:gd name="connsiteY12" fmla="*/ 543148 h 799840"/>
                          <a:gd name="connsiteX13" fmla="*/ 27499 w 219228"/>
                          <a:gd name="connsiteY13" fmla="*/ 717599 h 799840"/>
                          <a:gd name="connsiteX14" fmla="*/ 40398 w 219228"/>
                          <a:gd name="connsiteY14" fmla="*/ 739258 h 799840"/>
                          <a:gd name="connsiteX15" fmla="*/ 17440 w 219228"/>
                          <a:gd name="connsiteY15" fmla="*/ 755237 h 799840"/>
                          <a:gd name="connsiteX16" fmla="*/ 5519 w 219228"/>
                          <a:gd name="connsiteY16" fmla="*/ 799841 h 799840"/>
                          <a:gd name="connsiteX17" fmla="*/ 0 w 219228"/>
                          <a:gd name="connsiteY17" fmla="*/ 798301 h 799840"/>
                          <a:gd name="connsiteX18" fmla="*/ 12243 w 219228"/>
                          <a:gd name="connsiteY18" fmla="*/ 752398 h 799840"/>
                          <a:gd name="connsiteX19" fmla="*/ 0 w 219228"/>
                          <a:gd name="connsiteY19" fmla="*/ 734797 h 799840"/>
                          <a:gd name="connsiteX20" fmla="*/ 21338 w 219228"/>
                          <a:gd name="connsiteY20" fmla="*/ 718255 h 799840"/>
                          <a:gd name="connsiteX21" fmla="*/ 68701 w 219228"/>
                          <a:gd name="connsiteY21" fmla="*/ 540550 h 799840"/>
                          <a:gd name="connsiteX22" fmla="*/ 56699 w 219228"/>
                          <a:gd name="connsiteY22" fmla="*/ 523284 h 799840"/>
                          <a:gd name="connsiteX23" fmla="*/ 77862 w 219228"/>
                          <a:gd name="connsiteY23" fmla="*/ 506166 h 799840"/>
                          <a:gd name="connsiteX24" fmla="*/ 124408 w 219228"/>
                          <a:gd name="connsiteY24" fmla="*/ 331475 h 799840"/>
                          <a:gd name="connsiteX25" fmla="*/ 112327 w 219228"/>
                          <a:gd name="connsiteY25" fmla="*/ 314839 h 799840"/>
                          <a:gd name="connsiteX26" fmla="*/ 133744 w 219228"/>
                          <a:gd name="connsiteY26" fmla="*/ 296756 h 799840"/>
                          <a:gd name="connsiteX27" fmla="*/ 180210 w 219228"/>
                          <a:gd name="connsiteY27" fmla="*/ 122306 h 79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9228" h="799840">
                            <a:moveTo>
                              <a:pt x="166990" y="107303"/>
                            </a:moveTo>
                            <a:lnTo>
                              <a:pt x="189546" y="87346"/>
                            </a:lnTo>
                            <a:lnTo>
                              <a:pt x="212491" y="1138"/>
                            </a:lnTo>
                            <a:lnTo>
                              <a:pt x="219228" y="0"/>
                            </a:lnTo>
                            <a:lnTo>
                              <a:pt x="195466" y="87587"/>
                            </a:lnTo>
                            <a:lnTo>
                              <a:pt x="209330" y="100084"/>
                            </a:lnTo>
                            <a:lnTo>
                              <a:pt x="185648" y="124408"/>
                            </a:lnTo>
                            <a:lnTo>
                              <a:pt x="139665" y="296675"/>
                            </a:lnTo>
                            <a:lnTo>
                              <a:pt x="153689" y="312414"/>
                            </a:lnTo>
                            <a:lnTo>
                              <a:pt x="129847" y="333738"/>
                            </a:lnTo>
                            <a:lnTo>
                              <a:pt x="83944" y="505844"/>
                            </a:lnTo>
                            <a:lnTo>
                              <a:pt x="98463" y="524651"/>
                            </a:lnTo>
                            <a:lnTo>
                              <a:pt x="73965" y="543148"/>
                            </a:lnTo>
                            <a:lnTo>
                              <a:pt x="27499" y="717599"/>
                            </a:lnTo>
                            <a:lnTo>
                              <a:pt x="40398" y="739258"/>
                            </a:lnTo>
                            <a:lnTo>
                              <a:pt x="17440" y="755237"/>
                            </a:lnTo>
                            <a:lnTo>
                              <a:pt x="5519" y="799841"/>
                            </a:lnTo>
                            <a:lnTo>
                              <a:pt x="0" y="798301"/>
                            </a:lnTo>
                            <a:lnTo>
                              <a:pt x="12243" y="752398"/>
                            </a:lnTo>
                            <a:lnTo>
                              <a:pt x="0" y="734797"/>
                            </a:lnTo>
                            <a:lnTo>
                              <a:pt x="21338" y="718255"/>
                            </a:lnTo>
                            <a:lnTo>
                              <a:pt x="68701" y="540550"/>
                            </a:lnTo>
                            <a:lnTo>
                              <a:pt x="56699" y="523284"/>
                            </a:lnTo>
                            <a:lnTo>
                              <a:pt x="77862" y="506166"/>
                            </a:lnTo>
                            <a:lnTo>
                              <a:pt x="124408" y="331475"/>
                            </a:lnTo>
                            <a:lnTo>
                              <a:pt x="112327" y="314839"/>
                            </a:lnTo>
                            <a:lnTo>
                              <a:pt x="133744" y="296756"/>
                            </a:lnTo>
                            <a:lnTo>
                              <a:pt x="180210" y="122306"/>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8" name="Forma libre: forma 957">
                        <a:extLst>
                          <a:ext uri="{FF2B5EF4-FFF2-40B4-BE49-F238E27FC236}">
                            <a16:creationId xmlns:a16="http://schemas.microsoft.com/office/drawing/2014/main" id="{90E65011-1838-1B09-D723-F03539056911}"/>
                          </a:ext>
                        </a:extLst>
                      </p:cNvPr>
                      <p:cNvSpPr/>
                      <p:nvPr/>
                    </p:nvSpPr>
                    <p:spPr>
                      <a:xfrm>
                        <a:off x="3719394" y="3710954"/>
                        <a:ext cx="238610" cy="859607"/>
                      </a:xfrm>
                      <a:custGeom>
                        <a:avLst/>
                        <a:gdLst>
                          <a:gd name="connsiteX0" fmla="*/ 185072 w 238610"/>
                          <a:gd name="connsiteY0" fmla="*/ 108683 h 859607"/>
                          <a:gd name="connsiteX1" fmla="*/ 209571 w 238610"/>
                          <a:gd name="connsiteY1" fmla="*/ 83542 h 859607"/>
                          <a:gd name="connsiteX2" fmla="*/ 231873 w 238610"/>
                          <a:gd name="connsiteY2" fmla="*/ 978 h 859607"/>
                          <a:gd name="connsiteX3" fmla="*/ 238610 w 238610"/>
                          <a:gd name="connsiteY3" fmla="*/ 0 h 859607"/>
                          <a:gd name="connsiteX4" fmla="*/ 215973 w 238610"/>
                          <a:gd name="connsiteY4" fmla="*/ 83703 h 859607"/>
                          <a:gd name="connsiteX5" fmla="*/ 230975 w 238610"/>
                          <a:gd name="connsiteY5" fmla="*/ 97244 h 859607"/>
                          <a:gd name="connsiteX6" fmla="*/ 205191 w 238610"/>
                          <a:gd name="connsiteY6" fmla="*/ 123766 h 859607"/>
                          <a:gd name="connsiteX7" fmla="*/ 154345 w 238610"/>
                          <a:gd name="connsiteY7" fmla="*/ 311517 h 859607"/>
                          <a:gd name="connsiteX8" fmla="*/ 169427 w 238610"/>
                          <a:gd name="connsiteY8" fmla="*/ 329117 h 859607"/>
                          <a:gd name="connsiteX9" fmla="*/ 143388 w 238610"/>
                          <a:gd name="connsiteY9" fmla="*/ 351901 h 859607"/>
                          <a:gd name="connsiteX10" fmla="*/ 92704 w 238610"/>
                          <a:gd name="connsiteY10" fmla="*/ 539331 h 859607"/>
                          <a:gd name="connsiteX11" fmla="*/ 107384 w 238610"/>
                          <a:gd name="connsiteY11" fmla="*/ 558807 h 859607"/>
                          <a:gd name="connsiteX12" fmla="*/ 81666 w 238610"/>
                          <a:gd name="connsiteY12" fmla="*/ 579970 h 859607"/>
                          <a:gd name="connsiteX13" fmla="*/ 31705 w 238610"/>
                          <a:gd name="connsiteY13" fmla="*/ 764640 h 859607"/>
                          <a:gd name="connsiteX14" fmla="*/ 45823 w 238610"/>
                          <a:gd name="connsiteY14" fmla="*/ 788804 h 859607"/>
                          <a:gd name="connsiteX15" fmla="*/ 20601 w 238610"/>
                          <a:gd name="connsiteY15" fmla="*/ 805601 h 859607"/>
                          <a:gd name="connsiteX16" fmla="*/ 6001 w 238610"/>
                          <a:gd name="connsiteY16" fmla="*/ 859608 h 859607"/>
                          <a:gd name="connsiteX17" fmla="*/ 0 w 238610"/>
                          <a:gd name="connsiteY17" fmla="*/ 857907 h 859607"/>
                          <a:gd name="connsiteX18" fmla="*/ 15002 w 238610"/>
                          <a:gd name="connsiteY18" fmla="*/ 802520 h 859607"/>
                          <a:gd name="connsiteX19" fmla="*/ 3000 w 238610"/>
                          <a:gd name="connsiteY19" fmla="*/ 781504 h 859607"/>
                          <a:gd name="connsiteX20" fmla="*/ 24981 w 238610"/>
                          <a:gd name="connsiteY20" fmla="*/ 765283 h 859607"/>
                          <a:gd name="connsiteX21" fmla="*/ 75907 w 238610"/>
                          <a:gd name="connsiteY21" fmla="*/ 577211 h 859607"/>
                          <a:gd name="connsiteX22" fmla="*/ 64321 w 238610"/>
                          <a:gd name="connsiteY22" fmla="*/ 557092 h 859607"/>
                          <a:gd name="connsiteX23" fmla="*/ 86127 w 238610"/>
                          <a:gd name="connsiteY23" fmla="*/ 539666 h 859607"/>
                          <a:gd name="connsiteX24" fmla="*/ 137629 w 238610"/>
                          <a:gd name="connsiteY24" fmla="*/ 349316 h 859607"/>
                          <a:gd name="connsiteX25" fmla="*/ 125065 w 238610"/>
                          <a:gd name="connsiteY25" fmla="*/ 333578 h 859607"/>
                          <a:gd name="connsiteX26" fmla="*/ 147849 w 238610"/>
                          <a:gd name="connsiteY26" fmla="*/ 311597 h 859607"/>
                          <a:gd name="connsiteX27" fmla="*/ 199270 w 238610"/>
                          <a:gd name="connsiteY27" fmla="*/ 121569 h 8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8610" h="859607">
                            <a:moveTo>
                              <a:pt x="185072" y="108683"/>
                            </a:moveTo>
                            <a:lnTo>
                              <a:pt x="209571" y="83542"/>
                            </a:lnTo>
                            <a:lnTo>
                              <a:pt x="231873" y="978"/>
                            </a:lnTo>
                            <a:lnTo>
                              <a:pt x="238610" y="0"/>
                            </a:lnTo>
                            <a:lnTo>
                              <a:pt x="215973" y="83703"/>
                            </a:lnTo>
                            <a:lnTo>
                              <a:pt x="230975" y="97244"/>
                            </a:lnTo>
                            <a:lnTo>
                              <a:pt x="205191" y="123766"/>
                            </a:lnTo>
                            <a:lnTo>
                              <a:pt x="154345" y="311517"/>
                            </a:lnTo>
                            <a:lnTo>
                              <a:pt x="169427" y="329117"/>
                            </a:lnTo>
                            <a:lnTo>
                              <a:pt x="143388" y="351901"/>
                            </a:lnTo>
                            <a:lnTo>
                              <a:pt x="92704" y="539331"/>
                            </a:lnTo>
                            <a:lnTo>
                              <a:pt x="107384" y="558807"/>
                            </a:lnTo>
                            <a:lnTo>
                              <a:pt x="81666" y="579970"/>
                            </a:lnTo>
                            <a:lnTo>
                              <a:pt x="31705" y="764640"/>
                            </a:lnTo>
                            <a:lnTo>
                              <a:pt x="45823" y="788804"/>
                            </a:lnTo>
                            <a:lnTo>
                              <a:pt x="20601" y="805601"/>
                            </a:lnTo>
                            <a:lnTo>
                              <a:pt x="6001" y="859608"/>
                            </a:lnTo>
                            <a:lnTo>
                              <a:pt x="0" y="857907"/>
                            </a:lnTo>
                            <a:lnTo>
                              <a:pt x="15002" y="802520"/>
                            </a:lnTo>
                            <a:lnTo>
                              <a:pt x="3000" y="781504"/>
                            </a:lnTo>
                            <a:lnTo>
                              <a:pt x="24981" y="765283"/>
                            </a:lnTo>
                            <a:lnTo>
                              <a:pt x="75907" y="577211"/>
                            </a:lnTo>
                            <a:lnTo>
                              <a:pt x="64321" y="557092"/>
                            </a:lnTo>
                            <a:lnTo>
                              <a:pt x="86127" y="539666"/>
                            </a:lnTo>
                            <a:lnTo>
                              <a:pt x="137629" y="349316"/>
                            </a:lnTo>
                            <a:lnTo>
                              <a:pt x="125065" y="333578"/>
                            </a:lnTo>
                            <a:lnTo>
                              <a:pt x="147849" y="311597"/>
                            </a:lnTo>
                            <a:lnTo>
                              <a:pt x="199270" y="121569"/>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9" name="Forma libre: forma 958">
                        <a:extLst>
                          <a:ext uri="{FF2B5EF4-FFF2-40B4-BE49-F238E27FC236}">
                            <a16:creationId xmlns:a16="http://schemas.microsoft.com/office/drawing/2014/main" id="{F490AC5D-2255-0F72-E52F-944BEED137E9}"/>
                          </a:ext>
                        </a:extLst>
                      </p:cNvPr>
                      <p:cNvSpPr/>
                      <p:nvPr/>
                    </p:nvSpPr>
                    <p:spPr>
                      <a:xfrm>
                        <a:off x="3863680" y="3685732"/>
                        <a:ext cx="249138" cy="926607"/>
                      </a:xfrm>
                      <a:custGeom>
                        <a:avLst/>
                        <a:gdLst>
                          <a:gd name="connsiteX0" fmla="*/ 195051 w 249138"/>
                          <a:gd name="connsiteY0" fmla="*/ 107947 h 926607"/>
                          <a:gd name="connsiteX1" fmla="*/ 221412 w 249138"/>
                          <a:gd name="connsiteY1" fmla="*/ 80702 h 926607"/>
                          <a:gd name="connsiteX2" fmla="*/ 242012 w 249138"/>
                          <a:gd name="connsiteY2" fmla="*/ 1219 h 926607"/>
                          <a:gd name="connsiteX3" fmla="*/ 249138 w 249138"/>
                          <a:gd name="connsiteY3" fmla="*/ 0 h 926607"/>
                          <a:gd name="connsiteX4" fmla="*/ 228377 w 249138"/>
                          <a:gd name="connsiteY4" fmla="*/ 80943 h 926607"/>
                          <a:gd name="connsiteX5" fmla="*/ 243633 w 249138"/>
                          <a:gd name="connsiteY5" fmla="*/ 96843 h 926607"/>
                          <a:gd name="connsiteX6" fmla="*/ 217032 w 249138"/>
                          <a:gd name="connsiteY6" fmla="*/ 124248 h 926607"/>
                          <a:gd name="connsiteX7" fmla="*/ 161873 w 249138"/>
                          <a:gd name="connsiteY7" fmla="*/ 334060 h 926607"/>
                          <a:gd name="connsiteX8" fmla="*/ 178429 w 249138"/>
                          <a:gd name="connsiteY8" fmla="*/ 348821 h 926607"/>
                          <a:gd name="connsiteX9" fmla="*/ 151572 w 249138"/>
                          <a:gd name="connsiteY9" fmla="*/ 373078 h 926607"/>
                          <a:gd name="connsiteX10" fmla="*/ 99669 w 249138"/>
                          <a:gd name="connsiteY10" fmla="*/ 571290 h 926607"/>
                          <a:gd name="connsiteX11" fmla="*/ 117108 w 249138"/>
                          <a:gd name="connsiteY11" fmla="*/ 593030 h 926607"/>
                          <a:gd name="connsiteX12" fmla="*/ 88230 w 249138"/>
                          <a:gd name="connsiteY12" fmla="*/ 615251 h 926607"/>
                          <a:gd name="connsiteX13" fmla="*/ 35027 w 249138"/>
                          <a:gd name="connsiteY13" fmla="*/ 817683 h 926607"/>
                          <a:gd name="connsiteX14" fmla="*/ 50122 w 249138"/>
                          <a:gd name="connsiteY14" fmla="*/ 840226 h 926607"/>
                          <a:gd name="connsiteX15" fmla="*/ 23440 w 249138"/>
                          <a:gd name="connsiteY15" fmla="*/ 861965 h 926607"/>
                          <a:gd name="connsiteX16" fmla="*/ 6483 w 249138"/>
                          <a:gd name="connsiteY16" fmla="*/ 926607 h 926607"/>
                          <a:gd name="connsiteX17" fmla="*/ 0 w 249138"/>
                          <a:gd name="connsiteY17" fmla="*/ 924732 h 926607"/>
                          <a:gd name="connsiteX18" fmla="*/ 17346 w 249138"/>
                          <a:gd name="connsiteY18" fmla="*/ 858643 h 926607"/>
                          <a:gd name="connsiteX19" fmla="*/ 2585 w 249138"/>
                          <a:gd name="connsiteY19" fmla="*/ 833904 h 926607"/>
                          <a:gd name="connsiteX20" fmla="*/ 27901 w 249138"/>
                          <a:gd name="connsiteY20" fmla="*/ 818406 h 926607"/>
                          <a:gd name="connsiteX21" fmla="*/ 81908 w 249138"/>
                          <a:gd name="connsiteY21" fmla="*/ 612170 h 926607"/>
                          <a:gd name="connsiteX22" fmla="*/ 66665 w 249138"/>
                          <a:gd name="connsiteY22" fmla="*/ 592534 h 926607"/>
                          <a:gd name="connsiteX23" fmla="*/ 92529 w 249138"/>
                          <a:gd name="connsiteY23" fmla="*/ 571692 h 926607"/>
                          <a:gd name="connsiteX24" fmla="*/ 145170 w 249138"/>
                          <a:gd name="connsiteY24" fmla="*/ 370319 h 926607"/>
                          <a:gd name="connsiteX25" fmla="*/ 130891 w 249138"/>
                          <a:gd name="connsiteY25" fmla="*/ 351821 h 926607"/>
                          <a:gd name="connsiteX26" fmla="*/ 154827 w 249138"/>
                          <a:gd name="connsiteY26" fmla="*/ 334140 h 926607"/>
                          <a:gd name="connsiteX27" fmla="*/ 210616 w 249138"/>
                          <a:gd name="connsiteY27" fmla="*/ 121810 h 92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9138" h="926607">
                            <a:moveTo>
                              <a:pt x="195051" y="107947"/>
                            </a:moveTo>
                            <a:lnTo>
                              <a:pt x="221412" y="80702"/>
                            </a:lnTo>
                            <a:lnTo>
                              <a:pt x="242012" y="1219"/>
                            </a:lnTo>
                            <a:lnTo>
                              <a:pt x="249138" y="0"/>
                            </a:lnTo>
                            <a:lnTo>
                              <a:pt x="228377" y="80943"/>
                            </a:lnTo>
                            <a:lnTo>
                              <a:pt x="243633" y="96843"/>
                            </a:lnTo>
                            <a:lnTo>
                              <a:pt x="217032" y="124248"/>
                            </a:lnTo>
                            <a:lnTo>
                              <a:pt x="161873" y="334060"/>
                            </a:lnTo>
                            <a:lnTo>
                              <a:pt x="178429" y="348821"/>
                            </a:lnTo>
                            <a:lnTo>
                              <a:pt x="151572" y="373078"/>
                            </a:lnTo>
                            <a:lnTo>
                              <a:pt x="99669" y="571290"/>
                            </a:lnTo>
                            <a:lnTo>
                              <a:pt x="117108" y="593030"/>
                            </a:lnTo>
                            <a:lnTo>
                              <a:pt x="88230" y="615251"/>
                            </a:lnTo>
                            <a:lnTo>
                              <a:pt x="35027" y="817683"/>
                            </a:lnTo>
                            <a:lnTo>
                              <a:pt x="50122" y="840226"/>
                            </a:lnTo>
                            <a:lnTo>
                              <a:pt x="23440" y="861965"/>
                            </a:lnTo>
                            <a:lnTo>
                              <a:pt x="6483" y="926607"/>
                            </a:lnTo>
                            <a:lnTo>
                              <a:pt x="0" y="924732"/>
                            </a:lnTo>
                            <a:lnTo>
                              <a:pt x="17346" y="858643"/>
                            </a:lnTo>
                            <a:lnTo>
                              <a:pt x="2585" y="833904"/>
                            </a:lnTo>
                            <a:lnTo>
                              <a:pt x="27901" y="818406"/>
                            </a:lnTo>
                            <a:lnTo>
                              <a:pt x="81908" y="612170"/>
                            </a:lnTo>
                            <a:lnTo>
                              <a:pt x="66665" y="592534"/>
                            </a:lnTo>
                            <a:lnTo>
                              <a:pt x="92529" y="571692"/>
                            </a:lnTo>
                            <a:lnTo>
                              <a:pt x="145170" y="370319"/>
                            </a:lnTo>
                            <a:lnTo>
                              <a:pt x="130891" y="351821"/>
                            </a:lnTo>
                            <a:lnTo>
                              <a:pt x="154827" y="334140"/>
                            </a:lnTo>
                            <a:lnTo>
                              <a:pt x="210616" y="121810"/>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0" name="Forma libre: forma 959">
                        <a:extLst>
                          <a:ext uri="{FF2B5EF4-FFF2-40B4-BE49-F238E27FC236}">
                            <a16:creationId xmlns:a16="http://schemas.microsoft.com/office/drawing/2014/main" id="{E42A6F1E-D694-AAC5-B08C-A3BFB09D86D8}"/>
                          </a:ext>
                        </a:extLst>
                      </p:cNvPr>
                      <p:cNvSpPr/>
                      <p:nvPr/>
                    </p:nvSpPr>
                    <p:spPr>
                      <a:xfrm>
                        <a:off x="4015414" y="3654590"/>
                        <a:ext cx="288973" cy="979394"/>
                      </a:xfrm>
                      <a:custGeom>
                        <a:avLst/>
                        <a:gdLst>
                          <a:gd name="connsiteX0" fmla="*/ 230426 w 288973"/>
                          <a:gd name="connsiteY0" fmla="*/ 107946 h 979394"/>
                          <a:gd name="connsiteX1" fmla="*/ 258890 w 288973"/>
                          <a:gd name="connsiteY1" fmla="*/ 78746 h 979394"/>
                          <a:gd name="connsiteX2" fmla="*/ 280790 w 288973"/>
                          <a:gd name="connsiteY2" fmla="*/ 1380 h 979394"/>
                          <a:gd name="connsiteX3" fmla="*/ 288974 w 288973"/>
                          <a:gd name="connsiteY3" fmla="*/ 0 h 979394"/>
                          <a:gd name="connsiteX4" fmla="*/ 266190 w 288973"/>
                          <a:gd name="connsiteY4" fmla="*/ 78988 h 979394"/>
                          <a:gd name="connsiteX5" fmla="*/ 282893 w 288973"/>
                          <a:gd name="connsiteY5" fmla="*/ 94726 h 979394"/>
                          <a:gd name="connsiteX6" fmla="*/ 252808 w 288973"/>
                          <a:gd name="connsiteY6" fmla="*/ 125467 h 979394"/>
                          <a:gd name="connsiteX7" fmla="*/ 189144 w 288973"/>
                          <a:gd name="connsiteY7" fmla="*/ 346717 h 979394"/>
                          <a:gd name="connsiteX8" fmla="*/ 206329 w 288973"/>
                          <a:gd name="connsiteY8" fmla="*/ 370479 h 979394"/>
                          <a:gd name="connsiteX9" fmla="*/ 175589 w 288973"/>
                          <a:gd name="connsiteY9" fmla="*/ 393504 h 979394"/>
                          <a:gd name="connsiteX10" fmla="*/ 113961 w 288973"/>
                          <a:gd name="connsiteY10" fmla="*/ 607710 h 979394"/>
                          <a:gd name="connsiteX11" fmla="*/ 130342 w 288973"/>
                          <a:gd name="connsiteY11" fmla="*/ 631552 h 979394"/>
                          <a:gd name="connsiteX12" fmla="*/ 100325 w 288973"/>
                          <a:gd name="connsiteY12" fmla="*/ 654912 h 979394"/>
                          <a:gd name="connsiteX13" fmla="*/ 37719 w 288973"/>
                          <a:gd name="connsiteY13" fmla="*/ 872024 h 979394"/>
                          <a:gd name="connsiteX14" fmla="*/ 54261 w 288973"/>
                          <a:gd name="connsiteY14" fmla="*/ 895786 h 979394"/>
                          <a:gd name="connsiteX15" fmla="*/ 24097 w 288973"/>
                          <a:gd name="connsiteY15" fmla="*/ 919548 h 979394"/>
                          <a:gd name="connsiteX16" fmla="*/ 6818 w 288973"/>
                          <a:gd name="connsiteY16" fmla="*/ 979395 h 979394"/>
                          <a:gd name="connsiteX17" fmla="*/ 0 w 288973"/>
                          <a:gd name="connsiteY17" fmla="*/ 977453 h 979394"/>
                          <a:gd name="connsiteX18" fmla="*/ 17681 w 288973"/>
                          <a:gd name="connsiteY18" fmla="*/ 915972 h 979394"/>
                          <a:gd name="connsiteX19" fmla="*/ 5438 w 288973"/>
                          <a:gd name="connsiteY19" fmla="*/ 887990 h 979394"/>
                          <a:gd name="connsiteX20" fmla="*/ 30178 w 288973"/>
                          <a:gd name="connsiteY20" fmla="*/ 872747 h 979394"/>
                          <a:gd name="connsiteX21" fmla="*/ 93842 w 288973"/>
                          <a:gd name="connsiteY21" fmla="*/ 651577 h 979394"/>
                          <a:gd name="connsiteX22" fmla="*/ 80461 w 288973"/>
                          <a:gd name="connsiteY22" fmla="*/ 631954 h 979394"/>
                          <a:gd name="connsiteX23" fmla="*/ 106420 w 288973"/>
                          <a:gd name="connsiteY23" fmla="*/ 608112 h 979394"/>
                          <a:gd name="connsiteX24" fmla="*/ 169106 w 288973"/>
                          <a:gd name="connsiteY24" fmla="*/ 390504 h 979394"/>
                          <a:gd name="connsiteX25" fmla="*/ 154345 w 288973"/>
                          <a:gd name="connsiteY25" fmla="*/ 372421 h 979394"/>
                          <a:gd name="connsiteX26" fmla="*/ 181764 w 288973"/>
                          <a:gd name="connsiteY26" fmla="*/ 346878 h 979394"/>
                          <a:gd name="connsiteX27" fmla="*/ 246232 w 288973"/>
                          <a:gd name="connsiteY27" fmla="*/ 122948 h 9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8973" h="979394">
                            <a:moveTo>
                              <a:pt x="230426" y="107946"/>
                            </a:moveTo>
                            <a:lnTo>
                              <a:pt x="258890" y="78746"/>
                            </a:lnTo>
                            <a:lnTo>
                              <a:pt x="280790" y="1380"/>
                            </a:lnTo>
                            <a:lnTo>
                              <a:pt x="288974" y="0"/>
                            </a:lnTo>
                            <a:lnTo>
                              <a:pt x="266190" y="78988"/>
                            </a:lnTo>
                            <a:lnTo>
                              <a:pt x="282893" y="94726"/>
                            </a:lnTo>
                            <a:lnTo>
                              <a:pt x="252808" y="125467"/>
                            </a:lnTo>
                            <a:lnTo>
                              <a:pt x="189144" y="346717"/>
                            </a:lnTo>
                            <a:lnTo>
                              <a:pt x="206329" y="370479"/>
                            </a:lnTo>
                            <a:lnTo>
                              <a:pt x="175589" y="393504"/>
                            </a:lnTo>
                            <a:lnTo>
                              <a:pt x="113961" y="607710"/>
                            </a:lnTo>
                            <a:lnTo>
                              <a:pt x="130342" y="631552"/>
                            </a:lnTo>
                            <a:lnTo>
                              <a:pt x="100325" y="654912"/>
                            </a:lnTo>
                            <a:lnTo>
                              <a:pt x="37719" y="872024"/>
                            </a:lnTo>
                            <a:lnTo>
                              <a:pt x="54261" y="895786"/>
                            </a:lnTo>
                            <a:lnTo>
                              <a:pt x="24097" y="919548"/>
                            </a:lnTo>
                            <a:lnTo>
                              <a:pt x="6818" y="979395"/>
                            </a:lnTo>
                            <a:lnTo>
                              <a:pt x="0" y="977453"/>
                            </a:lnTo>
                            <a:lnTo>
                              <a:pt x="17681" y="915972"/>
                            </a:lnTo>
                            <a:lnTo>
                              <a:pt x="5438" y="887990"/>
                            </a:lnTo>
                            <a:lnTo>
                              <a:pt x="30178" y="872747"/>
                            </a:lnTo>
                            <a:lnTo>
                              <a:pt x="93842" y="651577"/>
                            </a:lnTo>
                            <a:lnTo>
                              <a:pt x="80461" y="631954"/>
                            </a:lnTo>
                            <a:lnTo>
                              <a:pt x="106420" y="608112"/>
                            </a:lnTo>
                            <a:lnTo>
                              <a:pt x="169106" y="390504"/>
                            </a:lnTo>
                            <a:lnTo>
                              <a:pt x="154345" y="372421"/>
                            </a:lnTo>
                            <a:lnTo>
                              <a:pt x="181764" y="346878"/>
                            </a:lnTo>
                            <a:lnTo>
                              <a:pt x="246232" y="122948"/>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1" name="Forma libre: forma 960">
                        <a:extLst>
                          <a:ext uri="{FF2B5EF4-FFF2-40B4-BE49-F238E27FC236}">
                            <a16:creationId xmlns:a16="http://schemas.microsoft.com/office/drawing/2014/main" id="{295B1A32-DFF9-B5F6-806B-EFEAB4297A47}"/>
                          </a:ext>
                        </a:extLst>
                      </p:cNvPr>
                      <p:cNvSpPr/>
                      <p:nvPr/>
                    </p:nvSpPr>
                    <p:spPr>
                      <a:xfrm>
                        <a:off x="4194740" y="3620689"/>
                        <a:ext cx="319138" cy="1053613"/>
                      </a:xfrm>
                      <a:custGeom>
                        <a:avLst/>
                        <a:gdLst>
                          <a:gd name="connsiteX0" fmla="*/ 256934 w 319138"/>
                          <a:gd name="connsiteY0" fmla="*/ 108429 h 1053613"/>
                          <a:gd name="connsiteX1" fmla="*/ 287018 w 319138"/>
                          <a:gd name="connsiteY1" fmla="*/ 81586 h 1053613"/>
                          <a:gd name="connsiteX2" fmla="*/ 310793 w 319138"/>
                          <a:gd name="connsiteY2" fmla="*/ 1138 h 1053613"/>
                          <a:gd name="connsiteX3" fmla="*/ 319138 w 319138"/>
                          <a:gd name="connsiteY3" fmla="*/ 0 h 1053613"/>
                          <a:gd name="connsiteX4" fmla="*/ 294894 w 319138"/>
                          <a:gd name="connsiteY4" fmla="*/ 81907 h 1053613"/>
                          <a:gd name="connsiteX5" fmla="*/ 312655 w 319138"/>
                          <a:gd name="connsiteY5" fmla="*/ 98865 h 1053613"/>
                          <a:gd name="connsiteX6" fmla="*/ 281432 w 319138"/>
                          <a:gd name="connsiteY6" fmla="*/ 127891 h 1053613"/>
                          <a:gd name="connsiteX7" fmla="*/ 210468 w 319138"/>
                          <a:gd name="connsiteY7" fmla="*/ 367157 h 1053613"/>
                          <a:gd name="connsiteX8" fmla="*/ 228149 w 319138"/>
                          <a:gd name="connsiteY8" fmla="*/ 393920 h 1053613"/>
                          <a:gd name="connsiteX9" fmla="*/ 195533 w 319138"/>
                          <a:gd name="connsiteY9" fmla="*/ 417762 h 1053613"/>
                          <a:gd name="connsiteX10" fmla="*/ 126029 w 319138"/>
                          <a:gd name="connsiteY10" fmla="*/ 652475 h 1053613"/>
                          <a:gd name="connsiteX11" fmla="*/ 143388 w 319138"/>
                          <a:gd name="connsiteY11" fmla="*/ 677053 h 1053613"/>
                          <a:gd name="connsiteX12" fmla="*/ 110947 w 319138"/>
                          <a:gd name="connsiteY12" fmla="*/ 703401 h 1053613"/>
                          <a:gd name="connsiteX13" fmla="*/ 43385 w 319138"/>
                          <a:gd name="connsiteY13" fmla="*/ 931871 h 1053613"/>
                          <a:gd name="connsiteX14" fmla="*/ 60101 w 319138"/>
                          <a:gd name="connsiteY14" fmla="*/ 959289 h 1053613"/>
                          <a:gd name="connsiteX15" fmla="*/ 28222 w 319138"/>
                          <a:gd name="connsiteY15" fmla="*/ 983132 h 1053613"/>
                          <a:gd name="connsiteX16" fmla="*/ 7380 w 319138"/>
                          <a:gd name="connsiteY16" fmla="*/ 1053614 h 1053613"/>
                          <a:gd name="connsiteX17" fmla="*/ 0 w 319138"/>
                          <a:gd name="connsiteY17" fmla="*/ 1051497 h 1053613"/>
                          <a:gd name="connsiteX18" fmla="*/ 21404 w 319138"/>
                          <a:gd name="connsiteY18" fmla="*/ 979234 h 1053613"/>
                          <a:gd name="connsiteX19" fmla="*/ 7461 w 319138"/>
                          <a:gd name="connsiteY19" fmla="*/ 950771 h 1053613"/>
                          <a:gd name="connsiteX20" fmla="*/ 35201 w 319138"/>
                          <a:gd name="connsiteY20" fmla="*/ 932688 h 1053613"/>
                          <a:gd name="connsiteX21" fmla="*/ 104049 w 319138"/>
                          <a:gd name="connsiteY21" fmla="*/ 699918 h 1053613"/>
                          <a:gd name="connsiteX22" fmla="*/ 89864 w 319138"/>
                          <a:gd name="connsiteY22" fmla="*/ 677053 h 1053613"/>
                          <a:gd name="connsiteX23" fmla="*/ 118006 w 319138"/>
                          <a:gd name="connsiteY23" fmla="*/ 652956 h 1053613"/>
                          <a:gd name="connsiteX24" fmla="*/ 188488 w 319138"/>
                          <a:gd name="connsiteY24" fmla="*/ 414601 h 1053613"/>
                          <a:gd name="connsiteX25" fmla="*/ 176312 w 319138"/>
                          <a:gd name="connsiteY25" fmla="*/ 393920 h 1053613"/>
                          <a:gd name="connsiteX26" fmla="*/ 202512 w 319138"/>
                          <a:gd name="connsiteY26" fmla="*/ 367238 h 1053613"/>
                          <a:gd name="connsiteX27" fmla="*/ 274374 w 319138"/>
                          <a:gd name="connsiteY27" fmla="*/ 125145 h 105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9138" h="1053613">
                            <a:moveTo>
                              <a:pt x="256934" y="108429"/>
                            </a:moveTo>
                            <a:lnTo>
                              <a:pt x="287018" y="81586"/>
                            </a:lnTo>
                            <a:lnTo>
                              <a:pt x="310793" y="1138"/>
                            </a:lnTo>
                            <a:lnTo>
                              <a:pt x="319138" y="0"/>
                            </a:lnTo>
                            <a:lnTo>
                              <a:pt x="294894" y="81907"/>
                            </a:lnTo>
                            <a:lnTo>
                              <a:pt x="312655" y="98865"/>
                            </a:lnTo>
                            <a:lnTo>
                              <a:pt x="281432" y="127891"/>
                            </a:lnTo>
                            <a:lnTo>
                              <a:pt x="210468" y="367157"/>
                            </a:lnTo>
                            <a:lnTo>
                              <a:pt x="228149" y="393920"/>
                            </a:lnTo>
                            <a:lnTo>
                              <a:pt x="195533" y="417762"/>
                            </a:lnTo>
                            <a:lnTo>
                              <a:pt x="126029" y="652475"/>
                            </a:lnTo>
                            <a:lnTo>
                              <a:pt x="143388" y="677053"/>
                            </a:lnTo>
                            <a:lnTo>
                              <a:pt x="110947" y="703401"/>
                            </a:lnTo>
                            <a:lnTo>
                              <a:pt x="43385" y="931871"/>
                            </a:lnTo>
                            <a:lnTo>
                              <a:pt x="60101" y="959289"/>
                            </a:lnTo>
                            <a:lnTo>
                              <a:pt x="28222" y="983132"/>
                            </a:lnTo>
                            <a:lnTo>
                              <a:pt x="7380" y="1053614"/>
                            </a:lnTo>
                            <a:lnTo>
                              <a:pt x="0" y="1051497"/>
                            </a:lnTo>
                            <a:lnTo>
                              <a:pt x="21404" y="979234"/>
                            </a:lnTo>
                            <a:lnTo>
                              <a:pt x="7461" y="950771"/>
                            </a:lnTo>
                            <a:lnTo>
                              <a:pt x="35201" y="932688"/>
                            </a:lnTo>
                            <a:lnTo>
                              <a:pt x="104049" y="699918"/>
                            </a:lnTo>
                            <a:lnTo>
                              <a:pt x="89864" y="677053"/>
                            </a:lnTo>
                            <a:lnTo>
                              <a:pt x="118006" y="652956"/>
                            </a:lnTo>
                            <a:lnTo>
                              <a:pt x="188488" y="414601"/>
                            </a:lnTo>
                            <a:lnTo>
                              <a:pt x="176312" y="393920"/>
                            </a:lnTo>
                            <a:lnTo>
                              <a:pt x="202512" y="367238"/>
                            </a:lnTo>
                            <a:lnTo>
                              <a:pt x="274374" y="125145"/>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62" name="Gráfico 496">
                        <a:extLst>
                          <a:ext uri="{FF2B5EF4-FFF2-40B4-BE49-F238E27FC236}">
                            <a16:creationId xmlns:a16="http://schemas.microsoft.com/office/drawing/2014/main" id="{0E3460A1-F6FC-1140-551F-3A68C1A13340}"/>
                          </a:ext>
                        </a:extLst>
                      </p:cNvPr>
                      <p:cNvGrpSpPr/>
                      <p:nvPr/>
                    </p:nvGrpSpPr>
                    <p:grpSpPr>
                      <a:xfrm>
                        <a:off x="3510801" y="3685250"/>
                        <a:ext cx="1147844" cy="924811"/>
                        <a:chOff x="3510801" y="3685250"/>
                        <a:chExt cx="1147844" cy="924811"/>
                      </a:xfrm>
                      <a:solidFill>
                        <a:srgbClr val="ECF0F1"/>
                      </a:solidFill>
                    </p:grpSpPr>
                    <p:sp>
                      <p:nvSpPr>
                        <p:cNvPr id="963" name="Forma libre: forma 962">
                          <a:extLst>
                            <a:ext uri="{FF2B5EF4-FFF2-40B4-BE49-F238E27FC236}">
                              <a16:creationId xmlns:a16="http://schemas.microsoft.com/office/drawing/2014/main" id="{AC02C425-B34A-191C-D1E2-0F8265CD12B4}"/>
                            </a:ext>
                          </a:extLst>
                        </p:cNvPr>
                        <p:cNvSpPr/>
                        <p:nvPr/>
                      </p:nvSpPr>
                      <p:spPr>
                        <a:xfrm>
                          <a:off x="3687114" y="3685250"/>
                          <a:ext cx="971532" cy="171691"/>
                        </a:xfrm>
                        <a:custGeom>
                          <a:avLst/>
                          <a:gdLst>
                            <a:gd name="connsiteX0" fmla="*/ 2197 w 971532"/>
                            <a:gd name="connsiteY0" fmla="*/ 164150 h 171691"/>
                            <a:gd name="connsiteX1" fmla="*/ 971532 w 971532"/>
                            <a:gd name="connsiteY1" fmla="*/ 0 h 171691"/>
                            <a:gd name="connsiteX2" fmla="*/ 966107 w 971532"/>
                            <a:gd name="connsiteY2" fmla="*/ 16462 h 171691"/>
                            <a:gd name="connsiteX3" fmla="*/ 0 w 971532"/>
                            <a:gd name="connsiteY3" fmla="*/ 171691 h 171691"/>
                          </a:gdLst>
                          <a:ahLst/>
                          <a:cxnLst>
                            <a:cxn ang="0">
                              <a:pos x="connsiteX0" y="connsiteY0"/>
                            </a:cxn>
                            <a:cxn ang="0">
                              <a:pos x="connsiteX1" y="connsiteY1"/>
                            </a:cxn>
                            <a:cxn ang="0">
                              <a:pos x="connsiteX2" y="connsiteY2"/>
                            </a:cxn>
                            <a:cxn ang="0">
                              <a:pos x="connsiteX3" y="connsiteY3"/>
                            </a:cxn>
                          </a:cxnLst>
                          <a:rect l="l" t="t" r="r" b="b"/>
                          <a:pathLst>
                            <a:path w="971532" h="171691">
                              <a:moveTo>
                                <a:pt x="2197" y="164150"/>
                              </a:moveTo>
                              <a:lnTo>
                                <a:pt x="971532" y="0"/>
                              </a:lnTo>
                              <a:lnTo>
                                <a:pt x="966107" y="16462"/>
                              </a:lnTo>
                              <a:lnTo>
                                <a:pt x="0" y="171691"/>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4" name="Forma libre: forma 963">
                          <a:extLst>
                            <a:ext uri="{FF2B5EF4-FFF2-40B4-BE49-F238E27FC236}">
                              <a16:creationId xmlns:a16="http://schemas.microsoft.com/office/drawing/2014/main" id="{09592ACF-B935-2C02-BEBC-6034A4BB7CBC}"/>
                            </a:ext>
                          </a:extLst>
                        </p:cNvPr>
                        <p:cNvSpPr/>
                        <p:nvPr/>
                      </p:nvSpPr>
                      <p:spPr>
                        <a:xfrm>
                          <a:off x="3628312" y="3998146"/>
                          <a:ext cx="933585" cy="59847"/>
                        </a:xfrm>
                        <a:custGeom>
                          <a:avLst/>
                          <a:gdLst>
                            <a:gd name="connsiteX0" fmla="*/ 2197 w 933585"/>
                            <a:gd name="connsiteY0" fmla="*/ 52386 h 59847"/>
                            <a:gd name="connsiteX1" fmla="*/ 933586 w 933585"/>
                            <a:gd name="connsiteY1" fmla="*/ 0 h 59847"/>
                            <a:gd name="connsiteX2" fmla="*/ 928067 w 933585"/>
                            <a:gd name="connsiteY2" fmla="*/ 16462 h 59847"/>
                            <a:gd name="connsiteX3" fmla="*/ 0 w 933585"/>
                            <a:gd name="connsiteY3" fmla="*/ 59847 h 59847"/>
                          </a:gdLst>
                          <a:ahLst/>
                          <a:cxnLst>
                            <a:cxn ang="0">
                              <a:pos x="connsiteX0" y="connsiteY0"/>
                            </a:cxn>
                            <a:cxn ang="0">
                              <a:pos x="connsiteX1" y="connsiteY1"/>
                            </a:cxn>
                            <a:cxn ang="0">
                              <a:pos x="connsiteX2" y="connsiteY2"/>
                            </a:cxn>
                            <a:cxn ang="0">
                              <a:pos x="connsiteX3" y="connsiteY3"/>
                            </a:cxn>
                          </a:cxnLst>
                          <a:rect l="l" t="t" r="r" b="b"/>
                          <a:pathLst>
                            <a:path w="933585" h="59847">
                              <a:moveTo>
                                <a:pt x="2197" y="52386"/>
                              </a:moveTo>
                              <a:lnTo>
                                <a:pt x="933586" y="0"/>
                              </a:lnTo>
                              <a:lnTo>
                                <a:pt x="928067" y="16462"/>
                              </a:lnTo>
                              <a:lnTo>
                                <a:pt x="0" y="59847"/>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5" name="Forma libre: forma 964">
                          <a:extLst>
                            <a:ext uri="{FF2B5EF4-FFF2-40B4-BE49-F238E27FC236}">
                              <a16:creationId xmlns:a16="http://schemas.microsoft.com/office/drawing/2014/main" id="{CDCC9A79-2EB3-9BA5-D89C-5A5BC42B8DD0}"/>
                            </a:ext>
                          </a:extLst>
                        </p:cNvPr>
                        <p:cNvSpPr/>
                        <p:nvPr/>
                      </p:nvSpPr>
                      <p:spPr>
                        <a:xfrm>
                          <a:off x="3571050" y="4252562"/>
                          <a:ext cx="901947" cy="63182"/>
                        </a:xfrm>
                        <a:custGeom>
                          <a:avLst/>
                          <a:gdLst>
                            <a:gd name="connsiteX0" fmla="*/ 2116 w 901947"/>
                            <a:gd name="connsiteY0" fmla="*/ 0 h 63182"/>
                            <a:gd name="connsiteX1" fmla="*/ 901947 w 901947"/>
                            <a:gd name="connsiteY1" fmla="*/ 43546 h 63182"/>
                            <a:gd name="connsiteX2" fmla="*/ 896027 w 901947"/>
                            <a:gd name="connsiteY2" fmla="*/ 63182 h 63182"/>
                            <a:gd name="connsiteX3" fmla="*/ 0 w 901947"/>
                            <a:gd name="connsiteY3" fmla="*/ 7220 h 63182"/>
                          </a:gdLst>
                          <a:ahLst/>
                          <a:cxnLst>
                            <a:cxn ang="0">
                              <a:pos x="connsiteX0" y="connsiteY0"/>
                            </a:cxn>
                            <a:cxn ang="0">
                              <a:pos x="connsiteX1" y="connsiteY1"/>
                            </a:cxn>
                            <a:cxn ang="0">
                              <a:pos x="connsiteX2" y="connsiteY2"/>
                            </a:cxn>
                            <a:cxn ang="0">
                              <a:pos x="connsiteX3" y="connsiteY3"/>
                            </a:cxn>
                          </a:cxnLst>
                          <a:rect l="l" t="t" r="r" b="b"/>
                          <a:pathLst>
                            <a:path w="901947" h="63182">
                              <a:moveTo>
                                <a:pt x="2116" y="0"/>
                              </a:moveTo>
                              <a:lnTo>
                                <a:pt x="901947" y="43546"/>
                              </a:lnTo>
                              <a:lnTo>
                                <a:pt x="896027" y="63182"/>
                              </a:lnTo>
                              <a:lnTo>
                                <a:pt x="0" y="7220"/>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6" name="Forma libre: forma 965">
                          <a:extLst>
                            <a:ext uri="{FF2B5EF4-FFF2-40B4-BE49-F238E27FC236}">
                              <a16:creationId xmlns:a16="http://schemas.microsoft.com/office/drawing/2014/main" id="{CECB63AF-D16C-EF0B-047A-DC7410986E7C}"/>
                            </a:ext>
                          </a:extLst>
                        </p:cNvPr>
                        <p:cNvSpPr/>
                        <p:nvPr/>
                      </p:nvSpPr>
                      <p:spPr>
                        <a:xfrm>
                          <a:off x="3510801" y="4454512"/>
                          <a:ext cx="866090" cy="155550"/>
                        </a:xfrm>
                        <a:custGeom>
                          <a:avLst/>
                          <a:gdLst>
                            <a:gd name="connsiteX0" fmla="*/ 2264 w 866090"/>
                            <a:gd name="connsiteY0" fmla="*/ 0 h 155550"/>
                            <a:gd name="connsiteX1" fmla="*/ 866090 w 866090"/>
                            <a:gd name="connsiteY1" fmla="*/ 139089 h 155550"/>
                            <a:gd name="connsiteX2" fmla="*/ 860666 w 866090"/>
                            <a:gd name="connsiteY2" fmla="*/ 155550 h 155550"/>
                            <a:gd name="connsiteX3" fmla="*/ 0 w 866090"/>
                            <a:gd name="connsiteY3" fmla="*/ 7541 h 155550"/>
                          </a:gdLst>
                          <a:ahLst/>
                          <a:cxnLst>
                            <a:cxn ang="0">
                              <a:pos x="connsiteX0" y="connsiteY0"/>
                            </a:cxn>
                            <a:cxn ang="0">
                              <a:pos x="connsiteX1" y="connsiteY1"/>
                            </a:cxn>
                            <a:cxn ang="0">
                              <a:pos x="connsiteX2" y="connsiteY2"/>
                            </a:cxn>
                            <a:cxn ang="0">
                              <a:pos x="connsiteX3" y="connsiteY3"/>
                            </a:cxn>
                          </a:cxnLst>
                          <a:rect l="l" t="t" r="r" b="b"/>
                          <a:pathLst>
                            <a:path w="866090" h="155550">
                              <a:moveTo>
                                <a:pt x="2264" y="0"/>
                              </a:moveTo>
                              <a:lnTo>
                                <a:pt x="866090" y="139089"/>
                              </a:lnTo>
                              <a:lnTo>
                                <a:pt x="860666" y="155550"/>
                              </a:lnTo>
                              <a:lnTo>
                                <a:pt x="0" y="7541"/>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37" name="Forma libre: forma 936">
                      <a:extLst>
                        <a:ext uri="{FF2B5EF4-FFF2-40B4-BE49-F238E27FC236}">
                          <a16:creationId xmlns:a16="http://schemas.microsoft.com/office/drawing/2014/main" id="{EF275AFB-9915-35EC-72BE-F3793F493B3E}"/>
                        </a:ext>
                      </a:extLst>
                    </p:cNvPr>
                    <p:cNvSpPr/>
                    <p:nvPr/>
                  </p:nvSpPr>
                  <p:spPr>
                    <a:xfrm>
                      <a:off x="5007801" y="1226604"/>
                      <a:ext cx="3959128" cy="3724898"/>
                    </a:xfrm>
                    <a:custGeom>
                      <a:avLst/>
                      <a:gdLst>
                        <a:gd name="connsiteX0" fmla="*/ 737222 w 3959128"/>
                        <a:gd name="connsiteY0" fmla="*/ 582073 h 3724898"/>
                        <a:gd name="connsiteX1" fmla="*/ 3959129 w 3959128"/>
                        <a:gd name="connsiteY1" fmla="*/ 0 h 3724898"/>
                        <a:gd name="connsiteX2" fmla="*/ 2808766 w 3959128"/>
                        <a:gd name="connsiteY2" fmla="*/ 3724899 h 3724898"/>
                        <a:gd name="connsiteX3" fmla="*/ 0 w 3959128"/>
                        <a:gd name="connsiteY3" fmla="*/ 3038121 h 3724898"/>
                      </a:gdLst>
                      <a:ahLst/>
                      <a:cxnLst>
                        <a:cxn ang="0">
                          <a:pos x="connsiteX0" y="connsiteY0"/>
                        </a:cxn>
                        <a:cxn ang="0">
                          <a:pos x="connsiteX1" y="connsiteY1"/>
                        </a:cxn>
                        <a:cxn ang="0">
                          <a:pos x="connsiteX2" y="connsiteY2"/>
                        </a:cxn>
                        <a:cxn ang="0">
                          <a:pos x="connsiteX3" y="connsiteY3"/>
                        </a:cxn>
                      </a:cxnLst>
                      <a:rect l="l" t="t" r="r" b="b"/>
                      <a:pathLst>
                        <a:path w="3959128" h="3724898">
                          <a:moveTo>
                            <a:pt x="737222" y="582073"/>
                          </a:moveTo>
                          <a:lnTo>
                            <a:pt x="3959129" y="0"/>
                          </a:lnTo>
                          <a:lnTo>
                            <a:pt x="2808766" y="3724899"/>
                          </a:lnTo>
                          <a:lnTo>
                            <a:pt x="0" y="3038121"/>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8" name="Forma libre: forma 937">
                      <a:extLst>
                        <a:ext uri="{FF2B5EF4-FFF2-40B4-BE49-F238E27FC236}">
                          <a16:creationId xmlns:a16="http://schemas.microsoft.com/office/drawing/2014/main" id="{1BE54B05-7C4F-86CD-2194-508FD00920E2}"/>
                        </a:ext>
                      </a:extLst>
                    </p:cNvPr>
                    <p:cNvSpPr/>
                    <p:nvPr/>
                  </p:nvSpPr>
                  <p:spPr>
                    <a:xfrm>
                      <a:off x="5007801" y="1223764"/>
                      <a:ext cx="4110058" cy="3978108"/>
                    </a:xfrm>
                    <a:custGeom>
                      <a:avLst/>
                      <a:gdLst>
                        <a:gd name="connsiteX0" fmla="*/ 3948588 w 4110058"/>
                        <a:gd name="connsiteY0" fmla="*/ 0 h 3978108"/>
                        <a:gd name="connsiteX1" fmla="*/ 4110059 w 4110058"/>
                        <a:gd name="connsiteY1" fmla="*/ 139826 h 3978108"/>
                        <a:gd name="connsiteX2" fmla="*/ 2953534 w 4110058"/>
                        <a:gd name="connsiteY2" fmla="*/ 3978109 h 3978108"/>
                        <a:gd name="connsiteX3" fmla="*/ 82242 w 4110058"/>
                        <a:gd name="connsiteY3" fmla="*/ 3175589 h 3978108"/>
                        <a:gd name="connsiteX4" fmla="*/ 0 w 4110058"/>
                        <a:gd name="connsiteY4" fmla="*/ 3040961 h 3978108"/>
                        <a:gd name="connsiteX5" fmla="*/ 2808766 w 4110058"/>
                        <a:gd name="connsiteY5" fmla="*/ 3727738 h 397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0058" h="3978108">
                          <a:moveTo>
                            <a:pt x="3948588" y="0"/>
                          </a:moveTo>
                          <a:lnTo>
                            <a:pt x="4110059" y="139826"/>
                          </a:lnTo>
                          <a:lnTo>
                            <a:pt x="2953534" y="3978109"/>
                          </a:lnTo>
                          <a:lnTo>
                            <a:pt x="82242" y="3175589"/>
                          </a:lnTo>
                          <a:lnTo>
                            <a:pt x="0" y="3040961"/>
                          </a:lnTo>
                          <a:lnTo>
                            <a:pt x="2808766" y="3727738"/>
                          </a:ln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39" name="Gráfico 496">
                      <a:extLst>
                        <a:ext uri="{FF2B5EF4-FFF2-40B4-BE49-F238E27FC236}">
                          <a16:creationId xmlns:a16="http://schemas.microsoft.com/office/drawing/2014/main" id="{4B60E6AE-6206-58AF-1605-92EE10E9E0AE}"/>
                        </a:ext>
                      </a:extLst>
                    </p:cNvPr>
                    <p:cNvGrpSpPr/>
                    <p:nvPr/>
                  </p:nvGrpSpPr>
                  <p:grpSpPr>
                    <a:xfrm>
                      <a:off x="5138130" y="1464557"/>
                      <a:ext cx="3583050" cy="3271373"/>
                      <a:chOff x="5138130" y="1464557"/>
                      <a:chExt cx="3583050" cy="3271373"/>
                    </a:xfrm>
                    <a:solidFill>
                      <a:srgbClr val="8597B1"/>
                    </a:solidFill>
                  </p:grpSpPr>
                  <p:sp>
                    <p:nvSpPr>
                      <p:cNvPr id="953" name="Forma libre: forma 952">
                        <a:extLst>
                          <a:ext uri="{FF2B5EF4-FFF2-40B4-BE49-F238E27FC236}">
                            <a16:creationId xmlns:a16="http://schemas.microsoft.com/office/drawing/2014/main" id="{A6255434-7322-8028-3AD1-99E8FE5AC9A5}"/>
                          </a:ext>
                        </a:extLst>
                      </p:cNvPr>
                      <p:cNvSpPr/>
                      <p:nvPr/>
                    </p:nvSpPr>
                    <p:spPr>
                      <a:xfrm>
                        <a:off x="5654757" y="1464557"/>
                        <a:ext cx="3066423" cy="1037312"/>
                      </a:xfrm>
                      <a:custGeom>
                        <a:avLst/>
                        <a:gdLst>
                          <a:gd name="connsiteX0" fmla="*/ 167968 w 3066423"/>
                          <a:gd name="connsiteY0" fmla="*/ 459620 h 1037312"/>
                          <a:gd name="connsiteX1" fmla="*/ 0 w 3066423"/>
                          <a:gd name="connsiteY1" fmla="*/ 1037313 h 1037312"/>
                          <a:gd name="connsiteX2" fmla="*/ 2808847 w 3066423"/>
                          <a:gd name="connsiteY2" fmla="*/ 771458 h 1037312"/>
                          <a:gd name="connsiteX3" fmla="*/ 3066424 w 3066423"/>
                          <a:gd name="connsiteY3" fmla="*/ 0 h 1037312"/>
                        </a:gdLst>
                        <a:ahLst/>
                        <a:cxnLst>
                          <a:cxn ang="0">
                            <a:pos x="connsiteX0" y="connsiteY0"/>
                          </a:cxn>
                          <a:cxn ang="0">
                            <a:pos x="connsiteX1" y="connsiteY1"/>
                          </a:cxn>
                          <a:cxn ang="0">
                            <a:pos x="connsiteX2" y="connsiteY2"/>
                          </a:cxn>
                          <a:cxn ang="0">
                            <a:pos x="connsiteX3" y="connsiteY3"/>
                          </a:cxn>
                        </a:cxnLst>
                        <a:rect l="l" t="t" r="r" b="b"/>
                        <a:pathLst>
                          <a:path w="3066423" h="1037312">
                            <a:moveTo>
                              <a:pt x="167968" y="459620"/>
                            </a:moveTo>
                            <a:lnTo>
                              <a:pt x="0" y="1037313"/>
                            </a:lnTo>
                            <a:lnTo>
                              <a:pt x="2808847" y="771458"/>
                            </a:lnTo>
                            <a:lnTo>
                              <a:pt x="3066424" y="0"/>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4" name="Forma libre: forma 953">
                        <a:extLst>
                          <a:ext uri="{FF2B5EF4-FFF2-40B4-BE49-F238E27FC236}">
                            <a16:creationId xmlns:a16="http://schemas.microsoft.com/office/drawing/2014/main" id="{C036204F-B7EA-BCDB-9963-1A99A5423633}"/>
                          </a:ext>
                        </a:extLst>
                      </p:cNvPr>
                      <p:cNvSpPr/>
                      <p:nvPr/>
                    </p:nvSpPr>
                    <p:spPr>
                      <a:xfrm>
                        <a:off x="5485008" y="2308440"/>
                        <a:ext cx="2957994" cy="746557"/>
                      </a:xfrm>
                      <a:custGeom>
                        <a:avLst/>
                        <a:gdLst>
                          <a:gd name="connsiteX0" fmla="*/ 145009 w 2957994"/>
                          <a:gd name="connsiteY0" fmla="*/ 245174 h 746557"/>
                          <a:gd name="connsiteX1" fmla="*/ 0 w 2957994"/>
                          <a:gd name="connsiteY1" fmla="*/ 746558 h 746557"/>
                          <a:gd name="connsiteX2" fmla="*/ 2729042 w 2957994"/>
                          <a:gd name="connsiteY2" fmla="*/ 741280 h 746557"/>
                          <a:gd name="connsiteX3" fmla="*/ 2957995 w 2957994"/>
                          <a:gd name="connsiteY3" fmla="*/ 0 h 746557"/>
                        </a:gdLst>
                        <a:ahLst/>
                        <a:cxnLst>
                          <a:cxn ang="0">
                            <a:pos x="connsiteX0" y="connsiteY0"/>
                          </a:cxn>
                          <a:cxn ang="0">
                            <a:pos x="connsiteX1" y="connsiteY1"/>
                          </a:cxn>
                          <a:cxn ang="0">
                            <a:pos x="connsiteX2" y="connsiteY2"/>
                          </a:cxn>
                          <a:cxn ang="0">
                            <a:pos x="connsiteX3" y="connsiteY3"/>
                          </a:cxn>
                        </a:cxnLst>
                        <a:rect l="l" t="t" r="r" b="b"/>
                        <a:pathLst>
                          <a:path w="2957994" h="746557">
                            <a:moveTo>
                              <a:pt x="145009" y="245174"/>
                            </a:moveTo>
                            <a:lnTo>
                              <a:pt x="0" y="746558"/>
                            </a:lnTo>
                            <a:lnTo>
                              <a:pt x="2729042" y="741280"/>
                            </a:lnTo>
                            <a:lnTo>
                              <a:pt x="2957995" y="0"/>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5" name="Forma libre: forma 954">
                        <a:extLst>
                          <a:ext uri="{FF2B5EF4-FFF2-40B4-BE49-F238E27FC236}">
                            <a16:creationId xmlns:a16="http://schemas.microsoft.com/office/drawing/2014/main" id="{E26C42EA-A3EE-6F50-6E65-E671D4F092BE}"/>
                          </a:ext>
                        </a:extLst>
                      </p:cNvPr>
                      <p:cNvSpPr/>
                      <p:nvPr/>
                    </p:nvSpPr>
                    <p:spPr>
                      <a:xfrm>
                        <a:off x="5311040" y="3106982"/>
                        <a:ext cx="2874466" cy="836408"/>
                      </a:xfrm>
                      <a:custGeom>
                        <a:avLst/>
                        <a:gdLst>
                          <a:gd name="connsiteX0" fmla="*/ 159207 w 2874466"/>
                          <a:gd name="connsiteY0" fmla="*/ 0 h 836408"/>
                          <a:gd name="connsiteX1" fmla="*/ 0 w 2874466"/>
                          <a:gd name="connsiteY1" fmla="*/ 526847 h 836408"/>
                          <a:gd name="connsiteX2" fmla="*/ 2619635 w 2874466"/>
                          <a:gd name="connsiteY2" fmla="*/ 836408 h 836408"/>
                          <a:gd name="connsiteX3" fmla="*/ 2874467 w 2874466"/>
                          <a:gd name="connsiteY3" fmla="*/ 28946 h 836408"/>
                        </a:gdLst>
                        <a:ahLst/>
                        <a:cxnLst>
                          <a:cxn ang="0">
                            <a:pos x="connsiteX0" y="connsiteY0"/>
                          </a:cxn>
                          <a:cxn ang="0">
                            <a:pos x="connsiteX1" y="connsiteY1"/>
                          </a:cxn>
                          <a:cxn ang="0">
                            <a:pos x="connsiteX2" y="connsiteY2"/>
                          </a:cxn>
                          <a:cxn ang="0">
                            <a:pos x="connsiteX3" y="connsiteY3"/>
                          </a:cxn>
                        </a:cxnLst>
                        <a:rect l="l" t="t" r="r" b="b"/>
                        <a:pathLst>
                          <a:path w="2874466" h="836408">
                            <a:moveTo>
                              <a:pt x="159207" y="0"/>
                            </a:moveTo>
                            <a:lnTo>
                              <a:pt x="0" y="526847"/>
                            </a:lnTo>
                            <a:lnTo>
                              <a:pt x="2619635" y="836408"/>
                            </a:lnTo>
                            <a:lnTo>
                              <a:pt x="2874467" y="28946"/>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6" name="Forma libre: forma 955">
                        <a:extLst>
                          <a:ext uri="{FF2B5EF4-FFF2-40B4-BE49-F238E27FC236}">
                            <a16:creationId xmlns:a16="http://schemas.microsoft.com/office/drawing/2014/main" id="{BCE86825-F6A4-C43B-CBF2-4B9C8482612A}"/>
                          </a:ext>
                        </a:extLst>
                      </p:cNvPr>
                      <p:cNvSpPr/>
                      <p:nvPr/>
                    </p:nvSpPr>
                    <p:spPr>
                      <a:xfrm>
                        <a:off x="5138130" y="3706896"/>
                        <a:ext cx="2757344" cy="1029034"/>
                      </a:xfrm>
                      <a:custGeom>
                        <a:avLst/>
                        <a:gdLst>
                          <a:gd name="connsiteX0" fmla="*/ 147045 w 2757344"/>
                          <a:gd name="connsiteY0" fmla="*/ 0 h 1029034"/>
                          <a:gd name="connsiteX1" fmla="*/ 0 w 2757344"/>
                          <a:gd name="connsiteY1" fmla="*/ 470242 h 1029034"/>
                          <a:gd name="connsiteX2" fmla="*/ 2539831 w 2757344"/>
                          <a:gd name="connsiteY2" fmla="*/ 1029035 h 1029034"/>
                          <a:gd name="connsiteX3" fmla="*/ 2757345 w 2757344"/>
                          <a:gd name="connsiteY3" fmla="*/ 324174 h 1029034"/>
                        </a:gdLst>
                        <a:ahLst/>
                        <a:cxnLst>
                          <a:cxn ang="0">
                            <a:pos x="connsiteX0" y="connsiteY0"/>
                          </a:cxn>
                          <a:cxn ang="0">
                            <a:pos x="connsiteX1" y="connsiteY1"/>
                          </a:cxn>
                          <a:cxn ang="0">
                            <a:pos x="connsiteX2" y="connsiteY2"/>
                          </a:cxn>
                          <a:cxn ang="0">
                            <a:pos x="connsiteX3" y="connsiteY3"/>
                          </a:cxn>
                        </a:cxnLst>
                        <a:rect l="l" t="t" r="r" b="b"/>
                        <a:pathLst>
                          <a:path w="2757344" h="1029034">
                            <a:moveTo>
                              <a:pt x="147045" y="0"/>
                            </a:moveTo>
                            <a:lnTo>
                              <a:pt x="0" y="470242"/>
                            </a:lnTo>
                            <a:lnTo>
                              <a:pt x="2539831" y="1029035"/>
                            </a:lnTo>
                            <a:lnTo>
                              <a:pt x="2757345" y="324174"/>
                            </a:lnTo>
                            <a:close/>
                          </a:path>
                        </a:pathLst>
                      </a:custGeom>
                      <a:solidFill>
                        <a:srgbClr val="8597B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40" name="Gráfico 496">
                      <a:extLst>
                        <a:ext uri="{FF2B5EF4-FFF2-40B4-BE49-F238E27FC236}">
                          <a16:creationId xmlns:a16="http://schemas.microsoft.com/office/drawing/2014/main" id="{0FD6C230-5E6A-9346-5ABC-2158E5943E71}"/>
                        </a:ext>
                      </a:extLst>
                    </p:cNvPr>
                    <p:cNvGrpSpPr/>
                    <p:nvPr/>
                  </p:nvGrpSpPr>
                  <p:grpSpPr>
                    <a:xfrm>
                      <a:off x="5191333" y="1548421"/>
                      <a:ext cx="3436996" cy="3075263"/>
                      <a:chOff x="5191333" y="1548421"/>
                      <a:chExt cx="3436996" cy="3075263"/>
                    </a:xfrm>
                    <a:solidFill>
                      <a:srgbClr val="ECF0F1"/>
                    </a:solidFill>
                  </p:grpSpPr>
                  <p:sp>
                    <p:nvSpPr>
                      <p:cNvPr id="943" name="Forma libre: forma 942">
                        <a:extLst>
                          <a:ext uri="{FF2B5EF4-FFF2-40B4-BE49-F238E27FC236}">
                            <a16:creationId xmlns:a16="http://schemas.microsoft.com/office/drawing/2014/main" id="{E4C59ABC-077A-5036-7A39-EB5CB8357494}"/>
                          </a:ext>
                        </a:extLst>
                      </p:cNvPr>
                      <p:cNvSpPr/>
                      <p:nvPr/>
                    </p:nvSpPr>
                    <p:spPr>
                      <a:xfrm>
                        <a:off x="5410226" y="1885481"/>
                        <a:ext cx="656613" cy="2334479"/>
                      </a:xfrm>
                      <a:custGeom>
                        <a:avLst/>
                        <a:gdLst>
                          <a:gd name="connsiteX0" fmla="*/ 500085 w 656613"/>
                          <a:gd name="connsiteY0" fmla="*/ 313137 h 2334479"/>
                          <a:gd name="connsiteX1" fmla="*/ 567727 w 656613"/>
                          <a:gd name="connsiteY1" fmla="*/ 255072 h 2334479"/>
                          <a:gd name="connsiteX2" fmla="*/ 636508 w 656613"/>
                          <a:gd name="connsiteY2" fmla="*/ 3161 h 2334479"/>
                          <a:gd name="connsiteX3" fmla="*/ 656613 w 656613"/>
                          <a:gd name="connsiteY3" fmla="*/ 0 h 2334479"/>
                          <a:gd name="connsiteX4" fmla="*/ 585408 w 656613"/>
                          <a:gd name="connsiteY4" fmla="*/ 255554 h 2334479"/>
                          <a:gd name="connsiteX5" fmla="*/ 626931 w 656613"/>
                          <a:gd name="connsiteY5" fmla="*/ 291974 h 2334479"/>
                          <a:gd name="connsiteX6" fmla="*/ 556047 w 656613"/>
                          <a:gd name="connsiteY6" fmla="*/ 363019 h 2334479"/>
                          <a:gd name="connsiteX7" fmla="*/ 418499 w 656613"/>
                          <a:gd name="connsiteY7" fmla="*/ 865943 h 2334479"/>
                          <a:gd name="connsiteX8" fmla="*/ 460263 w 656613"/>
                          <a:gd name="connsiteY8" fmla="*/ 911927 h 2334479"/>
                          <a:gd name="connsiteX9" fmla="*/ 388897 w 656613"/>
                          <a:gd name="connsiteY9" fmla="*/ 974131 h 2334479"/>
                          <a:gd name="connsiteX10" fmla="*/ 251509 w 656613"/>
                          <a:gd name="connsiteY10" fmla="*/ 1476238 h 2334479"/>
                          <a:gd name="connsiteX11" fmla="*/ 295055 w 656613"/>
                          <a:gd name="connsiteY11" fmla="*/ 1531156 h 2334479"/>
                          <a:gd name="connsiteX12" fmla="*/ 221666 w 656613"/>
                          <a:gd name="connsiteY12" fmla="*/ 1585243 h 2334479"/>
                          <a:gd name="connsiteX13" fmla="*/ 82323 w 656613"/>
                          <a:gd name="connsiteY13" fmla="*/ 2094490 h 2334479"/>
                          <a:gd name="connsiteX14" fmla="*/ 121180 w 656613"/>
                          <a:gd name="connsiteY14" fmla="*/ 2157511 h 2334479"/>
                          <a:gd name="connsiteX15" fmla="*/ 52399 w 656613"/>
                          <a:gd name="connsiteY15" fmla="*/ 2204231 h 2334479"/>
                          <a:gd name="connsiteX16" fmla="*/ 16716 w 656613"/>
                          <a:gd name="connsiteY16" fmla="*/ 2334479 h 2334479"/>
                          <a:gd name="connsiteX17" fmla="*/ 80 w 656613"/>
                          <a:gd name="connsiteY17" fmla="*/ 2329858 h 2334479"/>
                          <a:gd name="connsiteX18" fmla="*/ 36741 w 656613"/>
                          <a:gd name="connsiteY18" fmla="*/ 2195953 h 2334479"/>
                          <a:gd name="connsiteX19" fmla="*/ 0 w 656613"/>
                          <a:gd name="connsiteY19" fmla="*/ 2144531 h 2334479"/>
                          <a:gd name="connsiteX20" fmla="*/ 63999 w 656613"/>
                          <a:gd name="connsiteY20" fmla="*/ 2096190 h 2334479"/>
                          <a:gd name="connsiteX21" fmla="*/ 205847 w 656613"/>
                          <a:gd name="connsiteY21" fmla="*/ 1577702 h 2334479"/>
                          <a:gd name="connsiteX22" fmla="*/ 169923 w 656613"/>
                          <a:gd name="connsiteY22" fmla="*/ 1527178 h 2334479"/>
                          <a:gd name="connsiteX23" fmla="*/ 233333 w 656613"/>
                          <a:gd name="connsiteY23" fmla="*/ 1477296 h 2334479"/>
                          <a:gd name="connsiteX24" fmla="*/ 372837 w 656613"/>
                          <a:gd name="connsiteY24" fmla="*/ 967407 h 2334479"/>
                          <a:gd name="connsiteX25" fmla="*/ 336578 w 656613"/>
                          <a:gd name="connsiteY25" fmla="*/ 918744 h 2334479"/>
                          <a:gd name="connsiteX26" fmla="*/ 400496 w 656613"/>
                          <a:gd name="connsiteY26" fmla="*/ 866104 h 2334479"/>
                          <a:gd name="connsiteX27" fmla="*/ 539826 w 656613"/>
                          <a:gd name="connsiteY27" fmla="*/ 357098 h 233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56613" h="2334479">
                            <a:moveTo>
                              <a:pt x="500085" y="313137"/>
                            </a:moveTo>
                            <a:lnTo>
                              <a:pt x="567727" y="255072"/>
                            </a:lnTo>
                            <a:lnTo>
                              <a:pt x="636508" y="3161"/>
                            </a:lnTo>
                            <a:lnTo>
                              <a:pt x="656613" y="0"/>
                            </a:lnTo>
                            <a:lnTo>
                              <a:pt x="585408" y="255554"/>
                            </a:lnTo>
                            <a:lnTo>
                              <a:pt x="626931" y="291974"/>
                            </a:lnTo>
                            <a:lnTo>
                              <a:pt x="556047" y="363019"/>
                            </a:lnTo>
                            <a:lnTo>
                              <a:pt x="418499" y="865943"/>
                            </a:lnTo>
                            <a:lnTo>
                              <a:pt x="460263" y="911927"/>
                            </a:lnTo>
                            <a:lnTo>
                              <a:pt x="388897" y="974131"/>
                            </a:lnTo>
                            <a:lnTo>
                              <a:pt x="251509" y="1476238"/>
                            </a:lnTo>
                            <a:lnTo>
                              <a:pt x="295055" y="1531156"/>
                            </a:lnTo>
                            <a:lnTo>
                              <a:pt x="221666" y="1585243"/>
                            </a:lnTo>
                            <a:lnTo>
                              <a:pt x="82323" y="2094490"/>
                            </a:lnTo>
                            <a:lnTo>
                              <a:pt x="121180" y="2157511"/>
                            </a:lnTo>
                            <a:lnTo>
                              <a:pt x="52399" y="2204231"/>
                            </a:lnTo>
                            <a:lnTo>
                              <a:pt x="16716" y="2334479"/>
                            </a:lnTo>
                            <a:lnTo>
                              <a:pt x="80" y="2329858"/>
                            </a:lnTo>
                            <a:lnTo>
                              <a:pt x="36741" y="2195953"/>
                            </a:lnTo>
                            <a:lnTo>
                              <a:pt x="0" y="2144531"/>
                            </a:lnTo>
                            <a:lnTo>
                              <a:pt x="63999" y="2096190"/>
                            </a:lnTo>
                            <a:lnTo>
                              <a:pt x="205847" y="1577702"/>
                            </a:lnTo>
                            <a:lnTo>
                              <a:pt x="169923" y="1527178"/>
                            </a:lnTo>
                            <a:lnTo>
                              <a:pt x="233333" y="1477296"/>
                            </a:lnTo>
                            <a:lnTo>
                              <a:pt x="372837" y="967407"/>
                            </a:lnTo>
                            <a:lnTo>
                              <a:pt x="336578" y="918744"/>
                            </a:lnTo>
                            <a:lnTo>
                              <a:pt x="400496" y="866104"/>
                            </a:lnTo>
                            <a:lnTo>
                              <a:pt x="539826" y="357098"/>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4" name="Forma libre: forma 943">
                        <a:extLst>
                          <a:ext uri="{FF2B5EF4-FFF2-40B4-BE49-F238E27FC236}">
                            <a16:creationId xmlns:a16="http://schemas.microsoft.com/office/drawing/2014/main" id="{3B67710B-D719-3E06-BA21-4FB13729B9CB}"/>
                          </a:ext>
                        </a:extLst>
                      </p:cNvPr>
                      <p:cNvSpPr/>
                      <p:nvPr/>
                    </p:nvSpPr>
                    <p:spPr>
                      <a:xfrm>
                        <a:off x="5815826" y="1812012"/>
                        <a:ext cx="714518" cy="2508996"/>
                      </a:xfrm>
                      <a:custGeom>
                        <a:avLst/>
                        <a:gdLst>
                          <a:gd name="connsiteX0" fmla="*/ 554266 w 714518"/>
                          <a:gd name="connsiteY0" fmla="*/ 317183 h 2508996"/>
                          <a:gd name="connsiteX1" fmla="*/ 627654 w 714518"/>
                          <a:gd name="connsiteY1" fmla="*/ 243714 h 2508996"/>
                          <a:gd name="connsiteX2" fmla="*/ 694333 w 714518"/>
                          <a:gd name="connsiteY2" fmla="*/ 2826 h 2508996"/>
                          <a:gd name="connsiteX3" fmla="*/ 714518 w 714518"/>
                          <a:gd name="connsiteY3" fmla="*/ 0 h 2508996"/>
                          <a:gd name="connsiteX4" fmla="*/ 646876 w 714518"/>
                          <a:gd name="connsiteY4" fmla="*/ 244356 h 2508996"/>
                          <a:gd name="connsiteX5" fmla="*/ 691734 w 714518"/>
                          <a:gd name="connsiteY5" fmla="*/ 284018 h 2508996"/>
                          <a:gd name="connsiteX6" fmla="*/ 614434 w 714518"/>
                          <a:gd name="connsiteY6" fmla="*/ 361384 h 2508996"/>
                          <a:gd name="connsiteX7" fmla="*/ 462286 w 714518"/>
                          <a:gd name="connsiteY7" fmla="*/ 909248 h 2508996"/>
                          <a:gd name="connsiteX8" fmla="*/ 507465 w 714518"/>
                          <a:gd name="connsiteY8" fmla="*/ 960656 h 2508996"/>
                          <a:gd name="connsiteX9" fmla="*/ 429522 w 714518"/>
                          <a:gd name="connsiteY9" fmla="*/ 1027079 h 2508996"/>
                          <a:gd name="connsiteX10" fmla="*/ 277696 w 714518"/>
                          <a:gd name="connsiteY10" fmla="*/ 1574125 h 2508996"/>
                          <a:gd name="connsiteX11" fmla="*/ 321656 w 714518"/>
                          <a:gd name="connsiteY11" fmla="*/ 1630811 h 2508996"/>
                          <a:gd name="connsiteX12" fmla="*/ 244691 w 714518"/>
                          <a:gd name="connsiteY12" fmla="*/ 1692855 h 2508996"/>
                          <a:gd name="connsiteX13" fmla="*/ 95061 w 714518"/>
                          <a:gd name="connsiteY13" fmla="*/ 2231703 h 2508996"/>
                          <a:gd name="connsiteX14" fmla="*/ 137227 w 714518"/>
                          <a:gd name="connsiteY14" fmla="*/ 2302426 h 2508996"/>
                          <a:gd name="connsiteX15" fmla="*/ 61803 w 714518"/>
                          <a:gd name="connsiteY15" fmla="*/ 2351249 h 2508996"/>
                          <a:gd name="connsiteX16" fmla="*/ 18002 w 714518"/>
                          <a:gd name="connsiteY16" fmla="*/ 2508997 h 2508996"/>
                          <a:gd name="connsiteX17" fmla="*/ 0 w 714518"/>
                          <a:gd name="connsiteY17" fmla="*/ 2504054 h 2508996"/>
                          <a:gd name="connsiteX18" fmla="*/ 44858 w 714518"/>
                          <a:gd name="connsiteY18" fmla="*/ 2342248 h 2508996"/>
                          <a:gd name="connsiteX19" fmla="*/ 9001 w 714518"/>
                          <a:gd name="connsiteY19" fmla="*/ 2281022 h 2508996"/>
                          <a:gd name="connsiteX20" fmla="*/ 75103 w 714518"/>
                          <a:gd name="connsiteY20" fmla="*/ 2233578 h 2508996"/>
                          <a:gd name="connsiteX21" fmla="*/ 227493 w 714518"/>
                          <a:gd name="connsiteY21" fmla="*/ 1684671 h 2508996"/>
                          <a:gd name="connsiteX22" fmla="*/ 192788 w 714518"/>
                          <a:gd name="connsiteY22" fmla="*/ 1626029 h 2508996"/>
                          <a:gd name="connsiteX23" fmla="*/ 257912 w 714518"/>
                          <a:gd name="connsiteY23" fmla="*/ 1575184 h 2508996"/>
                          <a:gd name="connsiteX24" fmla="*/ 412163 w 714518"/>
                          <a:gd name="connsiteY24" fmla="*/ 1019699 h 2508996"/>
                          <a:gd name="connsiteX25" fmla="*/ 374618 w 714518"/>
                          <a:gd name="connsiteY25" fmla="*/ 973796 h 2508996"/>
                          <a:gd name="connsiteX26" fmla="*/ 442743 w 714518"/>
                          <a:gd name="connsiteY26" fmla="*/ 909408 h 2508996"/>
                          <a:gd name="connsiteX27" fmla="*/ 596753 w 714518"/>
                          <a:gd name="connsiteY27" fmla="*/ 354821 h 250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4518" h="2508996">
                            <a:moveTo>
                              <a:pt x="554266" y="317183"/>
                            </a:moveTo>
                            <a:lnTo>
                              <a:pt x="627654" y="243714"/>
                            </a:lnTo>
                            <a:lnTo>
                              <a:pt x="694333" y="2826"/>
                            </a:lnTo>
                            <a:lnTo>
                              <a:pt x="714518" y="0"/>
                            </a:lnTo>
                            <a:lnTo>
                              <a:pt x="646876" y="244356"/>
                            </a:lnTo>
                            <a:lnTo>
                              <a:pt x="691734" y="284018"/>
                            </a:lnTo>
                            <a:lnTo>
                              <a:pt x="614434" y="361384"/>
                            </a:lnTo>
                            <a:lnTo>
                              <a:pt x="462286" y="909248"/>
                            </a:lnTo>
                            <a:lnTo>
                              <a:pt x="507465" y="960656"/>
                            </a:lnTo>
                            <a:lnTo>
                              <a:pt x="429522" y="1027079"/>
                            </a:lnTo>
                            <a:lnTo>
                              <a:pt x="277696" y="1574125"/>
                            </a:lnTo>
                            <a:lnTo>
                              <a:pt x="321656" y="1630811"/>
                            </a:lnTo>
                            <a:lnTo>
                              <a:pt x="244691" y="1692855"/>
                            </a:lnTo>
                            <a:lnTo>
                              <a:pt x="95061" y="2231703"/>
                            </a:lnTo>
                            <a:lnTo>
                              <a:pt x="137227" y="2302426"/>
                            </a:lnTo>
                            <a:lnTo>
                              <a:pt x="61803" y="2351249"/>
                            </a:lnTo>
                            <a:lnTo>
                              <a:pt x="18002" y="2508997"/>
                            </a:lnTo>
                            <a:lnTo>
                              <a:pt x="0" y="2504054"/>
                            </a:lnTo>
                            <a:lnTo>
                              <a:pt x="44858" y="2342248"/>
                            </a:lnTo>
                            <a:lnTo>
                              <a:pt x="9001" y="2281022"/>
                            </a:lnTo>
                            <a:lnTo>
                              <a:pt x="75103" y="2233578"/>
                            </a:lnTo>
                            <a:lnTo>
                              <a:pt x="227493" y="1684671"/>
                            </a:lnTo>
                            <a:lnTo>
                              <a:pt x="192788" y="1626029"/>
                            </a:lnTo>
                            <a:lnTo>
                              <a:pt x="257912" y="1575184"/>
                            </a:lnTo>
                            <a:lnTo>
                              <a:pt x="412163" y="1019699"/>
                            </a:lnTo>
                            <a:lnTo>
                              <a:pt x="374618" y="973796"/>
                            </a:lnTo>
                            <a:lnTo>
                              <a:pt x="442743" y="909408"/>
                            </a:lnTo>
                            <a:lnTo>
                              <a:pt x="596753" y="354821"/>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5" name="Forma libre: forma 944">
                        <a:extLst>
                          <a:ext uri="{FF2B5EF4-FFF2-40B4-BE49-F238E27FC236}">
                            <a16:creationId xmlns:a16="http://schemas.microsoft.com/office/drawing/2014/main" id="{7FE074B2-56DA-A2D1-68B7-BB004D771DF9}"/>
                          </a:ext>
                        </a:extLst>
                      </p:cNvPr>
                      <p:cNvSpPr/>
                      <p:nvPr/>
                    </p:nvSpPr>
                    <p:spPr>
                      <a:xfrm>
                        <a:off x="6247867" y="1738449"/>
                        <a:ext cx="746061" cy="2704543"/>
                      </a:xfrm>
                      <a:custGeom>
                        <a:avLst/>
                        <a:gdLst>
                          <a:gd name="connsiteX0" fmla="*/ 584269 w 746061"/>
                          <a:gd name="connsiteY0" fmla="*/ 314919 h 2704543"/>
                          <a:gd name="connsiteX1" fmla="*/ 663176 w 746061"/>
                          <a:gd name="connsiteY1" fmla="*/ 235436 h 2704543"/>
                          <a:gd name="connsiteX2" fmla="*/ 724657 w 746061"/>
                          <a:gd name="connsiteY2" fmla="*/ 3402 h 2704543"/>
                          <a:gd name="connsiteX3" fmla="*/ 746062 w 746061"/>
                          <a:gd name="connsiteY3" fmla="*/ 0 h 2704543"/>
                          <a:gd name="connsiteX4" fmla="*/ 684099 w 746061"/>
                          <a:gd name="connsiteY4" fmla="*/ 236172 h 2704543"/>
                          <a:gd name="connsiteX5" fmla="*/ 729439 w 746061"/>
                          <a:gd name="connsiteY5" fmla="*/ 282638 h 2704543"/>
                          <a:gd name="connsiteX6" fmla="*/ 650037 w 746061"/>
                          <a:gd name="connsiteY6" fmla="*/ 362684 h 2704543"/>
                          <a:gd name="connsiteX7" fmla="*/ 484909 w 746061"/>
                          <a:gd name="connsiteY7" fmla="*/ 975015 h 2704543"/>
                          <a:gd name="connsiteX8" fmla="*/ 534388 w 746061"/>
                          <a:gd name="connsiteY8" fmla="*/ 1018159 h 2704543"/>
                          <a:gd name="connsiteX9" fmla="*/ 453927 w 746061"/>
                          <a:gd name="connsiteY9" fmla="*/ 1088801 h 2704543"/>
                          <a:gd name="connsiteX10" fmla="*/ 298698 w 746061"/>
                          <a:gd name="connsiteY10" fmla="*/ 1667472 h 2704543"/>
                          <a:gd name="connsiteX11" fmla="*/ 350602 w 746061"/>
                          <a:gd name="connsiteY11" fmla="*/ 1730815 h 2704543"/>
                          <a:gd name="connsiteX12" fmla="*/ 264234 w 746061"/>
                          <a:gd name="connsiteY12" fmla="*/ 1795617 h 2704543"/>
                          <a:gd name="connsiteX13" fmla="*/ 105187 w 746061"/>
                          <a:gd name="connsiteY13" fmla="*/ 2386625 h 2704543"/>
                          <a:gd name="connsiteX14" fmla="*/ 150287 w 746061"/>
                          <a:gd name="connsiteY14" fmla="*/ 2452311 h 2704543"/>
                          <a:gd name="connsiteX15" fmla="*/ 70401 w 746061"/>
                          <a:gd name="connsiteY15" fmla="*/ 2515895 h 2704543"/>
                          <a:gd name="connsiteX16" fmla="*/ 19703 w 746061"/>
                          <a:gd name="connsiteY16" fmla="*/ 2704544 h 2704543"/>
                          <a:gd name="connsiteX17" fmla="*/ 0 w 746061"/>
                          <a:gd name="connsiteY17" fmla="*/ 2699186 h 2704543"/>
                          <a:gd name="connsiteX18" fmla="*/ 51904 w 746061"/>
                          <a:gd name="connsiteY18" fmla="*/ 2506077 h 2704543"/>
                          <a:gd name="connsiteX19" fmla="*/ 7862 w 746061"/>
                          <a:gd name="connsiteY19" fmla="*/ 2433987 h 2704543"/>
                          <a:gd name="connsiteX20" fmla="*/ 83528 w 746061"/>
                          <a:gd name="connsiteY20" fmla="*/ 2388727 h 2704543"/>
                          <a:gd name="connsiteX21" fmla="*/ 245495 w 746061"/>
                          <a:gd name="connsiteY21" fmla="*/ 1786777 h 2704543"/>
                          <a:gd name="connsiteX22" fmla="*/ 199672 w 746061"/>
                          <a:gd name="connsiteY22" fmla="*/ 1729435 h 2704543"/>
                          <a:gd name="connsiteX23" fmla="*/ 277294 w 746061"/>
                          <a:gd name="connsiteY23" fmla="*/ 1668610 h 2704543"/>
                          <a:gd name="connsiteX24" fmla="*/ 434961 w 746061"/>
                          <a:gd name="connsiteY24" fmla="*/ 1080858 h 2704543"/>
                          <a:gd name="connsiteX25" fmla="*/ 391964 w 746061"/>
                          <a:gd name="connsiteY25" fmla="*/ 1026838 h 2704543"/>
                          <a:gd name="connsiteX26" fmla="*/ 463745 w 746061"/>
                          <a:gd name="connsiteY26" fmla="*/ 975256 h 2704543"/>
                          <a:gd name="connsiteX27" fmla="*/ 630815 w 746061"/>
                          <a:gd name="connsiteY27" fmla="*/ 355638 h 270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6061" h="2704543">
                            <a:moveTo>
                              <a:pt x="584269" y="314919"/>
                            </a:moveTo>
                            <a:lnTo>
                              <a:pt x="663176" y="235436"/>
                            </a:lnTo>
                            <a:lnTo>
                              <a:pt x="724657" y="3402"/>
                            </a:lnTo>
                            <a:lnTo>
                              <a:pt x="746062" y="0"/>
                            </a:lnTo>
                            <a:lnTo>
                              <a:pt x="684099" y="236172"/>
                            </a:lnTo>
                            <a:lnTo>
                              <a:pt x="729439" y="282638"/>
                            </a:lnTo>
                            <a:lnTo>
                              <a:pt x="650037" y="362684"/>
                            </a:lnTo>
                            <a:lnTo>
                              <a:pt x="484909" y="975015"/>
                            </a:lnTo>
                            <a:lnTo>
                              <a:pt x="534388" y="1018159"/>
                            </a:lnTo>
                            <a:lnTo>
                              <a:pt x="453927" y="1088801"/>
                            </a:lnTo>
                            <a:lnTo>
                              <a:pt x="298698" y="1667472"/>
                            </a:lnTo>
                            <a:lnTo>
                              <a:pt x="350602" y="1730815"/>
                            </a:lnTo>
                            <a:lnTo>
                              <a:pt x="264234" y="1795617"/>
                            </a:lnTo>
                            <a:lnTo>
                              <a:pt x="105187" y="2386625"/>
                            </a:lnTo>
                            <a:lnTo>
                              <a:pt x="150287" y="2452311"/>
                            </a:lnTo>
                            <a:lnTo>
                              <a:pt x="70401" y="2515895"/>
                            </a:lnTo>
                            <a:lnTo>
                              <a:pt x="19703" y="2704544"/>
                            </a:lnTo>
                            <a:lnTo>
                              <a:pt x="0" y="2699186"/>
                            </a:lnTo>
                            <a:lnTo>
                              <a:pt x="51904" y="2506077"/>
                            </a:lnTo>
                            <a:lnTo>
                              <a:pt x="7862" y="2433987"/>
                            </a:lnTo>
                            <a:lnTo>
                              <a:pt x="83528" y="2388727"/>
                            </a:lnTo>
                            <a:lnTo>
                              <a:pt x="245495" y="1786777"/>
                            </a:lnTo>
                            <a:lnTo>
                              <a:pt x="199672" y="1729435"/>
                            </a:lnTo>
                            <a:lnTo>
                              <a:pt x="277294" y="1668610"/>
                            </a:lnTo>
                            <a:lnTo>
                              <a:pt x="434961" y="1080858"/>
                            </a:lnTo>
                            <a:lnTo>
                              <a:pt x="391964" y="1026838"/>
                            </a:lnTo>
                            <a:lnTo>
                              <a:pt x="463745" y="975256"/>
                            </a:lnTo>
                            <a:lnTo>
                              <a:pt x="630815" y="355638"/>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6" name="Forma libre: forma 945">
                        <a:extLst>
                          <a:ext uri="{FF2B5EF4-FFF2-40B4-BE49-F238E27FC236}">
                            <a16:creationId xmlns:a16="http://schemas.microsoft.com/office/drawing/2014/main" id="{E6042CEE-D7EE-AADB-9D0C-CEC7A3D0F557}"/>
                          </a:ext>
                        </a:extLst>
                      </p:cNvPr>
                      <p:cNvSpPr/>
                      <p:nvPr/>
                    </p:nvSpPr>
                    <p:spPr>
                      <a:xfrm>
                        <a:off x="6702370" y="1647527"/>
                        <a:ext cx="865206" cy="2858567"/>
                      </a:xfrm>
                      <a:custGeom>
                        <a:avLst/>
                        <a:gdLst>
                          <a:gd name="connsiteX0" fmla="*/ 689859 w 865206"/>
                          <a:gd name="connsiteY0" fmla="*/ 315093 h 2858567"/>
                          <a:gd name="connsiteX1" fmla="*/ 775343 w 865206"/>
                          <a:gd name="connsiteY1" fmla="*/ 229770 h 2858567"/>
                          <a:gd name="connsiteX2" fmla="*/ 840788 w 865206"/>
                          <a:gd name="connsiteY2" fmla="*/ 3898 h 2858567"/>
                          <a:gd name="connsiteX3" fmla="*/ 865207 w 865206"/>
                          <a:gd name="connsiteY3" fmla="*/ 0 h 2858567"/>
                          <a:gd name="connsiteX4" fmla="*/ 797162 w 865206"/>
                          <a:gd name="connsiteY4" fmla="*/ 230493 h 2858567"/>
                          <a:gd name="connsiteX5" fmla="*/ 847043 w 865206"/>
                          <a:gd name="connsiteY5" fmla="*/ 276477 h 2858567"/>
                          <a:gd name="connsiteX6" fmla="*/ 757019 w 865206"/>
                          <a:gd name="connsiteY6" fmla="*/ 366341 h 2858567"/>
                          <a:gd name="connsiteX7" fmla="*/ 566254 w 865206"/>
                          <a:gd name="connsiteY7" fmla="*/ 1012091 h 2858567"/>
                          <a:gd name="connsiteX8" fmla="*/ 617917 w 865206"/>
                          <a:gd name="connsiteY8" fmla="*/ 1081434 h 2858567"/>
                          <a:gd name="connsiteX9" fmla="*/ 525869 w 865206"/>
                          <a:gd name="connsiteY9" fmla="*/ 1148420 h 2858567"/>
                          <a:gd name="connsiteX10" fmla="*/ 341119 w 865206"/>
                          <a:gd name="connsiteY10" fmla="*/ 1773650 h 2858567"/>
                          <a:gd name="connsiteX11" fmla="*/ 390183 w 865206"/>
                          <a:gd name="connsiteY11" fmla="*/ 1843235 h 2858567"/>
                          <a:gd name="connsiteX12" fmla="*/ 300319 w 865206"/>
                          <a:gd name="connsiteY12" fmla="*/ 1911440 h 2858567"/>
                          <a:gd name="connsiteX13" fmla="*/ 112970 w 865206"/>
                          <a:gd name="connsiteY13" fmla="*/ 2545175 h 2858567"/>
                          <a:gd name="connsiteX14" fmla="*/ 162529 w 865206"/>
                          <a:gd name="connsiteY14" fmla="*/ 2614439 h 2858567"/>
                          <a:gd name="connsiteX15" fmla="*/ 72023 w 865206"/>
                          <a:gd name="connsiteY15" fmla="*/ 2683943 h 2858567"/>
                          <a:gd name="connsiteX16" fmla="*/ 20440 w 865206"/>
                          <a:gd name="connsiteY16" fmla="*/ 2858567 h 2858567"/>
                          <a:gd name="connsiteX17" fmla="*/ 0 w 865206"/>
                          <a:gd name="connsiteY17" fmla="*/ 2852808 h 2858567"/>
                          <a:gd name="connsiteX18" fmla="*/ 53043 w 865206"/>
                          <a:gd name="connsiteY18" fmla="*/ 2673482 h 2858567"/>
                          <a:gd name="connsiteX19" fmla="*/ 16221 w 865206"/>
                          <a:gd name="connsiteY19" fmla="*/ 2591654 h 2858567"/>
                          <a:gd name="connsiteX20" fmla="*/ 90266 w 865206"/>
                          <a:gd name="connsiteY20" fmla="*/ 2547372 h 2858567"/>
                          <a:gd name="connsiteX21" fmla="*/ 281098 w 865206"/>
                          <a:gd name="connsiteY21" fmla="*/ 1901876 h 2858567"/>
                          <a:gd name="connsiteX22" fmla="*/ 240954 w 865206"/>
                          <a:gd name="connsiteY22" fmla="*/ 1844534 h 2858567"/>
                          <a:gd name="connsiteX23" fmla="*/ 318656 w 865206"/>
                          <a:gd name="connsiteY23" fmla="*/ 1774869 h 2858567"/>
                          <a:gd name="connsiteX24" fmla="*/ 506327 w 865206"/>
                          <a:gd name="connsiteY24" fmla="*/ 1139902 h 2858567"/>
                          <a:gd name="connsiteX25" fmla="*/ 462205 w 865206"/>
                          <a:gd name="connsiteY25" fmla="*/ 1086939 h 2858567"/>
                          <a:gd name="connsiteX26" fmla="*/ 544032 w 865206"/>
                          <a:gd name="connsiteY26" fmla="*/ 1012332 h 2858567"/>
                          <a:gd name="connsiteX27" fmla="*/ 737142 w 865206"/>
                          <a:gd name="connsiteY27" fmla="*/ 358719 h 285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5206" h="2858567">
                            <a:moveTo>
                              <a:pt x="689859" y="315093"/>
                            </a:moveTo>
                            <a:lnTo>
                              <a:pt x="775343" y="229770"/>
                            </a:lnTo>
                            <a:lnTo>
                              <a:pt x="840788" y="3898"/>
                            </a:lnTo>
                            <a:lnTo>
                              <a:pt x="865207" y="0"/>
                            </a:lnTo>
                            <a:lnTo>
                              <a:pt x="797162" y="230493"/>
                            </a:lnTo>
                            <a:lnTo>
                              <a:pt x="847043" y="276477"/>
                            </a:lnTo>
                            <a:lnTo>
                              <a:pt x="757019" y="366341"/>
                            </a:lnTo>
                            <a:lnTo>
                              <a:pt x="566254" y="1012091"/>
                            </a:lnTo>
                            <a:lnTo>
                              <a:pt x="617917" y="1081434"/>
                            </a:lnTo>
                            <a:lnTo>
                              <a:pt x="525869" y="1148420"/>
                            </a:lnTo>
                            <a:lnTo>
                              <a:pt x="341119" y="1773650"/>
                            </a:lnTo>
                            <a:lnTo>
                              <a:pt x="390183" y="1843235"/>
                            </a:lnTo>
                            <a:lnTo>
                              <a:pt x="300319" y="1911440"/>
                            </a:lnTo>
                            <a:lnTo>
                              <a:pt x="112970" y="2545175"/>
                            </a:lnTo>
                            <a:lnTo>
                              <a:pt x="162529" y="2614439"/>
                            </a:lnTo>
                            <a:lnTo>
                              <a:pt x="72023" y="2683943"/>
                            </a:lnTo>
                            <a:lnTo>
                              <a:pt x="20440" y="2858567"/>
                            </a:lnTo>
                            <a:lnTo>
                              <a:pt x="0" y="2852808"/>
                            </a:lnTo>
                            <a:lnTo>
                              <a:pt x="53043" y="2673482"/>
                            </a:lnTo>
                            <a:lnTo>
                              <a:pt x="16221" y="2591654"/>
                            </a:lnTo>
                            <a:lnTo>
                              <a:pt x="90266" y="2547372"/>
                            </a:lnTo>
                            <a:lnTo>
                              <a:pt x="281098" y="1901876"/>
                            </a:lnTo>
                            <a:lnTo>
                              <a:pt x="240954" y="1844534"/>
                            </a:lnTo>
                            <a:lnTo>
                              <a:pt x="318656" y="1774869"/>
                            </a:lnTo>
                            <a:lnTo>
                              <a:pt x="506327" y="1139902"/>
                            </a:lnTo>
                            <a:lnTo>
                              <a:pt x="462205" y="1086939"/>
                            </a:lnTo>
                            <a:lnTo>
                              <a:pt x="544032" y="1012332"/>
                            </a:lnTo>
                            <a:lnTo>
                              <a:pt x="737142" y="358719"/>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7" name="Forma libre: forma 946">
                        <a:extLst>
                          <a:ext uri="{FF2B5EF4-FFF2-40B4-BE49-F238E27FC236}">
                            <a16:creationId xmlns:a16="http://schemas.microsoft.com/office/drawing/2014/main" id="{4875E409-DAD8-0DB9-2B51-AAD191C0DEF5}"/>
                          </a:ext>
                        </a:extLst>
                      </p:cNvPr>
                      <p:cNvSpPr/>
                      <p:nvPr/>
                    </p:nvSpPr>
                    <p:spPr>
                      <a:xfrm>
                        <a:off x="7239437" y="1548421"/>
                        <a:ext cx="955472" cy="3075263"/>
                      </a:xfrm>
                      <a:custGeom>
                        <a:avLst/>
                        <a:gdLst>
                          <a:gd name="connsiteX0" fmla="*/ 769342 w 955472"/>
                          <a:gd name="connsiteY0" fmla="*/ 316714 h 3075263"/>
                          <a:gd name="connsiteX1" fmla="*/ 859286 w 955472"/>
                          <a:gd name="connsiteY1" fmla="*/ 238356 h 3075263"/>
                          <a:gd name="connsiteX2" fmla="*/ 930572 w 955472"/>
                          <a:gd name="connsiteY2" fmla="*/ 3563 h 3075263"/>
                          <a:gd name="connsiteX3" fmla="*/ 955472 w 955472"/>
                          <a:gd name="connsiteY3" fmla="*/ 0 h 3075263"/>
                          <a:gd name="connsiteX4" fmla="*/ 882887 w 955472"/>
                          <a:gd name="connsiteY4" fmla="*/ 239173 h 3075263"/>
                          <a:gd name="connsiteX5" fmla="*/ 936090 w 955472"/>
                          <a:gd name="connsiteY5" fmla="*/ 288733 h 3075263"/>
                          <a:gd name="connsiteX6" fmla="*/ 842650 w 955472"/>
                          <a:gd name="connsiteY6" fmla="*/ 373480 h 3075263"/>
                          <a:gd name="connsiteX7" fmla="*/ 630079 w 955472"/>
                          <a:gd name="connsiteY7" fmla="*/ 1071777 h 3075263"/>
                          <a:gd name="connsiteX8" fmla="*/ 683041 w 955472"/>
                          <a:gd name="connsiteY8" fmla="*/ 1149800 h 3075263"/>
                          <a:gd name="connsiteX9" fmla="*/ 585234 w 955472"/>
                          <a:gd name="connsiteY9" fmla="*/ 1219465 h 3075263"/>
                          <a:gd name="connsiteX10" fmla="*/ 377364 w 955472"/>
                          <a:gd name="connsiteY10" fmla="*/ 1904461 h 3075263"/>
                          <a:gd name="connsiteX11" fmla="*/ 429187 w 955472"/>
                          <a:gd name="connsiteY11" fmla="*/ 1976403 h 3075263"/>
                          <a:gd name="connsiteX12" fmla="*/ 332198 w 955472"/>
                          <a:gd name="connsiteY12" fmla="*/ 2053208 h 3075263"/>
                          <a:gd name="connsiteX13" fmla="*/ 129766 w 955472"/>
                          <a:gd name="connsiteY13" fmla="*/ 2719960 h 3075263"/>
                          <a:gd name="connsiteX14" fmla="*/ 179888 w 955472"/>
                          <a:gd name="connsiteY14" fmla="*/ 2800087 h 3075263"/>
                          <a:gd name="connsiteX15" fmla="*/ 84345 w 955472"/>
                          <a:gd name="connsiteY15" fmla="*/ 2869671 h 3075263"/>
                          <a:gd name="connsiteX16" fmla="*/ 21887 w 955472"/>
                          <a:gd name="connsiteY16" fmla="*/ 3075264 h 3075263"/>
                          <a:gd name="connsiteX17" fmla="*/ 0 w 955472"/>
                          <a:gd name="connsiteY17" fmla="*/ 3069102 h 3075263"/>
                          <a:gd name="connsiteX18" fmla="*/ 63986 w 955472"/>
                          <a:gd name="connsiteY18" fmla="*/ 2858313 h 3075263"/>
                          <a:gd name="connsiteX19" fmla="*/ 22061 w 955472"/>
                          <a:gd name="connsiteY19" fmla="*/ 2775267 h 3075263"/>
                          <a:gd name="connsiteX20" fmla="*/ 105268 w 955472"/>
                          <a:gd name="connsiteY20" fmla="*/ 2722305 h 3075263"/>
                          <a:gd name="connsiteX21" fmla="*/ 311516 w 955472"/>
                          <a:gd name="connsiteY21" fmla="*/ 2042907 h 3075263"/>
                          <a:gd name="connsiteX22" fmla="*/ 268855 w 955472"/>
                          <a:gd name="connsiteY22" fmla="*/ 1976403 h 3075263"/>
                          <a:gd name="connsiteX23" fmla="*/ 353120 w 955472"/>
                          <a:gd name="connsiteY23" fmla="*/ 1905841 h 3075263"/>
                          <a:gd name="connsiteX24" fmla="*/ 564231 w 955472"/>
                          <a:gd name="connsiteY24" fmla="*/ 1210142 h 3075263"/>
                          <a:gd name="connsiteX25" fmla="*/ 527731 w 955472"/>
                          <a:gd name="connsiteY25" fmla="*/ 1149880 h 3075263"/>
                          <a:gd name="connsiteX26" fmla="*/ 606156 w 955472"/>
                          <a:gd name="connsiteY26" fmla="*/ 1072018 h 3075263"/>
                          <a:gd name="connsiteX27" fmla="*/ 821326 w 955472"/>
                          <a:gd name="connsiteY27" fmla="*/ 365376 h 307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55472" h="3075263">
                            <a:moveTo>
                              <a:pt x="769342" y="316714"/>
                            </a:moveTo>
                            <a:lnTo>
                              <a:pt x="859286" y="238356"/>
                            </a:lnTo>
                            <a:lnTo>
                              <a:pt x="930572" y="3563"/>
                            </a:lnTo>
                            <a:lnTo>
                              <a:pt x="955472" y="0"/>
                            </a:lnTo>
                            <a:lnTo>
                              <a:pt x="882887" y="239173"/>
                            </a:lnTo>
                            <a:lnTo>
                              <a:pt x="936090" y="288733"/>
                            </a:lnTo>
                            <a:lnTo>
                              <a:pt x="842650" y="373480"/>
                            </a:lnTo>
                            <a:lnTo>
                              <a:pt x="630079" y="1071777"/>
                            </a:lnTo>
                            <a:lnTo>
                              <a:pt x="683041" y="1149800"/>
                            </a:lnTo>
                            <a:lnTo>
                              <a:pt x="585234" y="1219465"/>
                            </a:lnTo>
                            <a:lnTo>
                              <a:pt x="377364" y="1904461"/>
                            </a:lnTo>
                            <a:lnTo>
                              <a:pt x="429187" y="1976403"/>
                            </a:lnTo>
                            <a:lnTo>
                              <a:pt x="332198" y="2053208"/>
                            </a:lnTo>
                            <a:lnTo>
                              <a:pt x="129766" y="2719960"/>
                            </a:lnTo>
                            <a:lnTo>
                              <a:pt x="179888" y="2800087"/>
                            </a:lnTo>
                            <a:lnTo>
                              <a:pt x="84345" y="2869671"/>
                            </a:lnTo>
                            <a:lnTo>
                              <a:pt x="21887" y="3075264"/>
                            </a:lnTo>
                            <a:lnTo>
                              <a:pt x="0" y="3069102"/>
                            </a:lnTo>
                            <a:lnTo>
                              <a:pt x="63986" y="2858313"/>
                            </a:lnTo>
                            <a:lnTo>
                              <a:pt x="22061" y="2775267"/>
                            </a:lnTo>
                            <a:lnTo>
                              <a:pt x="105268" y="2722305"/>
                            </a:lnTo>
                            <a:lnTo>
                              <a:pt x="311516" y="2042907"/>
                            </a:lnTo>
                            <a:lnTo>
                              <a:pt x="268855" y="1976403"/>
                            </a:lnTo>
                            <a:lnTo>
                              <a:pt x="353120" y="1905841"/>
                            </a:lnTo>
                            <a:lnTo>
                              <a:pt x="564231" y="1210142"/>
                            </a:lnTo>
                            <a:lnTo>
                              <a:pt x="527731" y="1149880"/>
                            </a:lnTo>
                            <a:lnTo>
                              <a:pt x="606156" y="1072018"/>
                            </a:lnTo>
                            <a:lnTo>
                              <a:pt x="821326" y="365376"/>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48" name="Gráfico 496">
                        <a:extLst>
                          <a:ext uri="{FF2B5EF4-FFF2-40B4-BE49-F238E27FC236}">
                            <a16:creationId xmlns:a16="http://schemas.microsoft.com/office/drawing/2014/main" id="{BA2BF1C4-A048-F606-19F0-984AD934CC36}"/>
                          </a:ext>
                        </a:extLst>
                      </p:cNvPr>
                      <p:cNvGrpSpPr/>
                      <p:nvPr/>
                    </p:nvGrpSpPr>
                    <p:grpSpPr>
                      <a:xfrm>
                        <a:off x="5191333" y="1737069"/>
                        <a:ext cx="3436996" cy="2699105"/>
                        <a:chOff x="5191333" y="1737069"/>
                        <a:chExt cx="3436996" cy="2699105"/>
                      </a:xfrm>
                      <a:solidFill>
                        <a:srgbClr val="ECF0F1"/>
                      </a:solidFill>
                    </p:grpSpPr>
                    <p:sp>
                      <p:nvSpPr>
                        <p:cNvPr id="949" name="Forma libre: forma 948">
                          <a:extLst>
                            <a:ext uri="{FF2B5EF4-FFF2-40B4-BE49-F238E27FC236}">
                              <a16:creationId xmlns:a16="http://schemas.microsoft.com/office/drawing/2014/main" id="{3A79EDD0-1583-67B4-B203-4CC92A27FE5D}"/>
                            </a:ext>
                          </a:extLst>
                        </p:cNvPr>
                        <p:cNvSpPr/>
                        <p:nvPr/>
                      </p:nvSpPr>
                      <p:spPr>
                        <a:xfrm>
                          <a:off x="5719158" y="1737069"/>
                          <a:ext cx="2909171" cy="501049"/>
                        </a:xfrm>
                        <a:custGeom>
                          <a:avLst/>
                          <a:gdLst>
                            <a:gd name="connsiteX0" fmla="*/ 6644 w 2909171"/>
                            <a:gd name="connsiteY0" fmla="*/ 479069 h 501049"/>
                            <a:gd name="connsiteX1" fmla="*/ 2909172 w 2909171"/>
                            <a:gd name="connsiteY1" fmla="*/ 0 h 501049"/>
                            <a:gd name="connsiteX2" fmla="*/ 2892871 w 2909171"/>
                            <a:gd name="connsiteY2" fmla="*/ 47926 h 501049"/>
                            <a:gd name="connsiteX3" fmla="*/ 0 w 2909171"/>
                            <a:gd name="connsiteY3" fmla="*/ 501049 h 501049"/>
                          </a:gdLst>
                          <a:ahLst/>
                          <a:cxnLst>
                            <a:cxn ang="0">
                              <a:pos x="connsiteX0" y="connsiteY0"/>
                            </a:cxn>
                            <a:cxn ang="0">
                              <a:pos x="connsiteX1" y="connsiteY1"/>
                            </a:cxn>
                            <a:cxn ang="0">
                              <a:pos x="connsiteX2" y="connsiteY2"/>
                            </a:cxn>
                            <a:cxn ang="0">
                              <a:pos x="connsiteX3" y="connsiteY3"/>
                            </a:cxn>
                          </a:cxnLst>
                          <a:rect l="l" t="t" r="r" b="b"/>
                          <a:pathLst>
                            <a:path w="2909171" h="501049">
                              <a:moveTo>
                                <a:pt x="6644" y="479069"/>
                              </a:moveTo>
                              <a:lnTo>
                                <a:pt x="2909172" y="0"/>
                              </a:lnTo>
                              <a:lnTo>
                                <a:pt x="2892871" y="47926"/>
                              </a:lnTo>
                              <a:lnTo>
                                <a:pt x="0" y="501049"/>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0" name="Forma libre: forma 949">
                          <a:extLst>
                            <a:ext uri="{FF2B5EF4-FFF2-40B4-BE49-F238E27FC236}">
                              <a16:creationId xmlns:a16="http://schemas.microsoft.com/office/drawing/2014/main" id="{8332E371-2A9F-2A52-4E01-5D8E9A62F7C3}"/>
                            </a:ext>
                          </a:extLst>
                        </p:cNvPr>
                        <p:cNvSpPr/>
                        <p:nvPr/>
                      </p:nvSpPr>
                      <p:spPr>
                        <a:xfrm>
                          <a:off x="5543247" y="2650375"/>
                          <a:ext cx="2795291" cy="174691"/>
                        </a:xfrm>
                        <a:custGeom>
                          <a:avLst/>
                          <a:gdLst>
                            <a:gd name="connsiteX0" fmla="*/ 6644 w 2795291"/>
                            <a:gd name="connsiteY0" fmla="*/ 152711 h 174691"/>
                            <a:gd name="connsiteX1" fmla="*/ 2795291 w 2795291"/>
                            <a:gd name="connsiteY1" fmla="*/ 0 h 174691"/>
                            <a:gd name="connsiteX2" fmla="*/ 2778990 w 2795291"/>
                            <a:gd name="connsiteY2" fmla="*/ 47926 h 174691"/>
                            <a:gd name="connsiteX3" fmla="*/ 0 w 2795291"/>
                            <a:gd name="connsiteY3" fmla="*/ 174692 h 174691"/>
                          </a:gdLst>
                          <a:ahLst/>
                          <a:cxnLst>
                            <a:cxn ang="0">
                              <a:pos x="connsiteX0" y="connsiteY0"/>
                            </a:cxn>
                            <a:cxn ang="0">
                              <a:pos x="connsiteX1" y="connsiteY1"/>
                            </a:cxn>
                            <a:cxn ang="0">
                              <a:pos x="connsiteX2" y="connsiteY2"/>
                            </a:cxn>
                            <a:cxn ang="0">
                              <a:pos x="connsiteX3" y="connsiteY3"/>
                            </a:cxn>
                          </a:cxnLst>
                          <a:rect l="l" t="t" r="r" b="b"/>
                          <a:pathLst>
                            <a:path w="2795291" h="174691">
                              <a:moveTo>
                                <a:pt x="6644" y="152711"/>
                              </a:moveTo>
                              <a:lnTo>
                                <a:pt x="2795291" y="0"/>
                              </a:lnTo>
                              <a:lnTo>
                                <a:pt x="2778990" y="47926"/>
                              </a:lnTo>
                              <a:lnTo>
                                <a:pt x="0" y="174692"/>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1" name="Forma libre: forma 950">
                          <a:extLst>
                            <a:ext uri="{FF2B5EF4-FFF2-40B4-BE49-F238E27FC236}">
                              <a16:creationId xmlns:a16="http://schemas.microsoft.com/office/drawing/2014/main" id="{CCBC0CAA-78E6-1ED1-87B9-6A55D9E4705B}"/>
                            </a:ext>
                          </a:extLst>
                        </p:cNvPr>
                        <p:cNvSpPr/>
                        <p:nvPr/>
                      </p:nvSpPr>
                      <p:spPr>
                        <a:xfrm>
                          <a:off x="5371623" y="3392700"/>
                          <a:ext cx="2700900" cy="184590"/>
                        </a:xfrm>
                        <a:custGeom>
                          <a:avLst/>
                          <a:gdLst>
                            <a:gd name="connsiteX0" fmla="*/ 6416 w 2700900"/>
                            <a:gd name="connsiteY0" fmla="*/ 0 h 184590"/>
                            <a:gd name="connsiteX1" fmla="*/ 2700900 w 2700900"/>
                            <a:gd name="connsiteY1" fmla="*/ 127261 h 184590"/>
                            <a:gd name="connsiteX2" fmla="*/ 2683059 w 2700900"/>
                            <a:gd name="connsiteY2" fmla="*/ 184590 h 184590"/>
                            <a:gd name="connsiteX3" fmla="*/ 0 w 2700900"/>
                            <a:gd name="connsiteY3" fmla="*/ 21257 h 184590"/>
                          </a:gdLst>
                          <a:ahLst/>
                          <a:cxnLst>
                            <a:cxn ang="0">
                              <a:pos x="connsiteX0" y="connsiteY0"/>
                            </a:cxn>
                            <a:cxn ang="0">
                              <a:pos x="connsiteX1" y="connsiteY1"/>
                            </a:cxn>
                            <a:cxn ang="0">
                              <a:pos x="connsiteX2" y="connsiteY2"/>
                            </a:cxn>
                            <a:cxn ang="0">
                              <a:pos x="connsiteX3" y="connsiteY3"/>
                            </a:cxn>
                          </a:cxnLst>
                          <a:rect l="l" t="t" r="r" b="b"/>
                          <a:pathLst>
                            <a:path w="2700900" h="184590">
                              <a:moveTo>
                                <a:pt x="6416" y="0"/>
                              </a:moveTo>
                              <a:lnTo>
                                <a:pt x="2700900" y="127261"/>
                              </a:lnTo>
                              <a:lnTo>
                                <a:pt x="2683059" y="184590"/>
                              </a:lnTo>
                              <a:lnTo>
                                <a:pt x="0" y="21257"/>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2" name="Forma libre: forma 951">
                          <a:extLst>
                            <a:ext uri="{FF2B5EF4-FFF2-40B4-BE49-F238E27FC236}">
                              <a16:creationId xmlns:a16="http://schemas.microsoft.com/office/drawing/2014/main" id="{0DA3CA78-044F-018E-9522-E50F80C19685}"/>
                            </a:ext>
                          </a:extLst>
                        </p:cNvPr>
                        <p:cNvSpPr/>
                        <p:nvPr/>
                      </p:nvSpPr>
                      <p:spPr>
                        <a:xfrm>
                          <a:off x="5191333" y="3982167"/>
                          <a:ext cx="2593435" cy="454007"/>
                        </a:xfrm>
                        <a:custGeom>
                          <a:avLst/>
                          <a:gdLst>
                            <a:gd name="connsiteX0" fmla="*/ 6657 w 2593435"/>
                            <a:gd name="connsiteY0" fmla="*/ 0 h 454007"/>
                            <a:gd name="connsiteX1" fmla="*/ 2593436 w 2593435"/>
                            <a:gd name="connsiteY1" fmla="*/ 406082 h 454007"/>
                            <a:gd name="connsiteX2" fmla="*/ 2577054 w 2593435"/>
                            <a:gd name="connsiteY2" fmla="*/ 454008 h 454007"/>
                            <a:gd name="connsiteX3" fmla="*/ 0 w 2593435"/>
                            <a:gd name="connsiteY3" fmla="*/ 21980 h 454007"/>
                          </a:gdLst>
                          <a:ahLst/>
                          <a:cxnLst>
                            <a:cxn ang="0">
                              <a:pos x="connsiteX0" y="connsiteY0"/>
                            </a:cxn>
                            <a:cxn ang="0">
                              <a:pos x="connsiteX1" y="connsiteY1"/>
                            </a:cxn>
                            <a:cxn ang="0">
                              <a:pos x="connsiteX2" y="connsiteY2"/>
                            </a:cxn>
                            <a:cxn ang="0">
                              <a:pos x="connsiteX3" y="connsiteY3"/>
                            </a:cxn>
                          </a:cxnLst>
                          <a:rect l="l" t="t" r="r" b="b"/>
                          <a:pathLst>
                            <a:path w="2593435" h="454007">
                              <a:moveTo>
                                <a:pt x="6657" y="0"/>
                              </a:moveTo>
                              <a:lnTo>
                                <a:pt x="2593436" y="406082"/>
                              </a:lnTo>
                              <a:lnTo>
                                <a:pt x="2577054" y="454008"/>
                              </a:lnTo>
                              <a:lnTo>
                                <a:pt x="0" y="21980"/>
                              </a:lnTo>
                              <a:close/>
                            </a:path>
                          </a:pathLst>
                        </a:custGeom>
                        <a:solidFill>
                          <a:srgbClr val="ECF0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41" name="Forma libre: forma 940">
                      <a:extLst>
                        <a:ext uri="{FF2B5EF4-FFF2-40B4-BE49-F238E27FC236}">
                          <a16:creationId xmlns:a16="http://schemas.microsoft.com/office/drawing/2014/main" id="{DCA09E1C-59BC-4AA3-DBE3-BCCB0F4160F4}"/>
                        </a:ext>
                      </a:extLst>
                    </p:cNvPr>
                    <p:cNvSpPr/>
                    <p:nvPr/>
                  </p:nvSpPr>
                  <p:spPr>
                    <a:xfrm>
                      <a:off x="4097656" y="4755232"/>
                      <a:ext cx="150286" cy="144285"/>
                    </a:xfrm>
                    <a:custGeom>
                      <a:avLst/>
                      <a:gdLst>
                        <a:gd name="connsiteX0" fmla="*/ 0 w 150286"/>
                        <a:gd name="connsiteY0" fmla="*/ 0 h 144285"/>
                        <a:gd name="connsiteX1" fmla="*/ 150287 w 150286"/>
                        <a:gd name="connsiteY1" fmla="*/ 36821 h 144285"/>
                        <a:gd name="connsiteX2" fmla="*/ 150287 w 150286"/>
                        <a:gd name="connsiteY2" fmla="*/ 144286 h 144285"/>
                      </a:gdLst>
                      <a:ahLst/>
                      <a:cxnLst>
                        <a:cxn ang="0">
                          <a:pos x="connsiteX0" y="connsiteY0"/>
                        </a:cxn>
                        <a:cxn ang="0">
                          <a:pos x="connsiteX1" y="connsiteY1"/>
                        </a:cxn>
                        <a:cxn ang="0">
                          <a:pos x="connsiteX2" y="connsiteY2"/>
                        </a:cxn>
                      </a:cxnLst>
                      <a:rect l="l" t="t" r="r" b="b"/>
                      <a:pathLst>
                        <a:path w="150286" h="144285">
                          <a:moveTo>
                            <a:pt x="0" y="0"/>
                          </a:moveTo>
                          <a:lnTo>
                            <a:pt x="150287" y="36821"/>
                          </a:lnTo>
                          <a:lnTo>
                            <a:pt x="150287" y="144286"/>
                          </a:ln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2" name="Forma libre: forma 941">
                      <a:extLst>
                        <a:ext uri="{FF2B5EF4-FFF2-40B4-BE49-F238E27FC236}">
                          <a16:creationId xmlns:a16="http://schemas.microsoft.com/office/drawing/2014/main" id="{AB70ABC9-C577-950E-E333-3E3E52DA61DF}"/>
                        </a:ext>
                      </a:extLst>
                    </p:cNvPr>
                    <p:cNvSpPr/>
                    <p:nvPr/>
                  </p:nvSpPr>
                  <p:spPr>
                    <a:xfrm>
                      <a:off x="3448343" y="3510385"/>
                      <a:ext cx="1429290" cy="1344449"/>
                    </a:xfrm>
                    <a:custGeom>
                      <a:avLst/>
                      <a:gdLst>
                        <a:gd name="connsiteX0" fmla="*/ 1385249 w 1429290"/>
                        <a:gd name="connsiteY0" fmla="*/ 0 h 1344449"/>
                        <a:gd name="connsiteX1" fmla="*/ 1429290 w 1429290"/>
                        <a:gd name="connsiteY1" fmla="*/ 38040 h 1344449"/>
                        <a:gd name="connsiteX2" fmla="*/ 1022230 w 1429290"/>
                        <a:gd name="connsiteY2" fmla="*/ 1344450 h 1344449"/>
                        <a:gd name="connsiteX3" fmla="*/ 22382 w 1429290"/>
                        <a:gd name="connsiteY3" fmla="*/ 1077537 h 1344449"/>
                        <a:gd name="connsiteX4" fmla="*/ 0 w 1429290"/>
                        <a:gd name="connsiteY4" fmla="*/ 1040876 h 1344449"/>
                        <a:gd name="connsiteX5" fmla="*/ 982810 w 1429290"/>
                        <a:gd name="connsiteY5" fmla="*/ 1276244 h 134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9290" h="1344449">
                          <a:moveTo>
                            <a:pt x="1385249" y="0"/>
                          </a:moveTo>
                          <a:lnTo>
                            <a:pt x="1429290" y="38040"/>
                          </a:lnTo>
                          <a:lnTo>
                            <a:pt x="1022230" y="1344450"/>
                          </a:lnTo>
                          <a:lnTo>
                            <a:pt x="22382" y="1077537"/>
                          </a:lnTo>
                          <a:lnTo>
                            <a:pt x="0" y="1040876"/>
                          </a:lnTo>
                          <a:lnTo>
                            <a:pt x="982810" y="1276244"/>
                          </a:ln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29" name="Gráfico 574">
                  <a:extLst>
                    <a:ext uri="{FF2B5EF4-FFF2-40B4-BE49-F238E27FC236}">
                      <a16:creationId xmlns:a16="http://schemas.microsoft.com/office/drawing/2014/main" id="{AEF6F8F7-492F-4BDC-612A-7620829287F2}"/>
                    </a:ext>
                  </a:extLst>
                </p:cNvPr>
                <p:cNvGrpSpPr/>
                <p:nvPr/>
              </p:nvGrpSpPr>
              <p:grpSpPr>
                <a:xfrm>
                  <a:off x="9726779" y="3887354"/>
                  <a:ext cx="652790" cy="652790"/>
                  <a:chOff x="2667000" y="0"/>
                  <a:chExt cx="6858000" cy="6858000"/>
                </a:xfrm>
              </p:grpSpPr>
              <p:grpSp>
                <p:nvGrpSpPr>
                  <p:cNvPr id="912" name="Gráfico 574">
                    <a:extLst>
                      <a:ext uri="{FF2B5EF4-FFF2-40B4-BE49-F238E27FC236}">
                        <a16:creationId xmlns:a16="http://schemas.microsoft.com/office/drawing/2014/main" id="{B4EFBBFD-54DA-95D3-C167-A346EFDD6FF1}"/>
                      </a:ext>
                    </a:extLst>
                  </p:cNvPr>
                  <p:cNvGrpSpPr/>
                  <p:nvPr/>
                </p:nvGrpSpPr>
                <p:grpSpPr>
                  <a:xfrm>
                    <a:off x="2667000" y="0"/>
                    <a:ext cx="6858000" cy="6858000"/>
                    <a:chOff x="2667000" y="0"/>
                    <a:chExt cx="6858000" cy="6858000"/>
                  </a:xfrm>
                </p:grpSpPr>
                <p:sp>
                  <p:nvSpPr>
                    <p:cNvPr id="925" name="Forma libre: forma 924">
                      <a:extLst>
                        <a:ext uri="{FF2B5EF4-FFF2-40B4-BE49-F238E27FC236}">
                          <a16:creationId xmlns:a16="http://schemas.microsoft.com/office/drawing/2014/main" id="{A2931579-9C91-72C7-F2DB-53C064B0187C}"/>
                        </a:ext>
                      </a:extLst>
                    </p:cNvPr>
                    <p:cNvSpPr/>
                    <p:nvPr/>
                  </p:nvSpPr>
                  <p:spPr>
                    <a:xfrm>
                      <a:off x="2667000" y="0"/>
                      <a:ext cx="6858000" cy="6858000"/>
                    </a:xfrm>
                    <a:custGeom>
                      <a:avLst/>
                      <a:gdLst>
                        <a:gd name="connsiteX0" fmla="*/ 6858000 w 6858000"/>
                        <a:gd name="connsiteY0" fmla="*/ 447261 h 6858000"/>
                        <a:gd name="connsiteX1" fmla="*/ 6858000 w 6858000"/>
                        <a:gd name="connsiteY1" fmla="*/ 6112565 h 6858000"/>
                        <a:gd name="connsiteX2" fmla="*/ 6410739 w 6858000"/>
                        <a:gd name="connsiteY2" fmla="*/ 6559826 h 6858000"/>
                        <a:gd name="connsiteX3" fmla="*/ 5963479 w 6858000"/>
                        <a:gd name="connsiteY3" fmla="*/ 6559826 h 6858000"/>
                        <a:gd name="connsiteX4" fmla="*/ 6112565 w 6858000"/>
                        <a:gd name="connsiteY4" fmla="*/ 6708913 h 6858000"/>
                        <a:gd name="connsiteX5" fmla="*/ 5963479 w 6858000"/>
                        <a:gd name="connsiteY5" fmla="*/ 6858000 h 6858000"/>
                        <a:gd name="connsiteX6" fmla="*/ 5367131 w 6858000"/>
                        <a:gd name="connsiteY6" fmla="*/ 6858000 h 6858000"/>
                        <a:gd name="connsiteX7" fmla="*/ 5218044 w 6858000"/>
                        <a:gd name="connsiteY7" fmla="*/ 6708913 h 6858000"/>
                        <a:gd name="connsiteX8" fmla="*/ 5367131 w 6858000"/>
                        <a:gd name="connsiteY8" fmla="*/ 6559826 h 6858000"/>
                        <a:gd name="connsiteX9" fmla="*/ 1490870 w 6858000"/>
                        <a:gd name="connsiteY9" fmla="*/ 6559826 h 6858000"/>
                        <a:gd name="connsiteX10" fmla="*/ 1639957 w 6858000"/>
                        <a:gd name="connsiteY10" fmla="*/ 6708913 h 6858000"/>
                        <a:gd name="connsiteX11" fmla="*/ 1490870 w 6858000"/>
                        <a:gd name="connsiteY11" fmla="*/ 6858000 h 6858000"/>
                        <a:gd name="connsiteX12" fmla="*/ 894522 w 6858000"/>
                        <a:gd name="connsiteY12" fmla="*/ 6858000 h 6858000"/>
                        <a:gd name="connsiteX13" fmla="*/ 745435 w 6858000"/>
                        <a:gd name="connsiteY13" fmla="*/ 6708913 h 6858000"/>
                        <a:gd name="connsiteX14" fmla="*/ 894522 w 6858000"/>
                        <a:gd name="connsiteY14" fmla="*/ 6559826 h 6858000"/>
                        <a:gd name="connsiteX15" fmla="*/ 447261 w 6858000"/>
                        <a:gd name="connsiteY15" fmla="*/ 6559826 h 6858000"/>
                        <a:gd name="connsiteX16" fmla="*/ 0 w 6858000"/>
                        <a:gd name="connsiteY16" fmla="*/ 6112565 h 6858000"/>
                        <a:gd name="connsiteX17" fmla="*/ 0 w 6858000"/>
                        <a:gd name="connsiteY17" fmla="*/ 447261 h 6858000"/>
                        <a:gd name="connsiteX18" fmla="*/ 447261 w 6858000"/>
                        <a:gd name="connsiteY18" fmla="*/ 0 h 6858000"/>
                        <a:gd name="connsiteX19" fmla="*/ 6410739 w 6858000"/>
                        <a:gd name="connsiteY19" fmla="*/ 0 h 6858000"/>
                        <a:gd name="connsiteX20" fmla="*/ 6858000 w 6858000"/>
                        <a:gd name="connsiteY20" fmla="*/ 44726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58000" h="6858000">
                          <a:moveTo>
                            <a:pt x="6858000" y="447261"/>
                          </a:moveTo>
                          <a:lnTo>
                            <a:pt x="6858000" y="6112565"/>
                          </a:lnTo>
                          <a:cubicBezTo>
                            <a:pt x="6858000" y="6359588"/>
                            <a:pt x="6657762" y="6559826"/>
                            <a:pt x="6410739" y="6559826"/>
                          </a:cubicBezTo>
                          <a:lnTo>
                            <a:pt x="5963479" y="6559826"/>
                          </a:lnTo>
                          <a:cubicBezTo>
                            <a:pt x="6045819" y="6559826"/>
                            <a:pt x="6112565" y="6626572"/>
                            <a:pt x="6112565" y="6708913"/>
                          </a:cubicBezTo>
                          <a:cubicBezTo>
                            <a:pt x="6112565" y="6791254"/>
                            <a:pt x="6045819" y="6858000"/>
                            <a:pt x="5963479" y="6858000"/>
                          </a:cubicBezTo>
                          <a:lnTo>
                            <a:pt x="5367131" y="6858000"/>
                          </a:lnTo>
                          <a:cubicBezTo>
                            <a:pt x="5284790" y="6858000"/>
                            <a:pt x="5218044" y="6791254"/>
                            <a:pt x="5218044" y="6708913"/>
                          </a:cubicBezTo>
                          <a:cubicBezTo>
                            <a:pt x="5218044" y="6626572"/>
                            <a:pt x="5284790" y="6559826"/>
                            <a:pt x="5367131" y="6559826"/>
                          </a:cubicBezTo>
                          <a:lnTo>
                            <a:pt x="1490870" y="6559826"/>
                          </a:lnTo>
                          <a:cubicBezTo>
                            <a:pt x="1573210" y="6559826"/>
                            <a:pt x="1639957" y="6626572"/>
                            <a:pt x="1639957" y="6708913"/>
                          </a:cubicBezTo>
                          <a:cubicBezTo>
                            <a:pt x="1639957" y="6791254"/>
                            <a:pt x="1573210" y="6858000"/>
                            <a:pt x="1490870" y="6858000"/>
                          </a:cubicBezTo>
                          <a:lnTo>
                            <a:pt x="894522" y="6858000"/>
                          </a:lnTo>
                          <a:cubicBezTo>
                            <a:pt x="812181" y="6858000"/>
                            <a:pt x="745435" y="6791254"/>
                            <a:pt x="745435" y="6708913"/>
                          </a:cubicBezTo>
                          <a:cubicBezTo>
                            <a:pt x="745435" y="6626572"/>
                            <a:pt x="812181" y="6559826"/>
                            <a:pt x="894522" y="6559826"/>
                          </a:cubicBezTo>
                          <a:lnTo>
                            <a:pt x="447261" y="6559826"/>
                          </a:lnTo>
                          <a:cubicBezTo>
                            <a:pt x="200239" y="6559826"/>
                            <a:pt x="0" y="6359588"/>
                            <a:pt x="0" y="6112565"/>
                          </a:cubicBezTo>
                          <a:lnTo>
                            <a:pt x="0" y="447261"/>
                          </a:lnTo>
                          <a:cubicBezTo>
                            <a:pt x="0" y="200239"/>
                            <a:pt x="200239" y="0"/>
                            <a:pt x="447261" y="0"/>
                          </a:cubicBezTo>
                          <a:lnTo>
                            <a:pt x="6410739" y="0"/>
                          </a:lnTo>
                          <a:cubicBezTo>
                            <a:pt x="6657762" y="0"/>
                            <a:pt x="6858000" y="200239"/>
                            <a:pt x="6858000" y="447261"/>
                          </a:cubicBezTo>
                          <a:close/>
                        </a:path>
                      </a:pathLst>
                    </a:custGeom>
                    <a:solidFill>
                      <a:schemeClr val="bg1">
                        <a:lumMod val="65000"/>
                      </a:schemeClr>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6" name="Forma libre: forma 925">
                      <a:extLst>
                        <a:ext uri="{FF2B5EF4-FFF2-40B4-BE49-F238E27FC236}">
                          <a16:creationId xmlns:a16="http://schemas.microsoft.com/office/drawing/2014/main" id="{888E4190-8489-915A-9A13-CD2F46C93403}"/>
                        </a:ext>
                      </a:extLst>
                    </p:cNvPr>
                    <p:cNvSpPr/>
                    <p:nvPr/>
                  </p:nvSpPr>
                  <p:spPr>
                    <a:xfrm>
                      <a:off x="3412434" y="6559826"/>
                      <a:ext cx="894521" cy="298173"/>
                    </a:xfrm>
                    <a:custGeom>
                      <a:avLst/>
                      <a:gdLst>
                        <a:gd name="connsiteX0" fmla="*/ 894522 w 894521"/>
                        <a:gd name="connsiteY0" fmla="*/ 149087 h 298173"/>
                        <a:gd name="connsiteX1" fmla="*/ 894522 w 894521"/>
                        <a:gd name="connsiteY1" fmla="*/ 149087 h 298173"/>
                        <a:gd name="connsiteX2" fmla="*/ 745435 w 894521"/>
                        <a:gd name="connsiteY2" fmla="*/ 298174 h 298173"/>
                        <a:gd name="connsiteX3" fmla="*/ 149087 w 894521"/>
                        <a:gd name="connsiteY3" fmla="*/ 298174 h 298173"/>
                        <a:gd name="connsiteX4" fmla="*/ 0 w 894521"/>
                        <a:gd name="connsiteY4" fmla="*/ 149087 h 298173"/>
                        <a:gd name="connsiteX5" fmla="*/ 0 w 894521"/>
                        <a:gd name="connsiteY5" fmla="*/ 149087 h 298173"/>
                        <a:gd name="connsiteX6" fmla="*/ 149087 w 894521"/>
                        <a:gd name="connsiteY6" fmla="*/ 0 h 298173"/>
                        <a:gd name="connsiteX7" fmla="*/ 745435 w 894521"/>
                        <a:gd name="connsiteY7" fmla="*/ 0 h 298173"/>
                        <a:gd name="connsiteX8" fmla="*/ 894522 w 894521"/>
                        <a:gd name="connsiteY8" fmla="*/ 149087 h 2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521" h="298173">
                          <a:moveTo>
                            <a:pt x="894522" y="149087"/>
                          </a:moveTo>
                          <a:lnTo>
                            <a:pt x="894522" y="149087"/>
                          </a:lnTo>
                          <a:cubicBezTo>
                            <a:pt x="894522" y="231428"/>
                            <a:pt x="827776" y="298174"/>
                            <a:pt x="745435" y="298174"/>
                          </a:cubicBezTo>
                          <a:lnTo>
                            <a:pt x="149087" y="298174"/>
                          </a:lnTo>
                          <a:cubicBezTo>
                            <a:pt x="66746" y="298174"/>
                            <a:pt x="0" y="231428"/>
                            <a:pt x="0" y="149087"/>
                          </a:cubicBezTo>
                          <a:lnTo>
                            <a:pt x="0" y="149087"/>
                          </a:lnTo>
                          <a:cubicBezTo>
                            <a:pt x="0" y="66746"/>
                            <a:pt x="66746" y="0"/>
                            <a:pt x="149087" y="0"/>
                          </a:cubicBezTo>
                          <a:lnTo>
                            <a:pt x="745435" y="0"/>
                          </a:lnTo>
                          <a:cubicBezTo>
                            <a:pt x="827776" y="0"/>
                            <a:pt x="894522" y="66746"/>
                            <a:pt x="894522" y="149087"/>
                          </a:cubicBez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7" name="Forma libre: forma 926">
                      <a:extLst>
                        <a:ext uri="{FF2B5EF4-FFF2-40B4-BE49-F238E27FC236}">
                          <a16:creationId xmlns:a16="http://schemas.microsoft.com/office/drawing/2014/main" id="{393A8BE6-7230-B3C8-E224-4AE7AC3AF873}"/>
                        </a:ext>
                      </a:extLst>
                    </p:cNvPr>
                    <p:cNvSpPr/>
                    <p:nvPr/>
                  </p:nvSpPr>
                  <p:spPr>
                    <a:xfrm>
                      <a:off x="7885043" y="6559826"/>
                      <a:ext cx="894521" cy="298173"/>
                    </a:xfrm>
                    <a:custGeom>
                      <a:avLst/>
                      <a:gdLst>
                        <a:gd name="connsiteX0" fmla="*/ 894522 w 894521"/>
                        <a:gd name="connsiteY0" fmla="*/ 149087 h 298173"/>
                        <a:gd name="connsiteX1" fmla="*/ 894522 w 894521"/>
                        <a:gd name="connsiteY1" fmla="*/ 149087 h 298173"/>
                        <a:gd name="connsiteX2" fmla="*/ 745435 w 894521"/>
                        <a:gd name="connsiteY2" fmla="*/ 298174 h 298173"/>
                        <a:gd name="connsiteX3" fmla="*/ 149087 w 894521"/>
                        <a:gd name="connsiteY3" fmla="*/ 298174 h 298173"/>
                        <a:gd name="connsiteX4" fmla="*/ 0 w 894521"/>
                        <a:gd name="connsiteY4" fmla="*/ 149087 h 298173"/>
                        <a:gd name="connsiteX5" fmla="*/ 0 w 894521"/>
                        <a:gd name="connsiteY5" fmla="*/ 149087 h 298173"/>
                        <a:gd name="connsiteX6" fmla="*/ 149087 w 894521"/>
                        <a:gd name="connsiteY6" fmla="*/ 0 h 298173"/>
                        <a:gd name="connsiteX7" fmla="*/ 745435 w 894521"/>
                        <a:gd name="connsiteY7" fmla="*/ 0 h 298173"/>
                        <a:gd name="connsiteX8" fmla="*/ 894522 w 894521"/>
                        <a:gd name="connsiteY8" fmla="*/ 149087 h 2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521" h="298173">
                          <a:moveTo>
                            <a:pt x="894522" y="149087"/>
                          </a:moveTo>
                          <a:lnTo>
                            <a:pt x="894522" y="149087"/>
                          </a:lnTo>
                          <a:cubicBezTo>
                            <a:pt x="894522" y="231428"/>
                            <a:pt x="827776" y="298174"/>
                            <a:pt x="745435" y="298174"/>
                          </a:cubicBezTo>
                          <a:lnTo>
                            <a:pt x="149087" y="298174"/>
                          </a:lnTo>
                          <a:cubicBezTo>
                            <a:pt x="66746" y="298174"/>
                            <a:pt x="0" y="231428"/>
                            <a:pt x="0" y="149087"/>
                          </a:cubicBezTo>
                          <a:lnTo>
                            <a:pt x="0" y="149087"/>
                          </a:lnTo>
                          <a:cubicBezTo>
                            <a:pt x="0" y="66746"/>
                            <a:pt x="66746" y="0"/>
                            <a:pt x="149087" y="0"/>
                          </a:cubicBezTo>
                          <a:lnTo>
                            <a:pt x="745435" y="0"/>
                          </a:lnTo>
                          <a:cubicBezTo>
                            <a:pt x="827776" y="0"/>
                            <a:pt x="894522" y="66746"/>
                            <a:pt x="894522" y="149087"/>
                          </a:cubicBez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8" name="Forma libre: forma 927">
                      <a:extLst>
                        <a:ext uri="{FF2B5EF4-FFF2-40B4-BE49-F238E27FC236}">
                          <a16:creationId xmlns:a16="http://schemas.microsoft.com/office/drawing/2014/main" id="{4F71A2FC-5AF8-947C-9E90-2E7989534A18}"/>
                        </a:ext>
                      </a:extLst>
                    </p:cNvPr>
                    <p:cNvSpPr/>
                    <p:nvPr/>
                  </p:nvSpPr>
                  <p:spPr>
                    <a:xfrm>
                      <a:off x="4008782" y="5218043"/>
                      <a:ext cx="4174434" cy="298173"/>
                    </a:xfrm>
                    <a:custGeom>
                      <a:avLst/>
                      <a:gdLst>
                        <a:gd name="connsiteX0" fmla="*/ 4174435 w 4174434"/>
                        <a:gd name="connsiteY0" fmla="*/ 149087 h 298173"/>
                        <a:gd name="connsiteX1" fmla="*/ 4174435 w 4174434"/>
                        <a:gd name="connsiteY1" fmla="*/ 149087 h 298173"/>
                        <a:gd name="connsiteX2" fmla="*/ 4025348 w 4174434"/>
                        <a:gd name="connsiteY2" fmla="*/ 298174 h 298173"/>
                        <a:gd name="connsiteX3" fmla="*/ 149087 w 4174434"/>
                        <a:gd name="connsiteY3" fmla="*/ 298174 h 298173"/>
                        <a:gd name="connsiteX4" fmla="*/ 0 w 4174434"/>
                        <a:gd name="connsiteY4" fmla="*/ 149087 h 298173"/>
                        <a:gd name="connsiteX5" fmla="*/ 0 w 4174434"/>
                        <a:gd name="connsiteY5" fmla="*/ 149087 h 298173"/>
                        <a:gd name="connsiteX6" fmla="*/ 149087 w 4174434"/>
                        <a:gd name="connsiteY6" fmla="*/ 0 h 298173"/>
                        <a:gd name="connsiteX7" fmla="*/ 4025348 w 4174434"/>
                        <a:gd name="connsiteY7" fmla="*/ 0 h 298173"/>
                        <a:gd name="connsiteX8" fmla="*/ 4174435 w 4174434"/>
                        <a:gd name="connsiteY8" fmla="*/ 149087 h 2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4434" h="298173">
                          <a:moveTo>
                            <a:pt x="4174435" y="149087"/>
                          </a:moveTo>
                          <a:lnTo>
                            <a:pt x="4174435" y="149087"/>
                          </a:lnTo>
                          <a:cubicBezTo>
                            <a:pt x="4174435" y="231428"/>
                            <a:pt x="4107689" y="298174"/>
                            <a:pt x="4025348" y="298174"/>
                          </a:cubicBezTo>
                          <a:lnTo>
                            <a:pt x="149087" y="298174"/>
                          </a:lnTo>
                          <a:cubicBezTo>
                            <a:pt x="66746" y="298174"/>
                            <a:pt x="0" y="231428"/>
                            <a:pt x="0" y="149087"/>
                          </a:cubicBezTo>
                          <a:lnTo>
                            <a:pt x="0" y="149087"/>
                          </a:lnTo>
                          <a:cubicBezTo>
                            <a:pt x="0" y="66746"/>
                            <a:pt x="66746" y="0"/>
                            <a:pt x="149087" y="0"/>
                          </a:cubicBezTo>
                          <a:lnTo>
                            <a:pt x="4025348" y="0"/>
                          </a:lnTo>
                          <a:cubicBezTo>
                            <a:pt x="4107689" y="0"/>
                            <a:pt x="4174435" y="66746"/>
                            <a:pt x="4174435" y="149087"/>
                          </a:cubicBez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9" name="Forma libre: forma 928">
                      <a:extLst>
                        <a:ext uri="{FF2B5EF4-FFF2-40B4-BE49-F238E27FC236}">
                          <a16:creationId xmlns:a16="http://schemas.microsoft.com/office/drawing/2014/main" id="{2779FFFC-BFB7-AFB2-6C23-06B82E209A27}"/>
                        </a:ext>
                      </a:extLst>
                    </p:cNvPr>
                    <p:cNvSpPr/>
                    <p:nvPr/>
                  </p:nvSpPr>
                  <p:spPr>
                    <a:xfrm>
                      <a:off x="2667000" y="0"/>
                      <a:ext cx="6858000" cy="6559826"/>
                    </a:xfrm>
                    <a:custGeom>
                      <a:avLst/>
                      <a:gdLst>
                        <a:gd name="connsiteX0" fmla="*/ 6410739 w 6858000"/>
                        <a:gd name="connsiteY0" fmla="*/ 0 h 6559826"/>
                        <a:gd name="connsiteX1" fmla="*/ 447261 w 6858000"/>
                        <a:gd name="connsiteY1" fmla="*/ 0 h 6559826"/>
                        <a:gd name="connsiteX2" fmla="*/ 0 w 6858000"/>
                        <a:gd name="connsiteY2" fmla="*/ 447261 h 6559826"/>
                        <a:gd name="connsiteX3" fmla="*/ 0 w 6858000"/>
                        <a:gd name="connsiteY3" fmla="*/ 6112565 h 6559826"/>
                        <a:gd name="connsiteX4" fmla="*/ 447261 w 6858000"/>
                        <a:gd name="connsiteY4" fmla="*/ 6559826 h 6559826"/>
                        <a:gd name="connsiteX5" fmla="*/ 6410739 w 6858000"/>
                        <a:gd name="connsiteY5" fmla="*/ 6559826 h 6559826"/>
                        <a:gd name="connsiteX6" fmla="*/ 6858000 w 6858000"/>
                        <a:gd name="connsiteY6" fmla="*/ 6112565 h 6559826"/>
                        <a:gd name="connsiteX7" fmla="*/ 6858000 w 6858000"/>
                        <a:gd name="connsiteY7" fmla="*/ 447261 h 6559826"/>
                        <a:gd name="connsiteX8" fmla="*/ 6410739 w 6858000"/>
                        <a:gd name="connsiteY8" fmla="*/ 0 h 6559826"/>
                        <a:gd name="connsiteX9" fmla="*/ 6112565 w 6858000"/>
                        <a:gd name="connsiteY9" fmla="*/ 5620579 h 6559826"/>
                        <a:gd name="connsiteX10" fmla="*/ 5918752 w 6858000"/>
                        <a:gd name="connsiteY10" fmla="*/ 5814392 h 6559826"/>
                        <a:gd name="connsiteX11" fmla="*/ 4770783 w 6858000"/>
                        <a:gd name="connsiteY11" fmla="*/ 5814392 h 6559826"/>
                        <a:gd name="connsiteX12" fmla="*/ 4770783 w 6858000"/>
                        <a:gd name="connsiteY12" fmla="*/ 5814392 h 6559826"/>
                        <a:gd name="connsiteX13" fmla="*/ 4472609 w 6858000"/>
                        <a:gd name="connsiteY13" fmla="*/ 5516218 h 6559826"/>
                        <a:gd name="connsiteX14" fmla="*/ 2385391 w 6858000"/>
                        <a:gd name="connsiteY14" fmla="*/ 5516218 h 6559826"/>
                        <a:gd name="connsiteX15" fmla="*/ 2087217 w 6858000"/>
                        <a:gd name="connsiteY15" fmla="*/ 5814392 h 6559826"/>
                        <a:gd name="connsiteX16" fmla="*/ 2087217 w 6858000"/>
                        <a:gd name="connsiteY16" fmla="*/ 5814392 h 6559826"/>
                        <a:gd name="connsiteX17" fmla="*/ 939248 w 6858000"/>
                        <a:gd name="connsiteY17" fmla="*/ 5814392 h 6559826"/>
                        <a:gd name="connsiteX18" fmla="*/ 745435 w 6858000"/>
                        <a:gd name="connsiteY18" fmla="*/ 5620579 h 6559826"/>
                        <a:gd name="connsiteX19" fmla="*/ 745435 w 6858000"/>
                        <a:gd name="connsiteY19" fmla="*/ 939248 h 6559826"/>
                        <a:gd name="connsiteX20" fmla="*/ 939248 w 6858000"/>
                        <a:gd name="connsiteY20" fmla="*/ 745435 h 6559826"/>
                        <a:gd name="connsiteX21" fmla="*/ 5918752 w 6858000"/>
                        <a:gd name="connsiteY21" fmla="*/ 745435 h 6559826"/>
                        <a:gd name="connsiteX22" fmla="*/ 6112565 w 6858000"/>
                        <a:gd name="connsiteY22" fmla="*/ 939248 h 6559826"/>
                        <a:gd name="connsiteX23" fmla="*/ 6112565 w 6858000"/>
                        <a:gd name="connsiteY23" fmla="*/ 5620579 h 6559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58000" h="6559826">
                          <a:moveTo>
                            <a:pt x="6410739" y="0"/>
                          </a:moveTo>
                          <a:lnTo>
                            <a:pt x="447261" y="0"/>
                          </a:lnTo>
                          <a:cubicBezTo>
                            <a:pt x="200239" y="0"/>
                            <a:pt x="0" y="200239"/>
                            <a:pt x="0" y="447261"/>
                          </a:cubicBezTo>
                          <a:lnTo>
                            <a:pt x="0" y="6112565"/>
                          </a:lnTo>
                          <a:cubicBezTo>
                            <a:pt x="0" y="6359588"/>
                            <a:pt x="200239" y="6559826"/>
                            <a:pt x="447261" y="6559826"/>
                          </a:cubicBezTo>
                          <a:lnTo>
                            <a:pt x="6410739" y="6559826"/>
                          </a:lnTo>
                          <a:cubicBezTo>
                            <a:pt x="6657762" y="6559826"/>
                            <a:pt x="6858000" y="6359588"/>
                            <a:pt x="6858000" y="6112565"/>
                          </a:cubicBezTo>
                          <a:lnTo>
                            <a:pt x="6858000" y="447261"/>
                          </a:lnTo>
                          <a:cubicBezTo>
                            <a:pt x="6858000" y="200239"/>
                            <a:pt x="6657762" y="0"/>
                            <a:pt x="6410739" y="0"/>
                          </a:cubicBezTo>
                          <a:close/>
                          <a:moveTo>
                            <a:pt x="6112565" y="5620579"/>
                          </a:moveTo>
                          <a:cubicBezTo>
                            <a:pt x="6112565" y="5727623"/>
                            <a:pt x="6025797" y="5814392"/>
                            <a:pt x="5918752" y="5814392"/>
                          </a:cubicBezTo>
                          <a:lnTo>
                            <a:pt x="4770783" y="5814392"/>
                          </a:lnTo>
                          <a:lnTo>
                            <a:pt x="4770783" y="5814392"/>
                          </a:lnTo>
                          <a:cubicBezTo>
                            <a:pt x="4770783" y="5649710"/>
                            <a:pt x="4637290" y="5516218"/>
                            <a:pt x="4472609" y="5516218"/>
                          </a:cubicBezTo>
                          <a:lnTo>
                            <a:pt x="2385391" y="5516218"/>
                          </a:lnTo>
                          <a:cubicBezTo>
                            <a:pt x="2220710" y="5516218"/>
                            <a:pt x="2087217" y="5649710"/>
                            <a:pt x="2087217" y="5814392"/>
                          </a:cubicBezTo>
                          <a:lnTo>
                            <a:pt x="2087217" y="5814392"/>
                          </a:lnTo>
                          <a:lnTo>
                            <a:pt x="939248" y="5814392"/>
                          </a:lnTo>
                          <a:cubicBezTo>
                            <a:pt x="832203" y="5814392"/>
                            <a:pt x="745435" y="5727623"/>
                            <a:pt x="745435" y="5620579"/>
                          </a:cubicBezTo>
                          <a:lnTo>
                            <a:pt x="745435" y="939248"/>
                          </a:lnTo>
                          <a:cubicBezTo>
                            <a:pt x="745435" y="832203"/>
                            <a:pt x="832203" y="745435"/>
                            <a:pt x="939248" y="745435"/>
                          </a:cubicBezTo>
                          <a:lnTo>
                            <a:pt x="5918752" y="745435"/>
                          </a:lnTo>
                          <a:cubicBezTo>
                            <a:pt x="6025797" y="745435"/>
                            <a:pt x="6112565" y="832203"/>
                            <a:pt x="6112565" y="939248"/>
                          </a:cubicBezTo>
                          <a:lnTo>
                            <a:pt x="6112565" y="5620579"/>
                          </a:lnTo>
                          <a:close/>
                        </a:path>
                      </a:pathLst>
                    </a:custGeom>
                    <a:solidFill>
                      <a:schemeClr val="bg1">
                        <a:lumMod val="75000"/>
                      </a:schemeClr>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13" name="Gráfico 574">
                    <a:extLst>
                      <a:ext uri="{FF2B5EF4-FFF2-40B4-BE49-F238E27FC236}">
                        <a16:creationId xmlns:a16="http://schemas.microsoft.com/office/drawing/2014/main" id="{94444C81-73FD-3B74-03AF-F31B8AB034E1}"/>
                      </a:ext>
                    </a:extLst>
                  </p:cNvPr>
                  <p:cNvGrpSpPr/>
                  <p:nvPr/>
                </p:nvGrpSpPr>
                <p:grpSpPr>
                  <a:xfrm>
                    <a:off x="5350565" y="0"/>
                    <a:ext cx="1490869" cy="2534478"/>
                    <a:chOff x="5350565" y="0"/>
                    <a:chExt cx="1490869" cy="2534478"/>
                  </a:xfrm>
                </p:grpSpPr>
                <p:sp>
                  <p:nvSpPr>
                    <p:cNvPr id="920" name="Forma libre: forma 919">
                      <a:extLst>
                        <a:ext uri="{FF2B5EF4-FFF2-40B4-BE49-F238E27FC236}">
                          <a16:creationId xmlns:a16="http://schemas.microsoft.com/office/drawing/2014/main" id="{11F51C82-7603-4692-4CE2-4D9A9589228A}"/>
                        </a:ext>
                      </a:extLst>
                    </p:cNvPr>
                    <p:cNvSpPr/>
                    <p:nvPr/>
                  </p:nvSpPr>
                  <p:spPr>
                    <a:xfrm>
                      <a:off x="6021456" y="1341782"/>
                      <a:ext cx="149086" cy="1192695"/>
                    </a:xfrm>
                    <a:custGeom>
                      <a:avLst/>
                      <a:gdLst>
                        <a:gd name="connsiteX0" fmla="*/ 74543 w 149086"/>
                        <a:gd name="connsiteY0" fmla="*/ 1192696 h 1192695"/>
                        <a:gd name="connsiteX1" fmla="*/ 74543 w 149086"/>
                        <a:gd name="connsiteY1" fmla="*/ 1192696 h 1192695"/>
                        <a:gd name="connsiteX2" fmla="*/ 0 w 149086"/>
                        <a:gd name="connsiteY2" fmla="*/ 1118152 h 1192695"/>
                        <a:gd name="connsiteX3" fmla="*/ 0 w 149086"/>
                        <a:gd name="connsiteY3" fmla="*/ 0 h 1192695"/>
                        <a:gd name="connsiteX4" fmla="*/ 149087 w 149086"/>
                        <a:gd name="connsiteY4" fmla="*/ 0 h 1192695"/>
                        <a:gd name="connsiteX5" fmla="*/ 149087 w 149086"/>
                        <a:gd name="connsiteY5" fmla="*/ 1118152 h 1192695"/>
                        <a:gd name="connsiteX6" fmla="*/ 74543 w 149086"/>
                        <a:gd name="connsiteY6" fmla="*/ 1192696 h 119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86" h="1192695">
                          <a:moveTo>
                            <a:pt x="74543" y="1192696"/>
                          </a:moveTo>
                          <a:lnTo>
                            <a:pt x="74543" y="1192696"/>
                          </a:lnTo>
                          <a:cubicBezTo>
                            <a:pt x="33381" y="1192696"/>
                            <a:pt x="0" y="1159315"/>
                            <a:pt x="0" y="1118152"/>
                          </a:cubicBezTo>
                          <a:lnTo>
                            <a:pt x="0" y="0"/>
                          </a:lnTo>
                          <a:lnTo>
                            <a:pt x="149087" y="0"/>
                          </a:lnTo>
                          <a:lnTo>
                            <a:pt x="149087" y="1118152"/>
                          </a:lnTo>
                          <a:cubicBezTo>
                            <a:pt x="149087" y="1159315"/>
                            <a:pt x="115706" y="1192696"/>
                            <a:pt x="74543" y="1192696"/>
                          </a:cubicBezTo>
                          <a:close/>
                        </a:path>
                      </a:pathLst>
                    </a:custGeom>
                    <a:solidFill>
                      <a:schemeClr val="bg1"/>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1" name="Forma libre: forma 920">
                      <a:extLst>
                        <a:ext uri="{FF2B5EF4-FFF2-40B4-BE49-F238E27FC236}">
                          <a16:creationId xmlns:a16="http://schemas.microsoft.com/office/drawing/2014/main" id="{181FEC2D-4DF3-E63D-DD13-4734CB951F76}"/>
                        </a:ext>
                      </a:extLst>
                    </p:cNvPr>
                    <p:cNvSpPr/>
                    <p:nvPr/>
                  </p:nvSpPr>
                  <p:spPr>
                    <a:xfrm>
                      <a:off x="5797826" y="894521"/>
                      <a:ext cx="596347" cy="596347"/>
                    </a:xfrm>
                    <a:custGeom>
                      <a:avLst/>
                      <a:gdLst>
                        <a:gd name="connsiteX0" fmla="*/ 596348 w 596347"/>
                        <a:gd name="connsiteY0" fmla="*/ 0 h 596347"/>
                        <a:gd name="connsiteX1" fmla="*/ 596348 w 596347"/>
                        <a:gd name="connsiteY1" fmla="*/ 298174 h 596347"/>
                        <a:gd name="connsiteX2" fmla="*/ 488469 w 596347"/>
                        <a:gd name="connsiteY2" fmla="*/ 513933 h 596347"/>
                        <a:gd name="connsiteX3" fmla="*/ 355125 w 596347"/>
                        <a:gd name="connsiteY3" fmla="*/ 596348 h 596347"/>
                        <a:gd name="connsiteX4" fmla="*/ 241238 w 596347"/>
                        <a:gd name="connsiteY4" fmla="*/ 596348 h 596347"/>
                        <a:gd name="connsiteX5" fmla="*/ 107894 w 596347"/>
                        <a:gd name="connsiteY5" fmla="*/ 513933 h 596347"/>
                        <a:gd name="connsiteX6" fmla="*/ 0 w 596347"/>
                        <a:gd name="connsiteY6" fmla="*/ 298174 h 596347"/>
                        <a:gd name="connsiteX7" fmla="*/ 0 w 596347"/>
                        <a:gd name="connsiteY7" fmla="*/ 0 h 596347"/>
                        <a:gd name="connsiteX8" fmla="*/ 596348 w 596347"/>
                        <a:gd name="connsiteY8" fmla="*/ 0 h 59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6347" h="596347">
                          <a:moveTo>
                            <a:pt x="596348" y="0"/>
                          </a:moveTo>
                          <a:lnTo>
                            <a:pt x="596348" y="298174"/>
                          </a:lnTo>
                          <a:lnTo>
                            <a:pt x="488469" y="513933"/>
                          </a:lnTo>
                          <a:cubicBezTo>
                            <a:pt x="463213" y="564443"/>
                            <a:pt x="411584" y="596348"/>
                            <a:pt x="355125" y="596348"/>
                          </a:cubicBezTo>
                          <a:lnTo>
                            <a:pt x="241238" y="596348"/>
                          </a:lnTo>
                          <a:cubicBezTo>
                            <a:pt x="184764" y="596348"/>
                            <a:pt x="133150" y="564443"/>
                            <a:pt x="107894" y="513933"/>
                          </a:cubicBezTo>
                          <a:lnTo>
                            <a:pt x="0" y="298174"/>
                          </a:lnTo>
                          <a:lnTo>
                            <a:pt x="0" y="0"/>
                          </a:lnTo>
                          <a:lnTo>
                            <a:pt x="596348" y="0"/>
                          </a:ln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 name="Forma libre: forma 921">
                      <a:extLst>
                        <a:ext uri="{FF2B5EF4-FFF2-40B4-BE49-F238E27FC236}">
                          <a16:creationId xmlns:a16="http://schemas.microsoft.com/office/drawing/2014/main" id="{C62938C0-227B-9945-3BA9-7866E44620A6}"/>
                        </a:ext>
                      </a:extLst>
                    </p:cNvPr>
                    <p:cNvSpPr/>
                    <p:nvPr/>
                  </p:nvSpPr>
                  <p:spPr>
                    <a:xfrm>
                      <a:off x="5350565" y="0"/>
                      <a:ext cx="1490869" cy="1192695"/>
                    </a:xfrm>
                    <a:custGeom>
                      <a:avLst/>
                      <a:gdLst>
                        <a:gd name="connsiteX0" fmla="*/ 1192696 w 1490869"/>
                        <a:gd name="connsiteY0" fmla="*/ 1192696 h 1192695"/>
                        <a:gd name="connsiteX1" fmla="*/ 298174 w 1490869"/>
                        <a:gd name="connsiteY1" fmla="*/ 1192696 h 1192695"/>
                        <a:gd name="connsiteX2" fmla="*/ 0 w 1490869"/>
                        <a:gd name="connsiteY2" fmla="*/ 894522 h 1192695"/>
                        <a:gd name="connsiteX3" fmla="*/ 0 w 1490869"/>
                        <a:gd name="connsiteY3" fmla="*/ 0 h 1192695"/>
                        <a:gd name="connsiteX4" fmla="*/ 1490870 w 1490869"/>
                        <a:gd name="connsiteY4" fmla="*/ 0 h 1192695"/>
                        <a:gd name="connsiteX5" fmla="*/ 1490870 w 1490869"/>
                        <a:gd name="connsiteY5" fmla="*/ 894522 h 1192695"/>
                        <a:gd name="connsiteX6" fmla="*/ 1192696 w 1490869"/>
                        <a:gd name="connsiteY6" fmla="*/ 1192696 h 119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869" h="1192695">
                          <a:moveTo>
                            <a:pt x="1192696" y="1192696"/>
                          </a:moveTo>
                          <a:lnTo>
                            <a:pt x="298174" y="1192696"/>
                          </a:lnTo>
                          <a:cubicBezTo>
                            <a:pt x="133492" y="1192696"/>
                            <a:pt x="0" y="1059203"/>
                            <a:pt x="0" y="894522"/>
                          </a:cubicBezTo>
                          <a:lnTo>
                            <a:pt x="0" y="0"/>
                          </a:lnTo>
                          <a:lnTo>
                            <a:pt x="1490870" y="0"/>
                          </a:lnTo>
                          <a:lnTo>
                            <a:pt x="1490870" y="894522"/>
                          </a:lnTo>
                          <a:cubicBezTo>
                            <a:pt x="1490870" y="1059203"/>
                            <a:pt x="1357377" y="1192696"/>
                            <a:pt x="1192696" y="1192696"/>
                          </a:cubicBezTo>
                          <a:close/>
                        </a:path>
                      </a:pathLst>
                    </a:custGeom>
                    <a:solidFill>
                      <a:schemeClr val="bg1">
                        <a:lumMod val="65000"/>
                      </a:schemeClr>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 name="Forma libre: forma 922">
                      <a:extLst>
                        <a:ext uri="{FF2B5EF4-FFF2-40B4-BE49-F238E27FC236}">
                          <a16:creationId xmlns:a16="http://schemas.microsoft.com/office/drawing/2014/main" id="{FDC2054A-88D6-2D48-EFED-AE9CB235F072}"/>
                        </a:ext>
                      </a:extLst>
                    </p:cNvPr>
                    <p:cNvSpPr/>
                    <p:nvPr/>
                  </p:nvSpPr>
                  <p:spPr>
                    <a:xfrm>
                      <a:off x="5648739" y="447260"/>
                      <a:ext cx="894521" cy="149086"/>
                    </a:xfrm>
                    <a:custGeom>
                      <a:avLst/>
                      <a:gdLst>
                        <a:gd name="connsiteX0" fmla="*/ 819978 w 894521"/>
                        <a:gd name="connsiteY0" fmla="*/ 149087 h 149086"/>
                        <a:gd name="connsiteX1" fmla="*/ 74543 w 894521"/>
                        <a:gd name="connsiteY1" fmla="*/ 149087 h 149086"/>
                        <a:gd name="connsiteX2" fmla="*/ 0 w 894521"/>
                        <a:gd name="connsiteY2" fmla="*/ 74543 h 149086"/>
                        <a:gd name="connsiteX3" fmla="*/ 0 w 894521"/>
                        <a:gd name="connsiteY3" fmla="*/ 74543 h 149086"/>
                        <a:gd name="connsiteX4" fmla="*/ 74543 w 894521"/>
                        <a:gd name="connsiteY4" fmla="*/ 0 h 149086"/>
                        <a:gd name="connsiteX5" fmla="*/ 819978 w 894521"/>
                        <a:gd name="connsiteY5" fmla="*/ 0 h 149086"/>
                        <a:gd name="connsiteX6" fmla="*/ 894522 w 894521"/>
                        <a:gd name="connsiteY6" fmla="*/ 74543 h 149086"/>
                        <a:gd name="connsiteX7" fmla="*/ 894522 w 894521"/>
                        <a:gd name="connsiteY7" fmla="*/ 74543 h 149086"/>
                        <a:gd name="connsiteX8" fmla="*/ 819978 w 894521"/>
                        <a:gd name="connsiteY8" fmla="*/ 149087 h 14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521" h="149086">
                          <a:moveTo>
                            <a:pt x="819978" y="149087"/>
                          </a:moveTo>
                          <a:lnTo>
                            <a:pt x="74543" y="149087"/>
                          </a:lnTo>
                          <a:cubicBezTo>
                            <a:pt x="33381" y="149087"/>
                            <a:pt x="0" y="115706"/>
                            <a:pt x="0" y="74543"/>
                          </a:cubicBezTo>
                          <a:lnTo>
                            <a:pt x="0" y="74543"/>
                          </a:lnTo>
                          <a:cubicBezTo>
                            <a:pt x="0" y="33381"/>
                            <a:pt x="33381" y="0"/>
                            <a:pt x="74543" y="0"/>
                          </a:cubicBezTo>
                          <a:lnTo>
                            <a:pt x="819978" y="0"/>
                          </a:lnTo>
                          <a:cubicBezTo>
                            <a:pt x="861141" y="0"/>
                            <a:pt x="894522" y="33381"/>
                            <a:pt x="894522" y="74543"/>
                          </a:cubicBezTo>
                          <a:lnTo>
                            <a:pt x="894522" y="74543"/>
                          </a:lnTo>
                          <a:cubicBezTo>
                            <a:pt x="894522" y="115706"/>
                            <a:pt x="861141" y="149087"/>
                            <a:pt x="819978" y="149087"/>
                          </a:cubicBez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 name="Forma libre: forma 923">
                      <a:extLst>
                        <a:ext uri="{FF2B5EF4-FFF2-40B4-BE49-F238E27FC236}">
                          <a16:creationId xmlns:a16="http://schemas.microsoft.com/office/drawing/2014/main" id="{3DFE8E06-6154-FDD1-A895-34ECCDFB5520}"/>
                        </a:ext>
                      </a:extLst>
                    </p:cNvPr>
                    <p:cNvSpPr/>
                    <p:nvPr/>
                  </p:nvSpPr>
                  <p:spPr>
                    <a:xfrm>
                      <a:off x="5648739" y="745434"/>
                      <a:ext cx="894521" cy="149086"/>
                    </a:xfrm>
                    <a:custGeom>
                      <a:avLst/>
                      <a:gdLst>
                        <a:gd name="connsiteX0" fmla="*/ 819978 w 894521"/>
                        <a:gd name="connsiteY0" fmla="*/ 149087 h 149086"/>
                        <a:gd name="connsiteX1" fmla="*/ 74543 w 894521"/>
                        <a:gd name="connsiteY1" fmla="*/ 149087 h 149086"/>
                        <a:gd name="connsiteX2" fmla="*/ 0 w 894521"/>
                        <a:gd name="connsiteY2" fmla="*/ 74543 h 149086"/>
                        <a:gd name="connsiteX3" fmla="*/ 0 w 894521"/>
                        <a:gd name="connsiteY3" fmla="*/ 74543 h 149086"/>
                        <a:gd name="connsiteX4" fmla="*/ 74543 w 894521"/>
                        <a:gd name="connsiteY4" fmla="*/ 0 h 149086"/>
                        <a:gd name="connsiteX5" fmla="*/ 819978 w 894521"/>
                        <a:gd name="connsiteY5" fmla="*/ 0 h 149086"/>
                        <a:gd name="connsiteX6" fmla="*/ 894522 w 894521"/>
                        <a:gd name="connsiteY6" fmla="*/ 74543 h 149086"/>
                        <a:gd name="connsiteX7" fmla="*/ 894522 w 894521"/>
                        <a:gd name="connsiteY7" fmla="*/ 74543 h 149086"/>
                        <a:gd name="connsiteX8" fmla="*/ 819978 w 894521"/>
                        <a:gd name="connsiteY8" fmla="*/ 149087 h 14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4521" h="149086">
                          <a:moveTo>
                            <a:pt x="819978" y="149087"/>
                          </a:moveTo>
                          <a:lnTo>
                            <a:pt x="74543" y="149087"/>
                          </a:lnTo>
                          <a:cubicBezTo>
                            <a:pt x="33381" y="149087"/>
                            <a:pt x="0" y="115706"/>
                            <a:pt x="0" y="74543"/>
                          </a:cubicBezTo>
                          <a:lnTo>
                            <a:pt x="0" y="74543"/>
                          </a:lnTo>
                          <a:cubicBezTo>
                            <a:pt x="0" y="33381"/>
                            <a:pt x="33381" y="0"/>
                            <a:pt x="74543" y="0"/>
                          </a:cubicBezTo>
                          <a:lnTo>
                            <a:pt x="819978" y="0"/>
                          </a:lnTo>
                          <a:cubicBezTo>
                            <a:pt x="861141" y="0"/>
                            <a:pt x="894522" y="33381"/>
                            <a:pt x="894522" y="74543"/>
                          </a:cubicBezTo>
                          <a:lnTo>
                            <a:pt x="894522" y="74543"/>
                          </a:lnTo>
                          <a:cubicBezTo>
                            <a:pt x="894522" y="115706"/>
                            <a:pt x="861141" y="149087"/>
                            <a:pt x="819978" y="149087"/>
                          </a:cubicBezTo>
                          <a:close/>
                        </a:path>
                      </a:pathLst>
                    </a:custGeom>
                    <a:solidFill>
                      <a:srgbClr val="3C3B42"/>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14" name="Gráfico 574">
                    <a:extLst>
                      <a:ext uri="{FF2B5EF4-FFF2-40B4-BE49-F238E27FC236}">
                        <a16:creationId xmlns:a16="http://schemas.microsoft.com/office/drawing/2014/main" id="{7F92ED6E-F46F-24ED-8EE4-2FA18E8E3F18}"/>
                      </a:ext>
                    </a:extLst>
                  </p:cNvPr>
                  <p:cNvGrpSpPr/>
                  <p:nvPr/>
                </p:nvGrpSpPr>
                <p:grpSpPr>
                  <a:xfrm>
                    <a:off x="4605130" y="2832652"/>
                    <a:ext cx="2981739" cy="2385391"/>
                    <a:chOff x="4605130" y="2832652"/>
                    <a:chExt cx="2981739" cy="2385391"/>
                  </a:xfrm>
                </p:grpSpPr>
                <p:sp>
                  <p:nvSpPr>
                    <p:cNvPr id="915" name="Forma libre: forma 914">
                      <a:extLst>
                        <a:ext uri="{FF2B5EF4-FFF2-40B4-BE49-F238E27FC236}">
                          <a16:creationId xmlns:a16="http://schemas.microsoft.com/office/drawing/2014/main" id="{B176CB98-49E9-5CF5-BA86-2BBA3293EC4E}"/>
                        </a:ext>
                      </a:extLst>
                    </p:cNvPr>
                    <p:cNvSpPr/>
                    <p:nvPr/>
                  </p:nvSpPr>
                  <p:spPr>
                    <a:xfrm>
                      <a:off x="4605130" y="2832652"/>
                      <a:ext cx="2981739" cy="2385391"/>
                    </a:xfrm>
                    <a:custGeom>
                      <a:avLst/>
                      <a:gdLst>
                        <a:gd name="connsiteX0" fmla="*/ 2981739 w 2981739"/>
                        <a:gd name="connsiteY0" fmla="*/ 894522 h 2385391"/>
                        <a:gd name="connsiteX1" fmla="*/ 1789044 w 2981739"/>
                        <a:gd name="connsiteY1" fmla="*/ 2385391 h 2385391"/>
                        <a:gd name="connsiteX2" fmla="*/ 1192696 w 2981739"/>
                        <a:gd name="connsiteY2" fmla="*/ 2385391 h 2385391"/>
                        <a:gd name="connsiteX3" fmla="*/ 0 w 2981739"/>
                        <a:gd name="connsiteY3" fmla="*/ 894522 h 2385391"/>
                        <a:gd name="connsiteX4" fmla="*/ 596348 w 2981739"/>
                        <a:gd name="connsiteY4" fmla="*/ 0 h 2385391"/>
                        <a:gd name="connsiteX5" fmla="*/ 2385391 w 2981739"/>
                        <a:gd name="connsiteY5" fmla="*/ 0 h 2385391"/>
                        <a:gd name="connsiteX6" fmla="*/ 2981739 w 2981739"/>
                        <a:gd name="connsiteY6" fmla="*/ 894522 h 238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1739" h="2385391">
                          <a:moveTo>
                            <a:pt x="2981739" y="894522"/>
                          </a:moveTo>
                          <a:lnTo>
                            <a:pt x="1789044" y="2385391"/>
                          </a:lnTo>
                          <a:lnTo>
                            <a:pt x="1192696" y="2385391"/>
                          </a:lnTo>
                          <a:lnTo>
                            <a:pt x="0" y="894522"/>
                          </a:lnTo>
                          <a:lnTo>
                            <a:pt x="596348" y="0"/>
                          </a:lnTo>
                          <a:lnTo>
                            <a:pt x="2385391" y="0"/>
                          </a:lnTo>
                          <a:lnTo>
                            <a:pt x="2981739" y="894522"/>
                          </a:lnTo>
                          <a:close/>
                        </a:path>
                      </a:pathLst>
                    </a:custGeom>
                    <a:solidFill>
                      <a:srgbClr val="0070C0"/>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6" name="Forma libre: forma 915">
                      <a:extLst>
                        <a:ext uri="{FF2B5EF4-FFF2-40B4-BE49-F238E27FC236}">
                          <a16:creationId xmlns:a16="http://schemas.microsoft.com/office/drawing/2014/main" id="{52666B03-E143-238F-ED6D-F445ACBB8922}"/>
                        </a:ext>
                      </a:extLst>
                    </p:cNvPr>
                    <p:cNvSpPr/>
                    <p:nvPr/>
                  </p:nvSpPr>
                  <p:spPr>
                    <a:xfrm>
                      <a:off x="4605130" y="2832652"/>
                      <a:ext cx="2981739" cy="2385391"/>
                    </a:xfrm>
                    <a:custGeom>
                      <a:avLst/>
                      <a:gdLst>
                        <a:gd name="connsiteX0" fmla="*/ 2981739 w 2981739"/>
                        <a:gd name="connsiteY0" fmla="*/ 894522 h 2385391"/>
                        <a:gd name="connsiteX1" fmla="*/ 1490870 w 2981739"/>
                        <a:gd name="connsiteY1" fmla="*/ 894522 h 2385391"/>
                        <a:gd name="connsiteX2" fmla="*/ 1490870 w 2981739"/>
                        <a:gd name="connsiteY2" fmla="*/ 2385391 h 2385391"/>
                        <a:gd name="connsiteX3" fmla="*/ 1192696 w 2981739"/>
                        <a:gd name="connsiteY3" fmla="*/ 2385391 h 2385391"/>
                        <a:gd name="connsiteX4" fmla="*/ 0 w 2981739"/>
                        <a:gd name="connsiteY4" fmla="*/ 894522 h 2385391"/>
                        <a:gd name="connsiteX5" fmla="*/ 596348 w 2981739"/>
                        <a:gd name="connsiteY5" fmla="*/ 0 h 2385391"/>
                        <a:gd name="connsiteX6" fmla="*/ 1490870 w 2981739"/>
                        <a:gd name="connsiteY6" fmla="*/ 0 h 2385391"/>
                        <a:gd name="connsiteX7" fmla="*/ 2385391 w 2981739"/>
                        <a:gd name="connsiteY7" fmla="*/ 0 h 2385391"/>
                        <a:gd name="connsiteX8" fmla="*/ 2981739 w 2981739"/>
                        <a:gd name="connsiteY8" fmla="*/ 894522 h 238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1739" h="2385391">
                          <a:moveTo>
                            <a:pt x="2981739" y="894522"/>
                          </a:moveTo>
                          <a:lnTo>
                            <a:pt x="1490870" y="894522"/>
                          </a:lnTo>
                          <a:lnTo>
                            <a:pt x="1490870" y="2385391"/>
                          </a:lnTo>
                          <a:lnTo>
                            <a:pt x="1192696" y="2385391"/>
                          </a:lnTo>
                          <a:lnTo>
                            <a:pt x="0" y="894522"/>
                          </a:lnTo>
                          <a:lnTo>
                            <a:pt x="596348" y="0"/>
                          </a:lnTo>
                          <a:lnTo>
                            <a:pt x="1490870" y="0"/>
                          </a:lnTo>
                          <a:lnTo>
                            <a:pt x="2385391" y="0"/>
                          </a:lnTo>
                          <a:lnTo>
                            <a:pt x="2981739" y="894522"/>
                          </a:lnTo>
                          <a:close/>
                        </a:path>
                      </a:pathLst>
                    </a:custGeom>
                    <a:solidFill>
                      <a:srgbClr val="02AEF1"/>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7" name="Forma libre: forma 916">
                      <a:extLst>
                        <a:ext uri="{FF2B5EF4-FFF2-40B4-BE49-F238E27FC236}">
                          <a16:creationId xmlns:a16="http://schemas.microsoft.com/office/drawing/2014/main" id="{947F1200-EB05-8ACC-1772-1EC3E4BCD1AB}"/>
                        </a:ext>
                      </a:extLst>
                    </p:cNvPr>
                    <p:cNvSpPr/>
                    <p:nvPr/>
                  </p:nvSpPr>
                  <p:spPr>
                    <a:xfrm>
                      <a:off x="4605130" y="2832652"/>
                      <a:ext cx="1490869" cy="894521"/>
                    </a:xfrm>
                    <a:custGeom>
                      <a:avLst/>
                      <a:gdLst>
                        <a:gd name="connsiteX0" fmla="*/ 1490870 w 1490869"/>
                        <a:gd name="connsiteY0" fmla="*/ 894522 h 894521"/>
                        <a:gd name="connsiteX1" fmla="*/ 0 w 1490869"/>
                        <a:gd name="connsiteY1" fmla="*/ 894522 h 894521"/>
                        <a:gd name="connsiteX2" fmla="*/ 596348 w 1490869"/>
                        <a:gd name="connsiteY2" fmla="*/ 0 h 894521"/>
                        <a:gd name="connsiteX3" fmla="*/ 1490870 w 1490869"/>
                        <a:gd name="connsiteY3" fmla="*/ 0 h 894521"/>
                        <a:gd name="connsiteX4" fmla="*/ 1490870 w 1490869"/>
                        <a:gd name="connsiteY4" fmla="*/ 894522 h 8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0869" h="894521">
                          <a:moveTo>
                            <a:pt x="1490870" y="894522"/>
                          </a:moveTo>
                          <a:lnTo>
                            <a:pt x="0" y="894522"/>
                          </a:lnTo>
                          <a:lnTo>
                            <a:pt x="596348" y="0"/>
                          </a:lnTo>
                          <a:lnTo>
                            <a:pt x="1490870" y="0"/>
                          </a:lnTo>
                          <a:lnTo>
                            <a:pt x="1490870" y="894522"/>
                          </a:lnTo>
                          <a:close/>
                        </a:path>
                      </a:pathLst>
                    </a:custGeom>
                    <a:solidFill>
                      <a:schemeClr val="accent5">
                        <a:lumMod val="40000"/>
                        <a:lumOff val="60000"/>
                      </a:schemeClr>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8" name="Forma libre: forma 917">
                      <a:extLst>
                        <a:ext uri="{FF2B5EF4-FFF2-40B4-BE49-F238E27FC236}">
                          <a16:creationId xmlns:a16="http://schemas.microsoft.com/office/drawing/2014/main" id="{40DB4FDA-8B99-E722-46EF-9596111C9C1C}"/>
                        </a:ext>
                      </a:extLst>
                    </p:cNvPr>
                    <p:cNvSpPr/>
                    <p:nvPr/>
                  </p:nvSpPr>
                  <p:spPr>
                    <a:xfrm>
                      <a:off x="5499652" y="2832652"/>
                      <a:ext cx="1192695" cy="2385391"/>
                    </a:xfrm>
                    <a:custGeom>
                      <a:avLst/>
                      <a:gdLst>
                        <a:gd name="connsiteX0" fmla="*/ 1192696 w 1192695"/>
                        <a:gd name="connsiteY0" fmla="*/ 894522 h 2385391"/>
                        <a:gd name="connsiteX1" fmla="*/ 745435 w 1192695"/>
                        <a:gd name="connsiteY1" fmla="*/ 2385391 h 2385391"/>
                        <a:gd name="connsiteX2" fmla="*/ 447261 w 1192695"/>
                        <a:gd name="connsiteY2" fmla="*/ 2385391 h 2385391"/>
                        <a:gd name="connsiteX3" fmla="*/ 0 w 1192695"/>
                        <a:gd name="connsiteY3" fmla="*/ 894522 h 2385391"/>
                        <a:gd name="connsiteX4" fmla="*/ 447261 w 1192695"/>
                        <a:gd name="connsiteY4" fmla="*/ 0 h 2385391"/>
                        <a:gd name="connsiteX5" fmla="*/ 745435 w 1192695"/>
                        <a:gd name="connsiteY5" fmla="*/ 0 h 2385391"/>
                        <a:gd name="connsiteX6" fmla="*/ 1192696 w 1192695"/>
                        <a:gd name="connsiteY6" fmla="*/ 894522 h 238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2695" h="2385391">
                          <a:moveTo>
                            <a:pt x="1192696" y="894522"/>
                          </a:moveTo>
                          <a:lnTo>
                            <a:pt x="745435" y="2385391"/>
                          </a:lnTo>
                          <a:lnTo>
                            <a:pt x="447261" y="2385391"/>
                          </a:lnTo>
                          <a:lnTo>
                            <a:pt x="0" y="894522"/>
                          </a:lnTo>
                          <a:lnTo>
                            <a:pt x="447261" y="0"/>
                          </a:lnTo>
                          <a:lnTo>
                            <a:pt x="745435" y="0"/>
                          </a:lnTo>
                          <a:lnTo>
                            <a:pt x="1192696" y="894522"/>
                          </a:lnTo>
                          <a:close/>
                        </a:path>
                      </a:pathLst>
                    </a:custGeom>
                    <a:solidFill>
                      <a:schemeClr val="accent5">
                        <a:lumMod val="40000"/>
                        <a:lumOff val="60000"/>
                      </a:schemeClr>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9" name="Forma libre: forma 918">
                      <a:extLst>
                        <a:ext uri="{FF2B5EF4-FFF2-40B4-BE49-F238E27FC236}">
                          <a16:creationId xmlns:a16="http://schemas.microsoft.com/office/drawing/2014/main" id="{E4E80E67-F39E-C68A-1BC9-4CEC761EB832}"/>
                        </a:ext>
                      </a:extLst>
                    </p:cNvPr>
                    <p:cNvSpPr/>
                    <p:nvPr/>
                  </p:nvSpPr>
                  <p:spPr>
                    <a:xfrm>
                      <a:off x="5499652" y="2832652"/>
                      <a:ext cx="1192695" cy="894521"/>
                    </a:xfrm>
                    <a:custGeom>
                      <a:avLst/>
                      <a:gdLst>
                        <a:gd name="connsiteX0" fmla="*/ 1192696 w 1192695"/>
                        <a:gd name="connsiteY0" fmla="*/ 894522 h 894521"/>
                        <a:gd name="connsiteX1" fmla="*/ 0 w 1192695"/>
                        <a:gd name="connsiteY1" fmla="*/ 894522 h 894521"/>
                        <a:gd name="connsiteX2" fmla="*/ 447261 w 1192695"/>
                        <a:gd name="connsiteY2" fmla="*/ 0 h 894521"/>
                        <a:gd name="connsiteX3" fmla="*/ 745435 w 1192695"/>
                        <a:gd name="connsiteY3" fmla="*/ 0 h 894521"/>
                        <a:gd name="connsiteX4" fmla="*/ 1192696 w 1192695"/>
                        <a:gd name="connsiteY4" fmla="*/ 894522 h 894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695" h="894521">
                          <a:moveTo>
                            <a:pt x="1192696" y="894522"/>
                          </a:moveTo>
                          <a:lnTo>
                            <a:pt x="0" y="894522"/>
                          </a:lnTo>
                          <a:lnTo>
                            <a:pt x="447261" y="0"/>
                          </a:lnTo>
                          <a:lnTo>
                            <a:pt x="745435" y="0"/>
                          </a:lnTo>
                          <a:lnTo>
                            <a:pt x="1192696" y="894522"/>
                          </a:lnTo>
                          <a:close/>
                        </a:path>
                      </a:pathLst>
                    </a:custGeom>
                    <a:solidFill>
                      <a:srgbClr val="0070C0"/>
                    </a:solidFill>
                    <a:ln w="1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30" name="Grupo 829">
                  <a:extLst>
                    <a:ext uri="{FF2B5EF4-FFF2-40B4-BE49-F238E27FC236}">
                      <a16:creationId xmlns:a16="http://schemas.microsoft.com/office/drawing/2014/main" id="{43DC791F-1A29-2164-AD7B-EA26D883AE11}"/>
                    </a:ext>
                  </a:extLst>
                </p:cNvPr>
                <p:cNvGrpSpPr/>
                <p:nvPr/>
              </p:nvGrpSpPr>
              <p:grpSpPr>
                <a:xfrm>
                  <a:off x="6990996" y="2870840"/>
                  <a:ext cx="1208452" cy="974424"/>
                  <a:chOff x="7581693" y="352980"/>
                  <a:chExt cx="1137073" cy="916869"/>
                </a:xfrm>
              </p:grpSpPr>
              <p:grpSp>
                <p:nvGrpSpPr>
                  <p:cNvPr id="888" name="Gráfico 595">
                    <a:extLst>
                      <a:ext uri="{FF2B5EF4-FFF2-40B4-BE49-F238E27FC236}">
                        <a16:creationId xmlns:a16="http://schemas.microsoft.com/office/drawing/2014/main" id="{5D485984-F817-24D8-4DC6-8B4037964C74}"/>
                      </a:ext>
                    </a:extLst>
                  </p:cNvPr>
                  <p:cNvGrpSpPr/>
                  <p:nvPr/>
                </p:nvGrpSpPr>
                <p:grpSpPr>
                  <a:xfrm>
                    <a:off x="8080944" y="352980"/>
                    <a:ext cx="637822" cy="916869"/>
                    <a:chOff x="4399721" y="990599"/>
                    <a:chExt cx="3392556" cy="4876800"/>
                  </a:xfrm>
                </p:grpSpPr>
                <p:sp>
                  <p:nvSpPr>
                    <p:cNvPr id="904" name="Forma libre: forma 903">
                      <a:extLst>
                        <a:ext uri="{FF2B5EF4-FFF2-40B4-BE49-F238E27FC236}">
                          <a16:creationId xmlns:a16="http://schemas.microsoft.com/office/drawing/2014/main" id="{12A6000E-C4EB-48F4-75D7-7DD7CF50B1BA}"/>
                        </a:ext>
                      </a:extLst>
                    </p:cNvPr>
                    <p:cNvSpPr/>
                    <p:nvPr/>
                  </p:nvSpPr>
                  <p:spPr>
                    <a:xfrm>
                      <a:off x="4611756" y="5443499"/>
                      <a:ext cx="2968486" cy="423900"/>
                    </a:xfrm>
                    <a:custGeom>
                      <a:avLst/>
                      <a:gdLst>
                        <a:gd name="connsiteX0" fmla="*/ 318052 w 2968486"/>
                        <a:gd name="connsiteY0" fmla="*/ 423900 h 423900"/>
                        <a:gd name="connsiteX1" fmla="*/ 106017 w 2968486"/>
                        <a:gd name="connsiteY1" fmla="*/ 423900 h 423900"/>
                        <a:gd name="connsiteX2" fmla="*/ 0 w 2968486"/>
                        <a:gd name="connsiteY2" fmla="*/ 0 h 423900"/>
                        <a:gd name="connsiteX3" fmla="*/ 424070 w 2968486"/>
                        <a:gd name="connsiteY3" fmla="*/ 0 h 423900"/>
                        <a:gd name="connsiteX4" fmla="*/ 318052 w 2968486"/>
                        <a:gd name="connsiteY4" fmla="*/ 423900 h 423900"/>
                        <a:gd name="connsiteX5" fmla="*/ 2968487 w 2968486"/>
                        <a:gd name="connsiteY5" fmla="*/ 0 h 423900"/>
                        <a:gd name="connsiteX6" fmla="*/ 2544418 w 2968486"/>
                        <a:gd name="connsiteY6" fmla="*/ 0 h 423900"/>
                        <a:gd name="connsiteX7" fmla="*/ 2650435 w 2968486"/>
                        <a:gd name="connsiteY7" fmla="*/ 423900 h 423900"/>
                        <a:gd name="connsiteX8" fmla="*/ 2862470 w 2968486"/>
                        <a:gd name="connsiteY8" fmla="*/ 423900 h 423900"/>
                        <a:gd name="connsiteX9" fmla="*/ 2968487 w 2968486"/>
                        <a:gd name="connsiteY9" fmla="*/ 0 h 4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8486" h="423900">
                          <a:moveTo>
                            <a:pt x="318052" y="423900"/>
                          </a:moveTo>
                          <a:lnTo>
                            <a:pt x="106017" y="423900"/>
                          </a:lnTo>
                          <a:lnTo>
                            <a:pt x="0" y="0"/>
                          </a:lnTo>
                          <a:lnTo>
                            <a:pt x="424070" y="0"/>
                          </a:lnTo>
                          <a:lnTo>
                            <a:pt x="318052" y="423900"/>
                          </a:lnTo>
                          <a:close/>
                          <a:moveTo>
                            <a:pt x="2968487" y="0"/>
                          </a:moveTo>
                          <a:lnTo>
                            <a:pt x="2544418" y="0"/>
                          </a:lnTo>
                          <a:lnTo>
                            <a:pt x="2650435" y="423900"/>
                          </a:lnTo>
                          <a:lnTo>
                            <a:pt x="2862470" y="423900"/>
                          </a:lnTo>
                          <a:lnTo>
                            <a:pt x="2968487" y="0"/>
                          </a:lnTo>
                          <a:close/>
                        </a:path>
                      </a:pathLst>
                    </a:custGeom>
                    <a:solidFill>
                      <a:srgbClr val="323436"/>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5" name="Forma libre: forma 904">
                      <a:extLst>
                        <a:ext uri="{FF2B5EF4-FFF2-40B4-BE49-F238E27FC236}">
                          <a16:creationId xmlns:a16="http://schemas.microsoft.com/office/drawing/2014/main" id="{48907108-FCC3-993B-BF89-47723A69928F}"/>
                        </a:ext>
                      </a:extLst>
                    </p:cNvPr>
                    <p:cNvSpPr/>
                    <p:nvPr/>
                  </p:nvSpPr>
                  <p:spPr>
                    <a:xfrm>
                      <a:off x="4399721" y="990599"/>
                      <a:ext cx="3392556" cy="4664850"/>
                    </a:xfrm>
                    <a:custGeom>
                      <a:avLst/>
                      <a:gdLst>
                        <a:gd name="connsiteX0" fmla="*/ 1799730 w 3392556"/>
                        <a:gd name="connsiteY0" fmla="*/ 209131 h 4664850"/>
                        <a:gd name="connsiteX1" fmla="*/ 1647436 w 3392556"/>
                        <a:gd name="connsiteY1" fmla="*/ 627380 h 4664850"/>
                        <a:gd name="connsiteX2" fmla="*/ 1593081 w 3392556"/>
                        <a:gd name="connsiteY2" fmla="*/ 652718 h 4664850"/>
                        <a:gd name="connsiteX3" fmla="*/ 1583115 w 3392556"/>
                        <a:gd name="connsiteY3" fmla="*/ 649092 h 4664850"/>
                        <a:gd name="connsiteX4" fmla="*/ 1365557 w 3392556"/>
                        <a:gd name="connsiteY4" fmla="*/ 1246596 h 4664850"/>
                        <a:gd name="connsiteX5" fmla="*/ 967059 w 3392556"/>
                        <a:gd name="connsiteY5" fmla="*/ 1101617 h 4664850"/>
                        <a:gd name="connsiteX6" fmla="*/ 1184617 w 3392556"/>
                        <a:gd name="connsiteY6" fmla="*/ 504113 h 4664850"/>
                        <a:gd name="connsiteX7" fmla="*/ 1174652 w 3392556"/>
                        <a:gd name="connsiteY7" fmla="*/ 500488 h 4664850"/>
                        <a:gd name="connsiteX8" fmla="*/ 1149303 w 3392556"/>
                        <a:gd name="connsiteY8" fmla="*/ 446154 h 4664850"/>
                        <a:gd name="connsiteX9" fmla="*/ 1301597 w 3392556"/>
                        <a:gd name="connsiteY9" fmla="*/ 27905 h 4664850"/>
                        <a:gd name="connsiteX10" fmla="*/ 1355952 w 3392556"/>
                        <a:gd name="connsiteY10" fmla="*/ 2566 h 4664850"/>
                        <a:gd name="connsiteX11" fmla="*/ 1774371 w 3392556"/>
                        <a:gd name="connsiteY11" fmla="*/ 154797 h 4664850"/>
                        <a:gd name="connsiteX12" fmla="*/ 1799730 w 3392556"/>
                        <a:gd name="connsiteY12" fmla="*/ 209131 h 4664850"/>
                        <a:gd name="connsiteX13" fmla="*/ 516337 w 3392556"/>
                        <a:gd name="connsiteY13" fmla="*/ 1874675 h 4664850"/>
                        <a:gd name="connsiteX14" fmla="*/ 393706 w 3392556"/>
                        <a:gd name="connsiteY14" fmla="*/ 2211460 h 4664850"/>
                        <a:gd name="connsiteX15" fmla="*/ 413288 w 3392556"/>
                        <a:gd name="connsiteY15" fmla="*/ 2253432 h 4664850"/>
                        <a:gd name="connsiteX16" fmla="*/ 413288 w 3392556"/>
                        <a:gd name="connsiteY16" fmla="*/ 2253432 h 4664850"/>
                        <a:gd name="connsiteX17" fmla="*/ 434629 w 3392556"/>
                        <a:gd name="connsiteY17" fmla="*/ 2280456 h 4664850"/>
                        <a:gd name="connsiteX18" fmla="*/ 443556 w 3392556"/>
                        <a:gd name="connsiteY18" fmla="*/ 2357944 h 4664850"/>
                        <a:gd name="connsiteX19" fmla="*/ 464897 w 3392556"/>
                        <a:gd name="connsiteY19" fmla="*/ 2384968 h 4664850"/>
                        <a:gd name="connsiteX20" fmla="*/ 526472 w 3392556"/>
                        <a:gd name="connsiteY20" fmla="*/ 2407370 h 4664850"/>
                        <a:gd name="connsiteX21" fmla="*/ 560196 w 3392556"/>
                        <a:gd name="connsiteY21" fmla="*/ 2400372 h 4664850"/>
                        <a:gd name="connsiteX22" fmla="*/ 616862 w 3392556"/>
                        <a:gd name="connsiteY22" fmla="*/ 2346738 h 4664850"/>
                        <a:gd name="connsiteX23" fmla="*/ 650586 w 3392556"/>
                        <a:gd name="connsiteY23" fmla="*/ 2339741 h 4664850"/>
                        <a:gd name="connsiteX24" fmla="*/ 650586 w 3392556"/>
                        <a:gd name="connsiteY24" fmla="*/ 2339741 h 4664850"/>
                        <a:gd name="connsiteX25" fmla="*/ 692580 w 3392556"/>
                        <a:gd name="connsiteY25" fmla="*/ 2320170 h 4664850"/>
                        <a:gd name="connsiteX26" fmla="*/ 815210 w 3392556"/>
                        <a:gd name="connsiteY26" fmla="*/ 1983385 h 4664850"/>
                        <a:gd name="connsiteX27" fmla="*/ 795629 w 3392556"/>
                        <a:gd name="connsiteY27" fmla="*/ 1941412 h 4664850"/>
                        <a:gd name="connsiteX28" fmla="*/ 558330 w 3392556"/>
                        <a:gd name="connsiteY28" fmla="*/ 1855083 h 4664850"/>
                        <a:gd name="connsiteX29" fmla="*/ 516337 w 3392556"/>
                        <a:gd name="connsiteY29" fmla="*/ 1874675 h 4664850"/>
                        <a:gd name="connsiteX30" fmla="*/ 914835 w 3392556"/>
                        <a:gd name="connsiteY30" fmla="*/ 2019653 h 4664850"/>
                        <a:gd name="connsiteX31" fmla="*/ 792204 w 3392556"/>
                        <a:gd name="connsiteY31" fmla="*/ 2356439 h 4664850"/>
                        <a:gd name="connsiteX32" fmla="*/ 811786 w 3392556"/>
                        <a:gd name="connsiteY32" fmla="*/ 2398411 h 4664850"/>
                        <a:gd name="connsiteX33" fmla="*/ 811786 w 3392556"/>
                        <a:gd name="connsiteY33" fmla="*/ 2398411 h 4664850"/>
                        <a:gd name="connsiteX34" fmla="*/ 833127 w 3392556"/>
                        <a:gd name="connsiteY34" fmla="*/ 2425435 h 4664850"/>
                        <a:gd name="connsiteX35" fmla="*/ 842054 w 3392556"/>
                        <a:gd name="connsiteY35" fmla="*/ 2502923 h 4664850"/>
                        <a:gd name="connsiteX36" fmla="*/ 863395 w 3392556"/>
                        <a:gd name="connsiteY36" fmla="*/ 2529947 h 4664850"/>
                        <a:gd name="connsiteX37" fmla="*/ 924970 w 3392556"/>
                        <a:gd name="connsiteY37" fmla="*/ 2552348 h 4664850"/>
                        <a:gd name="connsiteX38" fmla="*/ 958694 w 3392556"/>
                        <a:gd name="connsiteY38" fmla="*/ 2545351 h 4664850"/>
                        <a:gd name="connsiteX39" fmla="*/ 1015360 w 3392556"/>
                        <a:gd name="connsiteY39" fmla="*/ 2491717 h 4664850"/>
                        <a:gd name="connsiteX40" fmla="*/ 1049085 w 3392556"/>
                        <a:gd name="connsiteY40" fmla="*/ 2484720 h 4664850"/>
                        <a:gd name="connsiteX41" fmla="*/ 1049085 w 3392556"/>
                        <a:gd name="connsiteY41" fmla="*/ 2484720 h 4664850"/>
                        <a:gd name="connsiteX42" fmla="*/ 1091078 w 3392556"/>
                        <a:gd name="connsiteY42" fmla="*/ 2465149 h 4664850"/>
                        <a:gd name="connsiteX43" fmla="*/ 1213708 w 3392556"/>
                        <a:gd name="connsiteY43" fmla="*/ 2128364 h 4664850"/>
                        <a:gd name="connsiteX44" fmla="*/ 1194127 w 3392556"/>
                        <a:gd name="connsiteY44" fmla="*/ 2086391 h 4664850"/>
                        <a:gd name="connsiteX45" fmla="*/ 956828 w 3392556"/>
                        <a:gd name="connsiteY45" fmla="*/ 2000061 h 4664850"/>
                        <a:gd name="connsiteX46" fmla="*/ 914835 w 3392556"/>
                        <a:gd name="connsiteY46" fmla="*/ 2019653 h 4664850"/>
                        <a:gd name="connsiteX47" fmla="*/ 1378226 w 3392556"/>
                        <a:gd name="connsiteY47" fmla="*/ 3075237 h 4664850"/>
                        <a:gd name="connsiteX48" fmla="*/ 106017 w 3392556"/>
                        <a:gd name="connsiteY48" fmla="*/ 3075237 h 4664850"/>
                        <a:gd name="connsiteX49" fmla="*/ 0 w 3392556"/>
                        <a:gd name="connsiteY49" fmla="*/ 3181212 h 4664850"/>
                        <a:gd name="connsiteX50" fmla="*/ 106017 w 3392556"/>
                        <a:gd name="connsiteY50" fmla="*/ 3287187 h 4664850"/>
                        <a:gd name="connsiteX51" fmla="*/ 318052 w 3392556"/>
                        <a:gd name="connsiteY51" fmla="*/ 3287187 h 4664850"/>
                        <a:gd name="connsiteX52" fmla="*/ 424070 w 3392556"/>
                        <a:gd name="connsiteY52" fmla="*/ 3393162 h 4664850"/>
                        <a:gd name="connsiteX53" fmla="*/ 424070 w 3392556"/>
                        <a:gd name="connsiteY53" fmla="*/ 4029001 h 4664850"/>
                        <a:gd name="connsiteX54" fmla="*/ 1060174 w 3392556"/>
                        <a:gd name="connsiteY54" fmla="*/ 4029001 h 4664850"/>
                        <a:gd name="connsiteX55" fmla="*/ 1060174 w 3392556"/>
                        <a:gd name="connsiteY55" fmla="*/ 3393162 h 4664850"/>
                        <a:gd name="connsiteX56" fmla="*/ 1166191 w 3392556"/>
                        <a:gd name="connsiteY56" fmla="*/ 3287187 h 4664850"/>
                        <a:gd name="connsiteX57" fmla="*/ 1378226 w 3392556"/>
                        <a:gd name="connsiteY57" fmla="*/ 3287187 h 4664850"/>
                        <a:gd name="connsiteX58" fmla="*/ 1484244 w 3392556"/>
                        <a:gd name="connsiteY58" fmla="*/ 3181212 h 4664850"/>
                        <a:gd name="connsiteX59" fmla="*/ 1378226 w 3392556"/>
                        <a:gd name="connsiteY59" fmla="*/ 3075237 h 4664850"/>
                        <a:gd name="connsiteX60" fmla="*/ 3392557 w 3392556"/>
                        <a:gd name="connsiteY60" fmla="*/ 4346926 h 4664850"/>
                        <a:gd name="connsiteX61" fmla="*/ 0 w 3392556"/>
                        <a:gd name="connsiteY61" fmla="*/ 4346926 h 4664850"/>
                        <a:gd name="connsiteX62" fmla="*/ 0 w 3392556"/>
                        <a:gd name="connsiteY62" fmla="*/ 4558834 h 4664850"/>
                        <a:gd name="connsiteX63" fmla="*/ 106017 w 3392556"/>
                        <a:gd name="connsiteY63" fmla="*/ 4664851 h 4664850"/>
                        <a:gd name="connsiteX64" fmla="*/ 3286539 w 3392556"/>
                        <a:gd name="connsiteY64" fmla="*/ 4664851 h 4664850"/>
                        <a:gd name="connsiteX65" fmla="*/ 3392557 w 3392556"/>
                        <a:gd name="connsiteY65" fmla="*/ 4558834 h 4664850"/>
                        <a:gd name="connsiteX66" fmla="*/ 3392557 w 3392556"/>
                        <a:gd name="connsiteY66" fmla="*/ 4346926 h 4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392556" h="4664850">
                          <a:moveTo>
                            <a:pt x="1799730" y="209131"/>
                          </a:moveTo>
                          <a:lnTo>
                            <a:pt x="1647436" y="627380"/>
                          </a:lnTo>
                          <a:cubicBezTo>
                            <a:pt x="1639421" y="649379"/>
                            <a:pt x="1615090" y="660722"/>
                            <a:pt x="1593081" y="652718"/>
                          </a:cubicBezTo>
                          <a:lnTo>
                            <a:pt x="1583115" y="649092"/>
                          </a:lnTo>
                          <a:lnTo>
                            <a:pt x="1365557" y="1246596"/>
                          </a:lnTo>
                          <a:lnTo>
                            <a:pt x="967059" y="1101617"/>
                          </a:lnTo>
                          <a:lnTo>
                            <a:pt x="1184617" y="504113"/>
                          </a:lnTo>
                          <a:lnTo>
                            <a:pt x="1174652" y="500488"/>
                          </a:lnTo>
                          <a:cubicBezTo>
                            <a:pt x="1152642" y="492483"/>
                            <a:pt x="1141298" y="468152"/>
                            <a:pt x="1149303" y="446154"/>
                          </a:cubicBezTo>
                          <a:lnTo>
                            <a:pt x="1301597" y="27905"/>
                          </a:lnTo>
                          <a:cubicBezTo>
                            <a:pt x="1309612" y="5906"/>
                            <a:pt x="1333943" y="-5438"/>
                            <a:pt x="1355952" y="2566"/>
                          </a:cubicBezTo>
                          <a:lnTo>
                            <a:pt x="1774371" y="154797"/>
                          </a:lnTo>
                          <a:cubicBezTo>
                            <a:pt x="1796390" y="162801"/>
                            <a:pt x="1807734" y="187132"/>
                            <a:pt x="1799730" y="209131"/>
                          </a:cubicBezTo>
                          <a:close/>
                          <a:moveTo>
                            <a:pt x="516337" y="1874675"/>
                          </a:moveTo>
                          <a:lnTo>
                            <a:pt x="393706" y="2211460"/>
                          </a:lnTo>
                          <a:cubicBezTo>
                            <a:pt x="387515" y="2228455"/>
                            <a:pt x="396282" y="2247252"/>
                            <a:pt x="413288" y="2253432"/>
                          </a:cubicBezTo>
                          <a:lnTo>
                            <a:pt x="413288" y="2253432"/>
                          </a:lnTo>
                          <a:cubicBezTo>
                            <a:pt x="424950" y="2257673"/>
                            <a:pt x="433208" y="2268137"/>
                            <a:pt x="434629" y="2280456"/>
                          </a:cubicBezTo>
                          <a:lnTo>
                            <a:pt x="443556" y="2357944"/>
                          </a:lnTo>
                          <a:cubicBezTo>
                            <a:pt x="444976" y="2370263"/>
                            <a:pt x="453235" y="2380727"/>
                            <a:pt x="464897" y="2384968"/>
                          </a:cubicBezTo>
                          <a:lnTo>
                            <a:pt x="526472" y="2407370"/>
                          </a:lnTo>
                          <a:cubicBezTo>
                            <a:pt x="538134" y="2411610"/>
                            <a:pt x="551195" y="2408907"/>
                            <a:pt x="560196" y="2400372"/>
                          </a:cubicBezTo>
                          <a:lnTo>
                            <a:pt x="616862" y="2346738"/>
                          </a:lnTo>
                          <a:cubicBezTo>
                            <a:pt x="625874" y="2338214"/>
                            <a:pt x="638935" y="2335500"/>
                            <a:pt x="650586" y="2339741"/>
                          </a:cubicBezTo>
                          <a:lnTo>
                            <a:pt x="650586" y="2339741"/>
                          </a:lnTo>
                          <a:cubicBezTo>
                            <a:pt x="667592" y="2345922"/>
                            <a:pt x="686388" y="2337165"/>
                            <a:pt x="692580" y="2320170"/>
                          </a:cubicBezTo>
                          <a:lnTo>
                            <a:pt x="815210" y="1983385"/>
                          </a:lnTo>
                          <a:cubicBezTo>
                            <a:pt x="821402" y="1966390"/>
                            <a:pt x="812634" y="1947593"/>
                            <a:pt x="795629" y="1941412"/>
                          </a:cubicBezTo>
                          <a:lnTo>
                            <a:pt x="558330" y="1855083"/>
                          </a:lnTo>
                          <a:cubicBezTo>
                            <a:pt x="541325" y="1848923"/>
                            <a:pt x="522528" y="1857680"/>
                            <a:pt x="516337" y="1874675"/>
                          </a:cubicBezTo>
                          <a:close/>
                          <a:moveTo>
                            <a:pt x="914835" y="2019653"/>
                          </a:moveTo>
                          <a:lnTo>
                            <a:pt x="792204" y="2356439"/>
                          </a:lnTo>
                          <a:cubicBezTo>
                            <a:pt x="786013" y="2373433"/>
                            <a:pt x="794781" y="2392230"/>
                            <a:pt x="811786" y="2398411"/>
                          </a:cubicBezTo>
                          <a:lnTo>
                            <a:pt x="811786" y="2398411"/>
                          </a:lnTo>
                          <a:cubicBezTo>
                            <a:pt x="823448" y="2402652"/>
                            <a:pt x="831706" y="2413116"/>
                            <a:pt x="833127" y="2425435"/>
                          </a:cubicBezTo>
                          <a:lnTo>
                            <a:pt x="842054" y="2502923"/>
                          </a:lnTo>
                          <a:cubicBezTo>
                            <a:pt x="843474" y="2515242"/>
                            <a:pt x="851733" y="2525706"/>
                            <a:pt x="863395" y="2529947"/>
                          </a:cubicBezTo>
                          <a:lnTo>
                            <a:pt x="924970" y="2552348"/>
                          </a:lnTo>
                          <a:cubicBezTo>
                            <a:pt x="936632" y="2556589"/>
                            <a:pt x="949693" y="2553886"/>
                            <a:pt x="958694" y="2545351"/>
                          </a:cubicBezTo>
                          <a:lnTo>
                            <a:pt x="1015360" y="2491717"/>
                          </a:lnTo>
                          <a:cubicBezTo>
                            <a:pt x="1024372" y="2483193"/>
                            <a:pt x="1037433" y="2480479"/>
                            <a:pt x="1049085" y="2484720"/>
                          </a:cubicBezTo>
                          <a:lnTo>
                            <a:pt x="1049085" y="2484720"/>
                          </a:lnTo>
                          <a:cubicBezTo>
                            <a:pt x="1066090" y="2490901"/>
                            <a:pt x="1084887" y="2482144"/>
                            <a:pt x="1091078" y="2465149"/>
                          </a:cubicBezTo>
                          <a:lnTo>
                            <a:pt x="1213708" y="2128364"/>
                          </a:lnTo>
                          <a:cubicBezTo>
                            <a:pt x="1219900" y="2111369"/>
                            <a:pt x="1211132" y="2092572"/>
                            <a:pt x="1194127" y="2086391"/>
                          </a:cubicBezTo>
                          <a:lnTo>
                            <a:pt x="956828" y="2000061"/>
                          </a:lnTo>
                          <a:cubicBezTo>
                            <a:pt x="939823" y="1993902"/>
                            <a:pt x="921026" y="2002659"/>
                            <a:pt x="914835" y="2019653"/>
                          </a:cubicBezTo>
                          <a:close/>
                          <a:moveTo>
                            <a:pt x="1378226" y="3075237"/>
                          </a:moveTo>
                          <a:lnTo>
                            <a:pt x="106017" y="3075237"/>
                          </a:lnTo>
                          <a:cubicBezTo>
                            <a:pt x="47464" y="3075237"/>
                            <a:pt x="0" y="3122680"/>
                            <a:pt x="0" y="3181212"/>
                          </a:cubicBezTo>
                          <a:cubicBezTo>
                            <a:pt x="0" y="3239744"/>
                            <a:pt x="47464" y="3287187"/>
                            <a:pt x="106017" y="3287187"/>
                          </a:cubicBezTo>
                          <a:lnTo>
                            <a:pt x="318052" y="3287187"/>
                          </a:lnTo>
                          <a:cubicBezTo>
                            <a:pt x="318052" y="3345719"/>
                            <a:pt x="365516" y="3393162"/>
                            <a:pt x="424070" y="3393162"/>
                          </a:cubicBezTo>
                          <a:lnTo>
                            <a:pt x="424070" y="4029001"/>
                          </a:lnTo>
                          <a:lnTo>
                            <a:pt x="1060174" y="4029001"/>
                          </a:lnTo>
                          <a:lnTo>
                            <a:pt x="1060174" y="3393162"/>
                          </a:lnTo>
                          <a:cubicBezTo>
                            <a:pt x="1118727" y="3393162"/>
                            <a:pt x="1166191" y="3345719"/>
                            <a:pt x="1166191" y="3287187"/>
                          </a:cubicBezTo>
                          <a:lnTo>
                            <a:pt x="1378226" y="3287187"/>
                          </a:lnTo>
                          <a:cubicBezTo>
                            <a:pt x="1436780" y="3287187"/>
                            <a:pt x="1484244" y="3239744"/>
                            <a:pt x="1484244" y="3181212"/>
                          </a:cubicBezTo>
                          <a:cubicBezTo>
                            <a:pt x="1484244" y="3122690"/>
                            <a:pt x="1436780" y="3075237"/>
                            <a:pt x="1378226" y="3075237"/>
                          </a:cubicBezTo>
                          <a:close/>
                          <a:moveTo>
                            <a:pt x="3392557" y="4346926"/>
                          </a:moveTo>
                          <a:lnTo>
                            <a:pt x="0" y="4346926"/>
                          </a:lnTo>
                          <a:lnTo>
                            <a:pt x="0" y="4558834"/>
                          </a:lnTo>
                          <a:cubicBezTo>
                            <a:pt x="0" y="4617387"/>
                            <a:pt x="47464" y="4664851"/>
                            <a:pt x="106017" y="4664851"/>
                          </a:cubicBezTo>
                          <a:lnTo>
                            <a:pt x="3286539" y="4664851"/>
                          </a:lnTo>
                          <a:cubicBezTo>
                            <a:pt x="3345093" y="4664851"/>
                            <a:pt x="3392557" y="4617387"/>
                            <a:pt x="3392557" y="4558834"/>
                          </a:cubicBezTo>
                          <a:lnTo>
                            <a:pt x="3392557" y="4346926"/>
                          </a:lnTo>
                          <a:close/>
                        </a:path>
                      </a:pathLst>
                    </a:custGeom>
                    <a:solidFill>
                      <a:schemeClr val="bg1">
                        <a:lumMod val="50000"/>
                      </a:schemeClr>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6" name="Forma libre: forma 905">
                      <a:extLst>
                        <a:ext uri="{FF2B5EF4-FFF2-40B4-BE49-F238E27FC236}">
                          <a16:creationId xmlns:a16="http://schemas.microsoft.com/office/drawing/2014/main" id="{0DCBF008-CBFA-E763-816E-CC38AFE76C51}"/>
                        </a:ext>
                      </a:extLst>
                    </p:cNvPr>
                    <p:cNvSpPr/>
                    <p:nvPr/>
                  </p:nvSpPr>
                  <p:spPr>
                    <a:xfrm>
                      <a:off x="4717773" y="2734914"/>
                      <a:ext cx="943120" cy="1648846"/>
                    </a:xfrm>
                    <a:custGeom>
                      <a:avLst/>
                      <a:gdLst>
                        <a:gd name="connsiteX0" fmla="*/ 834336 w 943120"/>
                        <a:gd name="connsiteY0" fmla="*/ 552467 h 1648846"/>
                        <a:gd name="connsiteX1" fmla="*/ 136974 w 943120"/>
                        <a:gd name="connsiteY1" fmla="*/ 298746 h 1648846"/>
                        <a:gd name="connsiteX2" fmla="*/ 245759 w 943120"/>
                        <a:gd name="connsiteY2" fmla="*/ 0 h 1648846"/>
                        <a:gd name="connsiteX3" fmla="*/ 943120 w 943120"/>
                        <a:gd name="connsiteY3" fmla="*/ 253721 h 1648846"/>
                        <a:gd name="connsiteX4" fmla="*/ 834336 w 943120"/>
                        <a:gd name="connsiteY4" fmla="*/ 552467 h 1648846"/>
                        <a:gd name="connsiteX5" fmla="*/ 848139 w 943120"/>
                        <a:gd name="connsiteY5" fmla="*/ 1542871 h 1648846"/>
                        <a:gd name="connsiteX6" fmla="*/ 848139 w 943120"/>
                        <a:gd name="connsiteY6" fmla="*/ 1542871 h 1648846"/>
                        <a:gd name="connsiteX7" fmla="*/ 0 w 943120"/>
                        <a:gd name="connsiteY7" fmla="*/ 1542871 h 1648846"/>
                        <a:gd name="connsiteX8" fmla="*/ 0 w 943120"/>
                        <a:gd name="connsiteY8" fmla="*/ 1542871 h 1648846"/>
                        <a:gd name="connsiteX9" fmla="*/ 105975 w 943120"/>
                        <a:gd name="connsiteY9" fmla="*/ 1648846 h 1648846"/>
                        <a:gd name="connsiteX10" fmla="*/ 742164 w 943120"/>
                        <a:gd name="connsiteY10" fmla="*/ 1648846 h 1648846"/>
                        <a:gd name="connsiteX11" fmla="*/ 848139 w 943120"/>
                        <a:gd name="connsiteY11" fmla="*/ 1542871 h 164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3120" h="1648846">
                          <a:moveTo>
                            <a:pt x="834336" y="552467"/>
                          </a:moveTo>
                          <a:lnTo>
                            <a:pt x="136974" y="298746"/>
                          </a:lnTo>
                          <a:lnTo>
                            <a:pt x="245759" y="0"/>
                          </a:lnTo>
                          <a:lnTo>
                            <a:pt x="943120" y="253721"/>
                          </a:lnTo>
                          <a:lnTo>
                            <a:pt x="834336" y="552467"/>
                          </a:lnTo>
                          <a:close/>
                          <a:moveTo>
                            <a:pt x="848139" y="1542871"/>
                          </a:moveTo>
                          <a:lnTo>
                            <a:pt x="848139" y="1542871"/>
                          </a:lnTo>
                          <a:lnTo>
                            <a:pt x="0" y="1542871"/>
                          </a:lnTo>
                          <a:lnTo>
                            <a:pt x="0" y="1542871"/>
                          </a:lnTo>
                          <a:cubicBezTo>
                            <a:pt x="0" y="1601403"/>
                            <a:pt x="47443" y="1648846"/>
                            <a:pt x="105975" y="1648846"/>
                          </a:cubicBezTo>
                          <a:lnTo>
                            <a:pt x="742164" y="1648846"/>
                          </a:lnTo>
                          <a:cubicBezTo>
                            <a:pt x="800696" y="1648846"/>
                            <a:pt x="848139" y="1601403"/>
                            <a:pt x="848139" y="1542871"/>
                          </a:cubicBezTo>
                          <a:close/>
                        </a:path>
                      </a:pathLst>
                    </a:custGeom>
                    <a:solidFill>
                      <a:srgbClr val="323436"/>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7" name="Forma libre: forma 906">
                      <a:extLst>
                        <a:ext uri="{FF2B5EF4-FFF2-40B4-BE49-F238E27FC236}">
                          <a16:creationId xmlns:a16="http://schemas.microsoft.com/office/drawing/2014/main" id="{16A77A17-F780-0B82-6B42-CB9790F8E469}"/>
                        </a:ext>
                      </a:extLst>
                    </p:cNvPr>
                    <p:cNvSpPr/>
                    <p:nvPr/>
                  </p:nvSpPr>
                  <p:spPr>
                    <a:xfrm>
                      <a:off x="4399721" y="1862064"/>
                      <a:ext cx="3392556" cy="3581435"/>
                    </a:xfrm>
                    <a:custGeom>
                      <a:avLst/>
                      <a:gdLst>
                        <a:gd name="connsiteX0" fmla="*/ 3392557 w 3392556"/>
                        <a:gd name="connsiteY0" fmla="*/ 3126505 h 3581435"/>
                        <a:gd name="connsiteX1" fmla="*/ 3392557 w 3392556"/>
                        <a:gd name="connsiteY1" fmla="*/ 3581436 h 3581435"/>
                        <a:gd name="connsiteX2" fmla="*/ 0 w 3392556"/>
                        <a:gd name="connsiteY2" fmla="*/ 3581436 h 3581435"/>
                        <a:gd name="connsiteX3" fmla="*/ 0 w 3392556"/>
                        <a:gd name="connsiteY3" fmla="*/ 3126505 h 3581435"/>
                        <a:gd name="connsiteX4" fmla="*/ 53009 w 3392556"/>
                        <a:gd name="connsiteY4" fmla="*/ 2998584 h 3581435"/>
                        <a:gd name="connsiteX5" fmla="*/ 180982 w 3392556"/>
                        <a:gd name="connsiteY5" fmla="*/ 2945597 h 3581435"/>
                        <a:gd name="connsiteX6" fmla="*/ 1908313 w 3392556"/>
                        <a:gd name="connsiteY6" fmla="*/ 2945597 h 3581435"/>
                        <a:gd name="connsiteX7" fmla="*/ 1908313 w 3392556"/>
                        <a:gd name="connsiteY7" fmla="*/ 1885857 h 3581435"/>
                        <a:gd name="connsiteX8" fmla="*/ 2120348 w 3392556"/>
                        <a:gd name="connsiteY8" fmla="*/ 1673907 h 3581435"/>
                        <a:gd name="connsiteX9" fmla="*/ 2226365 w 3392556"/>
                        <a:gd name="connsiteY9" fmla="*/ 1673907 h 3581435"/>
                        <a:gd name="connsiteX10" fmla="*/ 2226365 w 3392556"/>
                        <a:gd name="connsiteY10" fmla="*/ 1179357 h 3581435"/>
                        <a:gd name="connsiteX11" fmla="*/ 1449078 w 3392556"/>
                        <a:gd name="connsiteY11" fmla="*/ 920368 h 3581435"/>
                        <a:gd name="connsiteX12" fmla="*/ 1324539 w 3392556"/>
                        <a:gd name="connsiteY12" fmla="*/ 1262401 h 3581435"/>
                        <a:gd name="connsiteX13" fmla="*/ 1188656 w 3392556"/>
                        <a:gd name="connsiteY13" fmla="*/ 1325736 h 3581435"/>
                        <a:gd name="connsiteX14" fmla="*/ 491285 w 3392556"/>
                        <a:gd name="connsiteY14" fmla="*/ 1072015 h 3581435"/>
                        <a:gd name="connsiteX15" fmla="*/ 427918 w 3392556"/>
                        <a:gd name="connsiteY15" fmla="*/ 936185 h 3581435"/>
                        <a:gd name="connsiteX16" fmla="*/ 718003 w 3392556"/>
                        <a:gd name="connsiteY16" fmla="*/ 139518 h 3581435"/>
                        <a:gd name="connsiteX17" fmla="*/ 989768 w 3392556"/>
                        <a:gd name="connsiteY17" fmla="*/ 12837 h 3581435"/>
                        <a:gd name="connsiteX18" fmla="*/ 1487890 w 3392556"/>
                        <a:gd name="connsiteY18" fmla="*/ 194064 h 3581435"/>
                        <a:gd name="connsiteX19" fmla="*/ 1621313 w 3392556"/>
                        <a:gd name="connsiteY19" fmla="*/ 443438 h 3581435"/>
                        <a:gd name="connsiteX20" fmla="*/ 2729789 w 3392556"/>
                        <a:gd name="connsiteY20" fmla="*/ 654487 h 3581435"/>
                        <a:gd name="connsiteX21" fmla="*/ 3074515 w 3392556"/>
                        <a:gd name="connsiteY21" fmla="*/ 1070891 h 3581435"/>
                        <a:gd name="connsiteX22" fmla="*/ 3074515 w 3392556"/>
                        <a:gd name="connsiteY22" fmla="*/ 1144011 h 3581435"/>
                        <a:gd name="connsiteX23" fmla="*/ 3074515 w 3392556"/>
                        <a:gd name="connsiteY23" fmla="*/ 1461936 h 3581435"/>
                        <a:gd name="connsiteX24" fmla="*/ 3074515 w 3392556"/>
                        <a:gd name="connsiteY24" fmla="*/ 1702468 h 3581435"/>
                        <a:gd name="connsiteX25" fmla="*/ 3180533 w 3392556"/>
                        <a:gd name="connsiteY25" fmla="*/ 1885826 h 3581435"/>
                        <a:gd name="connsiteX26" fmla="*/ 3180533 w 3392556"/>
                        <a:gd name="connsiteY26" fmla="*/ 2945565 h 3581435"/>
                        <a:gd name="connsiteX27" fmla="*/ 3211585 w 3392556"/>
                        <a:gd name="connsiteY27" fmla="*/ 2945565 h 3581435"/>
                        <a:gd name="connsiteX28" fmla="*/ 3339559 w 3392556"/>
                        <a:gd name="connsiteY28" fmla="*/ 2998552 h 3581435"/>
                        <a:gd name="connsiteX29" fmla="*/ 3392557 w 3392556"/>
                        <a:gd name="connsiteY29" fmla="*/ 3126505 h 358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92556" h="3581435">
                          <a:moveTo>
                            <a:pt x="3392557" y="3126505"/>
                          </a:moveTo>
                          <a:lnTo>
                            <a:pt x="3392557" y="3581436"/>
                          </a:lnTo>
                          <a:lnTo>
                            <a:pt x="0" y="3581436"/>
                          </a:lnTo>
                          <a:lnTo>
                            <a:pt x="0" y="3126505"/>
                          </a:lnTo>
                          <a:cubicBezTo>
                            <a:pt x="0" y="3078521"/>
                            <a:pt x="19073" y="3032510"/>
                            <a:pt x="53009" y="2998584"/>
                          </a:cubicBezTo>
                          <a:cubicBezTo>
                            <a:pt x="86945" y="2964658"/>
                            <a:pt x="132988" y="2945597"/>
                            <a:pt x="180982" y="2945597"/>
                          </a:cubicBezTo>
                          <a:lnTo>
                            <a:pt x="1908313" y="2945597"/>
                          </a:lnTo>
                          <a:lnTo>
                            <a:pt x="1908313" y="1885857"/>
                          </a:lnTo>
                          <a:cubicBezTo>
                            <a:pt x="1908313" y="1768804"/>
                            <a:pt x="2003241" y="1673907"/>
                            <a:pt x="2120348" y="1673907"/>
                          </a:cubicBezTo>
                          <a:lnTo>
                            <a:pt x="2226365" y="1673907"/>
                          </a:lnTo>
                          <a:lnTo>
                            <a:pt x="2226365" y="1179357"/>
                          </a:lnTo>
                          <a:lnTo>
                            <a:pt x="1449078" y="920368"/>
                          </a:lnTo>
                          <a:lnTo>
                            <a:pt x="1324539" y="1262401"/>
                          </a:lnTo>
                          <a:cubicBezTo>
                            <a:pt x="1304512" y="1317403"/>
                            <a:pt x="1243680" y="1345752"/>
                            <a:pt x="1188656" y="1325736"/>
                          </a:cubicBezTo>
                          <a:lnTo>
                            <a:pt x="491285" y="1072015"/>
                          </a:lnTo>
                          <a:cubicBezTo>
                            <a:pt x="436262" y="1051999"/>
                            <a:pt x="407891" y="991187"/>
                            <a:pt x="427918" y="936185"/>
                          </a:cubicBezTo>
                          <a:lnTo>
                            <a:pt x="718003" y="139518"/>
                          </a:lnTo>
                          <a:cubicBezTo>
                            <a:pt x="758056" y="29525"/>
                            <a:pt x="879732" y="-27195"/>
                            <a:pt x="989768" y="12837"/>
                          </a:cubicBezTo>
                          <a:lnTo>
                            <a:pt x="1487890" y="194064"/>
                          </a:lnTo>
                          <a:cubicBezTo>
                            <a:pt x="1590547" y="231414"/>
                            <a:pt x="1646736" y="339763"/>
                            <a:pt x="1621313" y="443438"/>
                          </a:cubicBezTo>
                          <a:lnTo>
                            <a:pt x="2729789" y="654487"/>
                          </a:lnTo>
                          <a:cubicBezTo>
                            <a:pt x="2929801" y="692568"/>
                            <a:pt x="3074515" y="867370"/>
                            <a:pt x="3074515" y="1070891"/>
                          </a:cubicBezTo>
                          <a:lnTo>
                            <a:pt x="3074515" y="1144011"/>
                          </a:lnTo>
                          <a:lnTo>
                            <a:pt x="3074515" y="1461936"/>
                          </a:lnTo>
                          <a:lnTo>
                            <a:pt x="3074515" y="1702468"/>
                          </a:lnTo>
                          <a:cubicBezTo>
                            <a:pt x="3137829" y="1739129"/>
                            <a:pt x="3180533" y="1807426"/>
                            <a:pt x="3180533" y="1885826"/>
                          </a:cubicBezTo>
                          <a:lnTo>
                            <a:pt x="3180533" y="2945565"/>
                          </a:lnTo>
                          <a:lnTo>
                            <a:pt x="3211585" y="2945565"/>
                          </a:lnTo>
                          <a:cubicBezTo>
                            <a:pt x="3259590" y="2945565"/>
                            <a:pt x="3305622" y="2964627"/>
                            <a:pt x="3339559" y="2998552"/>
                          </a:cubicBezTo>
                          <a:cubicBezTo>
                            <a:pt x="3373484" y="3032510"/>
                            <a:pt x="3392557" y="3078521"/>
                            <a:pt x="3392557" y="3126505"/>
                          </a:cubicBezTo>
                          <a:close/>
                        </a:path>
                      </a:pathLst>
                    </a:custGeom>
                    <a:solidFill>
                      <a:schemeClr val="accent4">
                        <a:lumMod val="40000"/>
                        <a:lumOff val="60000"/>
                      </a:schemeClr>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8" name="Forma libre: forma 907">
                      <a:extLst>
                        <a:ext uri="{FF2B5EF4-FFF2-40B4-BE49-F238E27FC236}">
                          <a16:creationId xmlns:a16="http://schemas.microsoft.com/office/drawing/2014/main" id="{F4D8B27E-E054-9F74-0F68-B2A9D4A0875B}"/>
                        </a:ext>
                      </a:extLst>
                    </p:cNvPr>
                    <p:cNvSpPr/>
                    <p:nvPr/>
                  </p:nvSpPr>
                  <p:spPr>
                    <a:xfrm>
                      <a:off x="5008950" y="2200767"/>
                      <a:ext cx="963804" cy="435964"/>
                    </a:xfrm>
                    <a:custGeom>
                      <a:avLst/>
                      <a:gdLst>
                        <a:gd name="connsiteX0" fmla="*/ 927546 w 963804"/>
                        <a:gd name="connsiteY0" fmla="*/ 435965 h 435964"/>
                        <a:gd name="connsiteX1" fmla="*/ 0 w 963804"/>
                        <a:gd name="connsiteY1" fmla="*/ 99582 h 435964"/>
                        <a:gd name="connsiteX2" fmla="*/ 36258 w 963804"/>
                        <a:gd name="connsiteY2" fmla="*/ 0 h 435964"/>
                        <a:gd name="connsiteX3" fmla="*/ 963804 w 963804"/>
                        <a:gd name="connsiteY3" fmla="*/ 336383 h 435964"/>
                        <a:gd name="connsiteX4" fmla="*/ 927546 w 963804"/>
                        <a:gd name="connsiteY4" fmla="*/ 435965 h 435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804" h="435964">
                          <a:moveTo>
                            <a:pt x="927546" y="435965"/>
                          </a:moveTo>
                          <a:lnTo>
                            <a:pt x="0" y="99582"/>
                          </a:lnTo>
                          <a:lnTo>
                            <a:pt x="36258" y="0"/>
                          </a:lnTo>
                          <a:lnTo>
                            <a:pt x="963804" y="336383"/>
                          </a:lnTo>
                          <a:lnTo>
                            <a:pt x="927546" y="435965"/>
                          </a:lnTo>
                          <a:close/>
                        </a:path>
                      </a:pathLst>
                    </a:custGeom>
                    <a:solidFill>
                      <a:srgbClr val="4A4C4E"/>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9" name="Forma libre: forma 908">
                      <a:extLst>
                        <a:ext uri="{FF2B5EF4-FFF2-40B4-BE49-F238E27FC236}">
                          <a16:creationId xmlns:a16="http://schemas.microsoft.com/office/drawing/2014/main" id="{20201308-6850-DF11-7D8E-6247F9F4AB41}"/>
                        </a:ext>
                      </a:extLst>
                    </p:cNvPr>
                    <p:cNvSpPr/>
                    <p:nvPr/>
                  </p:nvSpPr>
                  <p:spPr>
                    <a:xfrm>
                      <a:off x="5848799" y="2327670"/>
                      <a:ext cx="1731444" cy="2479990"/>
                    </a:xfrm>
                    <a:custGeom>
                      <a:avLst/>
                      <a:gdLst>
                        <a:gd name="connsiteX0" fmla="*/ 191383 w 1731444"/>
                        <a:gd name="connsiteY0" fmla="*/ 69187 h 2479990"/>
                        <a:gd name="connsiteX1" fmla="*/ 191383 w 1731444"/>
                        <a:gd name="connsiteY1" fmla="*/ 518531 h 2479990"/>
                        <a:gd name="connsiteX2" fmla="*/ 0 w 1731444"/>
                        <a:gd name="connsiteY2" fmla="*/ 454762 h 2479990"/>
                        <a:gd name="connsiteX3" fmla="*/ 165536 w 1731444"/>
                        <a:gd name="connsiteY3" fmla="*/ 127 h 2479990"/>
                        <a:gd name="connsiteX4" fmla="*/ 165578 w 1731444"/>
                        <a:gd name="connsiteY4" fmla="*/ 0 h 2479990"/>
                        <a:gd name="connsiteX5" fmla="*/ 191383 w 1731444"/>
                        <a:gd name="connsiteY5" fmla="*/ 69187 h 2479990"/>
                        <a:gd name="connsiteX6" fmla="*/ 1625427 w 1731444"/>
                        <a:gd name="connsiteY6" fmla="*/ 1102326 h 2479990"/>
                        <a:gd name="connsiteX7" fmla="*/ 777288 w 1731444"/>
                        <a:gd name="connsiteY7" fmla="*/ 1102326 h 2479990"/>
                        <a:gd name="connsiteX8" fmla="*/ 777288 w 1731444"/>
                        <a:gd name="connsiteY8" fmla="*/ 1208301 h 2479990"/>
                        <a:gd name="connsiteX9" fmla="*/ 1625427 w 1731444"/>
                        <a:gd name="connsiteY9" fmla="*/ 1208301 h 2479990"/>
                        <a:gd name="connsiteX10" fmla="*/ 1625427 w 1731444"/>
                        <a:gd name="connsiteY10" fmla="*/ 1102326 h 2479990"/>
                        <a:gd name="connsiteX11" fmla="*/ 1731444 w 1731444"/>
                        <a:gd name="connsiteY11" fmla="*/ 2374016 h 2479990"/>
                        <a:gd name="connsiteX12" fmla="*/ 459236 w 1731444"/>
                        <a:gd name="connsiteY12" fmla="*/ 2374016 h 2479990"/>
                        <a:gd name="connsiteX13" fmla="*/ 459236 w 1731444"/>
                        <a:gd name="connsiteY13" fmla="*/ 2479991 h 2479990"/>
                        <a:gd name="connsiteX14" fmla="*/ 1731444 w 1731444"/>
                        <a:gd name="connsiteY14" fmla="*/ 2479991 h 2479990"/>
                        <a:gd name="connsiteX15" fmla="*/ 1731444 w 1731444"/>
                        <a:gd name="connsiteY15" fmla="*/ 2374016 h 247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31444" h="2479990">
                          <a:moveTo>
                            <a:pt x="191383" y="69187"/>
                          </a:moveTo>
                          <a:lnTo>
                            <a:pt x="191383" y="518531"/>
                          </a:lnTo>
                          <a:lnTo>
                            <a:pt x="0" y="454762"/>
                          </a:lnTo>
                          <a:lnTo>
                            <a:pt x="165536" y="127"/>
                          </a:lnTo>
                          <a:cubicBezTo>
                            <a:pt x="165546" y="85"/>
                            <a:pt x="165557" y="42"/>
                            <a:pt x="165578" y="0"/>
                          </a:cubicBezTo>
                          <a:cubicBezTo>
                            <a:pt x="181724" y="18712"/>
                            <a:pt x="191383" y="42969"/>
                            <a:pt x="191383" y="69187"/>
                          </a:cubicBezTo>
                          <a:close/>
                          <a:moveTo>
                            <a:pt x="1625427" y="1102326"/>
                          </a:moveTo>
                          <a:lnTo>
                            <a:pt x="777288" y="1102326"/>
                          </a:lnTo>
                          <a:lnTo>
                            <a:pt x="777288" y="1208301"/>
                          </a:lnTo>
                          <a:lnTo>
                            <a:pt x="1625427" y="1208301"/>
                          </a:lnTo>
                          <a:lnTo>
                            <a:pt x="1625427" y="1102326"/>
                          </a:lnTo>
                          <a:close/>
                          <a:moveTo>
                            <a:pt x="1731444" y="2374016"/>
                          </a:moveTo>
                          <a:lnTo>
                            <a:pt x="459236" y="2374016"/>
                          </a:lnTo>
                          <a:lnTo>
                            <a:pt x="459236" y="2479991"/>
                          </a:lnTo>
                          <a:lnTo>
                            <a:pt x="1731444" y="2479991"/>
                          </a:lnTo>
                          <a:lnTo>
                            <a:pt x="1731444" y="2374016"/>
                          </a:lnTo>
                          <a:close/>
                        </a:path>
                      </a:pathLst>
                    </a:custGeom>
                    <a:solidFill>
                      <a:schemeClr val="accent4">
                        <a:lumMod val="75000"/>
                        <a:alpha val="34000"/>
                      </a:schemeClr>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0" name="Forma libre: forma 909">
                      <a:extLst>
                        <a:ext uri="{FF2B5EF4-FFF2-40B4-BE49-F238E27FC236}">
                          <a16:creationId xmlns:a16="http://schemas.microsoft.com/office/drawing/2014/main" id="{14DF5964-556C-B063-5931-430314A0A369}"/>
                        </a:ext>
                      </a:extLst>
                    </p:cNvPr>
                    <p:cNvSpPr/>
                    <p:nvPr/>
                  </p:nvSpPr>
                  <p:spPr>
                    <a:xfrm>
                      <a:off x="6467060" y="3641936"/>
                      <a:ext cx="954156" cy="953774"/>
                    </a:xfrm>
                    <a:custGeom>
                      <a:avLst/>
                      <a:gdLst>
                        <a:gd name="connsiteX0" fmla="*/ 954157 w 954156"/>
                        <a:gd name="connsiteY0" fmla="*/ 476887 h 953774"/>
                        <a:gd name="connsiteX1" fmla="*/ 477078 w 954156"/>
                        <a:gd name="connsiteY1" fmla="*/ 953775 h 953774"/>
                        <a:gd name="connsiteX2" fmla="*/ 0 w 954156"/>
                        <a:gd name="connsiteY2" fmla="*/ 476887 h 953774"/>
                        <a:gd name="connsiteX3" fmla="*/ 477078 w 954156"/>
                        <a:gd name="connsiteY3" fmla="*/ 0 h 953774"/>
                        <a:gd name="connsiteX4" fmla="*/ 954157 w 954156"/>
                        <a:gd name="connsiteY4" fmla="*/ 476887 h 953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156" h="953774">
                          <a:moveTo>
                            <a:pt x="954157" y="476887"/>
                          </a:moveTo>
                          <a:cubicBezTo>
                            <a:pt x="954157" y="740266"/>
                            <a:pt x="740563" y="953775"/>
                            <a:pt x="477078" y="953775"/>
                          </a:cubicBezTo>
                          <a:cubicBezTo>
                            <a:pt x="213593" y="953775"/>
                            <a:pt x="0" y="740266"/>
                            <a:pt x="0" y="476887"/>
                          </a:cubicBezTo>
                          <a:cubicBezTo>
                            <a:pt x="0" y="213508"/>
                            <a:pt x="213593" y="0"/>
                            <a:pt x="477078" y="0"/>
                          </a:cubicBezTo>
                          <a:cubicBezTo>
                            <a:pt x="740563" y="0"/>
                            <a:pt x="954157" y="213519"/>
                            <a:pt x="954157" y="476887"/>
                          </a:cubicBezTo>
                          <a:close/>
                        </a:path>
                      </a:pathLst>
                    </a:custGeom>
                    <a:solidFill>
                      <a:srgbClr val="323436"/>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1" name="Forma libre: forma 910">
                      <a:extLst>
                        <a:ext uri="{FF2B5EF4-FFF2-40B4-BE49-F238E27FC236}">
                          <a16:creationId xmlns:a16="http://schemas.microsoft.com/office/drawing/2014/main" id="{1505F14F-F3D0-ED96-B117-598D5B2AC3FB}"/>
                        </a:ext>
                      </a:extLst>
                    </p:cNvPr>
                    <p:cNvSpPr/>
                    <p:nvPr/>
                  </p:nvSpPr>
                  <p:spPr>
                    <a:xfrm>
                      <a:off x="6573078" y="3747910"/>
                      <a:ext cx="742121" cy="741825"/>
                    </a:xfrm>
                    <a:custGeom>
                      <a:avLst/>
                      <a:gdLst>
                        <a:gd name="connsiteX0" fmla="*/ 742122 w 742121"/>
                        <a:gd name="connsiteY0" fmla="*/ 370912 h 741825"/>
                        <a:gd name="connsiteX1" fmla="*/ 371061 w 742121"/>
                        <a:gd name="connsiteY1" fmla="*/ 741825 h 741825"/>
                        <a:gd name="connsiteX2" fmla="*/ 0 w 742121"/>
                        <a:gd name="connsiteY2" fmla="*/ 370912 h 741825"/>
                        <a:gd name="connsiteX3" fmla="*/ 371061 w 742121"/>
                        <a:gd name="connsiteY3" fmla="*/ 0 h 741825"/>
                        <a:gd name="connsiteX4" fmla="*/ 742122 w 742121"/>
                        <a:gd name="connsiteY4" fmla="*/ 370912 h 741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121" h="741825">
                          <a:moveTo>
                            <a:pt x="742122" y="370912"/>
                          </a:moveTo>
                          <a:cubicBezTo>
                            <a:pt x="742122" y="575759"/>
                            <a:pt x="575992" y="741825"/>
                            <a:pt x="371061" y="741825"/>
                          </a:cubicBezTo>
                          <a:cubicBezTo>
                            <a:pt x="166129" y="741825"/>
                            <a:pt x="0" y="575759"/>
                            <a:pt x="0" y="370912"/>
                          </a:cubicBezTo>
                          <a:cubicBezTo>
                            <a:pt x="0" y="166066"/>
                            <a:pt x="166129" y="0"/>
                            <a:pt x="371061" y="0"/>
                          </a:cubicBezTo>
                          <a:cubicBezTo>
                            <a:pt x="575992" y="0"/>
                            <a:pt x="742122" y="166066"/>
                            <a:pt x="742122" y="370912"/>
                          </a:cubicBezTo>
                          <a:close/>
                        </a:path>
                      </a:pathLst>
                    </a:custGeom>
                    <a:solidFill>
                      <a:srgbClr val="4A4C4E"/>
                    </a:solidFill>
                    <a:ln w="106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9" name="Grupo 888">
                    <a:extLst>
                      <a:ext uri="{FF2B5EF4-FFF2-40B4-BE49-F238E27FC236}">
                        <a16:creationId xmlns:a16="http://schemas.microsoft.com/office/drawing/2014/main" id="{D1B81627-39EE-B23D-E567-83A67D6818FC}"/>
                      </a:ext>
                    </a:extLst>
                  </p:cNvPr>
                  <p:cNvGrpSpPr/>
                  <p:nvPr/>
                </p:nvGrpSpPr>
                <p:grpSpPr>
                  <a:xfrm>
                    <a:off x="7581693" y="703613"/>
                    <a:ext cx="435130" cy="566236"/>
                    <a:chOff x="4926329" y="2171700"/>
                    <a:chExt cx="2339339" cy="3044190"/>
                  </a:xfrm>
                </p:grpSpPr>
                <p:sp>
                  <p:nvSpPr>
                    <p:cNvPr id="890" name="Forma libre: forma 889">
                      <a:extLst>
                        <a:ext uri="{FF2B5EF4-FFF2-40B4-BE49-F238E27FC236}">
                          <a16:creationId xmlns:a16="http://schemas.microsoft.com/office/drawing/2014/main" id="{CAF37E34-4E7E-15DE-B4CF-0C58095833C5}"/>
                        </a:ext>
                      </a:extLst>
                    </p:cNvPr>
                    <p:cNvSpPr/>
                    <p:nvPr/>
                  </p:nvSpPr>
                  <p:spPr>
                    <a:xfrm>
                      <a:off x="4926329" y="4991100"/>
                      <a:ext cx="2339339" cy="224790"/>
                    </a:xfrm>
                    <a:custGeom>
                      <a:avLst/>
                      <a:gdLst>
                        <a:gd name="connsiteX0" fmla="*/ 2339340 w 2339339"/>
                        <a:gd name="connsiteY0" fmla="*/ 224790 h 224790"/>
                        <a:gd name="connsiteX1" fmla="*/ 0 w 2339339"/>
                        <a:gd name="connsiteY1" fmla="*/ 224790 h 224790"/>
                        <a:gd name="connsiteX2" fmla="*/ 0 w 2339339"/>
                        <a:gd name="connsiteY2" fmla="*/ 125730 h 224790"/>
                        <a:gd name="connsiteX3" fmla="*/ 125730 w 2339339"/>
                        <a:gd name="connsiteY3" fmla="*/ 0 h 224790"/>
                        <a:gd name="connsiteX4" fmla="*/ 2209800 w 2339339"/>
                        <a:gd name="connsiteY4" fmla="*/ 0 h 224790"/>
                        <a:gd name="connsiteX5" fmla="*/ 2335530 w 2339339"/>
                        <a:gd name="connsiteY5" fmla="*/ 125730 h 224790"/>
                        <a:gd name="connsiteX6" fmla="*/ 2335530 w 2339339"/>
                        <a:gd name="connsiteY6" fmla="*/ 224790 h 224790"/>
                        <a:gd name="connsiteX7" fmla="*/ 2339340 w 2339339"/>
                        <a:gd name="connsiteY7" fmla="*/ 224790 h 2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9339" h="224790">
                          <a:moveTo>
                            <a:pt x="2339340" y="224790"/>
                          </a:moveTo>
                          <a:lnTo>
                            <a:pt x="0" y="224790"/>
                          </a:lnTo>
                          <a:lnTo>
                            <a:pt x="0" y="125730"/>
                          </a:lnTo>
                          <a:cubicBezTo>
                            <a:pt x="0" y="57150"/>
                            <a:pt x="57150" y="0"/>
                            <a:pt x="125730" y="0"/>
                          </a:cubicBezTo>
                          <a:lnTo>
                            <a:pt x="2209800" y="0"/>
                          </a:lnTo>
                          <a:cubicBezTo>
                            <a:pt x="2278380" y="0"/>
                            <a:pt x="2335530" y="57150"/>
                            <a:pt x="2335530" y="125730"/>
                          </a:cubicBezTo>
                          <a:lnTo>
                            <a:pt x="2335530" y="224790"/>
                          </a:lnTo>
                          <a:lnTo>
                            <a:pt x="2339340" y="224790"/>
                          </a:ln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91" name="Gráfico 597">
                      <a:extLst>
                        <a:ext uri="{FF2B5EF4-FFF2-40B4-BE49-F238E27FC236}">
                          <a16:creationId xmlns:a16="http://schemas.microsoft.com/office/drawing/2014/main" id="{97503FA9-502F-4DB5-5B9C-3AD7F11B8362}"/>
                        </a:ext>
                      </a:extLst>
                    </p:cNvPr>
                    <p:cNvGrpSpPr/>
                    <p:nvPr/>
                  </p:nvGrpSpPr>
                  <p:grpSpPr>
                    <a:xfrm>
                      <a:off x="5048250" y="2171700"/>
                      <a:ext cx="2095500" cy="2819400"/>
                      <a:chOff x="5048250" y="2171700"/>
                      <a:chExt cx="2095500" cy="2819400"/>
                    </a:xfrm>
                    <a:solidFill>
                      <a:srgbClr val="E6E9EE"/>
                    </a:solidFill>
                  </p:grpSpPr>
                  <p:sp>
                    <p:nvSpPr>
                      <p:cNvPr id="901" name="Forma libre: forma 900">
                        <a:extLst>
                          <a:ext uri="{FF2B5EF4-FFF2-40B4-BE49-F238E27FC236}">
                            <a16:creationId xmlns:a16="http://schemas.microsoft.com/office/drawing/2014/main" id="{0D8D0B55-D653-5E65-BE0F-B51ABCFD7693}"/>
                          </a:ext>
                        </a:extLst>
                      </p:cNvPr>
                      <p:cNvSpPr/>
                      <p:nvPr/>
                    </p:nvSpPr>
                    <p:spPr>
                      <a:xfrm>
                        <a:off x="5474970" y="2171700"/>
                        <a:ext cx="76200" cy="2819400"/>
                      </a:xfrm>
                      <a:custGeom>
                        <a:avLst/>
                        <a:gdLst>
                          <a:gd name="connsiteX0" fmla="*/ 38100 w 76200"/>
                          <a:gd name="connsiteY0" fmla="*/ 2819400 h 2819400"/>
                          <a:gd name="connsiteX1" fmla="*/ 38100 w 76200"/>
                          <a:gd name="connsiteY1" fmla="*/ 2819400 h 2819400"/>
                          <a:gd name="connsiteX2" fmla="*/ 0 w 76200"/>
                          <a:gd name="connsiteY2" fmla="*/ 2781300 h 2819400"/>
                          <a:gd name="connsiteX3" fmla="*/ 0 w 76200"/>
                          <a:gd name="connsiteY3" fmla="*/ 38100 h 2819400"/>
                          <a:gd name="connsiteX4" fmla="*/ 38100 w 76200"/>
                          <a:gd name="connsiteY4" fmla="*/ 0 h 2819400"/>
                          <a:gd name="connsiteX5" fmla="*/ 38100 w 76200"/>
                          <a:gd name="connsiteY5" fmla="*/ 0 h 2819400"/>
                          <a:gd name="connsiteX6" fmla="*/ 76200 w 76200"/>
                          <a:gd name="connsiteY6" fmla="*/ 38100 h 2819400"/>
                          <a:gd name="connsiteX7" fmla="*/ 76200 w 76200"/>
                          <a:gd name="connsiteY7" fmla="*/ 2781300 h 2819400"/>
                          <a:gd name="connsiteX8" fmla="*/ 38100 w 76200"/>
                          <a:gd name="connsiteY8"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2819400">
                            <a:moveTo>
                              <a:pt x="38100" y="2819400"/>
                            </a:moveTo>
                            <a:lnTo>
                              <a:pt x="38100" y="2819400"/>
                            </a:lnTo>
                            <a:cubicBezTo>
                              <a:pt x="15240" y="2819400"/>
                              <a:pt x="0" y="2800350"/>
                              <a:pt x="0" y="2781300"/>
                            </a:cubicBezTo>
                            <a:lnTo>
                              <a:pt x="0" y="38100"/>
                            </a:lnTo>
                            <a:cubicBezTo>
                              <a:pt x="0" y="15240"/>
                              <a:pt x="19050" y="0"/>
                              <a:pt x="38100" y="0"/>
                            </a:cubicBezTo>
                            <a:lnTo>
                              <a:pt x="38100" y="0"/>
                            </a:lnTo>
                            <a:cubicBezTo>
                              <a:pt x="60960" y="0"/>
                              <a:pt x="76200" y="19050"/>
                              <a:pt x="76200" y="38100"/>
                            </a:cubicBezTo>
                            <a:lnTo>
                              <a:pt x="76200" y="2781300"/>
                            </a:lnTo>
                            <a:cubicBezTo>
                              <a:pt x="76200" y="2800350"/>
                              <a:pt x="60960" y="2819400"/>
                              <a:pt x="38100" y="2819400"/>
                            </a:cubicBezTo>
                            <a:close/>
                          </a:path>
                        </a:pathLst>
                      </a:custGeom>
                      <a:solidFill>
                        <a:schemeClr val="bg2">
                          <a:lumMod val="9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2" name="Forma libre: forma 901">
                        <a:extLst>
                          <a:ext uri="{FF2B5EF4-FFF2-40B4-BE49-F238E27FC236}">
                            <a16:creationId xmlns:a16="http://schemas.microsoft.com/office/drawing/2014/main" id="{55EDD068-E532-998B-48B7-9806597F08EF}"/>
                          </a:ext>
                        </a:extLst>
                      </p:cNvPr>
                      <p:cNvSpPr/>
                      <p:nvPr/>
                    </p:nvSpPr>
                    <p:spPr>
                      <a:xfrm>
                        <a:off x="5048250" y="3070859"/>
                        <a:ext cx="1245869" cy="83820"/>
                      </a:xfrm>
                      <a:custGeom>
                        <a:avLst/>
                        <a:gdLst>
                          <a:gd name="connsiteX0" fmla="*/ 1203960 w 1245869"/>
                          <a:gd name="connsiteY0" fmla="*/ 0 h 83820"/>
                          <a:gd name="connsiteX1" fmla="*/ 41910 w 1245869"/>
                          <a:gd name="connsiteY1" fmla="*/ 0 h 83820"/>
                          <a:gd name="connsiteX2" fmla="*/ 0 w 1245869"/>
                          <a:gd name="connsiteY2" fmla="*/ 41910 h 83820"/>
                          <a:gd name="connsiteX3" fmla="*/ 0 w 1245869"/>
                          <a:gd name="connsiteY3" fmla="*/ 41910 h 83820"/>
                          <a:gd name="connsiteX4" fmla="*/ 41910 w 1245869"/>
                          <a:gd name="connsiteY4" fmla="*/ 83820 h 83820"/>
                          <a:gd name="connsiteX5" fmla="*/ 1203960 w 1245869"/>
                          <a:gd name="connsiteY5" fmla="*/ 83820 h 83820"/>
                          <a:gd name="connsiteX6" fmla="*/ 1245870 w 1245869"/>
                          <a:gd name="connsiteY6" fmla="*/ 41910 h 83820"/>
                          <a:gd name="connsiteX7" fmla="*/ 1245870 w 1245869"/>
                          <a:gd name="connsiteY7" fmla="*/ 41910 h 83820"/>
                          <a:gd name="connsiteX8" fmla="*/ 1203960 w 1245869"/>
                          <a:gd name="connsiteY8" fmla="*/ 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869" h="83820">
                            <a:moveTo>
                              <a:pt x="1203960" y="0"/>
                            </a:moveTo>
                            <a:lnTo>
                              <a:pt x="41910" y="0"/>
                            </a:lnTo>
                            <a:cubicBezTo>
                              <a:pt x="19050" y="0"/>
                              <a:pt x="0" y="19050"/>
                              <a:pt x="0" y="41910"/>
                            </a:cubicBezTo>
                            <a:lnTo>
                              <a:pt x="0" y="41910"/>
                            </a:lnTo>
                            <a:cubicBezTo>
                              <a:pt x="0" y="64770"/>
                              <a:pt x="19050" y="83820"/>
                              <a:pt x="41910" y="83820"/>
                            </a:cubicBezTo>
                            <a:lnTo>
                              <a:pt x="1203960" y="83820"/>
                            </a:lnTo>
                            <a:cubicBezTo>
                              <a:pt x="1226820" y="83820"/>
                              <a:pt x="1245870" y="64770"/>
                              <a:pt x="1245870" y="41910"/>
                            </a:cubicBezTo>
                            <a:lnTo>
                              <a:pt x="1245870" y="41910"/>
                            </a:lnTo>
                            <a:cubicBezTo>
                              <a:pt x="1245870" y="19050"/>
                              <a:pt x="1226820" y="0"/>
                              <a:pt x="1203960" y="0"/>
                            </a:cubicBezTo>
                            <a:close/>
                          </a:path>
                        </a:pathLst>
                      </a:custGeom>
                      <a:solidFill>
                        <a:schemeClr val="bg2">
                          <a:lumMod val="9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3" name="Forma libre: forma 902">
                        <a:extLst>
                          <a:ext uri="{FF2B5EF4-FFF2-40B4-BE49-F238E27FC236}">
                            <a16:creationId xmlns:a16="http://schemas.microsoft.com/office/drawing/2014/main" id="{41DB57F3-44AC-AD10-2B60-208467824077}"/>
                          </a:ext>
                        </a:extLst>
                      </p:cNvPr>
                      <p:cNvSpPr/>
                      <p:nvPr/>
                    </p:nvSpPr>
                    <p:spPr>
                      <a:xfrm>
                        <a:off x="6884669" y="3070859"/>
                        <a:ext cx="259080" cy="83820"/>
                      </a:xfrm>
                      <a:custGeom>
                        <a:avLst/>
                        <a:gdLst>
                          <a:gd name="connsiteX0" fmla="*/ 0 w 259080"/>
                          <a:gd name="connsiteY0" fmla="*/ 41910 h 83820"/>
                          <a:gd name="connsiteX1" fmla="*/ 0 w 259080"/>
                          <a:gd name="connsiteY1" fmla="*/ 41910 h 83820"/>
                          <a:gd name="connsiteX2" fmla="*/ 41910 w 259080"/>
                          <a:gd name="connsiteY2" fmla="*/ 83820 h 83820"/>
                          <a:gd name="connsiteX3" fmla="*/ 217170 w 259080"/>
                          <a:gd name="connsiteY3" fmla="*/ 83820 h 83820"/>
                          <a:gd name="connsiteX4" fmla="*/ 259080 w 259080"/>
                          <a:gd name="connsiteY4" fmla="*/ 41910 h 83820"/>
                          <a:gd name="connsiteX5" fmla="*/ 259080 w 259080"/>
                          <a:gd name="connsiteY5" fmla="*/ 41910 h 83820"/>
                          <a:gd name="connsiteX6" fmla="*/ 217170 w 259080"/>
                          <a:gd name="connsiteY6" fmla="*/ 0 h 83820"/>
                          <a:gd name="connsiteX7" fmla="*/ 41910 w 259080"/>
                          <a:gd name="connsiteY7" fmla="*/ 0 h 83820"/>
                          <a:gd name="connsiteX8" fmla="*/ 0 w 259080"/>
                          <a:gd name="connsiteY8" fmla="*/ 41910 h 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080" h="83820">
                            <a:moveTo>
                              <a:pt x="0" y="41910"/>
                            </a:moveTo>
                            <a:lnTo>
                              <a:pt x="0" y="41910"/>
                            </a:lnTo>
                            <a:cubicBezTo>
                              <a:pt x="0" y="64770"/>
                              <a:pt x="19050" y="83820"/>
                              <a:pt x="41910" y="83820"/>
                            </a:cubicBezTo>
                            <a:lnTo>
                              <a:pt x="217170" y="83820"/>
                            </a:lnTo>
                            <a:cubicBezTo>
                              <a:pt x="240030" y="83820"/>
                              <a:pt x="259080" y="64770"/>
                              <a:pt x="259080" y="41910"/>
                            </a:cubicBezTo>
                            <a:lnTo>
                              <a:pt x="259080" y="41910"/>
                            </a:lnTo>
                            <a:cubicBezTo>
                              <a:pt x="259080" y="19050"/>
                              <a:pt x="240030" y="0"/>
                              <a:pt x="217170" y="0"/>
                            </a:cubicBezTo>
                            <a:lnTo>
                              <a:pt x="41910" y="0"/>
                            </a:lnTo>
                            <a:cubicBezTo>
                              <a:pt x="19050" y="0"/>
                              <a:pt x="0" y="19050"/>
                              <a:pt x="0" y="41910"/>
                            </a:cubicBezTo>
                            <a:close/>
                          </a:path>
                        </a:pathLst>
                      </a:custGeom>
                      <a:solidFill>
                        <a:schemeClr val="bg2">
                          <a:lumMod val="9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92" name="Forma libre: forma 891">
                      <a:extLst>
                        <a:ext uri="{FF2B5EF4-FFF2-40B4-BE49-F238E27FC236}">
                          <a16:creationId xmlns:a16="http://schemas.microsoft.com/office/drawing/2014/main" id="{BDCC5302-D371-4CE6-3F70-416625CF01BB}"/>
                        </a:ext>
                      </a:extLst>
                    </p:cNvPr>
                    <p:cNvSpPr/>
                    <p:nvPr/>
                  </p:nvSpPr>
                  <p:spPr>
                    <a:xfrm>
                      <a:off x="5292090" y="2899409"/>
                      <a:ext cx="422909" cy="422910"/>
                    </a:xfrm>
                    <a:custGeom>
                      <a:avLst/>
                      <a:gdLst>
                        <a:gd name="connsiteX0" fmla="*/ 361950 w 422909"/>
                        <a:gd name="connsiteY0" fmla="*/ 422910 h 422910"/>
                        <a:gd name="connsiteX1" fmla="*/ 60960 w 422909"/>
                        <a:gd name="connsiteY1" fmla="*/ 422910 h 422910"/>
                        <a:gd name="connsiteX2" fmla="*/ 0 w 422909"/>
                        <a:gd name="connsiteY2" fmla="*/ 361950 h 422910"/>
                        <a:gd name="connsiteX3" fmla="*/ 0 w 422909"/>
                        <a:gd name="connsiteY3" fmla="*/ 60960 h 422910"/>
                        <a:gd name="connsiteX4" fmla="*/ 60960 w 422909"/>
                        <a:gd name="connsiteY4" fmla="*/ 0 h 422910"/>
                        <a:gd name="connsiteX5" fmla="*/ 361950 w 422909"/>
                        <a:gd name="connsiteY5" fmla="*/ 0 h 422910"/>
                        <a:gd name="connsiteX6" fmla="*/ 422910 w 422909"/>
                        <a:gd name="connsiteY6" fmla="*/ 60960 h 422910"/>
                        <a:gd name="connsiteX7" fmla="*/ 422910 w 422909"/>
                        <a:gd name="connsiteY7" fmla="*/ 361950 h 422910"/>
                        <a:gd name="connsiteX8" fmla="*/ 361950 w 422909"/>
                        <a:gd name="connsiteY8" fmla="*/ 422910 h 42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909" h="422910">
                          <a:moveTo>
                            <a:pt x="361950" y="422910"/>
                          </a:moveTo>
                          <a:lnTo>
                            <a:pt x="60960" y="422910"/>
                          </a:lnTo>
                          <a:cubicBezTo>
                            <a:pt x="26670" y="422910"/>
                            <a:pt x="0" y="396240"/>
                            <a:pt x="0" y="361950"/>
                          </a:cubicBezTo>
                          <a:lnTo>
                            <a:pt x="0" y="60960"/>
                          </a:lnTo>
                          <a:cubicBezTo>
                            <a:pt x="0" y="26670"/>
                            <a:pt x="26670" y="0"/>
                            <a:pt x="60960" y="0"/>
                          </a:cubicBezTo>
                          <a:lnTo>
                            <a:pt x="361950" y="0"/>
                          </a:lnTo>
                          <a:cubicBezTo>
                            <a:pt x="396240" y="0"/>
                            <a:pt x="422910" y="26670"/>
                            <a:pt x="422910" y="60960"/>
                          </a:cubicBezTo>
                          <a:lnTo>
                            <a:pt x="422910" y="361950"/>
                          </a:lnTo>
                          <a:cubicBezTo>
                            <a:pt x="422910" y="396240"/>
                            <a:pt x="396240" y="422910"/>
                            <a:pt x="361950" y="422910"/>
                          </a:cubicBezTo>
                          <a:close/>
                        </a:path>
                      </a:pathLst>
                    </a:custGeom>
                    <a:solidFill>
                      <a:schemeClr val="tx1">
                        <a:lumMod val="65000"/>
                        <a:lumOff val="3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3" name="Forma libre: forma 892">
                      <a:extLst>
                        <a:ext uri="{FF2B5EF4-FFF2-40B4-BE49-F238E27FC236}">
                          <a16:creationId xmlns:a16="http://schemas.microsoft.com/office/drawing/2014/main" id="{76BB9C44-4F42-EDD0-FC14-52F00B6A1F3E}"/>
                        </a:ext>
                      </a:extLst>
                    </p:cNvPr>
                    <p:cNvSpPr/>
                    <p:nvPr/>
                  </p:nvSpPr>
                  <p:spPr>
                    <a:xfrm>
                      <a:off x="6294119" y="2625090"/>
                      <a:ext cx="579120" cy="2045969"/>
                    </a:xfrm>
                    <a:custGeom>
                      <a:avLst/>
                      <a:gdLst>
                        <a:gd name="connsiteX0" fmla="*/ 289560 w 579120"/>
                        <a:gd name="connsiteY0" fmla="*/ 2045970 h 2045969"/>
                        <a:gd name="connsiteX1" fmla="*/ 289560 w 579120"/>
                        <a:gd name="connsiteY1" fmla="*/ 2045970 h 2045969"/>
                        <a:gd name="connsiteX2" fmla="*/ 0 w 579120"/>
                        <a:gd name="connsiteY2" fmla="*/ 1756410 h 2045969"/>
                        <a:gd name="connsiteX3" fmla="*/ 0 w 579120"/>
                        <a:gd name="connsiteY3" fmla="*/ 0 h 2045969"/>
                        <a:gd name="connsiteX4" fmla="*/ 579120 w 579120"/>
                        <a:gd name="connsiteY4" fmla="*/ 0 h 2045969"/>
                        <a:gd name="connsiteX5" fmla="*/ 579120 w 579120"/>
                        <a:gd name="connsiteY5" fmla="*/ 1756410 h 2045969"/>
                        <a:gd name="connsiteX6" fmla="*/ 289560 w 579120"/>
                        <a:gd name="connsiteY6" fmla="*/ 2045970 h 204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120" h="2045969">
                          <a:moveTo>
                            <a:pt x="289560" y="2045970"/>
                          </a:moveTo>
                          <a:lnTo>
                            <a:pt x="289560" y="2045970"/>
                          </a:lnTo>
                          <a:cubicBezTo>
                            <a:pt x="129540" y="2045970"/>
                            <a:pt x="0" y="1916430"/>
                            <a:pt x="0" y="1756410"/>
                          </a:cubicBezTo>
                          <a:lnTo>
                            <a:pt x="0" y="0"/>
                          </a:lnTo>
                          <a:lnTo>
                            <a:pt x="579120" y="0"/>
                          </a:lnTo>
                          <a:lnTo>
                            <a:pt x="579120" y="1756410"/>
                          </a:lnTo>
                          <a:cubicBezTo>
                            <a:pt x="579120" y="1916430"/>
                            <a:pt x="449580" y="2045970"/>
                            <a:pt x="289560" y="2045970"/>
                          </a:cubicBezTo>
                          <a:close/>
                        </a:path>
                      </a:pathLst>
                    </a:custGeom>
                    <a:solidFill>
                      <a:schemeClr val="bg2">
                        <a:lumMod val="90000"/>
                        <a:alpha val="5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4" name="Forma libre: forma 893">
                      <a:extLst>
                        <a:ext uri="{FF2B5EF4-FFF2-40B4-BE49-F238E27FC236}">
                          <a16:creationId xmlns:a16="http://schemas.microsoft.com/office/drawing/2014/main" id="{5E360D08-F2E5-8D00-B670-56385D5E6AC2}"/>
                        </a:ext>
                      </a:extLst>
                    </p:cNvPr>
                    <p:cNvSpPr/>
                    <p:nvPr/>
                  </p:nvSpPr>
                  <p:spPr>
                    <a:xfrm>
                      <a:off x="6294120" y="2625090"/>
                      <a:ext cx="579120" cy="80010"/>
                    </a:xfrm>
                    <a:custGeom>
                      <a:avLst/>
                      <a:gdLst>
                        <a:gd name="connsiteX0" fmla="*/ 0 w 579120"/>
                        <a:gd name="connsiteY0" fmla="*/ 0 h 80010"/>
                        <a:gd name="connsiteX1" fmla="*/ 579120 w 579120"/>
                        <a:gd name="connsiteY1" fmla="*/ 0 h 80010"/>
                        <a:gd name="connsiteX2" fmla="*/ 579120 w 579120"/>
                        <a:gd name="connsiteY2" fmla="*/ 80010 h 80010"/>
                        <a:gd name="connsiteX3" fmla="*/ 0 w 579120"/>
                        <a:gd name="connsiteY3" fmla="*/ 80010 h 80010"/>
                      </a:gdLst>
                      <a:ahLst/>
                      <a:cxnLst>
                        <a:cxn ang="0">
                          <a:pos x="connsiteX0" y="connsiteY0"/>
                        </a:cxn>
                        <a:cxn ang="0">
                          <a:pos x="connsiteX1" y="connsiteY1"/>
                        </a:cxn>
                        <a:cxn ang="0">
                          <a:pos x="connsiteX2" y="connsiteY2"/>
                        </a:cxn>
                        <a:cxn ang="0">
                          <a:pos x="connsiteX3" y="connsiteY3"/>
                        </a:cxn>
                      </a:cxnLst>
                      <a:rect l="l" t="t" r="r" b="b"/>
                      <a:pathLst>
                        <a:path w="579120" h="80010">
                          <a:moveTo>
                            <a:pt x="0" y="0"/>
                          </a:moveTo>
                          <a:lnTo>
                            <a:pt x="579120" y="0"/>
                          </a:lnTo>
                          <a:lnTo>
                            <a:pt x="579120" y="80010"/>
                          </a:lnTo>
                          <a:lnTo>
                            <a:pt x="0" y="80010"/>
                          </a:ln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5" name="Forma libre: forma 894">
                      <a:extLst>
                        <a:ext uri="{FF2B5EF4-FFF2-40B4-BE49-F238E27FC236}">
                          <a16:creationId xmlns:a16="http://schemas.microsoft.com/office/drawing/2014/main" id="{7A9AB7C4-2770-2CA2-FCC0-605AE5A72290}"/>
                        </a:ext>
                      </a:extLst>
                    </p:cNvPr>
                    <p:cNvSpPr/>
                    <p:nvPr/>
                  </p:nvSpPr>
                  <p:spPr>
                    <a:xfrm>
                      <a:off x="6370319" y="3615690"/>
                      <a:ext cx="426720" cy="979169"/>
                    </a:xfrm>
                    <a:custGeom>
                      <a:avLst/>
                      <a:gdLst>
                        <a:gd name="connsiteX0" fmla="*/ 0 w 426720"/>
                        <a:gd name="connsiteY0" fmla="*/ 0 h 979169"/>
                        <a:gd name="connsiteX1" fmla="*/ 0 w 426720"/>
                        <a:gd name="connsiteY1" fmla="*/ 765810 h 979169"/>
                        <a:gd name="connsiteX2" fmla="*/ 213360 w 426720"/>
                        <a:gd name="connsiteY2" fmla="*/ 979170 h 979169"/>
                        <a:gd name="connsiteX3" fmla="*/ 426720 w 426720"/>
                        <a:gd name="connsiteY3" fmla="*/ 765810 h 979169"/>
                        <a:gd name="connsiteX4" fmla="*/ 426720 w 426720"/>
                        <a:gd name="connsiteY4" fmla="*/ 0 h 979169"/>
                        <a:gd name="connsiteX5" fmla="*/ 0 w 426720"/>
                        <a:gd name="connsiteY5" fmla="*/ 0 h 97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720" h="979169">
                          <a:moveTo>
                            <a:pt x="0" y="0"/>
                          </a:moveTo>
                          <a:lnTo>
                            <a:pt x="0" y="765810"/>
                          </a:lnTo>
                          <a:cubicBezTo>
                            <a:pt x="0" y="883920"/>
                            <a:pt x="95250" y="979170"/>
                            <a:pt x="213360" y="979170"/>
                          </a:cubicBezTo>
                          <a:cubicBezTo>
                            <a:pt x="331470" y="979170"/>
                            <a:pt x="426720" y="883920"/>
                            <a:pt x="426720" y="765810"/>
                          </a:cubicBezTo>
                          <a:lnTo>
                            <a:pt x="426720" y="0"/>
                          </a:lnTo>
                          <a:lnTo>
                            <a:pt x="0" y="0"/>
                          </a:lnTo>
                          <a:close/>
                        </a:path>
                      </a:pathLst>
                    </a:custGeom>
                    <a:solidFill>
                      <a:schemeClr val="accent5">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96" name="Gráfico 597">
                      <a:extLst>
                        <a:ext uri="{FF2B5EF4-FFF2-40B4-BE49-F238E27FC236}">
                          <a16:creationId xmlns:a16="http://schemas.microsoft.com/office/drawing/2014/main" id="{219D254D-19FB-4CB4-157B-BDD0596A15A2}"/>
                        </a:ext>
                      </a:extLst>
                    </p:cNvPr>
                    <p:cNvGrpSpPr/>
                    <p:nvPr/>
                  </p:nvGrpSpPr>
                  <p:grpSpPr>
                    <a:xfrm>
                      <a:off x="6240780" y="2952750"/>
                      <a:ext cx="686163" cy="331470"/>
                      <a:chOff x="6240780" y="2952750"/>
                      <a:chExt cx="686163" cy="331470"/>
                    </a:xfrm>
                    <a:solidFill>
                      <a:srgbClr val="324A5E"/>
                    </a:solidFill>
                  </p:grpSpPr>
                  <p:sp>
                    <p:nvSpPr>
                      <p:cNvPr id="899" name="Forma libre: forma 898">
                        <a:extLst>
                          <a:ext uri="{FF2B5EF4-FFF2-40B4-BE49-F238E27FC236}">
                            <a16:creationId xmlns:a16="http://schemas.microsoft.com/office/drawing/2014/main" id="{3044A354-AE62-1FB9-4CE5-3CDA5EB3F657}"/>
                          </a:ext>
                        </a:extLst>
                      </p:cNvPr>
                      <p:cNvSpPr/>
                      <p:nvPr/>
                    </p:nvSpPr>
                    <p:spPr>
                      <a:xfrm>
                        <a:off x="6240780" y="2952750"/>
                        <a:ext cx="53339" cy="331470"/>
                      </a:xfrm>
                      <a:custGeom>
                        <a:avLst/>
                        <a:gdLst>
                          <a:gd name="connsiteX0" fmla="*/ 53340 w 53339"/>
                          <a:gd name="connsiteY0" fmla="*/ 331470 h 331470"/>
                          <a:gd name="connsiteX1" fmla="*/ 53340 w 53339"/>
                          <a:gd name="connsiteY1" fmla="*/ 331470 h 331470"/>
                          <a:gd name="connsiteX2" fmla="*/ 0 w 53339"/>
                          <a:gd name="connsiteY2" fmla="*/ 278130 h 331470"/>
                          <a:gd name="connsiteX3" fmla="*/ 0 w 53339"/>
                          <a:gd name="connsiteY3" fmla="*/ 53340 h 331470"/>
                          <a:gd name="connsiteX4" fmla="*/ 53340 w 53339"/>
                          <a:gd name="connsiteY4" fmla="*/ 0 h 331470"/>
                          <a:gd name="connsiteX5" fmla="*/ 53340 w 53339"/>
                          <a:gd name="connsiteY5" fmla="*/ 0 h 331470"/>
                          <a:gd name="connsiteX6" fmla="*/ 53340 w 53339"/>
                          <a:gd name="connsiteY6" fmla="*/ 331470 h 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39" h="331470">
                            <a:moveTo>
                              <a:pt x="53340" y="331470"/>
                            </a:moveTo>
                            <a:lnTo>
                              <a:pt x="53340" y="331470"/>
                            </a:lnTo>
                            <a:cubicBezTo>
                              <a:pt x="22860" y="331470"/>
                              <a:pt x="0" y="308610"/>
                              <a:pt x="0" y="278130"/>
                            </a:cubicBezTo>
                            <a:lnTo>
                              <a:pt x="0" y="53340"/>
                            </a:lnTo>
                            <a:cubicBezTo>
                              <a:pt x="0" y="22860"/>
                              <a:pt x="22860" y="0"/>
                              <a:pt x="53340" y="0"/>
                            </a:cubicBezTo>
                            <a:lnTo>
                              <a:pt x="53340" y="0"/>
                            </a:lnTo>
                            <a:lnTo>
                              <a:pt x="53340" y="331470"/>
                            </a:lnTo>
                            <a:close/>
                          </a:path>
                        </a:pathLst>
                      </a:custGeom>
                      <a:solidFill>
                        <a:srgbClr val="324A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0" name="Forma libre: forma 899">
                        <a:extLst>
                          <a:ext uri="{FF2B5EF4-FFF2-40B4-BE49-F238E27FC236}">
                            <a16:creationId xmlns:a16="http://schemas.microsoft.com/office/drawing/2014/main" id="{F0E03275-475E-4395-DE66-9E388C61B9EB}"/>
                          </a:ext>
                        </a:extLst>
                      </p:cNvPr>
                      <p:cNvSpPr/>
                      <p:nvPr/>
                    </p:nvSpPr>
                    <p:spPr>
                      <a:xfrm>
                        <a:off x="6873240" y="2952750"/>
                        <a:ext cx="53704" cy="331470"/>
                      </a:xfrm>
                      <a:custGeom>
                        <a:avLst/>
                        <a:gdLst>
                          <a:gd name="connsiteX0" fmla="*/ 0 w 53704"/>
                          <a:gd name="connsiteY0" fmla="*/ 331470 h 331470"/>
                          <a:gd name="connsiteX1" fmla="*/ 0 w 53704"/>
                          <a:gd name="connsiteY1" fmla="*/ 331470 h 331470"/>
                          <a:gd name="connsiteX2" fmla="*/ 0 w 53704"/>
                          <a:gd name="connsiteY2" fmla="*/ 0 h 331470"/>
                          <a:gd name="connsiteX3" fmla="*/ 0 w 53704"/>
                          <a:gd name="connsiteY3" fmla="*/ 0 h 331470"/>
                          <a:gd name="connsiteX4" fmla="*/ 53340 w 53704"/>
                          <a:gd name="connsiteY4" fmla="*/ 53340 h 331470"/>
                          <a:gd name="connsiteX5" fmla="*/ 53340 w 53704"/>
                          <a:gd name="connsiteY5" fmla="*/ 278130 h 331470"/>
                          <a:gd name="connsiteX6" fmla="*/ 0 w 53704"/>
                          <a:gd name="connsiteY6" fmla="*/ 331470 h 331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04" h="331470">
                            <a:moveTo>
                              <a:pt x="0" y="331470"/>
                            </a:moveTo>
                            <a:lnTo>
                              <a:pt x="0" y="331470"/>
                            </a:lnTo>
                            <a:lnTo>
                              <a:pt x="0" y="0"/>
                            </a:lnTo>
                            <a:lnTo>
                              <a:pt x="0" y="0"/>
                            </a:lnTo>
                            <a:cubicBezTo>
                              <a:pt x="30480" y="0"/>
                              <a:pt x="53340" y="22860"/>
                              <a:pt x="53340" y="53340"/>
                            </a:cubicBezTo>
                            <a:lnTo>
                              <a:pt x="53340" y="278130"/>
                            </a:lnTo>
                            <a:cubicBezTo>
                              <a:pt x="57150" y="308610"/>
                              <a:pt x="30480" y="331470"/>
                              <a:pt x="0" y="331470"/>
                            </a:cubicBezTo>
                            <a:close/>
                          </a:path>
                        </a:pathLst>
                      </a:custGeom>
                      <a:solidFill>
                        <a:srgbClr val="324A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97" name="Forma libre: forma 896">
                      <a:extLst>
                        <a:ext uri="{FF2B5EF4-FFF2-40B4-BE49-F238E27FC236}">
                          <a16:creationId xmlns:a16="http://schemas.microsoft.com/office/drawing/2014/main" id="{E8FF3970-D02E-49B0-20D5-CB546C227DB9}"/>
                        </a:ext>
                      </a:extLst>
                    </p:cNvPr>
                    <p:cNvSpPr/>
                    <p:nvPr/>
                  </p:nvSpPr>
                  <p:spPr>
                    <a:xfrm>
                      <a:off x="6225540" y="2472690"/>
                      <a:ext cx="720090" cy="152400"/>
                    </a:xfrm>
                    <a:custGeom>
                      <a:avLst/>
                      <a:gdLst>
                        <a:gd name="connsiteX0" fmla="*/ 643890 w 720090"/>
                        <a:gd name="connsiteY0" fmla="*/ 152400 h 152400"/>
                        <a:gd name="connsiteX1" fmla="*/ 76200 w 720090"/>
                        <a:gd name="connsiteY1" fmla="*/ 152400 h 152400"/>
                        <a:gd name="connsiteX2" fmla="*/ 0 w 720090"/>
                        <a:gd name="connsiteY2" fmla="*/ 76200 h 152400"/>
                        <a:gd name="connsiteX3" fmla="*/ 0 w 720090"/>
                        <a:gd name="connsiteY3" fmla="*/ 76200 h 152400"/>
                        <a:gd name="connsiteX4" fmla="*/ 76200 w 720090"/>
                        <a:gd name="connsiteY4" fmla="*/ 0 h 152400"/>
                        <a:gd name="connsiteX5" fmla="*/ 643890 w 720090"/>
                        <a:gd name="connsiteY5" fmla="*/ 0 h 152400"/>
                        <a:gd name="connsiteX6" fmla="*/ 720090 w 720090"/>
                        <a:gd name="connsiteY6" fmla="*/ 76200 h 152400"/>
                        <a:gd name="connsiteX7" fmla="*/ 720090 w 720090"/>
                        <a:gd name="connsiteY7" fmla="*/ 76200 h 152400"/>
                        <a:gd name="connsiteX8" fmla="*/ 643890 w 720090"/>
                        <a:gd name="connsiteY8"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90" h="152400">
                          <a:moveTo>
                            <a:pt x="643890" y="152400"/>
                          </a:moveTo>
                          <a:lnTo>
                            <a:pt x="76200" y="152400"/>
                          </a:lnTo>
                          <a:cubicBezTo>
                            <a:pt x="34290" y="152400"/>
                            <a:pt x="0" y="118110"/>
                            <a:pt x="0" y="76200"/>
                          </a:cubicBezTo>
                          <a:lnTo>
                            <a:pt x="0" y="76200"/>
                          </a:lnTo>
                          <a:cubicBezTo>
                            <a:pt x="0" y="34290"/>
                            <a:pt x="34290" y="0"/>
                            <a:pt x="76200" y="0"/>
                          </a:cubicBezTo>
                          <a:lnTo>
                            <a:pt x="643890" y="0"/>
                          </a:lnTo>
                          <a:cubicBezTo>
                            <a:pt x="685800" y="0"/>
                            <a:pt x="720090" y="34290"/>
                            <a:pt x="720090" y="76200"/>
                          </a:cubicBezTo>
                          <a:lnTo>
                            <a:pt x="720090" y="76200"/>
                          </a:lnTo>
                          <a:cubicBezTo>
                            <a:pt x="720090" y="121920"/>
                            <a:pt x="685800" y="152400"/>
                            <a:pt x="643890" y="152400"/>
                          </a:cubicBezTo>
                          <a:close/>
                        </a:path>
                      </a:pathLst>
                    </a:custGeom>
                    <a:solidFill>
                      <a:schemeClr val="bg2">
                        <a:lumMod val="90000"/>
                        <a:alpha val="5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8" name="Forma libre: forma 897">
                      <a:extLst>
                        <a:ext uri="{FF2B5EF4-FFF2-40B4-BE49-F238E27FC236}">
                          <a16:creationId xmlns:a16="http://schemas.microsoft.com/office/drawing/2014/main" id="{710F8999-14C0-E1E9-CAF9-636081F69238}"/>
                        </a:ext>
                      </a:extLst>
                    </p:cNvPr>
                    <p:cNvSpPr/>
                    <p:nvPr/>
                  </p:nvSpPr>
                  <p:spPr>
                    <a:xfrm>
                      <a:off x="5375910" y="2987040"/>
                      <a:ext cx="251459" cy="251459"/>
                    </a:xfrm>
                    <a:custGeom>
                      <a:avLst/>
                      <a:gdLst>
                        <a:gd name="connsiteX0" fmla="*/ 251460 w 251459"/>
                        <a:gd name="connsiteY0" fmla="*/ 125730 h 251459"/>
                        <a:gd name="connsiteX1" fmla="*/ 125730 w 251459"/>
                        <a:gd name="connsiteY1" fmla="*/ 251460 h 251459"/>
                        <a:gd name="connsiteX2" fmla="*/ 0 w 251459"/>
                        <a:gd name="connsiteY2" fmla="*/ 125730 h 251459"/>
                        <a:gd name="connsiteX3" fmla="*/ 125730 w 251459"/>
                        <a:gd name="connsiteY3" fmla="*/ 0 h 251459"/>
                        <a:gd name="connsiteX4" fmla="*/ 251460 w 251459"/>
                        <a:gd name="connsiteY4" fmla="*/ 125730 h 25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59" h="251459">
                          <a:moveTo>
                            <a:pt x="251460" y="125730"/>
                          </a:moveTo>
                          <a:cubicBezTo>
                            <a:pt x="251460" y="195169"/>
                            <a:pt x="195169" y="251460"/>
                            <a:pt x="125730" y="251460"/>
                          </a:cubicBezTo>
                          <a:cubicBezTo>
                            <a:pt x="56291" y="251460"/>
                            <a:pt x="0" y="195169"/>
                            <a:pt x="0" y="125730"/>
                          </a:cubicBezTo>
                          <a:cubicBezTo>
                            <a:pt x="0" y="56291"/>
                            <a:pt x="56291" y="0"/>
                            <a:pt x="125730" y="0"/>
                          </a:cubicBezTo>
                          <a:cubicBezTo>
                            <a:pt x="195169" y="0"/>
                            <a:pt x="251460" y="56291"/>
                            <a:pt x="251460" y="125730"/>
                          </a:cubicBezTo>
                          <a:close/>
                        </a:path>
                      </a:pathLst>
                    </a:custGeom>
                    <a:solidFill>
                      <a:schemeClr val="tx1">
                        <a:lumMod val="50000"/>
                        <a:lumOff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31" name="Grupo 830">
                  <a:extLst>
                    <a:ext uri="{FF2B5EF4-FFF2-40B4-BE49-F238E27FC236}">
                      <a16:creationId xmlns:a16="http://schemas.microsoft.com/office/drawing/2014/main" id="{4229BC39-7F89-AFA5-0E4F-4748C58090ED}"/>
                    </a:ext>
                  </a:extLst>
                </p:cNvPr>
                <p:cNvGrpSpPr/>
                <p:nvPr/>
              </p:nvGrpSpPr>
              <p:grpSpPr>
                <a:xfrm>
                  <a:off x="9165239" y="1994249"/>
                  <a:ext cx="915942" cy="893828"/>
                  <a:chOff x="3431921" y="706427"/>
                  <a:chExt cx="5328130" cy="5199489"/>
                </a:xfrm>
              </p:grpSpPr>
              <p:sp>
                <p:nvSpPr>
                  <p:cNvPr id="851" name="Forma libre: forma 850">
                    <a:extLst>
                      <a:ext uri="{FF2B5EF4-FFF2-40B4-BE49-F238E27FC236}">
                        <a16:creationId xmlns:a16="http://schemas.microsoft.com/office/drawing/2014/main" id="{012ABB14-44A1-CCBF-6706-79A3942F3936}"/>
                      </a:ext>
                    </a:extLst>
                  </p:cNvPr>
                  <p:cNvSpPr/>
                  <p:nvPr/>
                </p:nvSpPr>
                <p:spPr>
                  <a:xfrm>
                    <a:off x="4581078" y="3190671"/>
                    <a:ext cx="3029816" cy="796679"/>
                  </a:xfrm>
                  <a:custGeom>
                    <a:avLst/>
                    <a:gdLst>
                      <a:gd name="connsiteX0" fmla="*/ 3029816 w 3029816"/>
                      <a:gd name="connsiteY0" fmla="*/ 398340 h 796679"/>
                      <a:gd name="connsiteX1" fmla="*/ 1514908 w 3029816"/>
                      <a:gd name="connsiteY1" fmla="*/ 796680 h 796679"/>
                      <a:gd name="connsiteX2" fmla="*/ 0 w 3029816"/>
                      <a:gd name="connsiteY2" fmla="*/ 398340 h 796679"/>
                      <a:gd name="connsiteX3" fmla="*/ 1514908 w 3029816"/>
                      <a:gd name="connsiteY3" fmla="*/ 0 h 796679"/>
                      <a:gd name="connsiteX4" fmla="*/ 3029816 w 3029816"/>
                      <a:gd name="connsiteY4" fmla="*/ 398340 h 796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9816" h="796679">
                        <a:moveTo>
                          <a:pt x="3029816" y="398340"/>
                        </a:moveTo>
                        <a:cubicBezTo>
                          <a:pt x="3029816" y="618337"/>
                          <a:pt x="2351569" y="796680"/>
                          <a:pt x="1514908" y="796680"/>
                        </a:cubicBezTo>
                        <a:cubicBezTo>
                          <a:pt x="678247" y="796680"/>
                          <a:pt x="0" y="618337"/>
                          <a:pt x="0" y="398340"/>
                        </a:cubicBezTo>
                        <a:cubicBezTo>
                          <a:pt x="0" y="178343"/>
                          <a:pt x="678247" y="0"/>
                          <a:pt x="1514908" y="0"/>
                        </a:cubicBezTo>
                        <a:cubicBezTo>
                          <a:pt x="2351569" y="0"/>
                          <a:pt x="3029816" y="178343"/>
                          <a:pt x="3029816" y="398340"/>
                        </a:cubicBez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2" name="Forma libre: forma 851">
                    <a:extLst>
                      <a:ext uri="{FF2B5EF4-FFF2-40B4-BE49-F238E27FC236}">
                        <a16:creationId xmlns:a16="http://schemas.microsoft.com/office/drawing/2014/main" id="{8AAD6033-C3B5-6E08-CECB-1F5617299307}"/>
                      </a:ext>
                    </a:extLst>
                  </p:cNvPr>
                  <p:cNvSpPr/>
                  <p:nvPr/>
                </p:nvSpPr>
                <p:spPr>
                  <a:xfrm>
                    <a:off x="4581078" y="3585943"/>
                    <a:ext cx="3029843" cy="898679"/>
                  </a:xfrm>
                  <a:custGeom>
                    <a:avLst/>
                    <a:gdLst>
                      <a:gd name="connsiteX0" fmla="*/ 3029843 w 3029843"/>
                      <a:gd name="connsiteY0" fmla="*/ 0 h 898679"/>
                      <a:gd name="connsiteX1" fmla="*/ 3029843 w 3029843"/>
                      <a:gd name="connsiteY1" fmla="*/ 503447 h 898679"/>
                      <a:gd name="connsiteX2" fmla="*/ 1514922 w 3029843"/>
                      <a:gd name="connsiteY2" fmla="*/ 898679 h 898679"/>
                      <a:gd name="connsiteX3" fmla="*/ 0 w 3029843"/>
                      <a:gd name="connsiteY3" fmla="*/ 503447 h 898679"/>
                      <a:gd name="connsiteX4" fmla="*/ 0 w 3029843"/>
                      <a:gd name="connsiteY4" fmla="*/ 0 h 898679"/>
                      <a:gd name="connsiteX5" fmla="*/ 1514922 w 3029843"/>
                      <a:gd name="connsiteY5" fmla="*/ 395232 h 898679"/>
                      <a:gd name="connsiteX6" fmla="*/ 3029843 w 3029843"/>
                      <a:gd name="connsiteY6" fmla="*/ 0 h 8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843" h="898679">
                        <a:moveTo>
                          <a:pt x="3029843" y="0"/>
                        </a:moveTo>
                        <a:lnTo>
                          <a:pt x="3029843" y="503447"/>
                        </a:lnTo>
                        <a:cubicBezTo>
                          <a:pt x="3029843" y="721724"/>
                          <a:pt x="2351557" y="898679"/>
                          <a:pt x="1514922" y="898679"/>
                        </a:cubicBezTo>
                        <a:cubicBezTo>
                          <a:pt x="678259" y="898679"/>
                          <a:pt x="0" y="721751"/>
                          <a:pt x="0" y="503447"/>
                        </a:cubicBezTo>
                        <a:lnTo>
                          <a:pt x="0" y="0"/>
                        </a:lnTo>
                        <a:cubicBezTo>
                          <a:pt x="0" y="218304"/>
                          <a:pt x="678259" y="395232"/>
                          <a:pt x="1514922" y="395232"/>
                        </a:cubicBezTo>
                        <a:cubicBezTo>
                          <a:pt x="2351584" y="395232"/>
                          <a:pt x="3029843" y="218304"/>
                          <a:pt x="3029843" y="0"/>
                        </a:cubicBez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3" name="Forma libre: forma 852">
                    <a:extLst>
                      <a:ext uri="{FF2B5EF4-FFF2-40B4-BE49-F238E27FC236}">
                        <a16:creationId xmlns:a16="http://schemas.microsoft.com/office/drawing/2014/main" id="{31A798C7-FE4A-A78D-3128-D6C418A24595}"/>
                      </a:ext>
                    </a:extLst>
                  </p:cNvPr>
                  <p:cNvSpPr/>
                  <p:nvPr/>
                </p:nvSpPr>
                <p:spPr>
                  <a:xfrm>
                    <a:off x="4581078" y="2362634"/>
                    <a:ext cx="3029816" cy="796679"/>
                  </a:xfrm>
                  <a:custGeom>
                    <a:avLst/>
                    <a:gdLst>
                      <a:gd name="connsiteX0" fmla="*/ 3029816 w 3029816"/>
                      <a:gd name="connsiteY0" fmla="*/ 398340 h 796679"/>
                      <a:gd name="connsiteX1" fmla="*/ 1514908 w 3029816"/>
                      <a:gd name="connsiteY1" fmla="*/ 796680 h 796679"/>
                      <a:gd name="connsiteX2" fmla="*/ 0 w 3029816"/>
                      <a:gd name="connsiteY2" fmla="*/ 398340 h 796679"/>
                      <a:gd name="connsiteX3" fmla="*/ 1514908 w 3029816"/>
                      <a:gd name="connsiteY3" fmla="*/ 0 h 796679"/>
                      <a:gd name="connsiteX4" fmla="*/ 3029816 w 3029816"/>
                      <a:gd name="connsiteY4" fmla="*/ 398340 h 796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9816" h="796679">
                        <a:moveTo>
                          <a:pt x="3029816" y="398340"/>
                        </a:moveTo>
                        <a:cubicBezTo>
                          <a:pt x="3029816" y="618337"/>
                          <a:pt x="2351569" y="796680"/>
                          <a:pt x="1514908" y="796680"/>
                        </a:cubicBezTo>
                        <a:cubicBezTo>
                          <a:pt x="678247" y="796680"/>
                          <a:pt x="0" y="618337"/>
                          <a:pt x="0" y="398340"/>
                        </a:cubicBezTo>
                        <a:cubicBezTo>
                          <a:pt x="0" y="178343"/>
                          <a:pt x="678247" y="0"/>
                          <a:pt x="1514908" y="0"/>
                        </a:cubicBezTo>
                        <a:cubicBezTo>
                          <a:pt x="2351569" y="0"/>
                          <a:pt x="3029816" y="178343"/>
                          <a:pt x="3029816" y="398340"/>
                        </a:cubicBez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4" name="Forma libre: forma 853">
                    <a:extLst>
                      <a:ext uri="{FF2B5EF4-FFF2-40B4-BE49-F238E27FC236}">
                        <a16:creationId xmlns:a16="http://schemas.microsoft.com/office/drawing/2014/main" id="{A0D439A3-0415-74CB-5A0E-B3FCB240D562}"/>
                      </a:ext>
                    </a:extLst>
                  </p:cNvPr>
                  <p:cNvSpPr/>
                  <p:nvPr/>
                </p:nvSpPr>
                <p:spPr>
                  <a:xfrm>
                    <a:off x="4581078" y="2757840"/>
                    <a:ext cx="3029843" cy="898679"/>
                  </a:xfrm>
                  <a:custGeom>
                    <a:avLst/>
                    <a:gdLst>
                      <a:gd name="connsiteX0" fmla="*/ 3029843 w 3029843"/>
                      <a:gd name="connsiteY0" fmla="*/ 0 h 898679"/>
                      <a:gd name="connsiteX1" fmla="*/ 3029843 w 3029843"/>
                      <a:gd name="connsiteY1" fmla="*/ 503447 h 898679"/>
                      <a:gd name="connsiteX2" fmla="*/ 1514922 w 3029843"/>
                      <a:gd name="connsiteY2" fmla="*/ 898679 h 898679"/>
                      <a:gd name="connsiteX3" fmla="*/ 0 w 3029843"/>
                      <a:gd name="connsiteY3" fmla="*/ 503447 h 898679"/>
                      <a:gd name="connsiteX4" fmla="*/ 0 w 3029843"/>
                      <a:gd name="connsiteY4" fmla="*/ 0 h 898679"/>
                      <a:gd name="connsiteX5" fmla="*/ 1514922 w 3029843"/>
                      <a:gd name="connsiteY5" fmla="*/ 395232 h 898679"/>
                      <a:gd name="connsiteX6" fmla="*/ 3029843 w 3029843"/>
                      <a:gd name="connsiteY6" fmla="*/ 0 h 8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843" h="898679">
                        <a:moveTo>
                          <a:pt x="3029843" y="0"/>
                        </a:moveTo>
                        <a:lnTo>
                          <a:pt x="3029843" y="503447"/>
                        </a:lnTo>
                        <a:cubicBezTo>
                          <a:pt x="3029843" y="721751"/>
                          <a:pt x="2351557" y="898679"/>
                          <a:pt x="1514922" y="898679"/>
                        </a:cubicBezTo>
                        <a:cubicBezTo>
                          <a:pt x="678259" y="898679"/>
                          <a:pt x="0" y="721751"/>
                          <a:pt x="0" y="503447"/>
                        </a:cubicBezTo>
                        <a:lnTo>
                          <a:pt x="0" y="0"/>
                        </a:lnTo>
                        <a:cubicBezTo>
                          <a:pt x="0" y="218304"/>
                          <a:pt x="678259" y="395232"/>
                          <a:pt x="1514922" y="395232"/>
                        </a:cubicBezTo>
                        <a:cubicBezTo>
                          <a:pt x="2351584" y="395232"/>
                          <a:pt x="3029843" y="218304"/>
                          <a:pt x="3029843" y="0"/>
                        </a:cubicBez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5" name="Forma libre: forma 854">
                    <a:extLst>
                      <a:ext uri="{FF2B5EF4-FFF2-40B4-BE49-F238E27FC236}">
                        <a16:creationId xmlns:a16="http://schemas.microsoft.com/office/drawing/2014/main" id="{A276C2D2-6648-3A37-3B3F-4AAC3F7F6881}"/>
                      </a:ext>
                    </a:extLst>
                  </p:cNvPr>
                  <p:cNvSpPr/>
                  <p:nvPr/>
                </p:nvSpPr>
                <p:spPr>
                  <a:xfrm>
                    <a:off x="4581078" y="1534464"/>
                    <a:ext cx="3029816" cy="796679"/>
                  </a:xfrm>
                  <a:custGeom>
                    <a:avLst/>
                    <a:gdLst>
                      <a:gd name="connsiteX0" fmla="*/ 3029816 w 3029816"/>
                      <a:gd name="connsiteY0" fmla="*/ 398340 h 796679"/>
                      <a:gd name="connsiteX1" fmla="*/ 1514908 w 3029816"/>
                      <a:gd name="connsiteY1" fmla="*/ 796680 h 796679"/>
                      <a:gd name="connsiteX2" fmla="*/ 0 w 3029816"/>
                      <a:gd name="connsiteY2" fmla="*/ 398340 h 796679"/>
                      <a:gd name="connsiteX3" fmla="*/ 1514908 w 3029816"/>
                      <a:gd name="connsiteY3" fmla="*/ 0 h 796679"/>
                      <a:gd name="connsiteX4" fmla="*/ 3029816 w 3029816"/>
                      <a:gd name="connsiteY4" fmla="*/ 398340 h 796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9816" h="796679">
                        <a:moveTo>
                          <a:pt x="3029816" y="398340"/>
                        </a:moveTo>
                        <a:cubicBezTo>
                          <a:pt x="3029816" y="618337"/>
                          <a:pt x="2351569" y="796680"/>
                          <a:pt x="1514908" y="796680"/>
                        </a:cubicBezTo>
                        <a:cubicBezTo>
                          <a:pt x="678247" y="796680"/>
                          <a:pt x="0" y="618337"/>
                          <a:pt x="0" y="398340"/>
                        </a:cubicBezTo>
                        <a:cubicBezTo>
                          <a:pt x="0" y="178343"/>
                          <a:pt x="678247" y="0"/>
                          <a:pt x="1514908" y="0"/>
                        </a:cubicBezTo>
                        <a:cubicBezTo>
                          <a:pt x="2351569" y="0"/>
                          <a:pt x="3029816" y="178343"/>
                          <a:pt x="3029816" y="398340"/>
                        </a:cubicBez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6" name="Forma libre: forma 855">
                    <a:extLst>
                      <a:ext uri="{FF2B5EF4-FFF2-40B4-BE49-F238E27FC236}">
                        <a16:creationId xmlns:a16="http://schemas.microsoft.com/office/drawing/2014/main" id="{E765187D-FD56-69DA-7A3A-9917C73F9041}"/>
                      </a:ext>
                    </a:extLst>
                  </p:cNvPr>
                  <p:cNvSpPr/>
                  <p:nvPr/>
                </p:nvSpPr>
                <p:spPr>
                  <a:xfrm>
                    <a:off x="4581078" y="1929736"/>
                    <a:ext cx="3029843" cy="898679"/>
                  </a:xfrm>
                  <a:custGeom>
                    <a:avLst/>
                    <a:gdLst>
                      <a:gd name="connsiteX0" fmla="*/ 3029843 w 3029843"/>
                      <a:gd name="connsiteY0" fmla="*/ 0 h 898679"/>
                      <a:gd name="connsiteX1" fmla="*/ 3029843 w 3029843"/>
                      <a:gd name="connsiteY1" fmla="*/ 503447 h 898679"/>
                      <a:gd name="connsiteX2" fmla="*/ 1514922 w 3029843"/>
                      <a:gd name="connsiteY2" fmla="*/ 898679 h 898679"/>
                      <a:gd name="connsiteX3" fmla="*/ 0 w 3029843"/>
                      <a:gd name="connsiteY3" fmla="*/ 503447 h 898679"/>
                      <a:gd name="connsiteX4" fmla="*/ 0 w 3029843"/>
                      <a:gd name="connsiteY4" fmla="*/ 0 h 898679"/>
                      <a:gd name="connsiteX5" fmla="*/ 1514922 w 3029843"/>
                      <a:gd name="connsiteY5" fmla="*/ 395232 h 898679"/>
                      <a:gd name="connsiteX6" fmla="*/ 3029843 w 3029843"/>
                      <a:gd name="connsiteY6" fmla="*/ 0 h 8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843" h="898679">
                        <a:moveTo>
                          <a:pt x="3029843" y="0"/>
                        </a:moveTo>
                        <a:lnTo>
                          <a:pt x="3029843" y="503447"/>
                        </a:lnTo>
                        <a:cubicBezTo>
                          <a:pt x="3029843" y="721724"/>
                          <a:pt x="2351557" y="898679"/>
                          <a:pt x="1514922" y="898679"/>
                        </a:cubicBezTo>
                        <a:cubicBezTo>
                          <a:pt x="678259" y="898679"/>
                          <a:pt x="0" y="721751"/>
                          <a:pt x="0" y="503447"/>
                        </a:cubicBezTo>
                        <a:lnTo>
                          <a:pt x="0" y="0"/>
                        </a:lnTo>
                        <a:cubicBezTo>
                          <a:pt x="0" y="218277"/>
                          <a:pt x="678259" y="395232"/>
                          <a:pt x="1514922" y="395232"/>
                        </a:cubicBezTo>
                        <a:cubicBezTo>
                          <a:pt x="2351584" y="395232"/>
                          <a:pt x="3029843" y="218304"/>
                          <a:pt x="3029843" y="0"/>
                        </a:cubicBez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7" name="Forma libre: forma 856">
                    <a:extLst>
                      <a:ext uri="{FF2B5EF4-FFF2-40B4-BE49-F238E27FC236}">
                        <a16:creationId xmlns:a16="http://schemas.microsoft.com/office/drawing/2014/main" id="{534B7D28-F59C-B01E-5ABB-47123794752F}"/>
                      </a:ext>
                    </a:extLst>
                  </p:cNvPr>
                  <p:cNvSpPr/>
                  <p:nvPr/>
                </p:nvSpPr>
                <p:spPr>
                  <a:xfrm>
                    <a:off x="4581078" y="706427"/>
                    <a:ext cx="3029816" cy="796679"/>
                  </a:xfrm>
                  <a:custGeom>
                    <a:avLst/>
                    <a:gdLst>
                      <a:gd name="connsiteX0" fmla="*/ 3029816 w 3029816"/>
                      <a:gd name="connsiteY0" fmla="*/ 398340 h 796679"/>
                      <a:gd name="connsiteX1" fmla="*/ 1514908 w 3029816"/>
                      <a:gd name="connsiteY1" fmla="*/ 796680 h 796679"/>
                      <a:gd name="connsiteX2" fmla="*/ 0 w 3029816"/>
                      <a:gd name="connsiteY2" fmla="*/ 398340 h 796679"/>
                      <a:gd name="connsiteX3" fmla="*/ 1514908 w 3029816"/>
                      <a:gd name="connsiteY3" fmla="*/ 0 h 796679"/>
                      <a:gd name="connsiteX4" fmla="*/ 3029816 w 3029816"/>
                      <a:gd name="connsiteY4" fmla="*/ 398340 h 796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9816" h="796679">
                        <a:moveTo>
                          <a:pt x="3029816" y="398340"/>
                        </a:moveTo>
                        <a:cubicBezTo>
                          <a:pt x="3029816" y="618337"/>
                          <a:pt x="2351569" y="796680"/>
                          <a:pt x="1514908" y="796680"/>
                        </a:cubicBezTo>
                        <a:cubicBezTo>
                          <a:pt x="678247" y="796680"/>
                          <a:pt x="0" y="618337"/>
                          <a:pt x="0" y="398340"/>
                        </a:cubicBezTo>
                        <a:cubicBezTo>
                          <a:pt x="0" y="178343"/>
                          <a:pt x="678247" y="0"/>
                          <a:pt x="1514908" y="0"/>
                        </a:cubicBezTo>
                        <a:cubicBezTo>
                          <a:pt x="2351569" y="0"/>
                          <a:pt x="3029816" y="178343"/>
                          <a:pt x="3029816" y="398340"/>
                        </a:cubicBez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8" name="Forma libre: forma 857">
                    <a:extLst>
                      <a:ext uri="{FF2B5EF4-FFF2-40B4-BE49-F238E27FC236}">
                        <a16:creationId xmlns:a16="http://schemas.microsoft.com/office/drawing/2014/main" id="{E6272932-8E96-F089-8947-BE0524582769}"/>
                      </a:ext>
                    </a:extLst>
                  </p:cNvPr>
                  <p:cNvSpPr/>
                  <p:nvPr/>
                </p:nvSpPr>
                <p:spPr>
                  <a:xfrm>
                    <a:off x="4581078" y="1101633"/>
                    <a:ext cx="3029843" cy="898679"/>
                  </a:xfrm>
                  <a:custGeom>
                    <a:avLst/>
                    <a:gdLst>
                      <a:gd name="connsiteX0" fmla="*/ 3029843 w 3029843"/>
                      <a:gd name="connsiteY0" fmla="*/ 0 h 898679"/>
                      <a:gd name="connsiteX1" fmla="*/ 3029843 w 3029843"/>
                      <a:gd name="connsiteY1" fmla="*/ 503447 h 898679"/>
                      <a:gd name="connsiteX2" fmla="*/ 1514922 w 3029843"/>
                      <a:gd name="connsiteY2" fmla="*/ 898679 h 898679"/>
                      <a:gd name="connsiteX3" fmla="*/ 0 w 3029843"/>
                      <a:gd name="connsiteY3" fmla="*/ 503447 h 898679"/>
                      <a:gd name="connsiteX4" fmla="*/ 0 w 3029843"/>
                      <a:gd name="connsiteY4" fmla="*/ 0 h 898679"/>
                      <a:gd name="connsiteX5" fmla="*/ 1514922 w 3029843"/>
                      <a:gd name="connsiteY5" fmla="*/ 395232 h 898679"/>
                      <a:gd name="connsiteX6" fmla="*/ 3029843 w 3029843"/>
                      <a:gd name="connsiteY6" fmla="*/ 0 h 8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9843" h="898679">
                        <a:moveTo>
                          <a:pt x="3029843" y="0"/>
                        </a:moveTo>
                        <a:lnTo>
                          <a:pt x="3029843" y="503447"/>
                        </a:lnTo>
                        <a:cubicBezTo>
                          <a:pt x="3029843" y="721724"/>
                          <a:pt x="2351557" y="898679"/>
                          <a:pt x="1514922" y="898679"/>
                        </a:cubicBezTo>
                        <a:cubicBezTo>
                          <a:pt x="678259" y="898679"/>
                          <a:pt x="0" y="721751"/>
                          <a:pt x="0" y="503447"/>
                        </a:cubicBezTo>
                        <a:lnTo>
                          <a:pt x="0" y="0"/>
                        </a:lnTo>
                        <a:cubicBezTo>
                          <a:pt x="0" y="218277"/>
                          <a:pt x="678259" y="395232"/>
                          <a:pt x="1514922" y="395232"/>
                        </a:cubicBezTo>
                        <a:cubicBezTo>
                          <a:pt x="2351584" y="395232"/>
                          <a:pt x="3029843" y="218304"/>
                          <a:pt x="3029843" y="0"/>
                        </a:cubicBezTo>
                        <a:close/>
                      </a:path>
                    </a:pathLst>
                  </a:custGeom>
                  <a:solidFill>
                    <a:schemeClr val="bg1">
                      <a:lumMod val="6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59" name="Gráfico 627">
                    <a:extLst>
                      <a:ext uri="{FF2B5EF4-FFF2-40B4-BE49-F238E27FC236}">
                        <a16:creationId xmlns:a16="http://schemas.microsoft.com/office/drawing/2014/main" id="{38F378C9-F328-84B9-DAD8-38458EF2F51C}"/>
                      </a:ext>
                    </a:extLst>
                  </p:cNvPr>
                  <p:cNvGrpSpPr/>
                  <p:nvPr/>
                </p:nvGrpSpPr>
                <p:grpSpPr>
                  <a:xfrm>
                    <a:off x="4631468" y="1705820"/>
                    <a:ext cx="2929035" cy="2077732"/>
                    <a:chOff x="4631468" y="1705820"/>
                    <a:chExt cx="2929035" cy="2077732"/>
                  </a:xfrm>
                  <a:solidFill>
                    <a:srgbClr val="C2CACC"/>
                  </a:solidFill>
                </p:grpSpPr>
                <p:sp>
                  <p:nvSpPr>
                    <p:cNvPr id="885" name="Forma libre: forma 884">
                      <a:extLst>
                        <a:ext uri="{FF2B5EF4-FFF2-40B4-BE49-F238E27FC236}">
                          <a16:creationId xmlns:a16="http://schemas.microsoft.com/office/drawing/2014/main" id="{F5E66170-9CF2-F828-D6D9-1B6E2EDEF485}"/>
                        </a:ext>
                      </a:extLst>
                    </p:cNvPr>
                    <p:cNvSpPr/>
                    <p:nvPr/>
                  </p:nvSpPr>
                  <p:spPr>
                    <a:xfrm>
                      <a:off x="4631468" y="1705820"/>
                      <a:ext cx="2929035" cy="420842"/>
                    </a:xfrm>
                    <a:custGeom>
                      <a:avLst/>
                      <a:gdLst>
                        <a:gd name="connsiteX0" fmla="*/ 2929036 w 2929035"/>
                        <a:gd name="connsiteY0" fmla="*/ 0 h 420842"/>
                        <a:gd name="connsiteX1" fmla="*/ 2929036 w 2929035"/>
                        <a:gd name="connsiteY1" fmla="*/ 127020 h 420842"/>
                        <a:gd name="connsiteX2" fmla="*/ 1464531 w 2929035"/>
                        <a:gd name="connsiteY2" fmla="*/ 420843 h 420842"/>
                        <a:gd name="connsiteX3" fmla="*/ 0 w 2929035"/>
                        <a:gd name="connsiteY3" fmla="*/ 127020 h 420842"/>
                        <a:gd name="connsiteX4" fmla="*/ 0 w 2929035"/>
                        <a:gd name="connsiteY4" fmla="*/ 0 h 420842"/>
                        <a:gd name="connsiteX5" fmla="*/ 1464531 w 2929035"/>
                        <a:gd name="connsiteY5" fmla="*/ 293822 h 420842"/>
                        <a:gd name="connsiteX6" fmla="*/ 2929036 w 2929035"/>
                        <a:gd name="connsiteY6" fmla="*/ 0 h 4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9035" h="420842">
                          <a:moveTo>
                            <a:pt x="2929036" y="0"/>
                          </a:moveTo>
                          <a:lnTo>
                            <a:pt x="2929036" y="127020"/>
                          </a:lnTo>
                          <a:cubicBezTo>
                            <a:pt x="2757452" y="296180"/>
                            <a:pt x="2166847" y="420843"/>
                            <a:pt x="1464531" y="420843"/>
                          </a:cubicBezTo>
                          <a:cubicBezTo>
                            <a:pt x="762216" y="420843"/>
                            <a:pt x="171611" y="296180"/>
                            <a:pt x="0" y="127020"/>
                          </a:cubicBezTo>
                          <a:lnTo>
                            <a:pt x="0" y="0"/>
                          </a:lnTo>
                          <a:cubicBezTo>
                            <a:pt x="171584" y="169133"/>
                            <a:pt x="762216" y="293822"/>
                            <a:pt x="1464531" y="293822"/>
                          </a:cubicBezTo>
                          <a:cubicBezTo>
                            <a:pt x="2166847" y="293822"/>
                            <a:pt x="2757452" y="169133"/>
                            <a:pt x="2929036" y="0"/>
                          </a:cubicBez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6" name="Forma libre: forma 885">
                      <a:extLst>
                        <a:ext uri="{FF2B5EF4-FFF2-40B4-BE49-F238E27FC236}">
                          <a16:creationId xmlns:a16="http://schemas.microsoft.com/office/drawing/2014/main" id="{1DA8C086-5766-83ED-C8CE-3DB805C6ECFC}"/>
                        </a:ext>
                      </a:extLst>
                    </p:cNvPr>
                    <p:cNvSpPr/>
                    <p:nvPr/>
                  </p:nvSpPr>
                  <p:spPr>
                    <a:xfrm>
                      <a:off x="4631468" y="2534607"/>
                      <a:ext cx="2929035" cy="420842"/>
                    </a:xfrm>
                    <a:custGeom>
                      <a:avLst/>
                      <a:gdLst>
                        <a:gd name="connsiteX0" fmla="*/ 2929036 w 2929035"/>
                        <a:gd name="connsiteY0" fmla="*/ 0 h 420842"/>
                        <a:gd name="connsiteX1" fmla="*/ 2929036 w 2929035"/>
                        <a:gd name="connsiteY1" fmla="*/ 127020 h 420842"/>
                        <a:gd name="connsiteX2" fmla="*/ 1464531 w 2929035"/>
                        <a:gd name="connsiteY2" fmla="*/ 420843 h 420842"/>
                        <a:gd name="connsiteX3" fmla="*/ 0 w 2929035"/>
                        <a:gd name="connsiteY3" fmla="*/ 127020 h 420842"/>
                        <a:gd name="connsiteX4" fmla="*/ 0 w 2929035"/>
                        <a:gd name="connsiteY4" fmla="*/ 0 h 420842"/>
                        <a:gd name="connsiteX5" fmla="*/ 1464531 w 2929035"/>
                        <a:gd name="connsiteY5" fmla="*/ 293822 h 420842"/>
                        <a:gd name="connsiteX6" fmla="*/ 2929036 w 2929035"/>
                        <a:gd name="connsiteY6" fmla="*/ 0 h 4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9035" h="420842">
                          <a:moveTo>
                            <a:pt x="2929036" y="0"/>
                          </a:moveTo>
                          <a:lnTo>
                            <a:pt x="2929036" y="127020"/>
                          </a:lnTo>
                          <a:cubicBezTo>
                            <a:pt x="2757452" y="296153"/>
                            <a:pt x="2166847" y="420843"/>
                            <a:pt x="1464531" y="420843"/>
                          </a:cubicBezTo>
                          <a:cubicBezTo>
                            <a:pt x="762216" y="420843"/>
                            <a:pt x="171611" y="296153"/>
                            <a:pt x="0" y="127020"/>
                          </a:cubicBezTo>
                          <a:lnTo>
                            <a:pt x="0" y="0"/>
                          </a:lnTo>
                          <a:cubicBezTo>
                            <a:pt x="171584" y="169133"/>
                            <a:pt x="762216" y="293822"/>
                            <a:pt x="1464531" y="293822"/>
                          </a:cubicBezTo>
                          <a:cubicBezTo>
                            <a:pt x="2166847" y="293822"/>
                            <a:pt x="2757452" y="169133"/>
                            <a:pt x="2929036" y="0"/>
                          </a:cubicBez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7" name="Forma libre: forma 886">
                      <a:extLst>
                        <a:ext uri="{FF2B5EF4-FFF2-40B4-BE49-F238E27FC236}">
                          <a16:creationId xmlns:a16="http://schemas.microsoft.com/office/drawing/2014/main" id="{D641E6D6-075E-B53D-45D1-1A05ACC38574}"/>
                        </a:ext>
                      </a:extLst>
                    </p:cNvPr>
                    <p:cNvSpPr/>
                    <p:nvPr/>
                  </p:nvSpPr>
                  <p:spPr>
                    <a:xfrm>
                      <a:off x="4631468" y="3362710"/>
                      <a:ext cx="2929035" cy="420842"/>
                    </a:xfrm>
                    <a:custGeom>
                      <a:avLst/>
                      <a:gdLst>
                        <a:gd name="connsiteX0" fmla="*/ 2929036 w 2929035"/>
                        <a:gd name="connsiteY0" fmla="*/ 0 h 420842"/>
                        <a:gd name="connsiteX1" fmla="*/ 2929036 w 2929035"/>
                        <a:gd name="connsiteY1" fmla="*/ 127020 h 420842"/>
                        <a:gd name="connsiteX2" fmla="*/ 1464531 w 2929035"/>
                        <a:gd name="connsiteY2" fmla="*/ 420843 h 420842"/>
                        <a:gd name="connsiteX3" fmla="*/ 0 w 2929035"/>
                        <a:gd name="connsiteY3" fmla="*/ 127020 h 420842"/>
                        <a:gd name="connsiteX4" fmla="*/ 0 w 2929035"/>
                        <a:gd name="connsiteY4" fmla="*/ 0 h 420842"/>
                        <a:gd name="connsiteX5" fmla="*/ 1464531 w 2929035"/>
                        <a:gd name="connsiteY5" fmla="*/ 293823 h 420842"/>
                        <a:gd name="connsiteX6" fmla="*/ 2929036 w 2929035"/>
                        <a:gd name="connsiteY6" fmla="*/ 0 h 4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9035" h="420842">
                          <a:moveTo>
                            <a:pt x="2929036" y="0"/>
                          </a:moveTo>
                          <a:lnTo>
                            <a:pt x="2929036" y="127020"/>
                          </a:lnTo>
                          <a:cubicBezTo>
                            <a:pt x="2757452" y="296153"/>
                            <a:pt x="2166847" y="420843"/>
                            <a:pt x="1464531" y="420843"/>
                          </a:cubicBezTo>
                          <a:cubicBezTo>
                            <a:pt x="762216" y="420843"/>
                            <a:pt x="171611" y="296153"/>
                            <a:pt x="0" y="127020"/>
                          </a:cubicBezTo>
                          <a:lnTo>
                            <a:pt x="0" y="0"/>
                          </a:lnTo>
                          <a:cubicBezTo>
                            <a:pt x="171584" y="169133"/>
                            <a:pt x="762216" y="293823"/>
                            <a:pt x="1464531" y="293823"/>
                          </a:cubicBezTo>
                          <a:cubicBezTo>
                            <a:pt x="2166847" y="293823"/>
                            <a:pt x="2757452" y="169119"/>
                            <a:pt x="2929036" y="0"/>
                          </a:cubicBez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60" name="Forma libre: forma 859">
                    <a:extLst>
                      <a:ext uri="{FF2B5EF4-FFF2-40B4-BE49-F238E27FC236}">
                        <a16:creationId xmlns:a16="http://schemas.microsoft.com/office/drawing/2014/main" id="{110AE122-E687-2082-94F1-583988561E4A}"/>
                      </a:ext>
                    </a:extLst>
                  </p:cNvPr>
                  <p:cNvSpPr/>
                  <p:nvPr/>
                </p:nvSpPr>
                <p:spPr>
                  <a:xfrm>
                    <a:off x="6934859" y="1600204"/>
                    <a:ext cx="168154" cy="168154"/>
                  </a:xfrm>
                  <a:custGeom>
                    <a:avLst/>
                    <a:gdLst>
                      <a:gd name="connsiteX0" fmla="*/ 168155 w 168154"/>
                      <a:gd name="connsiteY0" fmla="*/ 84078 h 168154"/>
                      <a:gd name="connsiteX1" fmla="*/ 84077 w 168154"/>
                      <a:gd name="connsiteY1" fmla="*/ 168155 h 168154"/>
                      <a:gd name="connsiteX2" fmla="*/ 0 w 168154"/>
                      <a:gd name="connsiteY2" fmla="*/ 84077 h 168154"/>
                      <a:gd name="connsiteX3" fmla="*/ 84077 w 168154"/>
                      <a:gd name="connsiteY3" fmla="*/ 0 h 168154"/>
                      <a:gd name="connsiteX4" fmla="*/ 168155 w 168154"/>
                      <a:gd name="connsiteY4" fmla="*/ 84078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8"/>
                        </a:moveTo>
                        <a:cubicBezTo>
                          <a:pt x="168155" y="130512"/>
                          <a:pt x="130512" y="168155"/>
                          <a:pt x="84077" y="168155"/>
                        </a:cubicBezTo>
                        <a:cubicBezTo>
                          <a:pt x="37642" y="168155"/>
                          <a:pt x="0" y="130512"/>
                          <a:pt x="0" y="84077"/>
                        </a:cubicBezTo>
                        <a:cubicBezTo>
                          <a:pt x="0" y="37643"/>
                          <a:pt x="37642" y="0"/>
                          <a:pt x="84077" y="0"/>
                        </a:cubicBezTo>
                        <a:cubicBezTo>
                          <a:pt x="130512" y="0"/>
                          <a:pt x="168155" y="37643"/>
                          <a:pt x="168155" y="84078"/>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1" name="Forma libre: forma 860">
                    <a:extLst>
                      <a:ext uri="{FF2B5EF4-FFF2-40B4-BE49-F238E27FC236}">
                        <a16:creationId xmlns:a16="http://schemas.microsoft.com/office/drawing/2014/main" id="{0437B809-2D43-1245-3781-CE3609574905}"/>
                      </a:ext>
                    </a:extLst>
                  </p:cNvPr>
                  <p:cNvSpPr/>
                  <p:nvPr/>
                </p:nvSpPr>
                <p:spPr>
                  <a:xfrm>
                    <a:off x="6697843" y="1627475"/>
                    <a:ext cx="168154" cy="168154"/>
                  </a:xfrm>
                  <a:custGeom>
                    <a:avLst/>
                    <a:gdLst>
                      <a:gd name="connsiteX0" fmla="*/ 168155 w 168154"/>
                      <a:gd name="connsiteY0" fmla="*/ 84077 h 168154"/>
                      <a:gd name="connsiteX1" fmla="*/ 84077 w 168154"/>
                      <a:gd name="connsiteY1" fmla="*/ 168155 h 168154"/>
                      <a:gd name="connsiteX2" fmla="*/ 0 w 168154"/>
                      <a:gd name="connsiteY2" fmla="*/ 84077 h 168154"/>
                      <a:gd name="connsiteX3" fmla="*/ 84077 w 168154"/>
                      <a:gd name="connsiteY3" fmla="*/ 0 h 168154"/>
                      <a:gd name="connsiteX4" fmla="*/ 168155 w 168154"/>
                      <a:gd name="connsiteY4" fmla="*/ 84077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7"/>
                        </a:moveTo>
                        <a:cubicBezTo>
                          <a:pt x="168155" y="130512"/>
                          <a:pt x="130512" y="168155"/>
                          <a:pt x="84077" y="168155"/>
                        </a:cubicBezTo>
                        <a:cubicBezTo>
                          <a:pt x="37642" y="168155"/>
                          <a:pt x="0" y="130512"/>
                          <a:pt x="0" y="84077"/>
                        </a:cubicBezTo>
                        <a:cubicBezTo>
                          <a:pt x="0" y="37643"/>
                          <a:pt x="37642" y="0"/>
                          <a:pt x="84077" y="0"/>
                        </a:cubicBezTo>
                        <a:cubicBezTo>
                          <a:pt x="130512" y="0"/>
                          <a:pt x="168155" y="37643"/>
                          <a:pt x="168155" y="84077"/>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2" name="Forma libre: forma 861">
                    <a:extLst>
                      <a:ext uri="{FF2B5EF4-FFF2-40B4-BE49-F238E27FC236}">
                        <a16:creationId xmlns:a16="http://schemas.microsoft.com/office/drawing/2014/main" id="{341410D4-84F3-CECB-8605-CC8D847EE844}"/>
                      </a:ext>
                    </a:extLst>
                  </p:cNvPr>
                  <p:cNvSpPr/>
                  <p:nvPr/>
                </p:nvSpPr>
                <p:spPr>
                  <a:xfrm>
                    <a:off x="6934859" y="2419815"/>
                    <a:ext cx="168154" cy="168154"/>
                  </a:xfrm>
                  <a:custGeom>
                    <a:avLst/>
                    <a:gdLst>
                      <a:gd name="connsiteX0" fmla="*/ 168155 w 168154"/>
                      <a:gd name="connsiteY0" fmla="*/ 84078 h 168154"/>
                      <a:gd name="connsiteX1" fmla="*/ 84077 w 168154"/>
                      <a:gd name="connsiteY1" fmla="*/ 168155 h 168154"/>
                      <a:gd name="connsiteX2" fmla="*/ 0 w 168154"/>
                      <a:gd name="connsiteY2" fmla="*/ 84078 h 168154"/>
                      <a:gd name="connsiteX3" fmla="*/ 84077 w 168154"/>
                      <a:gd name="connsiteY3" fmla="*/ 0 h 168154"/>
                      <a:gd name="connsiteX4" fmla="*/ 168155 w 168154"/>
                      <a:gd name="connsiteY4" fmla="*/ 84078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8"/>
                        </a:moveTo>
                        <a:cubicBezTo>
                          <a:pt x="168155" y="130512"/>
                          <a:pt x="130512" y="168155"/>
                          <a:pt x="84077" y="168155"/>
                        </a:cubicBezTo>
                        <a:cubicBezTo>
                          <a:pt x="37642" y="168155"/>
                          <a:pt x="0" y="130512"/>
                          <a:pt x="0" y="84078"/>
                        </a:cubicBezTo>
                        <a:cubicBezTo>
                          <a:pt x="0" y="37643"/>
                          <a:pt x="37642" y="0"/>
                          <a:pt x="84077" y="0"/>
                        </a:cubicBezTo>
                        <a:cubicBezTo>
                          <a:pt x="130512" y="0"/>
                          <a:pt x="168155" y="37643"/>
                          <a:pt x="168155" y="84078"/>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3" name="Forma libre: forma 862">
                    <a:extLst>
                      <a:ext uri="{FF2B5EF4-FFF2-40B4-BE49-F238E27FC236}">
                        <a16:creationId xmlns:a16="http://schemas.microsoft.com/office/drawing/2014/main" id="{A7FC1BC0-B662-DE95-4856-5FE844DDD9B2}"/>
                      </a:ext>
                    </a:extLst>
                  </p:cNvPr>
                  <p:cNvSpPr/>
                  <p:nvPr/>
                </p:nvSpPr>
                <p:spPr>
                  <a:xfrm>
                    <a:off x="6697843" y="2447087"/>
                    <a:ext cx="168154" cy="168154"/>
                  </a:xfrm>
                  <a:custGeom>
                    <a:avLst/>
                    <a:gdLst>
                      <a:gd name="connsiteX0" fmla="*/ 168155 w 168154"/>
                      <a:gd name="connsiteY0" fmla="*/ 84077 h 168154"/>
                      <a:gd name="connsiteX1" fmla="*/ 84077 w 168154"/>
                      <a:gd name="connsiteY1" fmla="*/ 168155 h 168154"/>
                      <a:gd name="connsiteX2" fmla="*/ 0 w 168154"/>
                      <a:gd name="connsiteY2" fmla="*/ 84077 h 168154"/>
                      <a:gd name="connsiteX3" fmla="*/ 84077 w 168154"/>
                      <a:gd name="connsiteY3" fmla="*/ 0 h 168154"/>
                      <a:gd name="connsiteX4" fmla="*/ 168155 w 168154"/>
                      <a:gd name="connsiteY4" fmla="*/ 84077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7"/>
                        </a:moveTo>
                        <a:cubicBezTo>
                          <a:pt x="168155" y="130512"/>
                          <a:pt x="130512" y="168155"/>
                          <a:pt x="84077" y="168155"/>
                        </a:cubicBezTo>
                        <a:cubicBezTo>
                          <a:pt x="37642" y="168155"/>
                          <a:pt x="0" y="130512"/>
                          <a:pt x="0" y="84077"/>
                        </a:cubicBezTo>
                        <a:cubicBezTo>
                          <a:pt x="0" y="37643"/>
                          <a:pt x="37642" y="0"/>
                          <a:pt x="84077" y="0"/>
                        </a:cubicBezTo>
                        <a:cubicBezTo>
                          <a:pt x="130512" y="0"/>
                          <a:pt x="168155" y="37643"/>
                          <a:pt x="168155" y="84077"/>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4" name="Forma libre: forma 863">
                    <a:extLst>
                      <a:ext uri="{FF2B5EF4-FFF2-40B4-BE49-F238E27FC236}">
                        <a16:creationId xmlns:a16="http://schemas.microsoft.com/office/drawing/2014/main" id="{2501B817-1CFA-50F9-26F3-C6F68A957D81}"/>
                      </a:ext>
                    </a:extLst>
                  </p:cNvPr>
                  <p:cNvSpPr/>
                  <p:nvPr/>
                </p:nvSpPr>
                <p:spPr>
                  <a:xfrm>
                    <a:off x="6934859" y="3239427"/>
                    <a:ext cx="168154" cy="168154"/>
                  </a:xfrm>
                  <a:custGeom>
                    <a:avLst/>
                    <a:gdLst>
                      <a:gd name="connsiteX0" fmla="*/ 168155 w 168154"/>
                      <a:gd name="connsiteY0" fmla="*/ 84077 h 168154"/>
                      <a:gd name="connsiteX1" fmla="*/ 84077 w 168154"/>
                      <a:gd name="connsiteY1" fmla="*/ 168155 h 168154"/>
                      <a:gd name="connsiteX2" fmla="*/ 0 w 168154"/>
                      <a:gd name="connsiteY2" fmla="*/ 84077 h 168154"/>
                      <a:gd name="connsiteX3" fmla="*/ 84077 w 168154"/>
                      <a:gd name="connsiteY3" fmla="*/ 0 h 168154"/>
                      <a:gd name="connsiteX4" fmla="*/ 168155 w 168154"/>
                      <a:gd name="connsiteY4" fmla="*/ 84077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7"/>
                        </a:moveTo>
                        <a:cubicBezTo>
                          <a:pt x="168155" y="130512"/>
                          <a:pt x="130512" y="168155"/>
                          <a:pt x="84077" y="168155"/>
                        </a:cubicBezTo>
                        <a:cubicBezTo>
                          <a:pt x="37642" y="168155"/>
                          <a:pt x="0" y="130512"/>
                          <a:pt x="0" y="84077"/>
                        </a:cubicBezTo>
                        <a:cubicBezTo>
                          <a:pt x="0" y="37643"/>
                          <a:pt x="37642" y="0"/>
                          <a:pt x="84077" y="0"/>
                        </a:cubicBezTo>
                        <a:cubicBezTo>
                          <a:pt x="130512" y="0"/>
                          <a:pt x="168155" y="37643"/>
                          <a:pt x="168155" y="84077"/>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5" name="Forma libre: forma 864">
                    <a:extLst>
                      <a:ext uri="{FF2B5EF4-FFF2-40B4-BE49-F238E27FC236}">
                        <a16:creationId xmlns:a16="http://schemas.microsoft.com/office/drawing/2014/main" id="{CE54EE8F-F8F3-E252-070F-B8221EA1B9A2}"/>
                      </a:ext>
                    </a:extLst>
                  </p:cNvPr>
                  <p:cNvSpPr/>
                  <p:nvPr/>
                </p:nvSpPr>
                <p:spPr>
                  <a:xfrm>
                    <a:off x="6697843" y="3266698"/>
                    <a:ext cx="168154" cy="168154"/>
                  </a:xfrm>
                  <a:custGeom>
                    <a:avLst/>
                    <a:gdLst>
                      <a:gd name="connsiteX0" fmla="*/ 168155 w 168154"/>
                      <a:gd name="connsiteY0" fmla="*/ 84078 h 168154"/>
                      <a:gd name="connsiteX1" fmla="*/ 84077 w 168154"/>
                      <a:gd name="connsiteY1" fmla="*/ 168155 h 168154"/>
                      <a:gd name="connsiteX2" fmla="*/ 0 w 168154"/>
                      <a:gd name="connsiteY2" fmla="*/ 84078 h 168154"/>
                      <a:gd name="connsiteX3" fmla="*/ 84077 w 168154"/>
                      <a:gd name="connsiteY3" fmla="*/ 0 h 168154"/>
                      <a:gd name="connsiteX4" fmla="*/ 168155 w 168154"/>
                      <a:gd name="connsiteY4" fmla="*/ 84078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8"/>
                        </a:moveTo>
                        <a:cubicBezTo>
                          <a:pt x="168155" y="130512"/>
                          <a:pt x="130512" y="168155"/>
                          <a:pt x="84077" y="168155"/>
                        </a:cubicBezTo>
                        <a:cubicBezTo>
                          <a:pt x="37642" y="168155"/>
                          <a:pt x="0" y="130512"/>
                          <a:pt x="0" y="84078"/>
                        </a:cubicBezTo>
                        <a:cubicBezTo>
                          <a:pt x="0" y="37643"/>
                          <a:pt x="37642" y="0"/>
                          <a:pt x="84077" y="0"/>
                        </a:cubicBezTo>
                        <a:cubicBezTo>
                          <a:pt x="130512" y="0"/>
                          <a:pt x="168155" y="37643"/>
                          <a:pt x="168155" y="84078"/>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6" name="Forma libre: forma 865">
                    <a:extLst>
                      <a:ext uri="{FF2B5EF4-FFF2-40B4-BE49-F238E27FC236}">
                        <a16:creationId xmlns:a16="http://schemas.microsoft.com/office/drawing/2014/main" id="{579591BD-93B9-6BD6-B387-8E104C90BE3C}"/>
                      </a:ext>
                    </a:extLst>
                  </p:cNvPr>
                  <p:cNvSpPr/>
                  <p:nvPr/>
                </p:nvSpPr>
                <p:spPr>
                  <a:xfrm>
                    <a:off x="6934859" y="4059051"/>
                    <a:ext cx="168154" cy="168154"/>
                  </a:xfrm>
                  <a:custGeom>
                    <a:avLst/>
                    <a:gdLst>
                      <a:gd name="connsiteX0" fmla="*/ 168155 w 168154"/>
                      <a:gd name="connsiteY0" fmla="*/ 84078 h 168154"/>
                      <a:gd name="connsiteX1" fmla="*/ 84077 w 168154"/>
                      <a:gd name="connsiteY1" fmla="*/ 168155 h 168154"/>
                      <a:gd name="connsiteX2" fmla="*/ 0 w 168154"/>
                      <a:gd name="connsiteY2" fmla="*/ 84078 h 168154"/>
                      <a:gd name="connsiteX3" fmla="*/ 84077 w 168154"/>
                      <a:gd name="connsiteY3" fmla="*/ 0 h 168154"/>
                      <a:gd name="connsiteX4" fmla="*/ 168155 w 168154"/>
                      <a:gd name="connsiteY4" fmla="*/ 84078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8"/>
                        </a:moveTo>
                        <a:cubicBezTo>
                          <a:pt x="168155" y="130512"/>
                          <a:pt x="130512" y="168155"/>
                          <a:pt x="84077" y="168155"/>
                        </a:cubicBezTo>
                        <a:cubicBezTo>
                          <a:pt x="37642" y="168155"/>
                          <a:pt x="0" y="130512"/>
                          <a:pt x="0" y="84078"/>
                        </a:cubicBezTo>
                        <a:cubicBezTo>
                          <a:pt x="0" y="37643"/>
                          <a:pt x="37642" y="0"/>
                          <a:pt x="84077" y="0"/>
                        </a:cubicBezTo>
                        <a:cubicBezTo>
                          <a:pt x="130512" y="0"/>
                          <a:pt x="168155" y="37643"/>
                          <a:pt x="168155" y="84078"/>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7" name="Forma libre: forma 866">
                    <a:extLst>
                      <a:ext uri="{FF2B5EF4-FFF2-40B4-BE49-F238E27FC236}">
                        <a16:creationId xmlns:a16="http://schemas.microsoft.com/office/drawing/2014/main" id="{01F83E13-1E7B-0D35-B173-B6C79CE57684}"/>
                      </a:ext>
                    </a:extLst>
                  </p:cNvPr>
                  <p:cNvSpPr/>
                  <p:nvPr/>
                </p:nvSpPr>
                <p:spPr>
                  <a:xfrm>
                    <a:off x="6697843" y="4086323"/>
                    <a:ext cx="168154" cy="168154"/>
                  </a:xfrm>
                  <a:custGeom>
                    <a:avLst/>
                    <a:gdLst>
                      <a:gd name="connsiteX0" fmla="*/ 168155 w 168154"/>
                      <a:gd name="connsiteY0" fmla="*/ 84078 h 168154"/>
                      <a:gd name="connsiteX1" fmla="*/ 84077 w 168154"/>
                      <a:gd name="connsiteY1" fmla="*/ 168155 h 168154"/>
                      <a:gd name="connsiteX2" fmla="*/ 0 w 168154"/>
                      <a:gd name="connsiteY2" fmla="*/ 84078 h 168154"/>
                      <a:gd name="connsiteX3" fmla="*/ 84077 w 168154"/>
                      <a:gd name="connsiteY3" fmla="*/ 0 h 168154"/>
                      <a:gd name="connsiteX4" fmla="*/ 168155 w 168154"/>
                      <a:gd name="connsiteY4" fmla="*/ 84078 h 168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54" h="168154">
                        <a:moveTo>
                          <a:pt x="168155" y="84078"/>
                        </a:moveTo>
                        <a:cubicBezTo>
                          <a:pt x="168155" y="130513"/>
                          <a:pt x="130512" y="168155"/>
                          <a:pt x="84077" y="168155"/>
                        </a:cubicBezTo>
                        <a:cubicBezTo>
                          <a:pt x="37642" y="168155"/>
                          <a:pt x="0" y="130513"/>
                          <a:pt x="0" y="84078"/>
                        </a:cubicBezTo>
                        <a:cubicBezTo>
                          <a:pt x="0" y="37643"/>
                          <a:pt x="37642" y="0"/>
                          <a:pt x="84077" y="0"/>
                        </a:cubicBezTo>
                        <a:cubicBezTo>
                          <a:pt x="130512" y="0"/>
                          <a:pt x="168155" y="37643"/>
                          <a:pt x="168155" y="84078"/>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68" name="Gráfico 627">
                    <a:extLst>
                      <a:ext uri="{FF2B5EF4-FFF2-40B4-BE49-F238E27FC236}">
                        <a16:creationId xmlns:a16="http://schemas.microsoft.com/office/drawing/2014/main" id="{ACD278AB-916E-8D63-54A9-888CBF422CFA}"/>
                      </a:ext>
                    </a:extLst>
                  </p:cNvPr>
                  <p:cNvGrpSpPr/>
                  <p:nvPr/>
                </p:nvGrpSpPr>
                <p:grpSpPr>
                  <a:xfrm>
                    <a:off x="4959256" y="1541359"/>
                    <a:ext cx="570584" cy="2784619"/>
                    <a:chOff x="4959256" y="1541359"/>
                    <a:chExt cx="570584" cy="2784619"/>
                  </a:xfrm>
                  <a:solidFill>
                    <a:srgbClr val="C2CACC"/>
                  </a:solidFill>
                </p:grpSpPr>
                <p:sp>
                  <p:nvSpPr>
                    <p:cNvPr id="877" name="Forma libre: forma 876">
                      <a:extLst>
                        <a:ext uri="{FF2B5EF4-FFF2-40B4-BE49-F238E27FC236}">
                          <a16:creationId xmlns:a16="http://schemas.microsoft.com/office/drawing/2014/main" id="{D1388B66-83A9-DBFB-29FA-7500EBBEAE67}"/>
                        </a:ext>
                      </a:extLst>
                    </p:cNvPr>
                    <p:cNvSpPr/>
                    <p:nvPr/>
                  </p:nvSpPr>
                  <p:spPr>
                    <a:xfrm>
                      <a:off x="4959256" y="1668727"/>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20" y="157389"/>
                            <a:pt x="555113" y="170850"/>
                            <a:pt x="537753" y="170127"/>
                          </a:cubicBezTo>
                          <a:cubicBezTo>
                            <a:pt x="431963" y="165225"/>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8" name="Forma libre: forma 877">
                      <a:extLst>
                        <a:ext uri="{FF2B5EF4-FFF2-40B4-BE49-F238E27FC236}">
                          <a16:creationId xmlns:a16="http://schemas.microsoft.com/office/drawing/2014/main" id="{DDD4041D-0C64-2ACA-26D8-5D9F185935F8}"/>
                        </a:ext>
                      </a:extLst>
                    </p:cNvPr>
                    <p:cNvSpPr/>
                    <p:nvPr/>
                  </p:nvSpPr>
                  <p:spPr>
                    <a:xfrm>
                      <a:off x="4959256" y="1541359"/>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20" y="157389"/>
                            <a:pt x="555113" y="170850"/>
                            <a:pt x="537753" y="170127"/>
                          </a:cubicBezTo>
                          <a:cubicBezTo>
                            <a:pt x="431963" y="165224"/>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9" name="Forma libre: forma 878">
                      <a:extLst>
                        <a:ext uri="{FF2B5EF4-FFF2-40B4-BE49-F238E27FC236}">
                          <a16:creationId xmlns:a16="http://schemas.microsoft.com/office/drawing/2014/main" id="{E892BAEA-E419-7F92-BE50-909AC47DE00C}"/>
                        </a:ext>
                      </a:extLst>
                    </p:cNvPr>
                    <p:cNvSpPr/>
                    <p:nvPr/>
                  </p:nvSpPr>
                  <p:spPr>
                    <a:xfrm>
                      <a:off x="4959256" y="2506462"/>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20" y="157389"/>
                            <a:pt x="555113" y="170850"/>
                            <a:pt x="537753" y="170127"/>
                          </a:cubicBezTo>
                          <a:cubicBezTo>
                            <a:pt x="431963" y="165225"/>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0" name="Forma libre: forma 879">
                      <a:extLst>
                        <a:ext uri="{FF2B5EF4-FFF2-40B4-BE49-F238E27FC236}">
                          <a16:creationId xmlns:a16="http://schemas.microsoft.com/office/drawing/2014/main" id="{3940BA30-4E1B-26E2-3559-CC80922E9D1E}"/>
                        </a:ext>
                      </a:extLst>
                    </p:cNvPr>
                    <p:cNvSpPr/>
                    <p:nvPr/>
                  </p:nvSpPr>
                  <p:spPr>
                    <a:xfrm>
                      <a:off x="4959256" y="2379066"/>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20" y="157389"/>
                            <a:pt x="555113" y="170850"/>
                            <a:pt x="537753" y="170127"/>
                          </a:cubicBezTo>
                          <a:cubicBezTo>
                            <a:pt x="431963" y="165225"/>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1" name="Forma libre: forma 880">
                      <a:extLst>
                        <a:ext uri="{FF2B5EF4-FFF2-40B4-BE49-F238E27FC236}">
                          <a16:creationId xmlns:a16="http://schemas.microsoft.com/office/drawing/2014/main" id="{15A3B004-8152-574F-F1DC-F583476C71F8}"/>
                        </a:ext>
                      </a:extLst>
                    </p:cNvPr>
                    <p:cNvSpPr/>
                    <p:nvPr/>
                  </p:nvSpPr>
                  <p:spPr>
                    <a:xfrm>
                      <a:off x="4959256" y="3329462"/>
                      <a:ext cx="570584" cy="170154"/>
                    </a:xfrm>
                    <a:custGeom>
                      <a:avLst/>
                      <a:gdLst>
                        <a:gd name="connsiteX0" fmla="*/ 18327 w 570584"/>
                        <a:gd name="connsiteY0" fmla="*/ 60145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30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5 h 170154"/>
                        <a:gd name="connsiteX10" fmla="*/ 18327 w 570584"/>
                        <a:gd name="connsiteY10" fmla="*/ 60145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5"/>
                          </a:moveTo>
                          <a:cubicBezTo>
                            <a:pt x="2521" y="52885"/>
                            <a:pt x="-4390" y="34132"/>
                            <a:pt x="2910" y="18327"/>
                          </a:cubicBezTo>
                          <a:cubicBezTo>
                            <a:pt x="10170" y="2521"/>
                            <a:pt x="28922" y="-4390"/>
                            <a:pt x="44727" y="2910"/>
                          </a:cubicBezTo>
                          <a:cubicBezTo>
                            <a:pt x="64243" y="11951"/>
                            <a:pt x="145937" y="46361"/>
                            <a:pt x="275194" y="73646"/>
                          </a:cubicBezTo>
                          <a:cubicBezTo>
                            <a:pt x="349319" y="89304"/>
                            <a:pt x="438741" y="102538"/>
                            <a:pt x="540459" y="107226"/>
                          </a:cubicBezTo>
                          <a:cubicBezTo>
                            <a:pt x="557818" y="107963"/>
                            <a:pt x="571280" y="122670"/>
                            <a:pt x="570556" y="140030"/>
                          </a:cubicBezTo>
                          <a:cubicBezTo>
                            <a:pt x="569833" y="157389"/>
                            <a:pt x="555113" y="170850"/>
                            <a:pt x="537753" y="170127"/>
                          </a:cubicBezTo>
                          <a:cubicBezTo>
                            <a:pt x="431963" y="165224"/>
                            <a:pt x="339139" y="151522"/>
                            <a:pt x="262389" y="135301"/>
                          </a:cubicBezTo>
                          <a:cubicBezTo>
                            <a:pt x="126421" y="106623"/>
                            <a:pt x="39249" y="69829"/>
                            <a:pt x="18327" y="60171"/>
                          </a:cubicBezTo>
                          <a:lnTo>
                            <a:pt x="18327" y="60145"/>
                          </a:lnTo>
                          <a:lnTo>
                            <a:pt x="18327" y="60145"/>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2" name="Forma libre: forma 881">
                      <a:extLst>
                        <a:ext uri="{FF2B5EF4-FFF2-40B4-BE49-F238E27FC236}">
                          <a16:creationId xmlns:a16="http://schemas.microsoft.com/office/drawing/2014/main" id="{0A57DF25-9B28-34AA-9C07-123654B9DED0}"/>
                        </a:ext>
                      </a:extLst>
                    </p:cNvPr>
                    <p:cNvSpPr/>
                    <p:nvPr/>
                  </p:nvSpPr>
                  <p:spPr>
                    <a:xfrm>
                      <a:off x="4959256" y="3202053"/>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33" y="157389"/>
                            <a:pt x="555113" y="170850"/>
                            <a:pt x="537753" y="170127"/>
                          </a:cubicBezTo>
                          <a:cubicBezTo>
                            <a:pt x="431963" y="165225"/>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3" name="Forma libre: forma 882">
                      <a:extLst>
                        <a:ext uri="{FF2B5EF4-FFF2-40B4-BE49-F238E27FC236}">
                          <a16:creationId xmlns:a16="http://schemas.microsoft.com/office/drawing/2014/main" id="{E18596BE-C220-33C4-7710-600D8BCA3BE9}"/>
                        </a:ext>
                      </a:extLst>
                    </p:cNvPr>
                    <p:cNvSpPr/>
                    <p:nvPr/>
                  </p:nvSpPr>
                  <p:spPr>
                    <a:xfrm>
                      <a:off x="4959256" y="4155824"/>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30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1"/>
                            <a:pt x="275194" y="73646"/>
                          </a:cubicBezTo>
                          <a:cubicBezTo>
                            <a:pt x="349319" y="89304"/>
                            <a:pt x="438741" y="102538"/>
                            <a:pt x="540459" y="107226"/>
                          </a:cubicBezTo>
                          <a:cubicBezTo>
                            <a:pt x="557818" y="107963"/>
                            <a:pt x="571280" y="122670"/>
                            <a:pt x="570556" y="140030"/>
                          </a:cubicBezTo>
                          <a:cubicBezTo>
                            <a:pt x="569833" y="157389"/>
                            <a:pt x="555113" y="170850"/>
                            <a:pt x="537753" y="170127"/>
                          </a:cubicBezTo>
                          <a:cubicBezTo>
                            <a:pt x="431963" y="165224"/>
                            <a:pt x="339139" y="151522"/>
                            <a:pt x="262389" y="135301"/>
                          </a:cubicBezTo>
                          <a:cubicBezTo>
                            <a:pt x="126421" y="106623"/>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4" name="Forma libre: forma 883">
                      <a:extLst>
                        <a:ext uri="{FF2B5EF4-FFF2-40B4-BE49-F238E27FC236}">
                          <a16:creationId xmlns:a16="http://schemas.microsoft.com/office/drawing/2014/main" id="{B043A04F-6869-1BA1-F61E-FACD7C1244A7}"/>
                        </a:ext>
                      </a:extLst>
                    </p:cNvPr>
                    <p:cNvSpPr/>
                    <p:nvPr/>
                  </p:nvSpPr>
                  <p:spPr>
                    <a:xfrm>
                      <a:off x="4959256" y="4028415"/>
                      <a:ext cx="570584" cy="170154"/>
                    </a:xfrm>
                    <a:custGeom>
                      <a:avLst/>
                      <a:gdLst>
                        <a:gd name="connsiteX0" fmla="*/ 18327 w 570584"/>
                        <a:gd name="connsiteY0" fmla="*/ 60144 h 170154"/>
                        <a:gd name="connsiteX1" fmla="*/ 2910 w 570584"/>
                        <a:gd name="connsiteY1" fmla="*/ 18327 h 170154"/>
                        <a:gd name="connsiteX2" fmla="*/ 44727 w 570584"/>
                        <a:gd name="connsiteY2" fmla="*/ 2910 h 170154"/>
                        <a:gd name="connsiteX3" fmla="*/ 275194 w 570584"/>
                        <a:gd name="connsiteY3" fmla="*/ 73646 h 170154"/>
                        <a:gd name="connsiteX4" fmla="*/ 540459 w 570584"/>
                        <a:gd name="connsiteY4" fmla="*/ 107226 h 170154"/>
                        <a:gd name="connsiteX5" fmla="*/ 570556 w 570584"/>
                        <a:gd name="connsiteY5" fmla="*/ 140029 h 170154"/>
                        <a:gd name="connsiteX6" fmla="*/ 537753 w 570584"/>
                        <a:gd name="connsiteY6" fmla="*/ 170127 h 170154"/>
                        <a:gd name="connsiteX7" fmla="*/ 262389 w 570584"/>
                        <a:gd name="connsiteY7" fmla="*/ 135301 h 170154"/>
                        <a:gd name="connsiteX8" fmla="*/ 18327 w 570584"/>
                        <a:gd name="connsiteY8" fmla="*/ 60171 h 170154"/>
                        <a:gd name="connsiteX9" fmla="*/ 18327 w 570584"/>
                        <a:gd name="connsiteY9" fmla="*/ 60144 h 170154"/>
                        <a:gd name="connsiteX10" fmla="*/ 18327 w 570584"/>
                        <a:gd name="connsiteY10" fmla="*/ 60144 h 17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0584" h="170154">
                          <a:moveTo>
                            <a:pt x="18327" y="60144"/>
                          </a:moveTo>
                          <a:cubicBezTo>
                            <a:pt x="2521" y="52885"/>
                            <a:pt x="-4390" y="34132"/>
                            <a:pt x="2910" y="18327"/>
                          </a:cubicBezTo>
                          <a:cubicBezTo>
                            <a:pt x="10170" y="2521"/>
                            <a:pt x="28922" y="-4390"/>
                            <a:pt x="44727" y="2910"/>
                          </a:cubicBezTo>
                          <a:cubicBezTo>
                            <a:pt x="64243" y="11951"/>
                            <a:pt x="145937" y="46362"/>
                            <a:pt x="275194" y="73646"/>
                          </a:cubicBezTo>
                          <a:cubicBezTo>
                            <a:pt x="349319" y="89304"/>
                            <a:pt x="438741" y="102538"/>
                            <a:pt x="540459" y="107226"/>
                          </a:cubicBezTo>
                          <a:cubicBezTo>
                            <a:pt x="557818" y="107963"/>
                            <a:pt x="571280" y="122670"/>
                            <a:pt x="570556" y="140029"/>
                          </a:cubicBezTo>
                          <a:cubicBezTo>
                            <a:pt x="569833" y="157389"/>
                            <a:pt x="555113" y="170850"/>
                            <a:pt x="537753" y="170127"/>
                          </a:cubicBezTo>
                          <a:cubicBezTo>
                            <a:pt x="431963" y="165225"/>
                            <a:pt x="339139" y="151522"/>
                            <a:pt x="262389" y="135301"/>
                          </a:cubicBezTo>
                          <a:cubicBezTo>
                            <a:pt x="126421" y="106624"/>
                            <a:pt x="39249" y="69829"/>
                            <a:pt x="18327" y="60171"/>
                          </a:cubicBezTo>
                          <a:lnTo>
                            <a:pt x="18327" y="60144"/>
                          </a:lnTo>
                          <a:lnTo>
                            <a:pt x="18327" y="60144"/>
                          </a:lnTo>
                          <a:close/>
                        </a:path>
                      </a:pathLst>
                    </a:custGeom>
                    <a:solidFill>
                      <a:schemeClr val="bg1">
                        <a:lumMod val="8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69" name="Forma libre: forma 868">
                    <a:extLst>
                      <a:ext uri="{FF2B5EF4-FFF2-40B4-BE49-F238E27FC236}">
                        <a16:creationId xmlns:a16="http://schemas.microsoft.com/office/drawing/2014/main" id="{30568D6A-38FA-3154-3EB1-24DEFF11D4AF}"/>
                      </a:ext>
                    </a:extLst>
                  </p:cNvPr>
                  <p:cNvSpPr/>
                  <p:nvPr/>
                </p:nvSpPr>
                <p:spPr>
                  <a:xfrm>
                    <a:off x="3431921" y="5587676"/>
                    <a:ext cx="5328130" cy="238114"/>
                  </a:xfrm>
                  <a:custGeom>
                    <a:avLst/>
                    <a:gdLst>
                      <a:gd name="connsiteX0" fmla="*/ 0 w 5328130"/>
                      <a:gd name="connsiteY0" fmla="*/ 0 h 238114"/>
                      <a:gd name="connsiteX1" fmla="*/ 5328130 w 5328130"/>
                      <a:gd name="connsiteY1" fmla="*/ 0 h 238114"/>
                      <a:gd name="connsiteX2" fmla="*/ 5115934 w 5328130"/>
                      <a:gd name="connsiteY2" fmla="*/ 238114 h 238114"/>
                      <a:gd name="connsiteX3" fmla="*/ 212196 w 5328130"/>
                      <a:gd name="connsiteY3" fmla="*/ 238114 h 238114"/>
                      <a:gd name="connsiteX4" fmla="*/ 0 w 5328130"/>
                      <a:gd name="connsiteY4" fmla="*/ 0 h 23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8130" h="238114">
                        <a:moveTo>
                          <a:pt x="0" y="0"/>
                        </a:moveTo>
                        <a:lnTo>
                          <a:pt x="5328130" y="0"/>
                        </a:lnTo>
                        <a:cubicBezTo>
                          <a:pt x="5261064" y="82658"/>
                          <a:pt x="5190234" y="162074"/>
                          <a:pt x="5115934" y="238114"/>
                        </a:cubicBezTo>
                        <a:lnTo>
                          <a:pt x="212196" y="238114"/>
                        </a:lnTo>
                        <a:cubicBezTo>
                          <a:pt x="137897" y="162100"/>
                          <a:pt x="67066" y="82671"/>
                          <a:pt x="0" y="0"/>
                        </a:cubicBez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0" name="Forma libre: forma 869">
                    <a:extLst>
                      <a:ext uri="{FF2B5EF4-FFF2-40B4-BE49-F238E27FC236}">
                        <a16:creationId xmlns:a16="http://schemas.microsoft.com/office/drawing/2014/main" id="{48A0FE63-BF61-36D0-210D-BEEBE27793D8}"/>
                      </a:ext>
                    </a:extLst>
                  </p:cNvPr>
                  <p:cNvSpPr/>
                  <p:nvPr/>
                </p:nvSpPr>
                <p:spPr>
                  <a:xfrm>
                    <a:off x="3608407" y="5788969"/>
                    <a:ext cx="4975103" cy="36808"/>
                  </a:xfrm>
                  <a:custGeom>
                    <a:avLst/>
                    <a:gdLst>
                      <a:gd name="connsiteX0" fmla="*/ 0 w 4975103"/>
                      <a:gd name="connsiteY0" fmla="*/ 0 h 36808"/>
                      <a:gd name="connsiteX1" fmla="*/ 4975104 w 4975103"/>
                      <a:gd name="connsiteY1" fmla="*/ 0 h 36808"/>
                      <a:gd name="connsiteX2" fmla="*/ 4939421 w 4975103"/>
                      <a:gd name="connsiteY2" fmla="*/ 36808 h 36808"/>
                      <a:gd name="connsiteX3" fmla="*/ 35683 w 4975103"/>
                      <a:gd name="connsiteY3" fmla="*/ 36808 h 36808"/>
                      <a:gd name="connsiteX4" fmla="*/ 0 w 4975103"/>
                      <a:gd name="connsiteY4" fmla="*/ 0 h 36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5103" h="36808">
                        <a:moveTo>
                          <a:pt x="0" y="0"/>
                        </a:moveTo>
                        <a:lnTo>
                          <a:pt x="4975104" y="0"/>
                        </a:lnTo>
                        <a:cubicBezTo>
                          <a:pt x="4963357" y="12403"/>
                          <a:pt x="4951356" y="24566"/>
                          <a:pt x="4939421" y="36808"/>
                        </a:cubicBezTo>
                        <a:lnTo>
                          <a:pt x="35683" y="36808"/>
                        </a:lnTo>
                        <a:cubicBezTo>
                          <a:pt x="23762" y="24579"/>
                          <a:pt x="11774" y="12377"/>
                          <a:pt x="0" y="0"/>
                        </a:cubicBezTo>
                        <a:close/>
                      </a:path>
                    </a:pathLst>
                  </a:custGeom>
                  <a:solidFill>
                    <a:srgbClr val="C8CACC"/>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1" name="Forma libre: forma 870">
                    <a:extLst>
                      <a:ext uri="{FF2B5EF4-FFF2-40B4-BE49-F238E27FC236}">
                        <a16:creationId xmlns:a16="http://schemas.microsoft.com/office/drawing/2014/main" id="{CDC3C880-8220-3C12-065C-40ED04B851FE}"/>
                      </a:ext>
                    </a:extLst>
                  </p:cNvPr>
                  <p:cNvSpPr/>
                  <p:nvPr/>
                </p:nvSpPr>
                <p:spPr>
                  <a:xfrm>
                    <a:off x="5915870" y="4484622"/>
                    <a:ext cx="311021" cy="1103053"/>
                  </a:xfrm>
                  <a:custGeom>
                    <a:avLst/>
                    <a:gdLst>
                      <a:gd name="connsiteX0" fmla="*/ 0 w 311021"/>
                      <a:gd name="connsiteY0" fmla="*/ 0 h 1103053"/>
                      <a:gd name="connsiteX1" fmla="*/ 311021 w 311021"/>
                      <a:gd name="connsiteY1" fmla="*/ 0 h 1103053"/>
                      <a:gd name="connsiteX2" fmla="*/ 311021 w 311021"/>
                      <a:gd name="connsiteY2" fmla="*/ 1103053 h 1103053"/>
                      <a:gd name="connsiteX3" fmla="*/ 0 w 311021"/>
                      <a:gd name="connsiteY3" fmla="*/ 1103053 h 1103053"/>
                      <a:gd name="connsiteX4" fmla="*/ 0 w 311021"/>
                      <a:gd name="connsiteY4" fmla="*/ 0 h 110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21" h="1103053">
                        <a:moveTo>
                          <a:pt x="0" y="0"/>
                        </a:moveTo>
                        <a:lnTo>
                          <a:pt x="311021" y="0"/>
                        </a:lnTo>
                        <a:lnTo>
                          <a:pt x="311021" y="1103053"/>
                        </a:lnTo>
                        <a:lnTo>
                          <a:pt x="0" y="1103053"/>
                        </a:lnTo>
                        <a:lnTo>
                          <a:pt x="0" y="0"/>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72" name="Gráfico 627">
                    <a:extLst>
                      <a:ext uri="{FF2B5EF4-FFF2-40B4-BE49-F238E27FC236}">
                        <a16:creationId xmlns:a16="http://schemas.microsoft.com/office/drawing/2014/main" id="{7674120D-B03D-E582-4C3B-00CE6A02CA1B}"/>
                      </a:ext>
                    </a:extLst>
                  </p:cNvPr>
                  <p:cNvGrpSpPr/>
                  <p:nvPr/>
                </p:nvGrpSpPr>
                <p:grpSpPr>
                  <a:xfrm>
                    <a:off x="5915870" y="4484622"/>
                    <a:ext cx="311021" cy="1103053"/>
                    <a:chOff x="5915870" y="4484622"/>
                    <a:chExt cx="311021" cy="1103053"/>
                  </a:xfrm>
                  <a:solidFill>
                    <a:srgbClr val="C8CACC"/>
                  </a:solidFill>
                </p:grpSpPr>
                <p:sp>
                  <p:nvSpPr>
                    <p:cNvPr id="875" name="Forma libre: forma 874">
                      <a:extLst>
                        <a:ext uri="{FF2B5EF4-FFF2-40B4-BE49-F238E27FC236}">
                          <a16:creationId xmlns:a16="http://schemas.microsoft.com/office/drawing/2014/main" id="{CF85C0D3-157B-2F0C-EA31-A2ABC89AB9EE}"/>
                        </a:ext>
                      </a:extLst>
                    </p:cNvPr>
                    <p:cNvSpPr/>
                    <p:nvPr/>
                  </p:nvSpPr>
                  <p:spPr>
                    <a:xfrm>
                      <a:off x="5915870" y="4484622"/>
                      <a:ext cx="311021" cy="321522"/>
                    </a:xfrm>
                    <a:custGeom>
                      <a:avLst/>
                      <a:gdLst>
                        <a:gd name="connsiteX0" fmla="*/ 0 w 311021"/>
                        <a:gd name="connsiteY0" fmla="*/ 0 h 321522"/>
                        <a:gd name="connsiteX1" fmla="*/ 311021 w 311021"/>
                        <a:gd name="connsiteY1" fmla="*/ 0 h 321522"/>
                        <a:gd name="connsiteX2" fmla="*/ 311021 w 311021"/>
                        <a:gd name="connsiteY2" fmla="*/ 321522 h 321522"/>
                        <a:gd name="connsiteX3" fmla="*/ 0 w 311021"/>
                        <a:gd name="connsiteY3" fmla="*/ 0 h 321522"/>
                      </a:gdLst>
                      <a:ahLst/>
                      <a:cxnLst>
                        <a:cxn ang="0">
                          <a:pos x="connsiteX0" y="connsiteY0"/>
                        </a:cxn>
                        <a:cxn ang="0">
                          <a:pos x="connsiteX1" y="connsiteY1"/>
                        </a:cxn>
                        <a:cxn ang="0">
                          <a:pos x="connsiteX2" y="connsiteY2"/>
                        </a:cxn>
                        <a:cxn ang="0">
                          <a:pos x="connsiteX3" y="connsiteY3"/>
                        </a:cxn>
                      </a:cxnLst>
                      <a:rect l="l" t="t" r="r" b="b"/>
                      <a:pathLst>
                        <a:path w="311021" h="321522">
                          <a:moveTo>
                            <a:pt x="0" y="0"/>
                          </a:moveTo>
                          <a:lnTo>
                            <a:pt x="311021" y="0"/>
                          </a:lnTo>
                          <a:lnTo>
                            <a:pt x="311021" y="321522"/>
                          </a:lnTo>
                          <a:lnTo>
                            <a:pt x="0" y="0"/>
                          </a:lnTo>
                          <a:close/>
                        </a:path>
                      </a:pathLst>
                    </a:custGeom>
                    <a:solidFill>
                      <a:srgbClr val="C8CACC"/>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6" name="Forma libre: forma 875">
                      <a:extLst>
                        <a:ext uri="{FF2B5EF4-FFF2-40B4-BE49-F238E27FC236}">
                          <a16:creationId xmlns:a16="http://schemas.microsoft.com/office/drawing/2014/main" id="{B0DD4CA6-BD53-0FAC-8E6F-C64946506210}"/>
                        </a:ext>
                      </a:extLst>
                    </p:cNvPr>
                    <p:cNvSpPr/>
                    <p:nvPr/>
                  </p:nvSpPr>
                  <p:spPr>
                    <a:xfrm>
                      <a:off x="6193163" y="4484622"/>
                      <a:ext cx="33700" cy="1103053"/>
                    </a:xfrm>
                    <a:custGeom>
                      <a:avLst/>
                      <a:gdLst>
                        <a:gd name="connsiteX0" fmla="*/ 0 w 33700"/>
                        <a:gd name="connsiteY0" fmla="*/ 0 h 1103053"/>
                        <a:gd name="connsiteX1" fmla="*/ 33701 w 33700"/>
                        <a:gd name="connsiteY1" fmla="*/ 0 h 1103053"/>
                        <a:gd name="connsiteX2" fmla="*/ 33701 w 33700"/>
                        <a:gd name="connsiteY2" fmla="*/ 1103053 h 1103053"/>
                        <a:gd name="connsiteX3" fmla="*/ 0 w 33700"/>
                        <a:gd name="connsiteY3" fmla="*/ 1103053 h 1103053"/>
                        <a:gd name="connsiteX4" fmla="*/ 0 w 33700"/>
                        <a:gd name="connsiteY4" fmla="*/ 0 h 110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00" h="1103053">
                          <a:moveTo>
                            <a:pt x="0" y="0"/>
                          </a:moveTo>
                          <a:lnTo>
                            <a:pt x="33701" y="0"/>
                          </a:lnTo>
                          <a:lnTo>
                            <a:pt x="33701" y="1103053"/>
                          </a:lnTo>
                          <a:lnTo>
                            <a:pt x="0" y="1103053"/>
                          </a:lnTo>
                          <a:lnTo>
                            <a:pt x="0" y="0"/>
                          </a:lnTo>
                          <a:close/>
                        </a:path>
                      </a:pathLst>
                    </a:custGeom>
                    <a:solidFill>
                      <a:srgbClr val="C8CACC"/>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73" name="Forma libre: forma 872">
                    <a:extLst>
                      <a:ext uri="{FF2B5EF4-FFF2-40B4-BE49-F238E27FC236}">
                        <a16:creationId xmlns:a16="http://schemas.microsoft.com/office/drawing/2014/main" id="{83D79EA5-0F34-1E8C-C2F5-B4CECA377B39}"/>
                      </a:ext>
                    </a:extLst>
                  </p:cNvPr>
                  <p:cNvSpPr/>
                  <p:nvPr/>
                </p:nvSpPr>
                <p:spPr>
                  <a:xfrm>
                    <a:off x="5761284" y="5507523"/>
                    <a:ext cx="620206" cy="398393"/>
                  </a:xfrm>
                  <a:custGeom>
                    <a:avLst/>
                    <a:gdLst>
                      <a:gd name="connsiteX0" fmla="*/ 54931 w 620206"/>
                      <a:gd name="connsiteY0" fmla="*/ 0 h 398393"/>
                      <a:gd name="connsiteX1" fmla="*/ 565276 w 620206"/>
                      <a:gd name="connsiteY1" fmla="*/ 0 h 398393"/>
                      <a:gd name="connsiteX2" fmla="*/ 620207 w 620206"/>
                      <a:gd name="connsiteY2" fmla="*/ 54931 h 398393"/>
                      <a:gd name="connsiteX3" fmla="*/ 620207 w 620206"/>
                      <a:gd name="connsiteY3" fmla="*/ 343436 h 398393"/>
                      <a:gd name="connsiteX4" fmla="*/ 565276 w 620206"/>
                      <a:gd name="connsiteY4" fmla="*/ 398394 h 398393"/>
                      <a:gd name="connsiteX5" fmla="*/ 54931 w 620206"/>
                      <a:gd name="connsiteY5" fmla="*/ 398394 h 398393"/>
                      <a:gd name="connsiteX6" fmla="*/ 0 w 620206"/>
                      <a:gd name="connsiteY6" fmla="*/ 343436 h 398393"/>
                      <a:gd name="connsiteX7" fmla="*/ 0 w 620206"/>
                      <a:gd name="connsiteY7" fmla="*/ 54931 h 398393"/>
                      <a:gd name="connsiteX8" fmla="*/ 54931 w 620206"/>
                      <a:gd name="connsiteY8" fmla="*/ 0 h 3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206" h="398393">
                        <a:moveTo>
                          <a:pt x="54931" y="0"/>
                        </a:moveTo>
                        <a:lnTo>
                          <a:pt x="565276" y="0"/>
                        </a:lnTo>
                        <a:cubicBezTo>
                          <a:pt x="595494" y="0"/>
                          <a:pt x="620207" y="24713"/>
                          <a:pt x="620207" y="54931"/>
                        </a:cubicBezTo>
                        <a:lnTo>
                          <a:pt x="620207" y="343436"/>
                        </a:lnTo>
                        <a:cubicBezTo>
                          <a:pt x="620207" y="373654"/>
                          <a:pt x="595494" y="398394"/>
                          <a:pt x="565276" y="398394"/>
                        </a:cubicBezTo>
                        <a:lnTo>
                          <a:pt x="54931" y="398394"/>
                        </a:lnTo>
                        <a:cubicBezTo>
                          <a:pt x="24713" y="398394"/>
                          <a:pt x="0" y="373654"/>
                          <a:pt x="0" y="343436"/>
                        </a:cubicBezTo>
                        <a:lnTo>
                          <a:pt x="0" y="54931"/>
                        </a:lnTo>
                        <a:cubicBezTo>
                          <a:pt x="-13" y="24726"/>
                          <a:pt x="24713" y="0"/>
                          <a:pt x="54931" y="0"/>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4" name="Forma libre: forma 873">
                    <a:extLst>
                      <a:ext uri="{FF2B5EF4-FFF2-40B4-BE49-F238E27FC236}">
                        <a16:creationId xmlns:a16="http://schemas.microsoft.com/office/drawing/2014/main" id="{B6359B57-F8BA-1503-615D-F8B8180B5D2C}"/>
                      </a:ext>
                    </a:extLst>
                  </p:cNvPr>
                  <p:cNvSpPr/>
                  <p:nvPr/>
                </p:nvSpPr>
                <p:spPr>
                  <a:xfrm>
                    <a:off x="5763842" y="5867380"/>
                    <a:ext cx="615170" cy="38536"/>
                  </a:xfrm>
                  <a:custGeom>
                    <a:avLst/>
                    <a:gdLst>
                      <a:gd name="connsiteX0" fmla="*/ 615117 w 615170"/>
                      <a:gd name="connsiteY0" fmla="*/ 0 h 38536"/>
                      <a:gd name="connsiteX1" fmla="*/ 562731 w 615170"/>
                      <a:gd name="connsiteY1" fmla="*/ 38536 h 38536"/>
                      <a:gd name="connsiteX2" fmla="*/ 52386 w 615170"/>
                      <a:gd name="connsiteY2" fmla="*/ 38536 h 38536"/>
                      <a:gd name="connsiteX3" fmla="*/ 0 w 615170"/>
                      <a:gd name="connsiteY3" fmla="*/ 0 h 38536"/>
                      <a:gd name="connsiteX4" fmla="*/ 615171 w 615170"/>
                      <a:gd name="connsiteY4" fmla="*/ 0 h 38536"/>
                      <a:gd name="connsiteX5" fmla="*/ 615117 w 615170"/>
                      <a:gd name="connsiteY5" fmla="*/ 0 h 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170" h="38536">
                        <a:moveTo>
                          <a:pt x="615117" y="0"/>
                        </a:moveTo>
                        <a:cubicBezTo>
                          <a:pt x="608112" y="22275"/>
                          <a:pt x="587203" y="38536"/>
                          <a:pt x="562731" y="38536"/>
                        </a:cubicBezTo>
                        <a:lnTo>
                          <a:pt x="52386" y="38536"/>
                        </a:lnTo>
                        <a:cubicBezTo>
                          <a:pt x="27874" y="38536"/>
                          <a:pt x="7005" y="22262"/>
                          <a:pt x="0" y="0"/>
                        </a:cubicBezTo>
                        <a:lnTo>
                          <a:pt x="615171" y="0"/>
                        </a:lnTo>
                        <a:lnTo>
                          <a:pt x="615117" y="0"/>
                        </a:lnTo>
                        <a:close/>
                      </a:path>
                    </a:pathLst>
                  </a:custGeom>
                  <a:solidFill>
                    <a:srgbClr val="0070C0"/>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32" name="Grupo 831">
                  <a:extLst>
                    <a:ext uri="{FF2B5EF4-FFF2-40B4-BE49-F238E27FC236}">
                      <a16:creationId xmlns:a16="http://schemas.microsoft.com/office/drawing/2014/main" id="{3E964BB2-3F6B-0AB8-5AB1-5C0749E000BD}"/>
                    </a:ext>
                  </a:extLst>
                </p:cNvPr>
                <p:cNvGrpSpPr/>
                <p:nvPr/>
              </p:nvGrpSpPr>
              <p:grpSpPr>
                <a:xfrm>
                  <a:off x="9632324" y="2635300"/>
                  <a:ext cx="745484" cy="856797"/>
                  <a:chOff x="3572818" y="658341"/>
                  <a:chExt cx="4971206" cy="5713463"/>
                </a:xfrm>
              </p:grpSpPr>
              <p:sp>
                <p:nvSpPr>
                  <p:cNvPr id="839" name="Forma libre: forma 838">
                    <a:extLst>
                      <a:ext uri="{FF2B5EF4-FFF2-40B4-BE49-F238E27FC236}">
                        <a16:creationId xmlns:a16="http://schemas.microsoft.com/office/drawing/2014/main" id="{07568F18-1D9F-57B1-C0DB-B697B0CA564D}"/>
                      </a:ext>
                    </a:extLst>
                  </p:cNvPr>
                  <p:cNvSpPr/>
                  <p:nvPr/>
                </p:nvSpPr>
                <p:spPr>
                  <a:xfrm>
                    <a:off x="5108126" y="3015725"/>
                    <a:ext cx="1962472" cy="3081961"/>
                  </a:xfrm>
                  <a:custGeom>
                    <a:avLst/>
                    <a:gdLst>
                      <a:gd name="connsiteX0" fmla="*/ 940216 w 1962472"/>
                      <a:gd name="connsiteY0" fmla="*/ 1080390 h 3081961"/>
                      <a:gd name="connsiteX1" fmla="*/ 41014 w 1962472"/>
                      <a:gd name="connsiteY1" fmla="*/ 1080390 h 3081961"/>
                      <a:gd name="connsiteX2" fmla="*/ 0 w 1962472"/>
                      <a:gd name="connsiteY2" fmla="*/ 1080390 h 3081961"/>
                      <a:gd name="connsiteX3" fmla="*/ 0 w 1962472"/>
                      <a:gd name="connsiteY3" fmla="*/ 1121430 h 3081961"/>
                      <a:gd name="connsiteX4" fmla="*/ 0 w 1962472"/>
                      <a:gd name="connsiteY4" fmla="*/ 1755340 h 3081961"/>
                      <a:gd name="connsiteX5" fmla="*/ 82055 w 1962472"/>
                      <a:gd name="connsiteY5" fmla="*/ 1755340 h 3081961"/>
                      <a:gd name="connsiteX6" fmla="*/ 82055 w 1962472"/>
                      <a:gd name="connsiteY6" fmla="*/ 1162458 h 3081961"/>
                      <a:gd name="connsiteX7" fmla="*/ 940216 w 1962472"/>
                      <a:gd name="connsiteY7" fmla="*/ 1162458 h 3081961"/>
                      <a:gd name="connsiteX8" fmla="*/ 940216 w 1962472"/>
                      <a:gd name="connsiteY8" fmla="*/ 1990374 h 3081961"/>
                      <a:gd name="connsiteX9" fmla="*/ 940216 w 1962472"/>
                      <a:gd name="connsiteY9" fmla="*/ 3081961 h 3081961"/>
                      <a:gd name="connsiteX10" fmla="*/ 1022271 w 1962472"/>
                      <a:gd name="connsiteY10" fmla="*/ 3081961 h 3081961"/>
                      <a:gd name="connsiteX11" fmla="*/ 1022271 w 1962472"/>
                      <a:gd name="connsiteY11" fmla="*/ 1990374 h 3081961"/>
                      <a:gd name="connsiteX12" fmla="*/ 1022271 w 1962472"/>
                      <a:gd name="connsiteY12" fmla="*/ 1675294 h 3081961"/>
                      <a:gd name="connsiteX13" fmla="*/ 1880418 w 1962472"/>
                      <a:gd name="connsiteY13" fmla="*/ 1675294 h 3081961"/>
                      <a:gd name="connsiteX14" fmla="*/ 1880418 w 1962472"/>
                      <a:gd name="connsiteY14" fmla="*/ 2268176 h 3081961"/>
                      <a:gd name="connsiteX15" fmla="*/ 1962473 w 1962472"/>
                      <a:gd name="connsiteY15" fmla="*/ 2268176 h 3081961"/>
                      <a:gd name="connsiteX16" fmla="*/ 1962473 w 1962472"/>
                      <a:gd name="connsiteY16" fmla="*/ 1634267 h 3081961"/>
                      <a:gd name="connsiteX17" fmla="*/ 1962473 w 1962472"/>
                      <a:gd name="connsiteY17" fmla="*/ 1593226 h 3081961"/>
                      <a:gd name="connsiteX18" fmla="*/ 1921432 w 1962472"/>
                      <a:gd name="connsiteY18" fmla="*/ 1593226 h 3081961"/>
                      <a:gd name="connsiteX19" fmla="*/ 1022271 w 1962472"/>
                      <a:gd name="connsiteY19" fmla="*/ 1593226 h 3081961"/>
                      <a:gd name="connsiteX20" fmla="*/ 1022271 w 1962472"/>
                      <a:gd name="connsiteY20" fmla="*/ 0 h 3081961"/>
                      <a:gd name="connsiteX21" fmla="*/ 940216 w 1962472"/>
                      <a:gd name="connsiteY21" fmla="*/ 0 h 3081961"/>
                      <a:gd name="connsiteX22" fmla="*/ 940216 w 1962472"/>
                      <a:gd name="connsiteY22" fmla="*/ 1080390 h 308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2472" h="3081961">
                        <a:moveTo>
                          <a:pt x="940216" y="1080390"/>
                        </a:moveTo>
                        <a:lnTo>
                          <a:pt x="41014" y="1080390"/>
                        </a:lnTo>
                        <a:lnTo>
                          <a:pt x="0" y="1080390"/>
                        </a:lnTo>
                        <a:lnTo>
                          <a:pt x="0" y="1121430"/>
                        </a:lnTo>
                        <a:lnTo>
                          <a:pt x="0" y="1755340"/>
                        </a:lnTo>
                        <a:lnTo>
                          <a:pt x="82055" y="1755340"/>
                        </a:lnTo>
                        <a:lnTo>
                          <a:pt x="82055" y="1162458"/>
                        </a:lnTo>
                        <a:lnTo>
                          <a:pt x="940216" y="1162458"/>
                        </a:lnTo>
                        <a:lnTo>
                          <a:pt x="940216" y="1990374"/>
                        </a:lnTo>
                        <a:lnTo>
                          <a:pt x="940216" y="3081961"/>
                        </a:lnTo>
                        <a:lnTo>
                          <a:pt x="1022271" y="3081961"/>
                        </a:lnTo>
                        <a:lnTo>
                          <a:pt x="1022271" y="1990374"/>
                        </a:lnTo>
                        <a:lnTo>
                          <a:pt x="1022271" y="1675294"/>
                        </a:lnTo>
                        <a:lnTo>
                          <a:pt x="1880418" y="1675294"/>
                        </a:lnTo>
                        <a:lnTo>
                          <a:pt x="1880418" y="2268176"/>
                        </a:lnTo>
                        <a:lnTo>
                          <a:pt x="1962473" y="2268176"/>
                        </a:lnTo>
                        <a:lnTo>
                          <a:pt x="1962473" y="1634267"/>
                        </a:lnTo>
                        <a:lnTo>
                          <a:pt x="1962473" y="1593226"/>
                        </a:lnTo>
                        <a:lnTo>
                          <a:pt x="1921432" y="1593226"/>
                        </a:lnTo>
                        <a:lnTo>
                          <a:pt x="1022271" y="1593226"/>
                        </a:lnTo>
                        <a:lnTo>
                          <a:pt x="1022271" y="0"/>
                        </a:lnTo>
                        <a:lnTo>
                          <a:pt x="940216" y="0"/>
                        </a:lnTo>
                        <a:lnTo>
                          <a:pt x="940216" y="1080390"/>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0" name="Forma libre: forma 839">
                    <a:extLst>
                      <a:ext uri="{FF2B5EF4-FFF2-40B4-BE49-F238E27FC236}">
                        <a16:creationId xmlns:a16="http://schemas.microsoft.com/office/drawing/2014/main" id="{63B17D53-2FA7-494F-B04A-8D64DB307622}"/>
                      </a:ext>
                    </a:extLst>
                  </p:cNvPr>
                  <p:cNvSpPr/>
                  <p:nvPr/>
                </p:nvSpPr>
                <p:spPr>
                  <a:xfrm>
                    <a:off x="5935305" y="6063704"/>
                    <a:ext cx="308074" cy="308100"/>
                  </a:xfrm>
                  <a:custGeom>
                    <a:avLst/>
                    <a:gdLst>
                      <a:gd name="connsiteX0" fmla="*/ 154037 w 308074"/>
                      <a:gd name="connsiteY0" fmla="*/ 308101 h 308100"/>
                      <a:gd name="connsiteX1" fmla="*/ 308074 w 308074"/>
                      <a:gd name="connsiteY1" fmla="*/ 154064 h 308100"/>
                      <a:gd name="connsiteX2" fmla="*/ 154037 w 308074"/>
                      <a:gd name="connsiteY2" fmla="*/ 0 h 308100"/>
                      <a:gd name="connsiteX3" fmla="*/ 0 w 308074"/>
                      <a:gd name="connsiteY3" fmla="*/ 154064 h 308100"/>
                      <a:gd name="connsiteX4" fmla="*/ 154037 w 308074"/>
                      <a:gd name="connsiteY4" fmla="*/ 308101 h 30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74" h="308100">
                        <a:moveTo>
                          <a:pt x="154037" y="308101"/>
                        </a:moveTo>
                        <a:cubicBezTo>
                          <a:pt x="239132" y="308101"/>
                          <a:pt x="308074" y="239133"/>
                          <a:pt x="308074" y="154064"/>
                        </a:cubicBezTo>
                        <a:cubicBezTo>
                          <a:pt x="308074" y="68995"/>
                          <a:pt x="239119" y="0"/>
                          <a:pt x="154037" y="0"/>
                        </a:cubicBezTo>
                        <a:cubicBezTo>
                          <a:pt x="68955" y="0"/>
                          <a:pt x="0" y="68982"/>
                          <a:pt x="0" y="154064"/>
                        </a:cubicBezTo>
                        <a:cubicBezTo>
                          <a:pt x="0" y="239146"/>
                          <a:pt x="68955" y="308101"/>
                          <a:pt x="154037" y="308101"/>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1" name="Forma libre: forma 840">
                    <a:extLst>
                      <a:ext uri="{FF2B5EF4-FFF2-40B4-BE49-F238E27FC236}">
                        <a16:creationId xmlns:a16="http://schemas.microsoft.com/office/drawing/2014/main" id="{A3744B73-DAD4-1946-8337-486E02E9DCC9}"/>
                      </a:ext>
                    </a:extLst>
                  </p:cNvPr>
                  <p:cNvSpPr/>
                  <p:nvPr/>
                </p:nvSpPr>
                <p:spPr>
                  <a:xfrm>
                    <a:off x="3783635" y="2576947"/>
                    <a:ext cx="881507" cy="1999589"/>
                  </a:xfrm>
                  <a:custGeom>
                    <a:avLst/>
                    <a:gdLst>
                      <a:gd name="connsiteX0" fmla="*/ 799453 w 881507"/>
                      <a:gd name="connsiteY0" fmla="*/ 1239168 h 1999589"/>
                      <a:gd name="connsiteX1" fmla="*/ 0 w 881507"/>
                      <a:gd name="connsiteY1" fmla="*/ 1239168 h 1999589"/>
                      <a:gd name="connsiteX2" fmla="*/ 0 w 881507"/>
                      <a:gd name="connsiteY2" fmla="*/ 1321223 h 1999589"/>
                      <a:gd name="connsiteX3" fmla="*/ 799439 w 881507"/>
                      <a:gd name="connsiteY3" fmla="*/ 1321223 h 1999589"/>
                      <a:gd name="connsiteX4" fmla="*/ 799439 w 881507"/>
                      <a:gd name="connsiteY4" fmla="*/ 1999589 h 1999589"/>
                      <a:gd name="connsiteX5" fmla="*/ 881507 w 881507"/>
                      <a:gd name="connsiteY5" fmla="*/ 1999589 h 1999589"/>
                      <a:gd name="connsiteX6" fmla="*/ 881507 w 881507"/>
                      <a:gd name="connsiteY6" fmla="*/ 0 h 1999589"/>
                      <a:gd name="connsiteX7" fmla="*/ 799439 w 881507"/>
                      <a:gd name="connsiteY7" fmla="*/ 0 h 1999589"/>
                      <a:gd name="connsiteX8" fmla="*/ 799453 w 881507"/>
                      <a:gd name="connsiteY8" fmla="*/ 1239168 h 1999589"/>
                      <a:gd name="connsiteX9" fmla="*/ 799453 w 881507"/>
                      <a:gd name="connsiteY9" fmla="*/ 1239168 h 199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1507" h="1999589">
                        <a:moveTo>
                          <a:pt x="799453" y="1239168"/>
                        </a:moveTo>
                        <a:lnTo>
                          <a:pt x="0" y="1239168"/>
                        </a:lnTo>
                        <a:lnTo>
                          <a:pt x="0" y="1321223"/>
                        </a:lnTo>
                        <a:lnTo>
                          <a:pt x="799439" y="1321223"/>
                        </a:lnTo>
                        <a:lnTo>
                          <a:pt x="799439" y="1999589"/>
                        </a:lnTo>
                        <a:lnTo>
                          <a:pt x="881507" y="1999589"/>
                        </a:lnTo>
                        <a:lnTo>
                          <a:pt x="881507" y="0"/>
                        </a:lnTo>
                        <a:lnTo>
                          <a:pt x="799439" y="0"/>
                        </a:lnTo>
                        <a:lnTo>
                          <a:pt x="799453" y="1239168"/>
                        </a:lnTo>
                        <a:lnTo>
                          <a:pt x="799453" y="1239168"/>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2" name="Forma libre: forma 841">
                    <a:extLst>
                      <a:ext uri="{FF2B5EF4-FFF2-40B4-BE49-F238E27FC236}">
                        <a16:creationId xmlns:a16="http://schemas.microsoft.com/office/drawing/2014/main" id="{829BDC5C-AD6A-E80E-F2CC-08BEF5EB56BB}"/>
                      </a:ext>
                    </a:extLst>
                  </p:cNvPr>
                  <p:cNvSpPr/>
                  <p:nvPr/>
                </p:nvSpPr>
                <p:spPr>
                  <a:xfrm>
                    <a:off x="4470051" y="4422459"/>
                    <a:ext cx="308114" cy="308100"/>
                  </a:xfrm>
                  <a:custGeom>
                    <a:avLst/>
                    <a:gdLst>
                      <a:gd name="connsiteX0" fmla="*/ 154077 w 308114"/>
                      <a:gd name="connsiteY0" fmla="*/ 308101 h 308100"/>
                      <a:gd name="connsiteX1" fmla="*/ 308114 w 308114"/>
                      <a:gd name="connsiteY1" fmla="*/ 154064 h 308100"/>
                      <a:gd name="connsiteX2" fmla="*/ 154077 w 308114"/>
                      <a:gd name="connsiteY2" fmla="*/ 0 h 308100"/>
                      <a:gd name="connsiteX3" fmla="*/ 0 w 308114"/>
                      <a:gd name="connsiteY3" fmla="*/ 154064 h 308100"/>
                      <a:gd name="connsiteX4" fmla="*/ 154077 w 308114"/>
                      <a:gd name="connsiteY4" fmla="*/ 308101 h 30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14" h="308100">
                        <a:moveTo>
                          <a:pt x="154077" y="308101"/>
                        </a:moveTo>
                        <a:cubicBezTo>
                          <a:pt x="239160" y="308101"/>
                          <a:pt x="308114" y="239133"/>
                          <a:pt x="308114" y="154064"/>
                        </a:cubicBezTo>
                        <a:cubicBezTo>
                          <a:pt x="308114" y="68968"/>
                          <a:pt x="239146" y="0"/>
                          <a:pt x="154077" y="0"/>
                        </a:cubicBezTo>
                        <a:cubicBezTo>
                          <a:pt x="68982" y="0"/>
                          <a:pt x="0" y="68968"/>
                          <a:pt x="0" y="154064"/>
                        </a:cubicBezTo>
                        <a:cubicBezTo>
                          <a:pt x="0" y="239146"/>
                          <a:pt x="68982" y="308101"/>
                          <a:pt x="154077" y="308101"/>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3" name="Forma libre: forma 842">
                    <a:extLst>
                      <a:ext uri="{FF2B5EF4-FFF2-40B4-BE49-F238E27FC236}">
                        <a16:creationId xmlns:a16="http://schemas.microsoft.com/office/drawing/2014/main" id="{AD125C9E-0F0B-E6F6-351A-329EC2E70B77}"/>
                      </a:ext>
                    </a:extLst>
                  </p:cNvPr>
                  <p:cNvSpPr/>
                  <p:nvPr/>
                </p:nvSpPr>
                <p:spPr>
                  <a:xfrm>
                    <a:off x="3631379" y="3710137"/>
                    <a:ext cx="308100" cy="308100"/>
                  </a:xfrm>
                  <a:custGeom>
                    <a:avLst/>
                    <a:gdLst>
                      <a:gd name="connsiteX0" fmla="*/ 154037 w 308100"/>
                      <a:gd name="connsiteY0" fmla="*/ 308101 h 308100"/>
                      <a:gd name="connsiteX1" fmla="*/ 308101 w 308100"/>
                      <a:gd name="connsiteY1" fmla="*/ 154037 h 308100"/>
                      <a:gd name="connsiteX2" fmla="*/ 154037 w 308100"/>
                      <a:gd name="connsiteY2" fmla="*/ 0 h 308100"/>
                      <a:gd name="connsiteX3" fmla="*/ 0 w 308100"/>
                      <a:gd name="connsiteY3" fmla="*/ 154037 h 308100"/>
                      <a:gd name="connsiteX4" fmla="*/ 154037 w 308100"/>
                      <a:gd name="connsiteY4" fmla="*/ 308101 h 30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00" h="308100">
                        <a:moveTo>
                          <a:pt x="154037" y="308101"/>
                        </a:moveTo>
                        <a:cubicBezTo>
                          <a:pt x="239133" y="308101"/>
                          <a:pt x="308101" y="239133"/>
                          <a:pt x="308101" y="154037"/>
                        </a:cubicBezTo>
                        <a:cubicBezTo>
                          <a:pt x="308101" y="68955"/>
                          <a:pt x="239133" y="0"/>
                          <a:pt x="154037" y="0"/>
                        </a:cubicBezTo>
                        <a:cubicBezTo>
                          <a:pt x="68955" y="0"/>
                          <a:pt x="0" y="68968"/>
                          <a:pt x="0" y="154037"/>
                        </a:cubicBezTo>
                        <a:cubicBezTo>
                          <a:pt x="-13" y="239133"/>
                          <a:pt x="68955" y="308101"/>
                          <a:pt x="154037" y="308101"/>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4" name="Forma libre: forma 843">
                    <a:extLst>
                      <a:ext uri="{FF2B5EF4-FFF2-40B4-BE49-F238E27FC236}">
                        <a16:creationId xmlns:a16="http://schemas.microsoft.com/office/drawing/2014/main" id="{00FA7971-C7B6-9B7E-8453-5DDDACF42C77}"/>
                      </a:ext>
                    </a:extLst>
                  </p:cNvPr>
                  <p:cNvSpPr/>
                  <p:nvPr/>
                </p:nvSpPr>
                <p:spPr>
                  <a:xfrm>
                    <a:off x="7507328" y="2576947"/>
                    <a:ext cx="881507" cy="1999589"/>
                  </a:xfrm>
                  <a:custGeom>
                    <a:avLst/>
                    <a:gdLst>
                      <a:gd name="connsiteX0" fmla="*/ 82068 w 881507"/>
                      <a:gd name="connsiteY0" fmla="*/ 1239168 h 1999589"/>
                      <a:gd name="connsiteX1" fmla="*/ 881508 w 881507"/>
                      <a:gd name="connsiteY1" fmla="*/ 1239168 h 1999589"/>
                      <a:gd name="connsiteX2" fmla="*/ 881508 w 881507"/>
                      <a:gd name="connsiteY2" fmla="*/ 1321223 h 1999589"/>
                      <a:gd name="connsiteX3" fmla="*/ 82068 w 881507"/>
                      <a:gd name="connsiteY3" fmla="*/ 1321223 h 1999589"/>
                      <a:gd name="connsiteX4" fmla="*/ 82068 w 881507"/>
                      <a:gd name="connsiteY4" fmla="*/ 1999589 h 1999589"/>
                      <a:gd name="connsiteX5" fmla="*/ 0 w 881507"/>
                      <a:gd name="connsiteY5" fmla="*/ 1999589 h 1999589"/>
                      <a:gd name="connsiteX6" fmla="*/ 0 w 881507"/>
                      <a:gd name="connsiteY6" fmla="*/ 0 h 1999589"/>
                      <a:gd name="connsiteX7" fmla="*/ 82068 w 881507"/>
                      <a:gd name="connsiteY7" fmla="*/ 0 h 1999589"/>
                      <a:gd name="connsiteX8" fmla="*/ 82068 w 881507"/>
                      <a:gd name="connsiteY8" fmla="*/ 1239168 h 199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1507" h="1999589">
                        <a:moveTo>
                          <a:pt x="82068" y="1239168"/>
                        </a:moveTo>
                        <a:lnTo>
                          <a:pt x="881508" y="1239168"/>
                        </a:lnTo>
                        <a:lnTo>
                          <a:pt x="881508" y="1321223"/>
                        </a:lnTo>
                        <a:lnTo>
                          <a:pt x="82068" y="1321223"/>
                        </a:lnTo>
                        <a:lnTo>
                          <a:pt x="82068" y="1999589"/>
                        </a:lnTo>
                        <a:lnTo>
                          <a:pt x="0" y="1999589"/>
                        </a:lnTo>
                        <a:lnTo>
                          <a:pt x="0" y="0"/>
                        </a:lnTo>
                        <a:lnTo>
                          <a:pt x="82068" y="0"/>
                        </a:lnTo>
                        <a:lnTo>
                          <a:pt x="82068" y="1239168"/>
                        </a:lnTo>
                        <a:close/>
                      </a:path>
                    </a:pathLst>
                  </a:custGeom>
                  <a:solidFill>
                    <a:schemeClr val="bg1">
                      <a:lumMod val="75000"/>
                    </a:schemeClr>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5" name="Forma libre: forma 844">
                    <a:extLst>
                      <a:ext uri="{FF2B5EF4-FFF2-40B4-BE49-F238E27FC236}">
                        <a16:creationId xmlns:a16="http://schemas.microsoft.com/office/drawing/2014/main" id="{AE68A6A0-063C-17A1-43E4-B28CC0604D97}"/>
                      </a:ext>
                    </a:extLst>
                  </p:cNvPr>
                  <p:cNvSpPr/>
                  <p:nvPr/>
                </p:nvSpPr>
                <p:spPr>
                  <a:xfrm>
                    <a:off x="7396850" y="4424990"/>
                    <a:ext cx="303051" cy="303077"/>
                  </a:xfrm>
                  <a:custGeom>
                    <a:avLst/>
                    <a:gdLst>
                      <a:gd name="connsiteX0" fmla="*/ 151505 w 303051"/>
                      <a:gd name="connsiteY0" fmla="*/ 303078 h 303077"/>
                      <a:gd name="connsiteX1" fmla="*/ 0 w 303051"/>
                      <a:gd name="connsiteY1" fmla="*/ 151546 h 303077"/>
                      <a:gd name="connsiteX2" fmla="*/ 151505 w 303051"/>
                      <a:gd name="connsiteY2" fmla="*/ 0 h 303077"/>
                      <a:gd name="connsiteX3" fmla="*/ 303051 w 303051"/>
                      <a:gd name="connsiteY3" fmla="*/ 151546 h 303077"/>
                      <a:gd name="connsiteX4" fmla="*/ 151505 w 303051"/>
                      <a:gd name="connsiteY4" fmla="*/ 303078 h 303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51" h="303077">
                        <a:moveTo>
                          <a:pt x="151505" y="303078"/>
                        </a:moveTo>
                        <a:cubicBezTo>
                          <a:pt x="67816" y="303078"/>
                          <a:pt x="0" y="235235"/>
                          <a:pt x="0" y="151546"/>
                        </a:cubicBezTo>
                        <a:cubicBezTo>
                          <a:pt x="0" y="67843"/>
                          <a:pt x="67830" y="0"/>
                          <a:pt x="151505" y="0"/>
                        </a:cubicBezTo>
                        <a:cubicBezTo>
                          <a:pt x="235208" y="0"/>
                          <a:pt x="303051" y="67843"/>
                          <a:pt x="303051" y="151546"/>
                        </a:cubicBezTo>
                        <a:cubicBezTo>
                          <a:pt x="303051" y="235221"/>
                          <a:pt x="235208" y="303078"/>
                          <a:pt x="151505" y="303078"/>
                        </a:cubicBezTo>
                        <a:close/>
                      </a:path>
                    </a:pathLst>
                  </a:custGeom>
                  <a:solidFill>
                    <a:srgbClr val="EC2129"/>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6" name="Forma libre: forma 845">
                    <a:extLst>
                      <a:ext uri="{FF2B5EF4-FFF2-40B4-BE49-F238E27FC236}">
                        <a16:creationId xmlns:a16="http://schemas.microsoft.com/office/drawing/2014/main" id="{030829C5-EB02-E574-7D65-3BC45B023CDF}"/>
                      </a:ext>
                    </a:extLst>
                  </p:cNvPr>
                  <p:cNvSpPr/>
                  <p:nvPr/>
                </p:nvSpPr>
                <p:spPr>
                  <a:xfrm>
                    <a:off x="8232200" y="3709333"/>
                    <a:ext cx="309721" cy="309721"/>
                  </a:xfrm>
                  <a:custGeom>
                    <a:avLst/>
                    <a:gdLst>
                      <a:gd name="connsiteX0" fmla="*/ 154868 w 309721"/>
                      <a:gd name="connsiteY0" fmla="*/ 309722 h 309721"/>
                      <a:gd name="connsiteX1" fmla="*/ 0 w 309721"/>
                      <a:gd name="connsiteY1" fmla="*/ 154854 h 309721"/>
                      <a:gd name="connsiteX2" fmla="*/ 154868 w 309721"/>
                      <a:gd name="connsiteY2" fmla="*/ 0 h 309721"/>
                      <a:gd name="connsiteX3" fmla="*/ 309722 w 309721"/>
                      <a:gd name="connsiteY3" fmla="*/ 154854 h 309721"/>
                      <a:gd name="connsiteX4" fmla="*/ 154868 w 309721"/>
                      <a:gd name="connsiteY4" fmla="*/ 309722 h 30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721" h="309721">
                        <a:moveTo>
                          <a:pt x="154868" y="309722"/>
                        </a:moveTo>
                        <a:cubicBezTo>
                          <a:pt x="69317" y="309722"/>
                          <a:pt x="0" y="240392"/>
                          <a:pt x="0" y="154854"/>
                        </a:cubicBezTo>
                        <a:cubicBezTo>
                          <a:pt x="0" y="69317"/>
                          <a:pt x="69330" y="0"/>
                          <a:pt x="154868" y="0"/>
                        </a:cubicBezTo>
                        <a:cubicBezTo>
                          <a:pt x="240405" y="0"/>
                          <a:pt x="309722" y="69330"/>
                          <a:pt x="309722" y="154854"/>
                        </a:cubicBezTo>
                        <a:cubicBezTo>
                          <a:pt x="309722" y="240392"/>
                          <a:pt x="240392" y="309722"/>
                          <a:pt x="154868" y="309722"/>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7" name="Forma libre: forma 846">
                    <a:extLst>
                      <a:ext uri="{FF2B5EF4-FFF2-40B4-BE49-F238E27FC236}">
                        <a16:creationId xmlns:a16="http://schemas.microsoft.com/office/drawing/2014/main" id="{914845C4-3A87-90B7-AA06-F80D96DD648F}"/>
                      </a:ext>
                    </a:extLst>
                  </p:cNvPr>
                  <p:cNvSpPr/>
                  <p:nvPr/>
                </p:nvSpPr>
                <p:spPr>
                  <a:xfrm>
                    <a:off x="3602353" y="729238"/>
                    <a:ext cx="4941671" cy="2704958"/>
                  </a:xfrm>
                  <a:custGeom>
                    <a:avLst/>
                    <a:gdLst>
                      <a:gd name="connsiteX0" fmla="*/ 530450 w 4941671"/>
                      <a:gd name="connsiteY0" fmla="*/ 1643991 h 2704958"/>
                      <a:gd name="connsiteX1" fmla="*/ 552752 w 4941671"/>
                      <a:gd name="connsiteY1" fmla="*/ 1644500 h 2704958"/>
                      <a:gd name="connsiteX2" fmla="*/ 1299899 w 4941671"/>
                      <a:gd name="connsiteY2" fmla="*/ 1118296 h 2704958"/>
                      <a:gd name="connsiteX3" fmla="*/ 1561776 w 4941671"/>
                      <a:gd name="connsiteY3" fmla="*/ 1162619 h 2704958"/>
                      <a:gd name="connsiteX4" fmla="*/ 2900934 w 4941671"/>
                      <a:gd name="connsiteY4" fmla="*/ 0 h 2704958"/>
                      <a:gd name="connsiteX5" fmla="*/ 4250942 w 4941671"/>
                      <a:gd name="connsiteY5" fmla="*/ 1271704 h 2704958"/>
                      <a:gd name="connsiteX6" fmla="*/ 4941671 w 4941671"/>
                      <a:gd name="connsiteY6" fmla="*/ 1988083 h 2704958"/>
                      <a:gd name="connsiteX7" fmla="*/ 4224796 w 4941671"/>
                      <a:gd name="connsiteY7" fmla="*/ 2704959 h 2704958"/>
                      <a:gd name="connsiteX8" fmla="*/ 530464 w 4941671"/>
                      <a:gd name="connsiteY8" fmla="*/ 2704959 h 2704958"/>
                      <a:gd name="connsiteX9" fmla="*/ 0 w 4941671"/>
                      <a:gd name="connsiteY9" fmla="*/ 2174482 h 2704958"/>
                      <a:gd name="connsiteX10" fmla="*/ 530450 w 4941671"/>
                      <a:gd name="connsiteY10" fmla="*/ 1643991 h 2704958"/>
                      <a:gd name="connsiteX11" fmla="*/ 530450 w 4941671"/>
                      <a:gd name="connsiteY11" fmla="*/ 1643991 h 27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41671" h="2704958">
                        <a:moveTo>
                          <a:pt x="530450" y="1643991"/>
                        </a:moveTo>
                        <a:cubicBezTo>
                          <a:pt x="537938" y="1643991"/>
                          <a:pt x="545345" y="1644165"/>
                          <a:pt x="552752" y="1644500"/>
                        </a:cubicBezTo>
                        <a:cubicBezTo>
                          <a:pt x="662440" y="1337752"/>
                          <a:pt x="955472" y="1118296"/>
                          <a:pt x="1299899" y="1118296"/>
                        </a:cubicBezTo>
                        <a:cubicBezTo>
                          <a:pt x="1391665" y="1118296"/>
                          <a:pt x="1479814" y="1133941"/>
                          <a:pt x="1561776" y="1162619"/>
                        </a:cubicBezTo>
                        <a:cubicBezTo>
                          <a:pt x="1654131" y="505617"/>
                          <a:pt x="2218429" y="0"/>
                          <a:pt x="2900934" y="0"/>
                        </a:cubicBezTo>
                        <a:cubicBezTo>
                          <a:pt x="3620729" y="0"/>
                          <a:pt x="4209178" y="562369"/>
                          <a:pt x="4250942" y="1271704"/>
                        </a:cubicBezTo>
                        <a:cubicBezTo>
                          <a:pt x="4634789" y="1285473"/>
                          <a:pt x="4941671" y="1600888"/>
                          <a:pt x="4941671" y="1988083"/>
                        </a:cubicBezTo>
                        <a:cubicBezTo>
                          <a:pt x="4941671" y="2384012"/>
                          <a:pt x="4620739" y="2704959"/>
                          <a:pt x="4224796" y="2704959"/>
                        </a:cubicBezTo>
                        <a:cubicBezTo>
                          <a:pt x="2954887" y="2704959"/>
                          <a:pt x="1793166" y="2704959"/>
                          <a:pt x="530464" y="2704959"/>
                        </a:cubicBezTo>
                        <a:cubicBezTo>
                          <a:pt x="237485" y="2704959"/>
                          <a:pt x="0" y="2467460"/>
                          <a:pt x="0" y="2174482"/>
                        </a:cubicBezTo>
                        <a:cubicBezTo>
                          <a:pt x="0" y="1881503"/>
                          <a:pt x="237485" y="1643978"/>
                          <a:pt x="530450" y="1643991"/>
                        </a:cubicBezTo>
                        <a:lnTo>
                          <a:pt x="530450" y="1643991"/>
                        </a:lnTo>
                        <a:close/>
                      </a:path>
                    </a:pathLst>
                  </a:custGeom>
                  <a:solidFill>
                    <a:srgbClr val="0070C0"/>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8" name="Forma libre: forma 847">
                    <a:extLst>
                      <a:ext uri="{FF2B5EF4-FFF2-40B4-BE49-F238E27FC236}">
                        <a16:creationId xmlns:a16="http://schemas.microsoft.com/office/drawing/2014/main" id="{7C8886EE-9CF1-73A5-DFDE-C1B59D0A4BBA}"/>
                      </a:ext>
                    </a:extLst>
                  </p:cNvPr>
                  <p:cNvSpPr/>
                  <p:nvPr/>
                </p:nvSpPr>
                <p:spPr>
                  <a:xfrm>
                    <a:off x="3572818" y="658341"/>
                    <a:ext cx="4941657" cy="2704958"/>
                  </a:xfrm>
                  <a:custGeom>
                    <a:avLst/>
                    <a:gdLst>
                      <a:gd name="connsiteX0" fmla="*/ 530464 w 4941657"/>
                      <a:gd name="connsiteY0" fmla="*/ 1643978 h 2704958"/>
                      <a:gd name="connsiteX1" fmla="*/ 552739 w 4941657"/>
                      <a:gd name="connsiteY1" fmla="*/ 1644487 h 2704958"/>
                      <a:gd name="connsiteX2" fmla="*/ 1299899 w 4941657"/>
                      <a:gd name="connsiteY2" fmla="*/ 1118296 h 2704958"/>
                      <a:gd name="connsiteX3" fmla="*/ 1561776 w 4941657"/>
                      <a:gd name="connsiteY3" fmla="*/ 1162619 h 2704958"/>
                      <a:gd name="connsiteX4" fmla="*/ 2900921 w 4941657"/>
                      <a:gd name="connsiteY4" fmla="*/ 0 h 2704958"/>
                      <a:gd name="connsiteX5" fmla="*/ 4250942 w 4941657"/>
                      <a:gd name="connsiteY5" fmla="*/ 1271704 h 2704958"/>
                      <a:gd name="connsiteX6" fmla="*/ 4941658 w 4941657"/>
                      <a:gd name="connsiteY6" fmla="*/ 1988083 h 2704958"/>
                      <a:gd name="connsiteX7" fmla="*/ 4224783 w 4941657"/>
                      <a:gd name="connsiteY7" fmla="*/ 2704959 h 2704958"/>
                      <a:gd name="connsiteX8" fmla="*/ 530477 w 4941657"/>
                      <a:gd name="connsiteY8" fmla="*/ 2704959 h 2704958"/>
                      <a:gd name="connsiteX9" fmla="*/ 0 w 4941657"/>
                      <a:gd name="connsiteY9" fmla="*/ 2174482 h 2704958"/>
                      <a:gd name="connsiteX10" fmla="*/ 530464 w 4941657"/>
                      <a:gd name="connsiteY10" fmla="*/ 1643978 h 2704958"/>
                      <a:gd name="connsiteX11" fmla="*/ 530464 w 4941657"/>
                      <a:gd name="connsiteY11" fmla="*/ 1643978 h 27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41657" h="2704958">
                        <a:moveTo>
                          <a:pt x="530464" y="1643978"/>
                        </a:moveTo>
                        <a:cubicBezTo>
                          <a:pt x="537938" y="1643978"/>
                          <a:pt x="545345" y="1644165"/>
                          <a:pt x="552739" y="1644487"/>
                        </a:cubicBezTo>
                        <a:cubicBezTo>
                          <a:pt x="662427" y="1337765"/>
                          <a:pt x="955459" y="1118296"/>
                          <a:pt x="1299899" y="1118296"/>
                        </a:cubicBezTo>
                        <a:cubicBezTo>
                          <a:pt x="1391652" y="1118296"/>
                          <a:pt x="1479801" y="1133927"/>
                          <a:pt x="1561776" y="1162619"/>
                        </a:cubicBezTo>
                        <a:cubicBezTo>
                          <a:pt x="1654117" y="505603"/>
                          <a:pt x="2218429" y="0"/>
                          <a:pt x="2900921" y="0"/>
                        </a:cubicBezTo>
                        <a:cubicBezTo>
                          <a:pt x="3620729" y="0"/>
                          <a:pt x="4209191" y="562369"/>
                          <a:pt x="4250942" y="1271704"/>
                        </a:cubicBezTo>
                        <a:cubicBezTo>
                          <a:pt x="4634762" y="1285460"/>
                          <a:pt x="4941658" y="1600874"/>
                          <a:pt x="4941658" y="1988083"/>
                        </a:cubicBezTo>
                        <a:cubicBezTo>
                          <a:pt x="4941658" y="2384012"/>
                          <a:pt x="4620725" y="2704959"/>
                          <a:pt x="4224783" y="2704959"/>
                        </a:cubicBezTo>
                        <a:cubicBezTo>
                          <a:pt x="2954901" y="2704959"/>
                          <a:pt x="1793180" y="2704959"/>
                          <a:pt x="530477" y="2704959"/>
                        </a:cubicBezTo>
                        <a:cubicBezTo>
                          <a:pt x="237498" y="2704959"/>
                          <a:pt x="0" y="2467460"/>
                          <a:pt x="0" y="2174482"/>
                        </a:cubicBezTo>
                        <a:cubicBezTo>
                          <a:pt x="0" y="1881503"/>
                          <a:pt x="237472" y="1643964"/>
                          <a:pt x="530464" y="1643978"/>
                        </a:cubicBezTo>
                        <a:lnTo>
                          <a:pt x="530464" y="1643978"/>
                        </a:ln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9" name="Forma libre: forma 848">
                    <a:extLst>
                      <a:ext uri="{FF2B5EF4-FFF2-40B4-BE49-F238E27FC236}">
                        <a16:creationId xmlns:a16="http://schemas.microsoft.com/office/drawing/2014/main" id="{5768AC41-EB5C-E1AA-35BC-01CF1ACA6333}"/>
                      </a:ext>
                    </a:extLst>
                  </p:cNvPr>
                  <p:cNvSpPr/>
                  <p:nvPr/>
                </p:nvSpPr>
                <p:spPr>
                  <a:xfrm>
                    <a:off x="6879151" y="5129583"/>
                    <a:ext cx="309721" cy="309721"/>
                  </a:xfrm>
                  <a:custGeom>
                    <a:avLst/>
                    <a:gdLst>
                      <a:gd name="connsiteX0" fmla="*/ 154868 w 309721"/>
                      <a:gd name="connsiteY0" fmla="*/ 309722 h 309721"/>
                      <a:gd name="connsiteX1" fmla="*/ 0 w 309721"/>
                      <a:gd name="connsiteY1" fmla="*/ 154854 h 309721"/>
                      <a:gd name="connsiteX2" fmla="*/ 154868 w 309721"/>
                      <a:gd name="connsiteY2" fmla="*/ 0 h 309721"/>
                      <a:gd name="connsiteX3" fmla="*/ 309722 w 309721"/>
                      <a:gd name="connsiteY3" fmla="*/ 154854 h 309721"/>
                      <a:gd name="connsiteX4" fmla="*/ 154868 w 309721"/>
                      <a:gd name="connsiteY4" fmla="*/ 309722 h 30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721" h="309721">
                        <a:moveTo>
                          <a:pt x="154868" y="309722"/>
                        </a:moveTo>
                        <a:cubicBezTo>
                          <a:pt x="69317" y="309722"/>
                          <a:pt x="0" y="240392"/>
                          <a:pt x="0" y="154854"/>
                        </a:cubicBezTo>
                        <a:cubicBezTo>
                          <a:pt x="0" y="69317"/>
                          <a:pt x="69330" y="0"/>
                          <a:pt x="154868" y="0"/>
                        </a:cubicBezTo>
                        <a:cubicBezTo>
                          <a:pt x="240405" y="0"/>
                          <a:pt x="309722" y="69330"/>
                          <a:pt x="309722" y="154854"/>
                        </a:cubicBezTo>
                        <a:cubicBezTo>
                          <a:pt x="309735" y="240392"/>
                          <a:pt x="240405" y="309722"/>
                          <a:pt x="154868" y="309722"/>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0" name="Forma libre: forma 849">
                    <a:extLst>
                      <a:ext uri="{FF2B5EF4-FFF2-40B4-BE49-F238E27FC236}">
                        <a16:creationId xmlns:a16="http://schemas.microsoft.com/office/drawing/2014/main" id="{D7919C07-B095-8583-C925-11AF2DD8DC8F}"/>
                      </a:ext>
                    </a:extLst>
                  </p:cNvPr>
                  <p:cNvSpPr/>
                  <p:nvPr/>
                </p:nvSpPr>
                <p:spPr>
                  <a:xfrm>
                    <a:off x="4996710" y="4621956"/>
                    <a:ext cx="309721" cy="309721"/>
                  </a:xfrm>
                  <a:custGeom>
                    <a:avLst/>
                    <a:gdLst>
                      <a:gd name="connsiteX0" fmla="*/ 154868 w 309721"/>
                      <a:gd name="connsiteY0" fmla="*/ 309722 h 309721"/>
                      <a:gd name="connsiteX1" fmla="*/ 0 w 309721"/>
                      <a:gd name="connsiteY1" fmla="*/ 154854 h 309721"/>
                      <a:gd name="connsiteX2" fmla="*/ 154868 w 309721"/>
                      <a:gd name="connsiteY2" fmla="*/ 0 h 309721"/>
                      <a:gd name="connsiteX3" fmla="*/ 309722 w 309721"/>
                      <a:gd name="connsiteY3" fmla="*/ 154854 h 309721"/>
                      <a:gd name="connsiteX4" fmla="*/ 154868 w 309721"/>
                      <a:gd name="connsiteY4" fmla="*/ 309722 h 309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721" h="309721">
                        <a:moveTo>
                          <a:pt x="154868" y="309722"/>
                        </a:moveTo>
                        <a:cubicBezTo>
                          <a:pt x="69317" y="309722"/>
                          <a:pt x="0" y="240392"/>
                          <a:pt x="0" y="154854"/>
                        </a:cubicBezTo>
                        <a:cubicBezTo>
                          <a:pt x="0" y="69317"/>
                          <a:pt x="69330" y="0"/>
                          <a:pt x="154868" y="0"/>
                        </a:cubicBezTo>
                        <a:cubicBezTo>
                          <a:pt x="240405" y="0"/>
                          <a:pt x="309722" y="69330"/>
                          <a:pt x="309722" y="154854"/>
                        </a:cubicBezTo>
                        <a:cubicBezTo>
                          <a:pt x="309722" y="240392"/>
                          <a:pt x="240392" y="309722"/>
                          <a:pt x="154868" y="309722"/>
                        </a:cubicBezTo>
                        <a:close/>
                      </a:path>
                    </a:pathLst>
                  </a:custGeom>
                  <a:solidFill>
                    <a:srgbClr val="02AEF1"/>
                  </a:solidFill>
                  <a:ln w="1339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6" name="Grupo 45">
                <a:extLst>
                  <a:ext uri="{FF2B5EF4-FFF2-40B4-BE49-F238E27FC236}">
                    <a16:creationId xmlns:a16="http://schemas.microsoft.com/office/drawing/2014/main" id="{6F45E49B-ABD7-1A44-828D-3B4663E42C7B}"/>
                  </a:ext>
                </a:extLst>
              </p:cNvPr>
              <p:cNvGrpSpPr/>
              <p:nvPr/>
            </p:nvGrpSpPr>
            <p:grpSpPr>
              <a:xfrm>
                <a:off x="7443316" y="2286484"/>
                <a:ext cx="2899564" cy="2687142"/>
                <a:chOff x="7593462" y="2425630"/>
                <a:chExt cx="2599271" cy="2408849"/>
              </a:xfrm>
            </p:grpSpPr>
            <p:grpSp>
              <p:nvGrpSpPr>
                <p:cNvPr id="42" name="Grupo 41">
                  <a:extLst>
                    <a:ext uri="{FF2B5EF4-FFF2-40B4-BE49-F238E27FC236}">
                      <a16:creationId xmlns:a16="http://schemas.microsoft.com/office/drawing/2014/main" id="{E0BD0712-5F77-3FE0-BBE4-8E300529AC22}"/>
                    </a:ext>
                  </a:extLst>
                </p:cNvPr>
                <p:cNvGrpSpPr/>
                <p:nvPr/>
              </p:nvGrpSpPr>
              <p:grpSpPr>
                <a:xfrm>
                  <a:off x="7593462" y="2425630"/>
                  <a:ext cx="2407228" cy="2407228"/>
                  <a:chOff x="7593462" y="2425630"/>
                  <a:chExt cx="2407228" cy="2407228"/>
                </a:xfrm>
              </p:grpSpPr>
              <p:pic>
                <p:nvPicPr>
                  <p:cNvPr id="5" name="Imagen 4">
                    <a:extLst>
                      <a:ext uri="{FF2B5EF4-FFF2-40B4-BE49-F238E27FC236}">
                        <a16:creationId xmlns:a16="http://schemas.microsoft.com/office/drawing/2014/main" id="{481DB18F-8889-A12D-A518-38D0F16F82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93462" y="4213457"/>
                    <a:ext cx="2407228" cy="526148"/>
                  </a:xfrm>
                  <a:prstGeom prst="rect">
                    <a:avLst/>
                  </a:prstGeom>
                </p:spPr>
              </p:pic>
              <p:pic>
                <p:nvPicPr>
                  <p:cNvPr id="37" name="Imagen 36">
                    <a:extLst>
                      <a:ext uri="{FF2B5EF4-FFF2-40B4-BE49-F238E27FC236}">
                        <a16:creationId xmlns:a16="http://schemas.microsoft.com/office/drawing/2014/main" id="{31F55294-C23C-350E-08CB-91C494B1230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6947468" y="3366170"/>
                    <a:ext cx="2407228" cy="526148"/>
                  </a:xfrm>
                  <a:prstGeom prst="rect">
                    <a:avLst/>
                  </a:prstGeom>
                </p:spPr>
              </p:pic>
              <p:pic>
                <p:nvPicPr>
                  <p:cNvPr id="38" name="Imagen 37">
                    <a:extLst>
                      <a:ext uri="{FF2B5EF4-FFF2-40B4-BE49-F238E27FC236}">
                        <a16:creationId xmlns:a16="http://schemas.microsoft.com/office/drawing/2014/main" id="{2E008D40-0A33-0622-2D6A-1DC7B0A0E34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8282492" y="3366170"/>
                    <a:ext cx="2407228" cy="526148"/>
                  </a:xfrm>
                  <a:prstGeom prst="rect">
                    <a:avLst/>
                  </a:prstGeom>
                </p:spPr>
              </p:pic>
              <p:pic>
                <p:nvPicPr>
                  <p:cNvPr id="41" name="Imagen 40">
                    <a:extLst>
                      <a:ext uri="{FF2B5EF4-FFF2-40B4-BE49-F238E27FC236}">
                        <a16:creationId xmlns:a16="http://schemas.microsoft.com/office/drawing/2014/main" id="{3F5F696C-1F52-6CAA-DD75-92B0B2286D5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93462" y="2537057"/>
                    <a:ext cx="2407228" cy="526148"/>
                  </a:xfrm>
                  <a:prstGeom prst="rect">
                    <a:avLst/>
                  </a:prstGeom>
                </p:spPr>
              </p:pic>
            </p:grpSp>
            <p:grpSp>
              <p:nvGrpSpPr>
                <p:cNvPr id="824" name="Grupo 823">
                  <a:extLst>
                    <a:ext uri="{FF2B5EF4-FFF2-40B4-BE49-F238E27FC236}">
                      <a16:creationId xmlns:a16="http://schemas.microsoft.com/office/drawing/2014/main" id="{14BD62C0-F300-3EF5-16E3-35DE0BFD8994}"/>
                    </a:ext>
                  </a:extLst>
                </p:cNvPr>
                <p:cNvGrpSpPr/>
                <p:nvPr/>
              </p:nvGrpSpPr>
              <p:grpSpPr>
                <a:xfrm>
                  <a:off x="7751710" y="2791273"/>
                  <a:ext cx="2441023" cy="2043206"/>
                  <a:chOff x="13718119" y="2907841"/>
                  <a:chExt cx="2530446" cy="2118058"/>
                </a:xfrm>
              </p:grpSpPr>
              <p:grpSp>
                <p:nvGrpSpPr>
                  <p:cNvPr id="1125" name="Gráfico 273">
                    <a:extLst>
                      <a:ext uri="{FF2B5EF4-FFF2-40B4-BE49-F238E27FC236}">
                        <a16:creationId xmlns:a16="http://schemas.microsoft.com/office/drawing/2014/main" id="{4D19F94A-6197-585A-DF7D-70AA222B321E}"/>
                      </a:ext>
                    </a:extLst>
                  </p:cNvPr>
                  <p:cNvGrpSpPr/>
                  <p:nvPr/>
                </p:nvGrpSpPr>
                <p:grpSpPr>
                  <a:xfrm>
                    <a:off x="14059379" y="2907841"/>
                    <a:ext cx="1477275" cy="1740640"/>
                    <a:chOff x="4822983" y="1924041"/>
                    <a:chExt cx="2034825" cy="2683875"/>
                  </a:xfrm>
                </p:grpSpPr>
                <p:sp>
                  <p:nvSpPr>
                    <p:cNvPr id="1209" name="Rectángulo: esquinas redondeadas 1208">
                      <a:extLst>
                        <a:ext uri="{FF2B5EF4-FFF2-40B4-BE49-F238E27FC236}">
                          <a16:creationId xmlns:a16="http://schemas.microsoft.com/office/drawing/2014/main" id="{832EEADB-C25B-559D-8E42-D486C0916501}"/>
                        </a:ext>
                      </a:extLst>
                    </p:cNvPr>
                    <p:cNvSpPr/>
                    <p:nvPr/>
                  </p:nvSpPr>
                  <p:spPr>
                    <a:xfrm>
                      <a:off x="4822983" y="1924041"/>
                      <a:ext cx="2034825" cy="2683875"/>
                    </a:xfrm>
                    <a:prstGeom prst="roundRect">
                      <a:avLst>
                        <a:gd name="adj" fmla="val 6523"/>
                      </a:avLst>
                    </a:prstGeom>
                    <a:solidFill>
                      <a:schemeClr val="bg2">
                        <a:lumMod val="2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0" name="Rectángulo: esquinas redondeadas 1209">
                      <a:extLst>
                        <a:ext uri="{FF2B5EF4-FFF2-40B4-BE49-F238E27FC236}">
                          <a16:creationId xmlns:a16="http://schemas.microsoft.com/office/drawing/2014/main" id="{8B07B1F0-2AC3-51B5-FBC1-F15C560BE517}"/>
                        </a:ext>
                      </a:extLst>
                    </p:cNvPr>
                    <p:cNvSpPr/>
                    <p:nvPr/>
                  </p:nvSpPr>
                  <p:spPr>
                    <a:xfrm>
                      <a:off x="4892420" y="1992554"/>
                      <a:ext cx="1895664" cy="2548805"/>
                    </a:xfrm>
                    <a:prstGeom prst="roundRect">
                      <a:avLst>
                        <a:gd name="adj" fmla="val 3932"/>
                      </a:avLst>
                    </a:pr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6" name="Grupo 1125">
                    <a:extLst>
                      <a:ext uri="{FF2B5EF4-FFF2-40B4-BE49-F238E27FC236}">
                        <a16:creationId xmlns:a16="http://schemas.microsoft.com/office/drawing/2014/main" id="{D738328C-4C7B-2648-E0F0-D52562C09E1C}"/>
                      </a:ext>
                    </a:extLst>
                  </p:cNvPr>
                  <p:cNvGrpSpPr/>
                  <p:nvPr/>
                </p:nvGrpSpPr>
                <p:grpSpPr>
                  <a:xfrm>
                    <a:off x="14190500" y="3081747"/>
                    <a:ext cx="1218202" cy="1359882"/>
                    <a:chOff x="8549640" y="3081747"/>
                    <a:chExt cx="1218202" cy="1359882"/>
                  </a:xfrm>
                </p:grpSpPr>
                <p:grpSp>
                  <p:nvGrpSpPr>
                    <p:cNvPr id="1153" name="Grupo 1152">
                      <a:extLst>
                        <a:ext uri="{FF2B5EF4-FFF2-40B4-BE49-F238E27FC236}">
                          <a16:creationId xmlns:a16="http://schemas.microsoft.com/office/drawing/2014/main" id="{98645AE3-BFC5-DBA9-8B04-DC928D43C51D}"/>
                        </a:ext>
                      </a:extLst>
                    </p:cNvPr>
                    <p:cNvGrpSpPr/>
                    <p:nvPr/>
                  </p:nvGrpSpPr>
                  <p:grpSpPr>
                    <a:xfrm>
                      <a:off x="8549640" y="3081747"/>
                      <a:ext cx="1174136" cy="219256"/>
                      <a:chOff x="11892851" y="1873280"/>
                      <a:chExt cx="2987937" cy="557963"/>
                    </a:xfrm>
                  </p:grpSpPr>
                  <p:grpSp>
                    <p:nvGrpSpPr>
                      <p:cNvPr id="1165" name="Grupo 1164">
                        <a:extLst>
                          <a:ext uri="{FF2B5EF4-FFF2-40B4-BE49-F238E27FC236}">
                            <a16:creationId xmlns:a16="http://schemas.microsoft.com/office/drawing/2014/main" id="{F5C31593-8347-9FCF-AEC0-D420E432276B}"/>
                          </a:ext>
                        </a:extLst>
                      </p:cNvPr>
                      <p:cNvGrpSpPr/>
                      <p:nvPr/>
                    </p:nvGrpSpPr>
                    <p:grpSpPr>
                      <a:xfrm>
                        <a:off x="11892851" y="1873280"/>
                        <a:ext cx="660817" cy="557963"/>
                        <a:chOff x="14219971" y="2656897"/>
                        <a:chExt cx="660817" cy="557963"/>
                      </a:xfrm>
                    </p:grpSpPr>
                    <p:sp>
                      <p:nvSpPr>
                        <p:cNvPr id="1199" name="Forma libre: forma 1198">
                          <a:extLst>
                            <a:ext uri="{FF2B5EF4-FFF2-40B4-BE49-F238E27FC236}">
                              <a16:creationId xmlns:a16="http://schemas.microsoft.com/office/drawing/2014/main" id="{6FE9E724-C27C-2585-C163-0FBAF823F3D6}"/>
                            </a:ext>
                          </a:extLst>
                        </p:cNvPr>
                        <p:cNvSpPr/>
                        <p:nvPr/>
                      </p:nvSpPr>
                      <p:spPr>
                        <a:xfrm>
                          <a:off x="14518372" y="2656897"/>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0" name="Forma libre: forma 1199">
                          <a:extLst>
                            <a:ext uri="{FF2B5EF4-FFF2-40B4-BE49-F238E27FC236}">
                              <a16:creationId xmlns:a16="http://schemas.microsoft.com/office/drawing/2014/main" id="{2D4BA85F-BA1A-F2DC-F458-417E83EB0228}"/>
                            </a:ext>
                          </a:extLst>
                        </p:cNvPr>
                        <p:cNvSpPr/>
                        <p:nvPr/>
                      </p:nvSpPr>
                      <p:spPr>
                        <a:xfrm>
                          <a:off x="14667572" y="2699559"/>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1" name="Forma libre: forma 1200">
                          <a:extLst>
                            <a:ext uri="{FF2B5EF4-FFF2-40B4-BE49-F238E27FC236}">
                              <a16:creationId xmlns:a16="http://schemas.microsoft.com/office/drawing/2014/main" id="{C543A422-03E9-7283-15FD-BE204BD3D9DD}"/>
                            </a:ext>
                          </a:extLst>
                        </p:cNvPr>
                        <p:cNvSpPr/>
                        <p:nvPr/>
                      </p:nvSpPr>
                      <p:spPr>
                        <a:xfrm>
                          <a:off x="14369171" y="2699559"/>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2" name="Forma libre: forma 1201">
                          <a:extLst>
                            <a:ext uri="{FF2B5EF4-FFF2-40B4-BE49-F238E27FC236}">
                              <a16:creationId xmlns:a16="http://schemas.microsoft.com/office/drawing/2014/main" id="{D7AC2C2E-3857-31AC-8597-577D38E7F561}"/>
                            </a:ext>
                          </a:extLst>
                        </p:cNvPr>
                        <p:cNvSpPr/>
                        <p:nvPr/>
                      </p:nvSpPr>
                      <p:spPr>
                        <a:xfrm>
                          <a:off x="14262587" y="28060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8"/>
                                <a:pt x="58509" y="0"/>
                                <a:pt x="130683" y="0"/>
                              </a:cubicBezTo>
                              <a:cubicBezTo>
                                <a:pt x="202857" y="0"/>
                                <a:pt x="261366" y="58508"/>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3" name="Forma libre: forma 1202">
                          <a:extLst>
                            <a:ext uri="{FF2B5EF4-FFF2-40B4-BE49-F238E27FC236}">
                              <a16:creationId xmlns:a16="http://schemas.microsoft.com/office/drawing/2014/main" id="{3EB2A8DB-3C33-D4C3-5B25-E7CAF9043423}"/>
                            </a:ext>
                          </a:extLst>
                        </p:cNvPr>
                        <p:cNvSpPr/>
                        <p:nvPr/>
                      </p:nvSpPr>
                      <p:spPr>
                        <a:xfrm>
                          <a:off x="14219971" y="29552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4" name="Forma libre: forma 1203">
                          <a:extLst>
                            <a:ext uri="{FF2B5EF4-FFF2-40B4-BE49-F238E27FC236}">
                              <a16:creationId xmlns:a16="http://schemas.microsoft.com/office/drawing/2014/main" id="{B3485F2F-59A8-45A6-378E-8CD2A87E956F}"/>
                            </a:ext>
                          </a:extLst>
                        </p:cNvPr>
                        <p:cNvSpPr/>
                        <p:nvPr/>
                      </p:nvSpPr>
                      <p:spPr>
                        <a:xfrm>
                          <a:off x="14774157" y="28060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8"/>
                                <a:pt x="58509" y="0"/>
                                <a:pt x="130683" y="0"/>
                              </a:cubicBezTo>
                              <a:cubicBezTo>
                                <a:pt x="202857" y="0"/>
                                <a:pt x="261366" y="58508"/>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5" name="Forma libre: forma 1204">
                          <a:extLst>
                            <a:ext uri="{FF2B5EF4-FFF2-40B4-BE49-F238E27FC236}">
                              <a16:creationId xmlns:a16="http://schemas.microsoft.com/office/drawing/2014/main" id="{14D70B3B-E055-3EBC-9C20-7A7EC944DB97}"/>
                            </a:ext>
                          </a:extLst>
                        </p:cNvPr>
                        <p:cNvSpPr/>
                        <p:nvPr/>
                      </p:nvSpPr>
                      <p:spPr>
                        <a:xfrm>
                          <a:off x="14816819" y="29552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8" y="261366"/>
                                <a:pt x="130683" y="261366"/>
                              </a:cubicBezTo>
                              <a:cubicBezTo>
                                <a:pt x="58509" y="261366"/>
                                <a:pt x="0" y="202857"/>
                                <a:pt x="0" y="130683"/>
                              </a:cubicBezTo>
                              <a:cubicBezTo>
                                <a:pt x="0" y="58509"/>
                                <a:pt x="58509" y="0"/>
                                <a:pt x="130683" y="0"/>
                              </a:cubicBezTo>
                              <a:cubicBezTo>
                                <a:pt x="202858" y="0"/>
                                <a:pt x="261366" y="58509"/>
                                <a:pt x="261366" y="130683"/>
                              </a:cubicBezTo>
                              <a:close/>
                            </a:path>
                          </a:pathLst>
                        </a:custGeom>
                        <a:solidFill>
                          <a:srgbClr val="DA2F47"/>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6" name="Forma libre: forma 1205">
                          <a:extLst>
                            <a:ext uri="{FF2B5EF4-FFF2-40B4-BE49-F238E27FC236}">
                              <a16:creationId xmlns:a16="http://schemas.microsoft.com/office/drawing/2014/main" id="{B778324B-B702-B8D8-1917-5F5693C269A0}"/>
                            </a:ext>
                          </a:extLst>
                        </p:cNvPr>
                        <p:cNvSpPr/>
                        <p:nvPr/>
                      </p:nvSpPr>
                      <p:spPr>
                        <a:xfrm>
                          <a:off x="14322779" y="2759705"/>
                          <a:ext cx="455154" cy="455155"/>
                        </a:xfrm>
                        <a:custGeom>
                          <a:avLst/>
                          <a:gdLst>
                            <a:gd name="connsiteX0" fmla="*/ 1859661 w 1859661"/>
                            <a:gd name="connsiteY0" fmla="*/ 929831 h 1859661"/>
                            <a:gd name="connsiteX1" fmla="*/ 929831 w 1859661"/>
                            <a:gd name="connsiteY1" fmla="*/ 1859661 h 1859661"/>
                            <a:gd name="connsiteX2" fmla="*/ 0 w 1859661"/>
                            <a:gd name="connsiteY2" fmla="*/ 929831 h 1859661"/>
                            <a:gd name="connsiteX3" fmla="*/ 929831 w 1859661"/>
                            <a:gd name="connsiteY3" fmla="*/ 0 h 1859661"/>
                            <a:gd name="connsiteX4" fmla="*/ 1859661 w 1859661"/>
                            <a:gd name="connsiteY4" fmla="*/ 929831 h 18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661" h="1859661">
                              <a:moveTo>
                                <a:pt x="1859661" y="929831"/>
                              </a:moveTo>
                              <a:cubicBezTo>
                                <a:pt x="1859661" y="1443362"/>
                                <a:pt x="1443362" y="1859661"/>
                                <a:pt x="929831" y="1859661"/>
                              </a:cubicBezTo>
                              <a:cubicBezTo>
                                <a:pt x="416299" y="1859661"/>
                                <a:pt x="0" y="1443362"/>
                                <a:pt x="0" y="929831"/>
                              </a:cubicBezTo>
                              <a:cubicBezTo>
                                <a:pt x="0" y="416299"/>
                                <a:pt x="416299" y="0"/>
                                <a:pt x="929831" y="0"/>
                              </a:cubicBezTo>
                              <a:cubicBezTo>
                                <a:pt x="1443362" y="0"/>
                                <a:pt x="1859661" y="416299"/>
                                <a:pt x="1859661" y="929831"/>
                              </a:cubicBezTo>
                              <a:close/>
                            </a:path>
                          </a:pathLst>
                        </a:custGeom>
                        <a:solidFill>
                          <a:schemeClr val="bg1">
                            <a:lumMod val="75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7" name="Forma libre: forma 1206">
                          <a:extLst>
                            <a:ext uri="{FF2B5EF4-FFF2-40B4-BE49-F238E27FC236}">
                              <a16:creationId xmlns:a16="http://schemas.microsoft.com/office/drawing/2014/main" id="{62CC60B9-A4A8-3FF7-4812-0413704338BC}"/>
                            </a:ext>
                          </a:extLst>
                        </p:cNvPr>
                        <p:cNvSpPr/>
                        <p:nvPr/>
                      </p:nvSpPr>
                      <p:spPr>
                        <a:xfrm>
                          <a:off x="14364136" y="2801062"/>
                          <a:ext cx="372441" cy="372442"/>
                        </a:xfrm>
                        <a:custGeom>
                          <a:avLst/>
                          <a:gdLst>
                            <a:gd name="connsiteX0" fmla="*/ 1521714 w 1521714"/>
                            <a:gd name="connsiteY0" fmla="*/ 760857 h 1521714"/>
                            <a:gd name="connsiteX1" fmla="*/ 760857 w 1521714"/>
                            <a:gd name="connsiteY1" fmla="*/ 1521714 h 1521714"/>
                            <a:gd name="connsiteX2" fmla="*/ 0 w 1521714"/>
                            <a:gd name="connsiteY2" fmla="*/ 760857 h 1521714"/>
                            <a:gd name="connsiteX3" fmla="*/ 760857 w 1521714"/>
                            <a:gd name="connsiteY3" fmla="*/ 0 h 1521714"/>
                            <a:gd name="connsiteX4" fmla="*/ 1521714 w 1521714"/>
                            <a:gd name="connsiteY4" fmla="*/ 760857 h 152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714" h="1521714">
                              <a:moveTo>
                                <a:pt x="1521714" y="760857"/>
                              </a:moveTo>
                              <a:cubicBezTo>
                                <a:pt x="1521714" y="1181067"/>
                                <a:pt x="1181067" y="1521714"/>
                                <a:pt x="760857" y="1521714"/>
                              </a:cubicBezTo>
                              <a:cubicBezTo>
                                <a:pt x="340647" y="1521714"/>
                                <a:pt x="0" y="1181067"/>
                                <a:pt x="0" y="760857"/>
                              </a:cubicBezTo>
                              <a:cubicBezTo>
                                <a:pt x="0" y="340647"/>
                                <a:pt x="340648" y="0"/>
                                <a:pt x="760857" y="0"/>
                              </a:cubicBezTo>
                              <a:cubicBezTo>
                                <a:pt x="1181067" y="0"/>
                                <a:pt x="1521714" y="340648"/>
                                <a:pt x="1521714" y="760857"/>
                              </a:cubicBezTo>
                              <a:close/>
                            </a:path>
                          </a:pathLst>
                        </a:custGeom>
                        <a:solidFill>
                          <a:schemeClr val="bg2">
                            <a:lumMod val="50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8" name="Forma libre: forma 1207">
                          <a:extLst>
                            <a:ext uri="{FF2B5EF4-FFF2-40B4-BE49-F238E27FC236}">
                              <a16:creationId xmlns:a16="http://schemas.microsoft.com/office/drawing/2014/main" id="{64295953-81C4-F173-5972-24383BA261BB}"/>
                            </a:ext>
                          </a:extLst>
                        </p:cNvPr>
                        <p:cNvSpPr/>
                        <p:nvPr/>
                      </p:nvSpPr>
                      <p:spPr>
                        <a:xfrm>
                          <a:off x="14523206" y="2842264"/>
                          <a:ext cx="123026" cy="175572"/>
                        </a:xfrm>
                        <a:custGeom>
                          <a:avLst/>
                          <a:gdLst>
                            <a:gd name="connsiteX0" fmla="*/ 336101 w 502657"/>
                            <a:gd name="connsiteY0" fmla="*/ 43493 h 717350"/>
                            <a:gd name="connsiteX1" fmla="*/ 12823 w 502657"/>
                            <a:gd name="connsiteY1" fmla="*/ 581465 h 717350"/>
                            <a:gd name="connsiteX2" fmla="*/ 43493 w 502657"/>
                            <a:gd name="connsiteY2" fmla="*/ 704528 h 717350"/>
                            <a:gd name="connsiteX3" fmla="*/ 166556 w 502657"/>
                            <a:gd name="connsiteY3" fmla="*/ 673858 h 717350"/>
                            <a:gd name="connsiteX4" fmla="*/ 489835 w 502657"/>
                            <a:gd name="connsiteY4" fmla="*/ 135886 h 717350"/>
                            <a:gd name="connsiteX5" fmla="*/ 459164 w 502657"/>
                            <a:gd name="connsiteY5" fmla="*/ 12823 h 717350"/>
                            <a:gd name="connsiteX6" fmla="*/ 336101 w 502657"/>
                            <a:gd name="connsiteY6" fmla="*/ 43493 h 71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57" h="717350">
                              <a:moveTo>
                                <a:pt x="336101" y="43493"/>
                              </a:moveTo>
                              <a:lnTo>
                                <a:pt x="12823" y="581465"/>
                              </a:lnTo>
                              <a:cubicBezTo>
                                <a:pt x="-12685" y="623909"/>
                                <a:pt x="1050" y="679020"/>
                                <a:pt x="43493" y="704528"/>
                              </a:cubicBezTo>
                              <a:cubicBezTo>
                                <a:pt x="85936" y="730036"/>
                                <a:pt x="141048" y="716301"/>
                                <a:pt x="166556" y="673858"/>
                              </a:cubicBezTo>
                              <a:lnTo>
                                <a:pt x="489835" y="135886"/>
                              </a:lnTo>
                              <a:cubicBezTo>
                                <a:pt x="515343" y="93442"/>
                                <a:pt x="501608" y="38331"/>
                                <a:pt x="459164" y="12823"/>
                              </a:cubicBezTo>
                              <a:cubicBezTo>
                                <a:pt x="416721" y="-12685"/>
                                <a:pt x="361609" y="1050"/>
                                <a:pt x="336101" y="43493"/>
                              </a:cubicBezTo>
                              <a:close/>
                            </a:path>
                          </a:pathLst>
                        </a:custGeom>
                        <a:solidFill>
                          <a:srgbClr val="E1E8ED"/>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66" name="Grupo 1165">
                        <a:extLst>
                          <a:ext uri="{FF2B5EF4-FFF2-40B4-BE49-F238E27FC236}">
                            <a16:creationId xmlns:a16="http://schemas.microsoft.com/office/drawing/2014/main" id="{1641C868-92C1-6A4C-5296-209595036B60}"/>
                          </a:ext>
                        </a:extLst>
                      </p:cNvPr>
                      <p:cNvGrpSpPr/>
                      <p:nvPr/>
                    </p:nvGrpSpPr>
                    <p:grpSpPr>
                      <a:xfrm>
                        <a:off x="12668558" y="1873280"/>
                        <a:ext cx="660816" cy="557963"/>
                        <a:chOff x="13380720" y="2656897"/>
                        <a:chExt cx="660816" cy="557963"/>
                      </a:xfrm>
                    </p:grpSpPr>
                    <p:sp>
                      <p:nvSpPr>
                        <p:cNvPr id="1189" name="Forma libre: forma 1188">
                          <a:extLst>
                            <a:ext uri="{FF2B5EF4-FFF2-40B4-BE49-F238E27FC236}">
                              <a16:creationId xmlns:a16="http://schemas.microsoft.com/office/drawing/2014/main" id="{A5AAE484-FAC3-BA98-1D68-A0D4DC4211B8}"/>
                            </a:ext>
                          </a:extLst>
                        </p:cNvPr>
                        <p:cNvSpPr/>
                        <p:nvPr/>
                      </p:nvSpPr>
                      <p:spPr>
                        <a:xfrm>
                          <a:off x="13679120" y="2656897"/>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0" name="Forma libre: forma 1189">
                          <a:extLst>
                            <a:ext uri="{FF2B5EF4-FFF2-40B4-BE49-F238E27FC236}">
                              <a16:creationId xmlns:a16="http://schemas.microsoft.com/office/drawing/2014/main" id="{A87301D4-4F3D-7CB4-2D25-CC223BA88CB5}"/>
                            </a:ext>
                          </a:extLst>
                        </p:cNvPr>
                        <p:cNvSpPr/>
                        <p:nvPr/>
                      </p:nvSpPr>
                      <p:spPr>
                        <a:xfrm>
                          <a:off x="13828321" y="2699559"/>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1" name="Forma libre: forma 1190">
                          <a:extLst>
                            <a:ext uri="{FF2B5EF4-FFF2-40B4-BE49-F238E27FC236}">
                              <a16:creationId xmlns:a16="http://schemas.microsoft.com/office/drawing/2014/main" id="{899C9349-1CD8-983A-7C34-E0D6E5498336}"/>
                            </a:ext>
                          </a:extLst>
                        </p:cNvPr>
                        <p:cNvSpPr/>
                        <p:nvPr/>
                      </p:nvSpPr>
                      <p:spPr>
                        <a:xfrm>
                          <a:off x="13529920" y="2699559"/>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2" name="Forma libre: forma 1191">
                          <a:extLst>
                            <a:ext uri="{FF2B5EF4-FFF2-40B4-BE49-F238E27FC236}">
                              <a16:creationId xmlns:a16="http://schemas.microsoft.com/office/drawing/2014/main" id="{C4628B03-3B98-8B0A-CBDE-978E0CEEFEA8}"/>
                            </a:ext>
                          </a:extLst>
                        </p:cNvPr>
                        <p:cNvSpPr/>
                        <p:nvPr/>
                      </p:nvSpPr>
                      <p:spPr>
                        <a:xfrm>
                          <a:off x="13423335" y="2806098"/>
                          <a:ext cx="63970" cy="63969"/>
                        </a:xfrm>
                        <a:custGeom>
                          <a:avLst/>
                          <a:gdLst>
                            <a:gd name="connsiteX0" fmla="*/ 261366 w 261366"/>
                            <a:gd name="connsiteY0" fmla="*/ 130683 h 261365"/>
                            <a:gd name="connsiteX1" fmla="*/ 130683 w 261366"/>
                            <a:gd name="connsiteY1" fmla="*/ 261366 h 261365"/>
                            <a:gd name="connsiteX2" fmla="*/ 0 w 261366"/>
                            <a:gd name="connsiteY2" fmla="*/ 130683 h 261365"/>
                            <a:gd name="connsiteX3" fmla="*/ 130683 w 261366"/>
                            <a:gd name="connsiteY3" fmla="*/ 0 h 261365"/>
                            <a:gd name="connsiteX4" fmla="*/ 261366 w 261366"/>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6" h="261365">
                              <a:moveTo>
                                <a:pt x="261366" y="130683"/>
                              </a:moveTo>
                              <a:cubicBezTo>
                                <a:pt x="261366" y="202857"/>
                                <a:pt x="202857" y="261366"/>
                                <a:pt x="130683" y="261366"/>
                              </a:cubicBezTo>
                              <a:cubicBezTo>
                                <a:pt x="58509" y="261366"/>
                                <a:pt x="0" y="202857"/>
                                <a:pt x="0" y="130683"/>
                              </a:cubicBezTo>
                              <a:cubicBezTo>
                                <a:pt x="0" y="58508"/>
                                <a:pt x="58509" y="0"/>
                                <a:pt x="130683" y="0"/>
                              </a:cubicBezTo>
                              <a:cubicBezTo>
                                <a:pt x="202857" y="0"/>
                                <a:pt x="261366" y="58508"/>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3" name="Forma libre: forma 1192">
                          <a:extLst>
                            <a:ext uri="{FF2B5EF4-FFF2-40B4-BE49-F238E27FC236}">
                              <a16:creationId xmlns:a16="http://schemas.microsoft.com/office/drawing/2014/main" id="{86301FBF-8005-1EF5-5646-44EA03C59E49}"/>
                            </a:ext>
                          </a:extLst>
                        </p:cNvPr>
                        <p:cNvSpPr/>
                        <p:nvPr/>
                      </p:nvSpPr>
                      <p:spPr>
                        <a:xfrm>
                          <a:off x="13380720" y="29552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4" name="Forma libre: forma 1193">
                          <a:extLst>
                            <a:ext uri="{FF2B5EF4-FFF2-40B4-BE49-F238E27FC236}">
                              <a16:creationId xmlns:a16="http://schemas.microsoft.com/office/drawing/2014/main" id="{0CC3AB9B-B5FE-03CB-380E-FEADD6F4AAD2}"/>
                            </a:ext>
                          </a:extLst>
                        </p:cNvPr>
                        <p:cNvSpPr/>
                        <p:nvPr/>
                      </p:nvSpPr>
                      <p:spPr>
                        <a:xfrm>
                          <a:off x="13934906" y="28060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8"/>
                                <a:pt x="58509" y="0"/>
                                <a:pt x="130683" y="0"/>
                              </a:cubicBezTo>
                              <a:cubicBezTo>
                                <a:pt x="202857" y="0"/>
                                <a:pt x="261366" y="58508"/>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5" name="Forma libre: forma 1194">
                          <a:extLst>
                            <a:ext uri="{FF2B5EF4-FFF2-40B4-BE49-F238E27FC236}">
                              <a16:creationId xmlns:a16="http://schemas.microsoft.com/office/drawing/2014/main" id="{304CC169-AB0C-E8BD-1889-D9775DE94F58}"/>
                            </a:ext>
                          </a:extLst>
                        </p:cNvPr>
                        <p:cNvSpPr/>
                        <p:nvPr/>
                      </p:nvSpPr>
                      <p:spPr>
                        <a:xfrm>
                          <a:off x="13977567" y="2955298"/>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DA2F47"/>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6" name="Forma libre: forma 1195">
                          <a:extLst>
                            <a:ext uri="{FF2B5EF4-FFF2-40B4-BE49-F238E27FC236}">
                              <a16:creationId xmlns:a16="http://schemas.microsoft.com/office/drawing/2014/main" id="{98767740-FF6B-5CDA-75B4-DDB9DEECD93D}"/>
                            </a:ext>
                          </a:extLst>
                        </p:cNvPr>
                        <p:cNvSpPr/>
                        <p:nvPr/>
                      </p:nvSpPr>
                      <p:spPr>
                        <a:xfrm>
                          <a:off x="13483528" y="2759705"/>
                          <a:ext cx="455154" cy="455155"/>
                        </a:xfrm>
                        <a:custGeom>
                          <a:avLst/>
                          <a:gdLst>
                            <a:gd name="connsiteX0" fmla="*/ 1859661 w 1859661"/>
                            <a:gd name="connsiteY0" fmla="*/ 929831 h 1859661"/>
                            <a:gd name="connsiteX1" fmla="*/ 929831 w 1859661"/>
                            <a:gd name="connsiteY1" fmla="*/ 1859661 h 1859661"/>
                            <a:gd name="connsiteX2" fmla="*/ 0 w 1859661"/>
                            <a:gd name="connsiteY2" fmla="*/ 929831 h 1859661"/>
                            <a:gd name="connsiteX3" fmla="*/ 929831 w 1859661"/>
                            <a:gd name="connsiteY3" fmla="*/ 0 h 1859661"/>
                            <a:gd name="connsiteX4" fmla="*/ 1859661 w 1859661"/>
                            <a:gd name="connsiteY4" fmla="*/ 929831 h 18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661" h="1859661">
                              <a:moveTo>
                                <a:pt x="1859661" y="929831"/>
                              </a:moveTo>
                              <a:cubicBezTo>
                                <a:pt x="1859661" y="1443362"/>
                                <a:pt x="1443362" y="1859661"/>
                                <a:pt x="929831" y="1859661"/>
                              </a:cubicBezTo>
                              <a:cubicBezTo>
                                <a:pt x="416299" y="1859661"/>
                                <a:pt x="0" y="1443362"/>
                                <a:pt x="0" y="929831"/>
                              </a:cubicBezTo>
                              <a:cubicBezTo>
                                <a:pt x="0" y="416299"/>
                                <a:pt x="416299" y="0"/>
                                <a:pt x="929831" y="0"/>
                              </a:cubicBezTo>
                              <a:cubicBezTo>
                                <a:pt x="1443362" y="0"/>
                                <a:pt x="1859661" y="416299"/>
                                <a:pt x="1859661" y="929831"/>
                              </a:cubicBezTo>
                              <a:close/>
                            </a:path>
                          </a:pathLst>
                        </a:custGeom>
                        <a:solidFill>
                          <a:schemeClr val="bg1">
                            <a:lumMod val="75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7" name="Forma libre: forma 1196">
                          <a:extLst>
                            <a:ext uri="{FF2B5EF4-FFF2-40B4-BE49-F238E27FC236}">
                              <a16:creationId xmlns:a16="http://schemas.microsoft.com/office/drawing/2014/main" id="{EB3C4FF1-16FC-B069-82BE-6BFDF5EE7455}"/>
                            </a:ext>
                          </a:extLst>
                        </p:cNvPr>
                        <p:cNvSpPr/>
                        <p:nvPr/>
                      </p:nvSpPr>
                      <p:spPr>
                        <a:xfrm>
                          <a:off x="13524931" y="2801015"/>
                          <a:ext cx="372441" cy="372442"/>
                        </a:xfrm>
                        <a:custGeom>
                          <a:avLst/>
                          <a:gdLst>
                            <a:gd name="connsiteX0" fmla="*/ 1521714 w 1521714"/>
                            <a:gd name="connsiteY0" fmla="*/ 760857 h 1521714"/>
                            <a:gd name="connsiteX1" fmla="*/ 760857 w 1521714"/>
                            <a:gd name="connsiteY1" fmla="*/ 1521714 h 1521714"/>
                            <a:gd name="connsiteX2" fmla="*/ 0 w 1521714"/>
                            <a:gd name="connsiteY2" fmla="*/ 760857 h 1521714"/>
                            <a:gd name="connsiteX3" fmla="*/ 760857 w 1521714"/>
                            <a:gd name="connsiteY3" fmla="*/ 0 h 1521714"/>
                            <a:gd name="connsiteX4" fmla="*/ 1521714 w 1521714"/>
                            <a:gd name="connsiteY4" fmla="*/ 760857 h 152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714" h="1521714">
                              <a:moveTo>
                                <a:pt x="1521714" y="760857"/>
                              </a:moveTo>
                              <a:cubicBezTo>
                                <a:pt x="1521714" y="1181067"/>
                                <a:pt x="1181067" y="1521714"/>
                                <a:pt x="760857" y="1521714"/>
                              </a:cubicBezTo>
                              <a:cubicBezTo>
                                <a:pt x="340647" y="1521714"/>
                                <a:pt x="0" y="1181067"/>
                                <a:pt x="0" y="760857"/>
                              </a:cubicBezTo>
                              <a:cubicBezTo>
                                <a:pt x="0" y="340647"/>
                                <a:pt x="340647" y="0"/>
                                <a:pt x="760857" y="0"/>
                              </a:cubicBezTo>
                              <a:cubicBezTo>
                                <a:pt x="1181067" y="0"/>
                                <a:pt x="1521714" y="340648"/>
                                <a:pt x="1521714" y="760857"/>
                              </a:cubicBezTo>
                              <a:close/>
                            </a:path>
                          </a:pathLst>
                        </a:custGeom>
                        <a:solidFill>
                          <a:schemeClr val="bg2">
                            <a:lumMod val="50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8" name="Forma libre: forma 1197">
                          <a:extLst>
                            <a:ext uri="{FF2B5EF4-FFF2-40B4-BE49-F238E27FC236}">
                              <a16:creationId xmlns:a16="http://schemas.microsoft.com/office/drawing/2014/main" id="{09E713D7-1881-3E20-10F5-F9BAE4F2466B}"/>
                            </a:ext>
                          </a:extLst>
                        </p:cNvPr>
                        <p:cNvSpPr/>
                        <p:nvPr/>
                      </p:nvSpPr>
                      <p:spPr>
                        <a:xfrm>
                          <a:off x="13564878" y="2893554"/>
                          <a:ext cx="176917" cy="120690"/>
                        </a:xfrm>
                        <a:custGeom>
                          <a:avLst/>
                          <a:gdLst>
                            <a:gd name="connsiteX0" fmla="*/ 44812 w 722845"/>
                            <a:gd name="connsiteY0" fmla="*/ 167309 h 493112"/>
                            <a:gd name="connsiteX1" fmla="*/ 588308 w 722845"/>
                            <a:gd name="connsiteY1" fmla="*/ 481062 h 493112"/>
                            <a:gd name="connsiteX2" fmla="*/ 710800 w 722845"/>
                            <a:gd name="connsiteY2" fmla="*/ 448296 h 493112"/>
                            <a:gd name="connsiteX3" fmla="*/ 678034 w 722845"/>
                            <a:gd name="connsiteY3" fmla="*/ 325805 h 493112"/>
                            <a:gd name="connsiteX4" fmla="*/ 134537 w 722845"/>
                            <a:gd name="connsiteY4" fmla="*/ 12051 h 493112"/>
                            <a:gd name="connsiteX5" fmla="*/ 12046 w 722845"/>
                            <a:gd name="connsiteY5" fmla="*/ 44817 h 493112"/>
                            <a:gd name="connsiteX6" fmla="*/ 44812 w 722845"/>
                            <a:gd name="connsiteY6" fmla="*/ 167309 h 49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45" h="493112">
                              <a:moveTo>
                                <a:pt x="44812" y="167309"/>
                              </a:moveTo>
                              <a:lnTo>
                                <a:pt x="588308" y="481062"/>
                              </a:lnTo>
                              <a:cubicBezTo>
                                <a:pt x="631182" y="505846"/>
                                <a:pt x="686024" y="491178"/>
                                <a:pt x="710800" y="448296"/>
                              </a:cubicBezTo>
                              <a:cubicBezTo>
                                <a:pt x="735577" y="405415"/>
                                <a:pt x="720908" y="350588"/>
                                <a:pt x="678034" y="325805"/>
                              </a:cubicBezTo>
                              <a:lnTo>
                                <a:pt x="134537" y="12051"/>
                              </a:lnTo>
                              <a:cubicBezTo>
                                <a:pt x="91664" y="-12733"/>
                                <a:pt x="36822" y="1936"/>
                                <a:pt x="12046" y="44817"/>
                              </a:cubicBezTo>
                              <a:cubicBezTo>
                                <a:pt x="-12731" y="87699"/>
                                <a:pt x="1938" y="142524"/>
                                <a:pt x="44812" y="167309"/>
                              </a:cubicBezTo>
                              <a:close/>
                            </a:path>
                          </a:pathLst>
                        </a:custGeom>
                        <a:solidFill>
                          <a:srgbClr val="E1E8ED"/>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67" name="Grupo 1166">
                        <a:extLst>
                          <a:ext uri="{FF2B5EF4-FFF2-40B4-BE49-F238E27FC236}">
                            <a16:creationId xmlns:a16="http://schemas.microsoft.com/office/drawing/2014/main" id="{DDEF2C71-A80D-8414-9BDD-0EE2CAB7E0E1}"/>
                          </a:ext>
                        </a:extLst>
                      </p:cNvPr>
                      <p:cNvGrpSpPr/>
                      <p:nvPr/>
                    </p:nvGrpSpPr>
                    <p:grpSpPr>
                      <a:xfrm>
                        <a:off x="14219971" y="1873280"/>
                        <a:ext cx="660817" cy="557963"/>
                        <a:chOff x="14219971" y="1864270"/>
                        <a:chExt cx="660817" cy="557963"/>
                      </a:xfrm>
                    </p:grpSpPr>
                    <p:sp>
                      <p:nvSpPr>
                        <p:cNvPr id="1179" name="Forma libre: forma 1178">
                          <a:extLst>
                            <a:ext uri="{FF2B5EF4-FFF2-40B4-BE49-F238E27FC236}">
                              <a16:creationId xmlns:a16="http://schemas.microsoft.com/office/drawing/2014/main" id="{C5832EC5-409C-9778-A50A-80948DFCD60D}"/>
                            </a:ext>
                          </a:extLst>
                        </p:cNvPr>
                        <p:cNvSpPr/>
                        <p:nvPr/>
                      </p:nvSpPr>
                      <p:spPr>
                        <a:xfrm>
                          <a:off x="14518372" y="1864270"/>
                          <a:ext cx="63969" cy="63970"/>
                        </a:xfrm>
                        <a:custGeom>
                          <a:avLst/>
                          <a:gdLst>
                            <a:gd name="connsiteX0" fmla="*/ 261366 w 261365"/>
                            <a:gd name="connsiteY0" fmla="*/ 130683 h 261366"/>
                            <a:gd name="connsiteX1" fmla="*/ 130683 w 261365"/>
                            <a:gd name="connsiteY1" fmla="*/ 261366 h 261366"/>
                            <a:gd name="connsiteX2" fmla="*/ 0 w 261365"/>
                            <a:gd name="connsiteY2" fmla="*/ 130683 h 261366"/>
                            <a:gd name="connsiteX3" fmla="*/ 130683 w 261365"/>
                            <a:gd name="connsiteY3" fmla="*/ 0 h 261366"/>
                            <a:gd name="connsiteX4" fmla="*/ 261366 w 261365"/>
                            <a:gd name="connsiteY4" fmla="*/ 130683 h 261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6">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0" name="Forma libre: forma 1179">
                          <a:extLst>
                            <a:ext uri="{FF2B5EF4-FFF2-40B4-BE49-F238E27FC236}">
                              <a16:creationId xmlns:a16="http://schemas.microsoft.com/office/drawing/2014/main" id="{01DFE3C7-E8B4-EDC1-68DB-9EDCBFC89260}"/>
                            </a:ext>
                          </a:extLst>
                        </p:cNvPr>
                        <p:cNvSpPr/>
                        <p:nvPr/>
                      </p:nvSpPr>
                      <p:spPr>
                        <a:xfrm>
                          <a:off x="14667572" y="1906932"/>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1" name="Forma libre: forma 1180">
                          <a:extLst>
                            <a:ext uri="{FF2B5EF4-FFF2-40B4-BE49-F238E27FC236}">
                              <a16:creationId xmlns:a16="http://schemas.microsoft.com/office/drawing/2014/main" id="{3CECD644-6B86-776F-5295-42530780A1BF}"/>
                            </a:ext>
                          </a:extLst>
                        </p:cNvPr>
                        <p:cNvSpPr/>
                        <p:nvPr/>
                      </p:nvSpPr>
                      <p:spPr>
                        <a:xfrm>
                          <a:off x="14369171" y="1906932"/>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2" name="Forma libre: forma 1181">
                          <a:extLst>
                            <a:ext uri="{FF2B5EF4-FFF2-40B4-BE49-F238E27FC236}">
                              <a16:creationId xmlns:a16="http://schemas.microsoft.com/office/drawing/2014/main" id="{B558066F-7F7E-3D7A-58D5-41CBECF86765}"/>
                            </a:ext>
                          </a:extLst>
                        </p:cNvPr>
                        <p:cNvSpPr/>
                        <p:nvPr/>
                      </p:nvSpPr>
                      <p:spPr>
                        <a:xfrm>
                          <a:off x="14262587" y="2013470"/>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3" name="Forma libre: forma 1182">
                          <a:extLst>
                            <a:ext uri="{FF2B5EF4-FFF2-40B4-BE49-F238E27FC236}">
                              <a16:creationId xmlns:a16="http://schemas.microsoft.com/office/drawing/2014/main" id="{349193DA-D1BA-3C09-FAB0-32120EFE13AD}"/>
                            </a:ext>
                          </a:extLst>
                        </p:cNvPr>
                        <p:cNvSpPr/>
                        <p:nvPr/>
                      </p:nvSpPr>
                      <p:spPr>
                        <a:xfrm>
                          <a:off x="14219971" y="2162671"/>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8" y="261366"/>
                                <a:pt x="0" y="202857"/>
                                <a:pt x="0" y="130683"/>
                              </a:cubicBezTo>
                              <a:cubicBezTo>
                                <a:pt x="0" y="58509"/>
                                <a:pt x="58508"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4" name="Forma libre: forma 1183">
                          <a:extLst>
                            <a:ext uri="{FF2B5EF4-FFF2-40B4-BE49-F238E27FC236}">
                              <a16:creationId xmlns:a16="http://schemas.microsoft.com/office/drawing/2014/main" id="{A9FDE6FB-6E02-EE29-79A3-A95389774C8C}"/>
                            </a:ext>
                          </a:extLst>
                        </p:cNvPr>
                        <p:cNvSpPr/>
                        <p:nvPr/>
                      </p:nvSpPr>
                      <p:spPr>
                        <a:xfrm>
                          <a:off x="14774157" y="2013470"/>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5" name="Forma libre: forma 1184">
                          <a:extLst>
                            <a:ext uri="{FF2B5EF4-FFF2-40B4-BE49-F238E27FC236}">
                              <a16:creationId xmlns:a16="http://schemas.microsoft.com/office/drawing/2014/main" id="{A573A6E6-18A1-071C-174F-CA6793967EC6}"/>
                            </a:ext>
                          </a:extLst>
                        </p:cNvPr>
                        <p:cNvSpPr/>
                        <p:nvPr/>
                      </p:nvSpPr>
                      <p:spPr>
                        <a:xfrm>
                          <a:off x="14816819" y="2162671"/>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8" y="261366"/>
                                <a:pt x="130683" y="261366"/>
                              </a:cubicBezTo>
                              <a:cubicBezTo>
                                <a:pt x="58509" y="261366"/>
                                <a:pt x="0" y="202857"/>
                                <a:pt x="0" y="130683"/>
                              </a:cubicBezTo>
                              <a:cubicBezTo>
                                <a:pt x="0" y="58509"/>
                                <a:pt x="58509" y="0"/>
                                <a:pt x="130683" y="0"/>
                              </a:cubicBezTo>
                              <a:cubicBezTo>
                                <a:pt x="202858" y="0"/>
                                <a:pt x="261366" y="58509"/>
                                <a:pt x="261366" y="130683"/>
                              </a:cubicBezTo>
                              <a:close/>
                            </a:path>
                          </a:pathLst>
                        </a:custGeom>
                        <a:solidFill>
                          <a:srgbClr val="DA2F47"/>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6" name="Forma libre: forma 1185">
                          <a:extLst>
                            <a:ext uri="{FF2B5EF4-FFF2-40B4-BE49-F238E27FC236}">
                              <a16:creationId xmlns:a16="http://schemas.microsoft.com/office/drawing/2014/main" id="{6C596FFB-6755-14BB-BCF2-0E229864E3EA}"/>
                            </a:ext>
                          </a:extLst>
                        </p:cNvPr>
                        <p:cNvSpPr/>
                        <p:nvPr/>
                      </p:nvSpPr>
                      <p:spPr>
                        <a:xfrm>
                          <a:off x="14322779" y="1967078"/>
                          <a:ext cx="455154" cy="455155"/>
                        </a:xfrm>
                        <a:custGeom>
                          <a:avLst/>
                          <a:gdLst>
                            <a:gd name="connsiteX0" fmla="*/ 1859661 w 1859661"/>
                            <a:gd name="connsiteY0" fmla="*/ 929831 h 1859661"/>
                            <a:gd name="connsiteX1" fmla="*/ 929831 w 1859661"/>
                            <a:gd name="connsiteY1" fmla="*/ 1859661 h 1859661"/>
                            <a:gd name="connsiteX2" fmla="*/ 0 w 1859661"/>
                            <a:gd name="connsiteY2" fmla="*/ 929831 h 1859661"/>
                            <a:gd name="connsiteX3" fmla="*/ 929831 w 1859661"/>
                            <a:gd name="connsiteY3" fmla="*/ 0 h 1859661"/>
                            <a:gd name="connsiteX4" fmla="*/ 1859661 w 1859661"/>
                            <a:gd name="connsiteY4" fmla="*/ 929831 h 18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661" h="1859661">
                              <a:moveTo>
                                <a:pt x="1859661" y="929831"/>
                              </a:moveTo>
                              <a:cubicBezTo>
                                <a:pt x="1859661" y="1443362"/>
                                <a:pt x="1443362" y="1859661"/>
                                <a:pt x="929831" y="1859661"/>
                              </a:cubicBezTo>
                              <a:cubicBezTo>
                                <a:pt x="416299" y="1859661"/>
                                <a:pt x="0" y="1443362"/>
                                <a:pt x="0" y="929831"/>
                              </a:cubicBezTo>
                              <a:cubicBezTo>
                                <a:pt x="0" y="416299"/>
                                <a:pt x="416299" y="0"/>
                                <a:pt x="929831" y="0"/>
                              </a:cubicBezTo>
                              <a:cubicBezTo>
                                <a:pt x="1443362" y="0"/>
                                <a:pt x="1859661" y="416299"/>
                                <a:pt x="1859661" y="929831"/>
                              </a:cubicBezTo>
                              <a:close/>
                            </a:path>
                          </a:pathLst>
                        </a:custGeom>
                        <a:solidFill>
                          <a:schemeClr val="bg1">
                            <a:lumMod val="75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7" name="Forma libre: forma 1186">
                          <a:extLst>
                            <a:ext uri="{FF2B5EF4-FFF2-40B4-BE49-F238E27FC236}">
                              <a16:creationId xmlns:a16="http://schemas.microsoft.com/office/drawing/2014/main" id="{28E37705-E0EE-E136-F1F0-D2908B363043}"/>
                            </a:ext>
                          </a:extLst>
                        </p:cNvPr>
                        <p:cNvSpPr/>
                        <p:nvPr/>
                      </p:nvSpPr>
                      <p:spPr>
                        <a:xfrm>
                          <a:off x="14364182" y="2008435"/>
                          <a:ext cx="372441" cy="372442"/>
                        </a:xfrm>
                        <a:custGeom>
                          <a:avLst/>
                          <a:gdLst>
                            <a:gd name="connsiteX0" fmla="*/ 1521714 w 1521714"/>
                            <a:gd name="connsiteY0" fmla="*/ 760857 h 1521714"/>
                            <a:gd name="connsiteX1" fmla="*/ 760857 w 1521714"/>
                            <a:gd name="connsiteY1" fmla="*/ 1521714 h 1521714"/>
                            <a:gd name="connsiteX2" fmla="*/ 0 w 1521714"/>
                            <a:gd name="connsiteY2" fmla="*/ 760857 h 1521714"/>
                            <a:gd name="connsiteX3" fmla="*/ 760857 w 1521714"/>
                            <a:gd name="connsiteY3" fmla="*/ 0 h 1521714"/>
                            <a:gd name="connsiteX4" fmla="*/ 1521714 w 1521714"/>
                            <a:gd name="connsiteY4" fmla="*/ 760857 h 152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714" h="1521714">
                              <a:moveTo>
                                <a:pt x="1521714" y="760857"/>
                              </a:moveTo>
                              <a:cubicBezTo>
                                <a:pt x="1521714" y="1181067"/>
                                <a:pt x="1181067" y="1521714"/>
                                <a:pt x="760857" y="1521714"/>
                              </a:cubicBezTo>
                              <a:cubicBezTo>
                                <a:pt x="340647" y="1521714"/>
                                <a:pt x="0" y="1181067"/>
                                <a:pt x="0" y="760857"/>
                              </a:cubicBezTo>
                              <a:cubicBezTo>
                                <a:pt x="0" y="340647"/>
                                <a:pt x="340648" y="0"/>
                                <a:pt x="760857" y="0"/>
                              </a:cubicBezTo>
                              <a:cubicBezTo>
                                <a:pt x="1181067" y="0"/>
                                <a:pt x="1521714" y="340647"/>
                                <a:pt x="1521714" y="760857"/>
                              </a:cubicBezTo>
                              <a:close/>
                            </a:path>
                          </a:pathLst>
                        </a:custGeom>
                        <a:solidFill>
                          <a:schemeClr val="bg2">
                            <a:lumMod val="50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8" name="Forma libre: forma 1187">
                          <a:extLst>
                            <a:ext uri="{FF2B5EF4-FFF2-40B4-BE49-F238E27FC236}">
                              <a16:creationId xmlns:a16="http://schemas.microsoft.com/office/drawing/2014/main" id="{C6E938AD-84D9-426D-5E51-E0562B0B0333}"/>
                            </a:ext>
                          </a:extLst>
                        </p:cNvPr>
                        <p:cNvSpPr/>
                        <p:nvPr/>
                      </p:nvSpPr>
                      <p:spPr>
                        <a:xfrm>
                          <a:off x="14454484" y="2049616"/>
                          <a:ext cx="123023" cy="175594"/>
                        </a:xfrm>
                        <a:custGeom>
                          <a:avLst/>
                          <a:gdLst>
                            <a:gd name="connsiteX0" fmla="*/ 12810 w 502644"/>
                            <a:gd name="connsiteY0" fmla="*/ 135972 h 717437"/>
                            <a:gd name="connsiteX1" fmla="*/ 336089 w 502644"/>
                            <a:gd name="connsiteY1" fmla="*/ 673944 h 717437"/>
                            <a:gd name="connsiteX2" fmla="*/ 459152 w 502644"/>
                            <a:gd name="connsiteY2" fmla="*/ 704614 h 717437"/>
                            <a:gd name="connsiteX3" fmla="*/ 489822 w 502644"/>
                            <a:gd name="connsiteY3" fmla="*/ 581552 h 717437"/>
                            <a:gd name="connsiteX4" fmla="*/ 166734 w 502644"/>
                            <a:gd name="connsiteY4" fmla="*/ 43579 h 717437"/>
                            <a:gd name="connsiteX5" fmla="*/ 43576 w 502644"/>
                            <a:gd name="connsiteY5" fmla="*/ 12814 h 717437"/>
                            <a:gd name="connsiteX6" fmla="*/ 12810 w 502644"/>
                            <a:gd name="connsiteY6" fmla="*/ 135972 h 71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44" h="717437">
                              <a:moveTo>
                                <a:pt x="12810" y="135972"/>
                              </a:moveTo>
                              <a:lnTo>
                                <a:pt x="336089" y="673944"/>
                              </a:lnTo>
                              <a:cubicBezTo>
                                <a:pt x="361597" y="716387"/>
                                <a:pt x="416709" y="730122"/>
                                <a:pt x="459152" y="704614"/>
                              </a:cubicBezTo>
                              <a:cubicBezTo>
                                <a:pt x="501595" y="679106"/>
                                <a:pt x="515330" y="623995"/>
                                <a:pt x="489822" y="581552"/>
                              </a:cubicBezTo>
                              <a:lnTo>
                                <a:pt x="166734" y="43579"/>
                              </a:lnTo>
                              <a:cubicBezTo>
                                <a:pt x="141226" y="1075"/>
                                <a:pt x="86076" y="-12700"/>
                                <a:pt x="43576" y="12814"/>
                              </a:cubicBezTo>
                              <a:cubicBezTo>
                                <a:pt x="1075" y="38327"/>
                                <a:pt x="-12698" y="93468"/>
                                <a:pt x="12810" y="135972"/>
                              </a:cubicBezTo>
                              <a:close/>
                            </a:path>
                          </a:pathLst>
                        </a:custGeom>
                        <a:solidFill>
                          <a:srgbClr val="E1E8ED"/>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68" name="Grupo 1167">
                        <a:extLst>
                          <a:ext uri="{FF2B5EF4-FFF2-40B4-BE49-F238E27FC236}">
                            <a16:creationId xmlns:a16="http://schemas.microsoft.com/office/drawing/2014/main" id="{86E62A28-C247-ECD8-05A6-184A89F68538}"/>
                          </a:ext>
                        </a:extLst>
                      </p:cNvPr>
                      <p:cNvGrpSpPr/>
                      <p:nvPr/>
                    </p:nvGrpSpPr>
                    <p:grpSpPr>
                      <a:xfrm>
                        <a:off x="13444264" y="1873303"/>
                        <a:ext cx="660816" cy="557917"/>
                        <a:chOff x="13380720" y="1864270"/>
                        <a:chExt cx="660816" cy="557917"/>
                      </a:xfrm>
                    </p:grpSpPr>
                    <p:sp>
                      <p:nvSpPr>
                        <p:cNvPr id="1169" name="Forma libre: forma 1168">
                          <a:extLst>
                            <a:ext uri="{FF2B5EF4-FFF2-40B4-BE49-F238E27FC236}">
                              <a16:creationId xmlns:a16="http://schemas.microsoft.com/office/drawing/2014/main" id="{A5A0B425-C02C-78BE-0531-9BE0C1D9DB20}"/>
                            </a:ext>
                          </a:extLst>
                        </p:cNvPr>
                        <p:cNvSpPr/>
                        <p:nvPr/>
                      </p:nvSpPr>
                      <p:spPr>
                        <a:xfrm>
                          <a:off x="13679120" y="1864270"/>
                          <a:ext cx="63969" cy="63970"/>
                        </a:xfrm>
                        <a:custGeom>
                          <a:avLst/>
                          <a:gdLst>
                            <a:gd name="connsiteX0" fmla="*/ 261366 w 261365"/>
                            <a:gd name="connsiteY0" fmla="*/ 130683 h 261366"/>
                            <a:gd name="connsiteX1" fmla="*/ 130683 w 261365"/>
                            <a:gd name="connsiteY1" fmla="*/ 261366 h 261366"/>
                            <a:gd name="connsiteX2" fmla="*/ 0 w 261365"/>
                            <a:gd name="connsiteY2" fmla="*/ 130683 h 261366"/>
                            <a:gd name="connsiteX3" fmla="*/ 130683 w 261365"/>
                            <a:gd name="connsiteY3" fmla="*/ 0 h 261366"/>
                            <a:gd name="connsiteX4" fmla="*/ 261366 w 261365"/>
                            <a:gd name="connsiteY4" fmla="*/ 130683 h 261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6">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0" name="Forma libre: forma 1169">
                          <a:extLst>
                            <a:ext uri="{FF2B5EF4-FFF2-40B4-BE49-F238E27FC236}">
                              <a16:creationId xmlns:a16="http://schemas.microsoft.com/office/drawing/2014/main" id="{EBE3FEA4-4B80-2D53-938A-03B10D7F87DB}"/>
                            </a:ext>
                          </a:extLst>
                        </p:cNvPr>
                        <p:cNvSpPr/>
                        <p:nvPr/>
                      </p:nvSpPr>
                      <p:spPr>
                        <a:xfrm>
                          <a:off x="13828321" y="1906932"/>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1" name="Forma libre: forma 1170">
                          <a:extLst>
                            <a:ext uri="{FF2B5EF4-FFF2-40B4-BE49-F238E27FC236}">
                              <a16:creationId xmlns:a16="http://schemas.microsoft.com/office/drawing/2014/main" id="{3B5A6BE9-0116-E888-6248-0D9AD19F1847}"/>
                            </a:ext>
                          </a:extLst>
                        </p:cNvPr>
                        <p:cNvSpPr/>
                        <p:nvPr/>
                      </p:nvSpPr>
                      <p:spPr>
                        <a:xfrm>
                          <a:off x="13529920" y="1906932"/>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2" name="Forma libre: forma 1171">
                          <a:extLst>
                            <a:ext uri="{FF2B5EF4-FFF2-40B4-BE49-F238E27FC236}">
                              <a16:creationId xmlns:a16="http://schemas.microsoft.com/office/drawing/2014/main" id="{07583634-7DB4-ED8D-3B68-54395DDD3A39}"/>
                            </a:ext>
                          </a:extLst>
                        </p:cNvPr>
                        <p:cNvSpPr/>
                        <p:nvPr/>
                      </p:nvSpPr>
                      <p:spPr>
                        <a:xfrm>
                          <a:off x="13423335" y="2013470"/>
                          <a:ext cx="63970" cy="63969"/>
                        </a:xfrm>
                        <a:custGeom>
                          <a:avLst/>
                          <a:gdLst>
                            <a:gd name="connsiteX0" fmla="*/ 261366 w 261366"/>
                            <a:gd name="connsiteY0" fmla="*/ 130683 h 261365"/>
                            <a:gd name="connsiteX1" fmla="*/ 130683 w 261366"/>
                            <a:gd name="connsiteY1" fmla="*/ 261366 h 261365"/>
                            <a:gd name="connsiteX2" fmla="*/ 0 w 261366"/>
                            <a:gd name="connsiteY2" fmla="*/ 130683 h 261365"/>
                            <a:gd name="connsiteX3" fmla="*/ 130683 w 261366"/>
                            <a:gd name="connsiteY3" fmla="*/ 0 h 261365"/>
                            <a:gd name="connsiteX4" fmla="*/ 261366 w 261366"/>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6"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3" name="Forma libre: forma 1172">
                          <a:extLst>
                            <a:ext uri="{FF2B5EF4-FFF2-40B4-BE49-F238E27FC236}">
                              <a16:creationId xmlns:a16="http://schemas.microsoft.com/office/drawing/2014/main" id="{8A5DF158-D677-C26F-0319-942CA54D9E40}"/>
                            </a:ext>
                          </a:extLst>
                        </p:cNvPr>
                        <p:cNvSpPr/>
                        <p:nvPr/>
                      </p:nvSpPr>
                      <p:spPr>
                        <a:xfrm>
                          <a:off x="13380720" y="2162671"/>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4" name="Forma libre: forma 1173">
                          <a:extLst>
                            <a:ext uri="{FF2B5EF4-FFF2-40B4-BE49-F238E27FC236}">
                              <a16:creationId xmlns:a16="http://schemas.microsoft.com/office/drawing/2014/main" id="{5FF81BCD-E4BF-57D3-E57E-EC2CA983BA24}"/>
                            </a:ext>
                          </a:extLst>
                        </p:cNvPr>
                        <p:cNvSpPr/>
                        <p:nvPr/>
                      </p:nvSpPr>
                      <p:spPr>
                        <a:xfrm>
                          <a:off x="13934906" y="2013470"/>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67757F"/>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5" name="Forma libre: forma 1174">
                          <a:extLst>
                            <a:ext uri="{FF2B5EF4-FFF2-40B4-BE49-F238E27FC236}">
                              <a16:creationId xmlns:a16="http://schemas.microsoft.com/office/drawing/2014/main" id="{1920CC2D-E645-B47D-4A9E-6DBA665D6563}"/>
                            </a:ext>
                          </a:extLst>
                        </p:cNvPr>
                        <p:cNvSpPr/>
                        <p:nvPr/>
                      </p:nvSpPr>
                      <p:spPr>
                        <a:xfrm>
                          <a:off x="13977567" y="2162671"/>
                          <a:ext cx="63969" cy="63969"/>
                        </a:xfrm>
                        <a:custGeom>
                          <a:avLst/>
                          <a:gdLst>
                            <a:gd name="connsiteX0" fmla="*/ 261366 w 261365"/>
                            <a:gd name="connsiteY0" fmla="*/ 130683 h 261365"/>
                            <a:gd name="connsiteX1" fmla="*/ 130683 w 261365"/>
                            <a:gd name="connsiteY1" fmla="*/ 261366 h 261365"/>
                            <a:gd name="connsiteX2" fmla="*/ 0 w 261365"/>
                            <a:gd name="connsiteY2" fmla="*/ 130683 h 261365"/>
                            <a:gd name="connsiteX3" fmla="*/ 130683 w 261365"/>
                            <a:gd name="connsiteY3" fmla="*/ 0 h 261365"/>
                            <a:gd name="connsiteX4" fmla="*/ 261366 w 261365"/>
                            <a:gd name="connsiteY4" fmla="*/ 130683 h 261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365" h="261365">
                              <a:moveTo>
                                <a:pt x="261366" y="130683"/>
                              </a:moveTo>
                              <a:cubicBezTo>
                                <a:pt x="261366" y="202857"/>
                                <a:pt x="202857" y="261366"/>
                                <a:pt x="130683" y="261366"/>
                              </a:cubicBezTo>
                              <a:cubicBezTo>
                                <a:pt x="58509" y="261366"/>
                                <a:pt x="0" y="202857"/>
                                <a:pt x="0" y="130683"/>
                              </a:cubicBezTo>
                              <a:cubicBezTo>
                                <a:pt x="0" y="58509"/>
                                <a:pt x="58509" y="0"/>
                                <a:pt x="130683" y="0"/>
                              </a:cubicBezTo>
                              <a:cubicBezTo>
                                <a:pt x="202857" y="0"/>
                                <a:pt x="261366" y="58509"/>
                                <a:pt x="261366" y="130683"/>
                              </a:cubicBezTo>
                              <a:close/>
                            </a:path>
                          </a:pathLst>
                        </a:custGeom>
                        <a:solidFill>
                          <a:srgbClr val="DA2F47"/>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6" name="Forma libre: forma 1175">
                          <a:extLst>
                            <a:ext uri="{FF2B5EF4-FFF2-40B4-BE49-F238E27FC236}">
                              <a16:creationId xmlns:a16="http://schemas.microsoft.com/office/drawing/2014/main" id="{3BF3AA9A-BFCE-2039-C32E-D92688DCA597}"/>
                            </a:ext>
                          </a:extLst>
                        </p:cNvPr>
                        <p:cNvSpPr/>
                        <p:nvPr/>
                      </p:nvSpPr>
                      <p:spPr>
                        <a:xfrm>
                          <a:off x="13483528" y="1967032"/>
                          <a:ext cx="455154" cy="455155"/>
                        </a:xfrm>
                        <a:custGeom>
                          <a:avLst/>
                          <a:gdLst>
                            <a:gd name="connsiteX0" fmla="*/ 1859661 w 1859661"/>
                            <a:gd name="connsiteY0" fmla="*/ 929830 h 1859661"/>
                            <a:gd name="connsiteX1" fmla="*/ 929831 w 1859661"/>
                            <a:gd name="connsiteY1" fmla="*/ 1859661 h 1859661"/>
                            <a:gd name="connsiteX2" fmla="*/ 0 w 1859661"/>
                            <a:gd name="connsiteY2" fmla="*/ 929830 h 1859661"/>
                            <a:gd name="connsiteX3" fmla="*/ 929831 w 1859661"/>
                            <a:gd name="connsiteY3" fmla="*/ 0 h 1859661"/>
                            <a:gd name="connsiteX4" fmla="*/ 1859661 w 1859661"/>
                            <a:gd name="connsiteY4" fmla="*/ 929830 h 185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661" h="1859661">
                              <a:moveTo>
                                <a:pt x="1859661" y="929830"/>
                              </a:moveTo>
                              <a:cubicBezTo>
                                <a:pt x="1859661" y="1443362"/>
                                <a:pt x="1443362" y="1859661"/>
                                <a:pt x="929831" y="1859661"/>
                              </a:cubicBezTo>
                              <a:cubicBezTo>
                                <a:pt x="416299" y="1859661"/>
                                <a:pt x="0" y="1443362"/>
                                <a:pt x="0" y="929830"/>
                              </a:cubicBezTo>
                              <a:cubicBezTo>
                                <a:pt x="0" y="416299"/>
                                <a:pt x="416299" y="0"/>
                                <a:pt x="929831" y="0"/>
                              </a:cubicBezTo>
                              <a:cubicBezTo>
                                <a:pt x="1443362" y="0"/>
                                <a:pt x="1859661" y="416299"/>
                                <a:pt x="1859661" y="929830"/>
                              </a:cubicBezTo>
                              <a:close/>
                            </a:path>
                          </a:pathLst>
                        </a:custGeom>
                        <a:solidFill>
                          <a:schemeClr val="bg1">
                            <a:lumMod val="75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7" name="Forma libre: forma 1176">
                          <a:extLst>
                            <a:ext uri="{FF2B5EF4-FFF2-40B4-BE49-F238E27FC236}">
                              <a16:creationId xmlns:a16="http://schemas.microsoft.com/office/drawing/2014/main" id="{936540F9-CA75-81F1-6E2E-348E771772DD}"/>
                            </a:ext>
                          </a:extLst>
                        </p:cNvPr>
                        <p:cNvSpPr/>
                        <p:nvPr/>
                      </p:nvSpPr>
                      <p:spPr>
                        <a:xfrm>
                          <a:off x="13524838" y="2008435"/>
                          <a:ext cx="372441" cy="372442"/>
                        </a:xfrm>
                        <a:custGeom>
                          <a:avLst/>
                          <a:gdLst>
                            <a:gd name="connsiteX0" fmla="*/ 1521714 w 1521714"/>
                            <a:gd name="connsiteY0" fmla="*/ 760857 h 1521714"/>
                            <a:gd name="connsiteX1" fmla="*/ 760857 w 1521714"/>
                            <a:gd name="connsiteY1" fmla="*/ 1521714 h 1521714"/>
                            <a:gd name="connsiteX2" fmla="*/ 0 w 1521714"/>
                            <a:gd name="connsiteY2" fmla="*/ 760857 h 1521714"/>
                            <a:gd name="connsiteX3" fmla="*/ 760857 w 1521714"/>
                            <a:gd name="connsiteY3" fmla="*/ 0 h 1521714"/>
                            <a:gd name="connsiteX4" fmla="*/ 1521714 w 1521714"/>
                            <a:gd name="connsiteY4" fmla="*/ 760857 h 152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714" h="1521714">
                              <a:moveTo>
                                <a:pt x="1521714" y="760857"/>
                              </a:moveTo>
                              <a:cubicBezTo>
                                <a:pt x="1521714" y="1181067"/>
                                <a:pt x="1181067" y="1521714"/>
                                <a:pt x="760857" y="1521714"/>
                              </a:cubicBezTo>
                              <a:cubicBezTo>
                                <a:pt x="340647" y="1521714"/>
                                <a:pt x="0" y="1181067"/>
                                <a:pt x="0" y="760857"/>
                              </a:cubicBezTo>
                              <a:cubicBezTo>
                                <a:pt x="0" y="340647"/>
                                <a:pt x="340647" y="0"/>
                                <a:pt x="760857" y="0"/>
                              </a:cubicBezTo>
                              <a:cubicBezTo>
                                <a:pt x="1181067" y="0"/>
                                <a:pt x="1521714" y="340647"/>
                                <a:pt x="1521714" y="760857"/>
                              </a:cubicBezTo>
                              <a:close/>
                            </a:path>
                          </a:pathLst>
                        </a:custGeom>
                        <a:solidFill>
                          <a:schemeClr val="bg2">
                            <a:lumMod val="50000"/>
                          </a:schemeClr>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8" name="Forma libre: forma 1177">
                          <a:extLst>
                            <a:ext uri="{FF2B5EF4-FFF2-40B4-BE49-F238E27FC236}">
                              <a16:creationId xmlns:a16="http://schemas.microsoft.com/office/drawing/2014/main" id="{DC41BD03-FF0C-1824-94CC-ABC330483AA5}"/>
                            </a:ext>
                          </a:extLst>
                        </p:cNvPr>
                        <p:cNvSpPr/>
                        <p:nvPr/>
                      </p:nvSpPr>
                      <p:spPr>
                        <a:xfrm>
                          <a:off x="13680462" y="2100928"/>
                          <a:ext cx="176918" cy="120689"/>
                        </a:xfrm>
                        <a:custGeom>
                          <a:avLst/>
                          <a:gdLst>
                            <a:gd name="connsiteX0" fmla="*/ 588308 w 722850"/>
                            <a:gd name="connsiteY0" fmla="*/ 12046 h 493107"/>
                            <a:gd name="connsiteX1" fmla="*/ 44812 w 722850"/>
                            <a:gd name="connsiteY1" fmla="*/ 325799 h 493107"/>
                            <a:gd name="connsiteX2" fmla="*/ 12046 w 722850"/>
                            <a:gd name="connsiteY2" fmla="*/ 448291 h 493107"/>
                            <a:gd name="connsiteX3" fmla="*/ 134537 w 722850"/>
                            <a:gd name="connsiteY3" fmla="*/ 481057 h 493107"/>
                            <a:gd name="connsiteX4" fmla="*/ 678034 w 722850"/>
                            <a:gd name="connsiteY4" fmla="*/ 167303 h 493107"/>
                            <a:gd name="connsiteX5" fmla="*/ 710800 w 722850"/>
                            <a:gd name="connsiteY5" fmla="*/ 44812 h 493107"/>
                            <a:gd name="connsiteX6" fmla="*/ 588308 w 722850"/>
                            <a:gd name="connsiteY6" fmla="*/ 12046 h 49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50" h="493107">
                              <a:moveTo>
                                <a:pt x="588308" y="12046"/>
                              </a:moveTo>
                              <a:lnTo>
                                <a:pt x="44812" y="325799"/>
                              </a:lnTo>
                              <a:cubicBezTo>
                                <a:pt x="1938" y="350576"/>
                                <a:pt x="-12730" y="405409"/>
                                <a:pt x="12046" y="448291"/>
                              </a:cubicBezTo>
                              <a:cubicBezTo>
                                <a:pt x="36822" y="491172"/>
                                <a:pt x="91664" y="505841"/>
                                <a:pt x="134537" y="481057"/>
                              </a:cubicBezTo>
                              <a:lnTo>
                                <a:pt x="678034" y="167303"/>
                              </a:lnTo>
                              <a:cubicBezTo>
                                <a:pt x="720916" y="142527"/>
                                <a:pt x="735584" y="87686"/>
                                <a:pt x="710800" y="44812"/>
                              </a:cubicBezTo>
                              <a:cubicBezTo>
                                <a:pt x="686016" y="1938"/>
                                <a:pt x="631190" y="-12731"/>
                                <a:pt x="588308" y="12046"/>
                              </a:cubicBezTo>
                              <a:close/>
                            </a:path>
                          </a:pathLst>
                        </a:custGeom>
                        <a:solidFill>
                          <a:srgbClr val="E1E8ED"/>
                        </a:solidFill>
                        <a:ln w="190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154" name="Rectángulo: esquinas redondeadas 1153">
                      <a:extLst>
                        <a:ext uri="{FF2B5EF4-FFF2-40B4-BE49-F238E27FC236}">
                          <a16:creationId xmlns:a16="http://schemas.microsoft.com/office/drawing/2014/main" id="{968806FA-A0F7-A60A-B982-47F9C5D45E14}"/>
                        </a:ext>
                      </a:extLst>
                    </p:cNvPr>
                    <p:cNvSpPr/>
                    <p:nvPr/>
                  </p:nvSpPr>
                  <p:spPr>
                    <a:xfrm>
                      <a:off x="9413240" y="3487868"/>
                      <a:ext cx="354602" cy="439642"/>
                    </a:xfrm>
                    <a:prstGeom prst="roundRect">
                      <a:avLst>
                        <a:gd name="adj" fmla="val 8609"/>
                      </a:avLst>
                    </a:prstGeom>
                    <a:solidFill>
                      <a:srgbClr val="EC2129"/>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5" name="Rectángulo: esquinas redondeadas 1154">
                      <a:extLst>
                        <a:ext uri="{FF2B5EF4-FFF2-40B4-BE49-F238E27FC236}">
                          <a16:creationId xmlns:a16="http://schemas.microsoft.com/office/drawing/2014/main" id="{BB4AB3D4-555A-8990-5964-6738C7B4F93F}"/>
                        </a:ext>
                      </a:extLst>
                    </p:cNvPr>
                    <p:cNvSpPr/>
                    <p:nvPr/>
                  </p:nvSpPr>
                  <p:spPr>
                    <a:xfrm>
                      <a:off x="8567420" y="3489774"/>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6" name="Rectángulo: esquinas redondeadas 1155">
                      <a:extLst>
                        <a:ext uri="{FF2B5EF4-FFF2-40B4-BE49-F238E27FC236}">
                          <a16:creationId xmlns:a16="http://schemas.microsoft.com/office/drawing/2014/main" id="{EC592765-2CBE-4C7A-37D9-B6889A4A475A}"/>
                        </a:ext>
                      </a:extLst>
                    </p:cNvPr>
                    <p:cNvSpPr/>
                    <p:nvPr/>
                  </p:nvSpPr>
                  <p:spPr>
                    <a:xfrm>
                      <a:off x="8567420" y="3749489"/>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7" name="Rectángulo: esquinas redondeadas 1156">
                      <a:extLst>
                        <a:ext uri="{FF2B5EF4-FFF2-40B4-BE49-F238E27FC236}">
                          <a16:creationId xmlns:a16="http://schemas.microsoft.com/office/drawing/2014/main" id="{24340ECB-F98A-A9DE-F686-37E47EEA70E9}"/>
                        </a:ext>
                      </a:extLst>
                    </p:cNvPr>
                    <p:cNvSpPr/>
                    <p:nvPr/>
                  </p:nvSpPr>
                  <p:spPr>
                    <a:xfrm>
                      <a:off x="8567420" y="4009204"/>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8" name="Rectángulo: esquinas redondeadas 1157">
                      <a:extLst>
                        <a:ext uri="{FF2B5EF4-FFF2-40B4-BE49-F238E27FC236}">
                          <a16:creationId xmlns:a16="http://schemas.microsoft.com/office/drawing/2014/main" id="{029283BE-1D71-A03A-A393-CF19C3428580}"/>
                        </a:ext>
                      </a:extLst>
                    </p:cNvPr>
                    <p:cNvSpPr/>
                    <p:nvPr/>
                  </p:nvSpPr>
                  <p:spPr>
                    <a:xfrm>
                      <a:off x="8997950" y="4009204"/>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9" name="Rectángulo: esquinas redondeadas 1158">
                      <a:extLst>
                        <a:ext uri="{FF2B5EF4-FFF2-40B4-BE49-F238E27FC236}">
                          <a16:creationId xmlns:a16="http://schemas.microsoft.com/office/drawing/2014/main" id="{FAD3CB14-F95B-A346-1E97-99FE0423EF20}"/>
                        </a:ext>
                      </a:extLst>
                    </p:cNvPr>
                    <p:cNvSpPr/>
                    <p:nvPr/>
                  </p:nvSpPr>
                  <p:spPr>
                    <a:xfrm>
                      <a:off x="9428480" y="4009204"/>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0" name="Rectángulo: esquinas redondeadas 1159">
                      <a:extLst>
                        <a:ext uri="{FF2B5EF4-FFF2-40B4-BE49-F238E27FC236}">
                          <a16:creationId xmlns:a16="http://schemas.microsoft.com/office/drawing/2014/main" id="{22EBD3B3-F0F1-605F-83F5-3A495B461239}"/>
                        </a:ext>
                      </a:extLst>
                    </p:cNvPr>
                    <p:cNvSpPr/>
                    <p:nvPr/>
                  </p:nvSpPr>
                  <p:spPr>
                    <a:xfrm>
                      <a:off x="8997950" y="3749489"/>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1" name="Rectángulo: esquinas redondeadas 1160">
                      <a:extLst>
                        <a:ext uri="{FF2B5EF4-FFF2-40B4-BE49-F238E27FC236}">
                          <a16:creationId xmlns:a16="http://schemas.microsoft.com/office/drawing/2014/main" id="{6E740061-9CDA-47E8-8344-EB0CF556ED1D}"/>
                        </a:ext>
                      </a:extLst>
                    </p:cNvPr>
                    <p:cNvSpPr/>
                    <p:nvPr/>
                  </p:nvSpPr>
                  <p:spPr>
                    <a:xfrm>
                      <a:off x="8997950" y="3489774"/>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2" name="Rectángulo: esquinas redondeadas 1161">
                      <a:extLst>
                        <a:ext uri="{FF2B5EF4-FFF2-40B4-BE49-F238E27FC236}">
                          <a16:creationId xmlns:a16="http://schemas.microsoft.com/office/drawing/2014/main" id="{D8CA3314-2742-6334-82D2-92FF413E1AC2}"/>
                        </a:ext>
                      </a:extLst>
                    </p:cNvPr>
                    <p:cNvSpPr/>
                    <p:nvPr/>
                  </p:nvSpPr>
                  <p:spPr>
                    <a:xfrm>
                      <a:off x="8567420" y="4268919"/>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3" name="Rectángulo: esquinas redondeadas 1162">
                      <a:extLst>
                        <a:ext uri="{FF2B5EF4-FFF2-40B4-BE49-F238E27FC236}">
                          <a16:creationId xmlns:a16="http://schemas.microsoft.com/office/drawing/2014/main" id="{4562BEC2-5C87-EFE6-9DA6-9042FDA165EE}"/>
                        </a:ext>
                      </a:extLst>
                    </p:cNvPr>
                    <p:cNvSpPr/>
                    <p:nvPr/>
                  </p:nvSpPr>
                  <p:spPr>
                    <a:xfrm>
                      <a:off x="8997950" y="4268919"/>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4" name="Rectángulo: esquinas redondeadas 1163">
                      <a:extLst>
                        <a:ext uri="{FF2B5EF4-FFF2-40B4-BE49-F238E27FC236}">
                          <a16:creationId xmlns:a16="http://schemas.microsoft.com/office/drawing/2014/main" id="{C923FAA1-C075-ADCD-FD3A-3B25B6BCBE41}"/>
                        </a:ext>
                      </a:extLst>
                    </p:cNvPr>
                    <p:cNvSpPr/>
                    <p:nvPr/>
                  </p:nvSpPr>
                  <p:spPr>
                    <a:xfrm>
                      <a:off x="9428480" y="4268919"/>
                      <a:ext cx="287421" cy="172710"/>
                    </a:xfrm>
                    <a:prstGeom prst="roundRect">
                      <a:avLst/>
                    </a:prstGeom>
                    <a:solidFill>
                      <a:schemeClr val="bg1">
                        <a:lumMod val="75000"/>
                      </a:schemeClr>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7" name="Gráfico 273">
                    <a:extLst>
                      <a:ext uri="{FF2B5EF4-FFF2-40B4-BE49-F238E27FC236}">
                        <a16:creationId xmlns:a16="http://schemas.microsoft.com/office/drawing/2014/main" id="{40297D5F-E0B4-8B60-830D-810B68ADF1EC}"/>
                      </a:ext>
                    </a:extLst>
                  </p:cNvPr>
                  <p:cNvGrpSpPr/>
                  <p:nvPr/>
                </p:nvGrpSpPr>
                <p:grpSpPr>
                  <a:xfrm>
                    <a:off x="13718119" y="3788994"/>
                    <a:ext cx="602142" cy="1236905"/>
                    <a:chOff x="4352925" y="3234785"/>
                    <a:chExt cx="829401" cy="1703736"/>
                  </a:xfrm>
                </p:grpSpPr>
                <p:grpSp>
                  <p:nvGrpSpPr>
                    <p:cNvPr id="1148" name="Gráfico 273">
                      <a:extLst>
                        <a:ext uri="{FF2B5EF4-FFF2-40B4-BE49-F238E27FC236}">
                          <a16:creationId xmlns:a16="http://schemas.microsoft.com/office/drawing/2014/main" id="{88E40C83-BFE5-0229-9474-D2C3A7352481}"/>
                        </a:ext>
                      </a:extLst>
                    </p:cNvPr>
                    <p:cNvGrpSpPr/>
                    <p:nvPr/>
                  </p:nvGrpSpPr>
                  <p:grpSpPr>
                    <a:xfrm>
                      <a:off x="4352925" y="3234785"/>
                      <a:ext cx="829401" cy="1703736"/>
                      <a:chOff x="4352925" y="3234785"/>
                      <a:chExt cx="829401" cy="1703736"/>
                    </a:xfrm>
                    <a:solidFill>
                      <a:srgbClr val="D3825E"/>
                    </a:solidFill>
                  </p:grpSpPr>
                  <p:sp>
                    <p:nvSpPr>
                      <p:cNvPr id="1151" name="Forma libre: forma 1150">
                        <a:extLst>
                          <a:ext uri="{FF2B5EF4-FFF2-40B4-BE49-F238E27FC236}">
                            <a16:creationId xmlns:a16="http://schemas.microsoft.com/office/drawing/2014/main" id="{1F1EE013-18E9-D8EA-B3B3-1EE1B210F19F}"/>
                          </a:ext>
                        </a:extLst>
                      </p:cNvPr>
                      <p:cNvSpPr/>
                      <p:nvPr/>
                    </p:nvSpPr>
                    <p:spPr>
                      <a:xfrm>
                        <a:off x="4352925" y="4457128"/>
                        <a:ext cx="668274" cy="481393"/>
                      </a:xfrm>
                      <a:custGeom>
                        <a:avLst/>
                        <a:gdLst>
                          <a:gd name="connsiteX0" fmla="*/ 668274 w 668274"/>
                          <a:gd name="connsiteY0" fmla="*/ 183832 h 481393"/>
                          <a:gd name="connsiteX1" fmla="*/ 531019 w 668274"/>
                          <a:gd name="connsiteY1" fmla="*/ 481394 h 481393"/>
                          <a:gd name="connsiteX2" fmla="*/ 0 w 668274"/>
                          <a:gd name="connsiteY2" fmla="*/ 481394 h 481393"/>
                          <a:gd name="connsiteX3" fmla="*/ 306610 w 668274"/>
                          <a:gd name="connsiteY3" fmla="*/ 0 h 481393"/>
                          <a:gd name="connsiteX4" fmla="*/ 668274 w 668274"/>
                          <a:gd name="connsiteY4" fmla="*/ 183832 h 481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274" h="481393">
                            <a:moveTo>
                              <a:pt x="668274" y="183832"/>
                            </a:moveTo>
                            <a:lnTo>
                              <a:pt x="531019" y="481394"/>
                            </a:lnTo>
                            <a:lnTo>
                              <a:pt x="0" y="481394"/>
                            </a:lnTo>
                            <a:lnTo>
                              <a:pt x="306610" y="0"/>
                            </a:lnTo>
                            <a:lnTo>
                              <a:pt x="668274" y="183832"/>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2" name="Forma libre: forma 1151">
                        <a:extLst>
                          <a:ext uri="{FF2B5EF4-FFF2-40B4-BE49-F238E27FC236}">
                            <a16:creationId xmlns:a16="http://schemas.microsoft.com/office/drawing/2014/main" id="{E5F56F9F-DC22-3253-A234-8B5EEACE4158}"/>
                          </a:ext>
                        </a:extLst>
                      </p:cNvPr>
                      <p:cNvSpPr/>
                      <p:nvPr/>
                    </p:nvSpPr>
                    <p:spPr>
                      <a:xfrm>
                        <a:off x="4503794" y="3234785"/>
                        <a:ext cx="678532" cy="1629155"/>
                      </a:xfrm>
                      <a:custGeom>
                        <a:avLst/>
                        <a:gdLst>
                          <a:gd name="connsiteX0" fmla="*/ 635420 w 678532"/>
                          <a:gd name="connsiteY0" fmla="*/ 154019 h 1629155"/>
                          <a:gd name="connsiteX1" fmla="*/ 589795 w 678532"/>
                          <a:gd name="connsiteY1" fmla="*/ 138589 h 1629155"/>
                          <a:gd name="connsiteX2" fmla="*/ 465970 w 678532"/>
                          <a:gd name="connsiteY2" fmla="*/ 330708 h 1629155"/>
                          <a:gd name="connsiteX3" fmla="*/ 354718 w 678532"/>
                          <a:gd name="connsiteY3" fmla="*/ 702278 h 1629155"/>
                          <a:gd name="connsiteX4" fmla="*/ 319189 w 678532"/>
                          <a:gd name="connsiteY4" fmla="*/ 711041 h 1629155"/>
                          <a:gd name="connsiteX5" fmla="*/ 319189 w 678532"/>
                          <a:gd name="connsiteY5" fmla="*/ 0 h 1629155"/>
                          <a:gd name="connsiteX6" fmla="*/ 53632 w 678532"/>
                          <a:gd name="connsiteY6" fmla="*/ 498062 h 1629155"/>
                          <a:gd name="connsiteX7" fmla="*/ 6769 w 678532"/>
                          <a:gd name="connsiteY7" fmla="*/ 737426 h 1629155"/>
                          <a:gd name="connsiteX8" fmla="*/ 241846 w 678532"/>
                          <a:gd name="connsiteY8" fmla="*/ 1629156 h 1629155"/>
                          <a:gd name="connsiteX9" fmla="*/ 677996 w 678532"/>
                          <a:gd name="connsiteY9" fmla="*/ 741807 h 1629155"/>
                          <a:gd name="connsiteX10" fmla="*/ 663328 w 678532"/>
                          <a:gd name="connsiteY10" fmla="*/ 203835 h 1629155"/>
                          <a:gd name="connsiteX11" fmla="*/ 635515 w 678532"/>
                          <a:gd name="connsiteY11" fmla="*/ 153924 h 162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8532" h="1629155">
                            <a:moveTo>
                              <a:pt x="635420" y="154019"/>
                            </a:moveTo>
                            <a:cubicBezTo>
                              <a:pt x="623608" y="145256"/>
                              <a:pt x="603606" y="139922"/>
                              <a:pt x="589795" y="138589"/>
                            </a:cubicBezTo>
                            <a:cubicBezTo>
                              <a:pt x="525120" y="132683"/>
                              <a:pt x="486068" y="176213"/>
                              <a:pt x="465970" y="330708"/>
                            </a:cubicBezTo>
                            <a:cubicBezTo>
                              <a:pt x="441586" y="518160"/>
                              <a:pt x="463874" y="667322"/>
                              <a:pt x="354718" y="702278"/>
                            </a:cubicBezTo>
                            <a:cubicBezTo>
                              <a:pt x="338525" y="707517"/>
                              <a:pt x="340240" y="706184"/>
                              <a:pt x="319189" y="711041"/>
                            </a:cubicBezTo>
                            <a:lnTo>
                              <a:pt x="319189" y="0"/>
                            </a:lnTo>
                            <a:cubicBezTo>
                              <a:pt x="222034" y="164116"/>
                              <a:pt x="122974" y="386620"/>
                              <a:pt x="53632" y="498062"/>
                            </a:cubicBezTo>
                            <a:cubicBezTo>
                              <a:pt x="9151" y="569595"/>
                              <a:pt x="-11804" y="655225"/>
                              <a:pt x="6769" y="737426"/>
                            </a:cubicBezTo>
                            <a:cubicBezTo>
                              <a:pt x="112402" y="1204912"/>
                              <a:pt x="107163" y="1592485"/>
                              <a:pt x="241846" y="1629156"/>
                            </a:cubicBezTo>
                            <a:cubicBezTo>
                              <a:pt x="241846" y="1629156"/>
                              <a:pt x="677996" y="1615821"/>
                              <a:pt x="677996" y="741807"/>
                            </a:cubicBezTo>
                            <a:cubicBezTo>
                              <a:pt x="677996" y="741807"/>
                              <a:pt x="682854" y="301942"/>
                              <a:pt x="663328" y="203835"/>
                            </a:cubicBezTo>
                            <a:cubicBezTo>
                              <a:pt x="657041" y="172212"/>
                              <a:pt x="643802" y="160020"/>
                              <a:pt x="635515" y="153924"/>
                            </a:cubicBez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49" name="Forma libre: forma 1148">
                      <a:extLst>
                        <a:ext uri="{FF2B5EF4-FFF2-40B4-BE49-F238E27FC236}">
                          <a16:creationId xmlns:a16="http://schemas.microsoft.com/office/drawing/2014/main" id="{79346298-086F-C263-6149-40FF50968041}"/>
                        </a:ext>
                      </a:extLst>
                    </p:cNvPr>
                    <p:cNvSpPr/>
                    <p:nvPr/>
                  </p:nvSpPr>
                  <p:spPr>
                    <a:xfrm>
                      <a:off x="5038099" y="3403758"/>
                      <a:ext cx="121596" cy="132968"/>
                    </a:xfrm>
                    <a:custGeom>
                      <a:avLst/>
                      <a:gdLst>
                        <a:gd name="connsiteX0" fmla="*/ 625 w 121596"/>
                        <a:gd name="connsiteY0" fmla="*/ 132969 h 132968"/>
                        <a:gd name="connsiteX1" fmla="*/ 65967 w 121596"/>
                        <a:gd name="connsiteY1" fmla="*/ 0 h 132968"/>
                        <a:gd name="connsiteX2" fmla="*/ 120831 w 121596"/>
                        <a:gd name="connsiteY2" fmla="*/ 132969 h 132968"/>
                        <a:gd name="connsiteX3" fmla="*/ 625 w 121596"/>
                        <a:gd name="connsiteY3" fmla="*/ 132969 h 132968"/>
                      </a:gdLst>
                      <a:ahLst/>
                      <a:cxnLst>
                        <a:cxn ang="0">
                          <a:pos x="connsiteX0" y="connsiteY0"/>
                        </a:cxn>
                        <a:cxn ang="0">
                          <a:pos x="connsiteX1" y="connsiteY1"/>
                        </a:cxn>
                        <a:cxn ang="0">
                          <a:pos x="connsiteX2" y="connsiteY2"/>
                        </a:cxn>
                        <a:cxn ang="0">
                          <a:pos x="connsiteX3" y="connsiteY3"/>
                        </a:cxn>
                      </a:cxnLst>
                      <a:rect l="l" t="t" r="r" b="b"/>
                      <a:pathLst>
                        <a:path w="121596" h="132968">
                          <a:moveTo>
                            <a:pt x="625" y="132969"/>
                          </a:moveTo>
                          <a:cubicBezTo>
                            <a:pt x="625" y="132969"/>
                            <a:pt x="-10995" y="0"/>
                            <a:pt x="65967" y="0"/>
                          </a:cubicBezTo>
                          <a:cubicBezTo>
                            <a:pt x="132356" y="0"/>
                            <a:pt x="120831" y="132969"/>
                            <a:pt x="120831" y="132969"/>
                          </a:cubicBezTo>
                          <a:lnTo>
                            <a:pt x="625" y="132969"/>
                          </a:lnTo>
                          <a:close/>
                        </a:path>
                      </a:pathLst>
                    </a:custGeom>
                    <a:solidFill>
                      <a:srgbClr val="E3997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0" name="Forma libre: forma 1149">
                      <a:extLst>
                        <a:ext uri="{FF2B5EF4-FFF2-40B4-BE49-F238E27FC236}">
                          <a16:creationId xmlns:a16="http://schemas.microsoft.com/office/drawing/2014/main" id="{32F53007-5BD1-C4EC-491C-717A203B3A88}"/>
                        </a:ext>
                      </a:extLst>
                    </p:cNvPr>
                    <p:cNvSpPr/>
                    <p:nvPr/>
                  </p:nvSpPr>
                  <p:spPr>
                    <a:xfrm>
                      <a:off x="4739735" y="3536156"/>
                      <a:ext cx="83248" cy="426338"/>
                    </a:xfrm>
                    <a:custGeom>
                      <a:avLst/>
                      <a:gdLst>
                        <a:gd name="connsiteX0" fmla="*/ 83248 w 83248"/>
                        <a:gd name="connsiteY0" fmla="*/ 409670 h 426338"/>
                        <a:gd name="connsiteX1" fmla="*/ 0 w 83248"/>
                        <a:gd name="connsiteY1" fmla="*/ 426339 h 426338"/>
                        <a:gd name="connsiteX2" fmla="*/ 83248 w 83248"/>
                        <a:gd name="connsiteY2" fmla="*/ 0 h 426338"/>
                        <a:gd name="connsiteX3" fmla="*/ 83248 w 83248"/>
                        <a:gd name="connsiteY3" fmla="*/ 409670 h 426338"/>
                      </a:gdLst>
                      <a:ahLst/>
                      <a:cxnLst>
                        <a:cxn ang="0">
                          <a:pos x="connsiteX0" y="connsiteY0"/>
                        </a:cxn>
                        <a:cxn ang="0">
                          <a:pos x="connsiteX1" y="connsiteY1"/>
                        </a:cxn>
                        <a:cxn ang="0">
                          <a:pos x="connsiteX2" y="connsiteY2"/>
                        </a:cxn>
                        <a:cxn ang="0">
                          <a:pos x="connsiteX3" y="connsiteY3"/>
                        </a:cxn>
                      </a:cxnLst>
                      <a:rect l="l" t="t" r="r" b="b"/>
                      <a:pathLst>
                        <a:path w="83248" h="426338">
                          <a:moveTo>
                            <a:pt x="83248" y="409670"/>
                          </a:moveTo>
                          <a:lnTo>
                            <a:pt x="0" y="426339"/>
                          </a:lnTo>
                          <a:lnTo>
                            <a:pt x="83248" y="0"/>
                          </a:lnTo>
                          <a:lnTo>
                            <a:pt x="83248" y="409670"/>
                          </a:lnTo>
                          <a:close/>
                        </a:path>
                      </a:pathLst>
                    </a:custGeom>
                    <a:solidFill>
                      <a:srgbClr val="BE6A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28" name="Gráfico 273">
                    <a:extLst>
                      <a:ext uri="{FF2B5EF4-FFF2-40B4-BE49-F238E27FC236}">
                        <a16:creationId xmlns:a16="http://schemas.microsoft.com/office/drawing/2014/main" id="{B4781A9F-F319-2AA1-7808-5C6410758332}"/>
                      </a:ext>
                    </a:extLst>
                  </p:cNvPr>
                  <p:cNvGrpSpPr/>
                  <p:nvPr/>
                </p:nvGrpSpPr>
                <p:grpSpPr>
                  <a:xfrm>
                    <a:off x="15074510" y="3616284"/>
                    <a:ext cx="1174055" cy="1409615"/>
                    <a:chOff x="6221243" y="2996891"/>
                    <a:chExt cx="1617164" cy="1941630"/>
                  </a:xfrm>
                </p:grpSpPr>
                <p:grpSp>
                  <p:nvGrpSpPr>
                    <p:cNvPr id="1129" name="Gráfico 273">
                      <a:extLst>
                        <a:ext uri="{FF2B5EF4-FFF2-40B4-BE49-F238E27FC236}">
                          <a16:creationId xmlns:a16="http://schemas.microsoft.com/office/drawing/2014/main" id="{DD1F7EC7-AE43-7A7C-B68C-A4D4B3876D4B}"/>
                        </a:ext>
                      </a:extLst>
                    </p:cNvPr>
                    <p:cNvGrpSpPr/>
                    <p:nvPr/>
                  </p:nvGrpSpPr>
                  <p:grpSpPr>
                    <a:xfrm>
                      <a:off x="6221243" y="2996891"/>
                      <a:ext cx="1354179" cy="1544468"/>
                      <a:chOff x="6221243" y="2996891"/>
                      <a:chExt cx="1354179" cy="1544468"/>
                    </a:xfrm>
                  </p:grpSpPr>
                  <p:grpSp>
                    <p:nvGrpSpPr>
                      <p:cNvPr id="1131" name="Gráfico 273">
                        <a:extLst>
                          <a:ext uri="{FF2B5EF4-FFF2-40B4-BE49-F238E27FC236}">
                            <a16:creationId xmlns:a16="http://schemas.microsoft.com/office/drawing/2014/main" id="{EDC1C01B-0DCE-A4E1-2659-DA7EB5428DD3}"/>
                          </a:ext>
                        </a:extLst>
                      </p:cNvPr>
                      <p:cNvGrpSpPr/>
                      <p:nvPr/>
                    </p:nvGrpSpPr>
                    <p:grpSpPr>
                      <a:xfrm>
                        <a:off x="6292119" y="3418523"/>
                        <a:ext cx="802100" cy="512634"/>
                        <a:chOff x="6292119" y="3418523"/>
                        <a:chExt cx="802100" cy="512634"/>
                      </a:xfrm>
                    </p:grpSpPr>
                    <p:grpSp>
                      <p:nvGrpSpPr>
                        <p:cNvPr id="1144" name="Gráfico 273">
                          <a:extLst>
                            <a:ext uri="{FF2B5EF4-FFF2-40B4-BE49-F238E27FC236}">
                              <a16:creationId xmlns:a16="http://schemas.microsoft.com/office/drawing/2014/main" id="{75F5C776-15E5-33C1-769C-F0D2358BFD88}"/>
                            </a:ext>
                          </a:extLst>
                        </p:cNvPr>
                        <p:cNvGrpSpPr/>
                        <p:nvPr/>
                      </p:nvGrpSpPr>
                      <p:grpSpPr>
                        <a:xfrm>
                          <a:off x="6292119" y="3418523"/>
                          <a:ext cx="802100" cy="512634"/>
                          <a:chOff x="6292119" y="3418523"/>
                          <a:chExt cx="802100" cy="512634"/>
                        </a:xfrm>
                        <a:solidFill>
                          <a:srgbClr val="D3825E"/>
                        </a:solidFill>
                      </p:grpSpPr>
                      <p:sp>
                        <p:nvSpPr>
                          <p:cNvPr id="1146" name="Forma libre: forma 1145">
                            <a:extLst>
                              <a:ext uri="{FF2B5EF4-FFF2-40B4-BE49-F238E27FC236}">
                                <a16:creationId xmlns:a16="http://schemas.microsoft.com/office/drawing/2014/main" id="{758253DE-E519-2075-CF6E-5711BBD997D4}"/>
                              </a:ext>
                            </a:extLst>
                          </p:cNvPr>
                          <p:cNvSpPr/>
                          <p:nvPr/>
                        </p:nvSpPr>
                        <p:spPr>
                          <a:xfrm>
                            <a:off x="6732001" y="3418523"/>
                            <a:ext cx="362218" cy="512634"/>
                          </a:xfrm>
                          <a:custGeom>
                            <a:avLst/>
                            <a:gdLst>
                              <a:gd name="connsiteX0" fmla="*/ 362218 w 362218"/>
                              <a:gd name="connsiteY0" fmla="*/ 447865 h 512634"/>
                              <a:gd name="connsiteX1" fmla="*/ 170576 w 362218"/>
                              <a:gd name="connsiteY1" fmla="*/ 51720 h 512634"/>
                              <a:gd name="connsiteX2" fmla="*/ 52751 w 362218"/>
                              <a:gd name="connsiteY2" fmla="*/ 7905 h 512634"/>
                              <a:gd name="connsiteX3" fmla="*/ 52751 w 362218"/>
                              <a:gd name="connsiteY3" fmla="*/ 7905 h 512634"/>
                              <a:gd name="connsiteX4" fmla="*/ 7222 w 362218"/>
                              <a:gd name="connsiteY4" fmla="*/ 124777 h 512634"/>
                              <a:gd name="connsiteX5" fmla="*/ 182672 w 362218"/>
                              <a:gd name="connsiteY5" fmla="*/ 512635 h 512634"/>
                              <a:gd name="connsiteX6" fmla="*/ 362123 w 362218"/>
                              <a:gd name="connsiteY6" fmla="*/ 447960 h 51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218" h="512634">
                                <a:moveTo>
                                  <a:pt x="362218" y="447865"/>
                                </a:moveTo>
                                <a:lnTo>
                                  <a:pt x="170576" y="51720"/>
                                </a:lnTo>
                                <a:cubicBezTo>
                                  <a:pt x="149906" y="7334"/>
                                  <a:pt x="97424" y="-12193"/>
                                  <a:pt x="52751" y="7905"/>
                                </a:cubicBezTo>
                                <a:lnTo>
                                  <a:pt x="52751" y="7905"/>
                                </a:lnTo>
                                <a:cubicBezTo>
                                  <a:pt x="8270" y="27908"/>
                                  <a:pt x="-11923" y="79914"/>
                                  <a:pt x="7222" y="124777"/>
                                </a:cubicBezTo>
                                <a:lnTo>
                                  <a:pt x="182672" y="512635"/>
                                </a:lnTo>
                                <a:lnTo>
                                  <a:pt x="362123" y="447960"/>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7" name="Forma libre: forma 1146">
                            <a:extLst>
                              <a:ext uri="{FF2B5EF4-FFF2-40B4-BE49-F238E27FC236}">
                                <a16:creationId xmlns:a16="http://schemas.microsoft.com/office/drawing/2014/main" id="{176A1D78-D04D-406C-793F-53EF675B33EB}"/>
                              </a:ext>
                            </a:extLst>
                          </p:cNvPr>
                          <p:cNvSpPr/>
                          <p:nvPr/>
                        </p:nvSpPr>
                        <p:spPr>
                          <a:xfrm>
                            <a:off x="6292119" y="3426428"/>
                            <a:ext cx="573024" cy="311693"/>
                          </a:xfrm>
                          <a:custGeom>
                            <a:avLst/>
                            <a:gdLst>
                              <a:gd name="connsiteX0" fmla="*/ 492538 w 573024"/>
                              <a:gd name="connsiteY0" fmla="*/ 0 h 311693"/>
                              <a:gd name="connsiteX1" fmla="*/ 34862 w 573024"/>
                              <a:gd name="connsiteY1" fmla="*/ 219075 h 311693"/>
                              <a:gd name="connsiteX2" fmla="*/ 0 w 573024"/>
                              <a:gd name="connsiteY2" fmla="*/ 262033 h 311693"/>
                              <a:gd name="connsiteX3" fmla="*/ 0 w 573024"/>
                              <a:gd name="connsiteY3" fmla="*/ 262033 h 311693"/>
                              <a:gd name="connsiteX4" fmla="*/ 38671 w 573024"/>
                              <a:gd name="connsiteY4" fmla="*/ 305657 h 311693"/>
                              <a:gd name="connsiteX5" fmla="*/ 573024 w 573024"/>
                              <a:gd name="connsiteY5" fmla="*/ 133445 h 311693"/>
                              <a:gd name="connsiteX6" fmla="*/ 492633 w 573024"/>
                              <a:gd name="connsiteY6" fmla="*/ 0 h 31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3024" h="311693">
                                <a:moveTo>
                                  <a:pt x="492538" y="0"/>
                                </a:moveTo>
                                <a:cubicBezTo>
                                  <a:pt x="492538" y="0"/>
                                  <a:pt x="268034" y="167831"/>
                                  <a:pt x="34862" y="219075"/>
                                </a:cubicBezTo>
                                <a:cubicBezTo>
                                  <a:pt x="14573" y="223552"/>
                                  <a:pt x="0" y="241268"/>
                                  <a:pt x="0" y="262033"/>
                                </a:cubicBezTo>
                                <a:lnTo>
                                  <a:pt x="0" y="262033"/>
                                </a:lnTo>
                                <a:cubicBezTo>
                                  <a:pt x="0" y="284226"/>
                                  <a:pt x="16574" y="303181"/>
                                  <a:pt x="38671" y="305657"/>
                                </a:cubicBezTo>
                                <a:cubicBezTo>
                                  <a:pt x="125825" y="315563"/>
                                  <a:pt x="317849" y="337852"/>
                                  <a:pt x="573024" y="133445"/>
                                </a:cubicBezTo>
                                <a:lnTo>
                                  <a:pt x="492633" y="0"/>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45" name="Forma libre: forma 1144">
                          <a:extLst>
                            <a:ext uri="{FF2B5EF4-FFF2-40B4-BE49-F238E27FC236}">
                              <a16:creationId xmlns:a16="http://schemas.microsoft.com/office/drawing/2014/main" id="{2EE692C6-0C44-F782-E1A8-1CE5D4147EDF}"/>
                            </a:ext>
                          </a:extLst>
                        </p:cNvPr>
                        <p:cNvSpPr/>
                        <p:nvPr/>
                      </p:nvSpPr>
                      <p:spPr>
                        <a:xfrm>
                          <a:off x="6308597" y="3617880"/>
                          <a:ext cx="118538" cy="61984"/>
                        </a:xfrm>
                        <a:custGeom>
                          <a:avLst/>
                          <a:gdLst>
                            <a:gd name="connsiteX0" fmla="*/ 113157 w 118538"/>
                            <a:gd name="connsiteY0" fmla="*/ 0 h 61984"/>
                            <a:gd name="connsiteX1" fmla="*/ 68675 w 118538"/>
                            <a:gd name="connsiteY1" fmla="*/ 59912 h 61984"/>
                            <a:gd name="connsiteX2" fmla="*/ 1429 w 118538"/>
                            <a:gd name="connsiteY2" fmla="*/ 45149 h 61984"/>
                            <a:gd name="connsiteX3" fmla="*/ 7716 w 118538"/>
                            <a:gd name="connsiteY3" fmla="*/ 30480 h 61984"/>
                            <a:gd name="connsiteX4" fmla="*/ 113157 w 118538"/>
                            <a:gd name="connsiteY4" fmla="*/ 0 h 61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38" h="61984">
                              <a:moveTo>
                                <a:pt x="113157" y="0"/>
                              </a:moveTo>
                              <a:cubicBezTo>
                                <a:pt x="113157" y="0"/>
                                <a:pt x="141351" y="48673"/>
                                <a:pt x="68675" y="59912"/>
                              </a:cubicBezTo>
                              <a:cubicBezTo>
                                <a:pt x="24289" y="66770"/>
                                <a:pt x="7620" y="55245"/>
                                <a:pt x="1429" y="45149"/>
                              </a:cubicBezTo>
                              <a:cubicBezTo>
                                <a:pt x="-2095" y="39529"/>
                                <a:pt x="1238" y="32004"/>
                                <a:pt x="7716" y="30480"/>
                              </a:cubicBezTo>
                              <a:lnTo>
                                <a:pt x="113157" y="0"/>
                              </a:lnTo>
                              <a:close/>
                            </a:path>
                          </a:pathLst>
                        </a:custGeom>
                        <a:solidFill>
                          <a:srgbClr val="E3997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32" name="Forma libre: forma 1131">
                        <a:extLst>
                          <a:ext uri="{FF2B5EF4-FFF2-40B4-BE49-F238E27FC236}">
                            <a16:creationId xmlns:a16="http://schemas.microsoft.com/office/drawing/2014/main" id="{7A4335FE-56BA-B064-BF85-CA0F91B425CB}"/>
                          </a:ext>
                        </a:extLst>
                      </p:cNvPr>
                      <p:cNvSpPr/>
                      <p:nvPr/>
                    </p:nvSpPr>
                    <p:spPr>
                      <a:xfrm>
                        <a:off x="6870724" y="3434144"/>
                        <a:ext cx="362179" cy="512634"/>
                      </a:xfrm>
                      <a:custGeom>
                        <a:avLst/>
                        <a:gdLst>
                          <a:gd name="connsiteX0" fmla="*/ 362179 w 362179"/>
                          <a:gd name="connsiteY0" fmla="*/ 447865 h 512634"/>
                          <a:gd name="connsiteX1" fmla="*/ 170536 w 362179"/>
                          <a:gd name="connsiteY1" fmla="*/ 51720 h 512634"/>
                          <a:gd name="connsiteX2" fmla="*/ 52712 w 362179"/>
                          <a:gd name="connsiteY2" fmla="*/ 7905 h 512634"/>
                          <a:gd name="connsiteX3" fmla="*/ 52712 w 362179"/>
                          <a:gd name="connsiteY3" fmla="*/ 7905 h 512634"/>
                          <a:gd name="connsiteX4" fmla="*/ 7278 w 362179"/>
                          <a:gd name="connsiteY4" fmla="*/ 124777 h 512634"/>
                          <a:gd name="connsiteX5" fmla="*/ 182728 w 362179"/>
                          <a:gd name="connsiteY5" fmla="*/ 512635 h 512634"/>
                          <a:gd name="connsiteX6" fmla="*/ 362179 w 362179"/>
                          <a:gd name="connsiteY6" fmla="*/ 447960 h 51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179" h="512634">
                            <a:moveTo>
                              <a:pt x="362179" y="447865"/>
                            </a:moveTo>
                            <a:lnTo>
                              <a:pt x="170536" y="51720"/>
                            </a:lnTo>
                            <a:cubicBezTo>
                              <a:pt x="149867" y="7334"/>
                              <a:pt x="97384" y="-12193"/>
                              <a:pt x="52712" y="7905"/>
                            </a:cubicBezTo>
                            <a:lnTo>
                              <a:pt x="52712" y="7905"/>
                            </a:lnTo>
                            <a:cubicBezTo>
                              <a:pt x="8231" y="27908"/>
                              <a:pt x="-11963" y="79914"/>
                              <a:pt x="7278" y="124777"/>
                            </a:cubicBezTo>
                            <a:lnTo>
                              <a:pt x="182728" y="512635"/>
                            </a:lnTo>
                            <a:lnTo>
                              <a:pt x="362179" y="447960"/>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3" name="Forma libre: forma 1132">
                        <a:extLst>
                          <a:ext uri="{FF2B5EF4-FFF2-40B4-BE49-F238E27FC236}">
                            <a16:creationId xmlns:a16="http://schemas.microsoft.com/office/drawing/2014/main" id="{B49A29AC-7665-C567-FB17-DAFD75F086E6}"/>
                          </a:ext>
                        </a:extLst>
                      </p:cNvPr>
                      <p:cNvSpPr/>
                      <p:nvPr/>
                    </p:nvSpPr>
                    <p:spPr>
                      <a:xfrm>
                        <a:off x="7002645" y="3475137"/>
                        <a:ext cx="363322" cy="512122"/>
                      </a:xfrm>
                      <a:custGeom>
                        <a:avLst/>
                        <a:gdLst>
                          <a:gd name="connsiteX0" fmla="*/ 363322 w 363322"/>
                          <a:gd name="connsiteY0" fmla="*/ 471451 h 512122"/>
                          <a:gd name="connsiteX1" fmla="*/ 170536 w 363322"/>
                          <a:gd name="connsiteY1" fmla="*/ 51208 h 512122"/>
                          <a:gd name="connsiteX2" fmla="*/ 52712 w 363322"/>
                          <a:gd name="connsiteY2" fmla="*/ 7393 h 512122"/>
                          <a:gd name="connsiteX3" fmla="*/ 52712 w 363322"/>
                          <a:gd name="connsiteY3" fmla="*/ 7393 h 512122"/>
                          <a:gd name="connsiteX4" fmla="*/ 7278 w 363322"/>
                          <a:gd name="connsiteY4" fmla="*/ 124264 h 512122"/>
                          <a:gd name="connsiteX5" fmla="*/ 182728 w 363322"/>
                          <a:gd name="connsiteY5" fmla="*/ 512122 h 512122"/>
                          <a:gd name="connsiteX6" fmla="*/ 363322 w 363322"/>
                          <a:gd name="connsiteY6" fmla="*/ 471451 h 51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322" h="512122">
                            <a:moveTo>
                              <a:pt x="363322" y="471451"/>
                            </a:moveTo>
                            <a:cubicBezTo>
                              <a:pt x="363322" y="471451"/>
                              <a:pt x="236735" y="152077"/>
                              <a:pt x="170536" y="51208"/>
                            </a:cubicBezTo>
                            <a:cubicBezTo>
                              <a:pt x="143676" y="10250"/>
                              <a:pt x="97384" y="-12705"/>
                              <a:pt x="52712" y="7393"/>
                            </a:cubicBezTo>
                            <a:lnTo>
                              <a:pt x="52712" y="7393"/>
                            </a:lnTo>
                            <a:cubicBezTo>
                              <a:pt x="8230" y="27395"/>
                              <a:pt x="-11963" y="79402"/>
                              <a:pt x="7278" y="124264"/>
                            </a:cubicBezTo>
                            <a:lnTo>
                              <a:pt x="182728" y="512122"/>
                            </a:lnTo>
                            <a:lnTo>
                              <a:pt x="363322" y="471451"/>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4" name="Forma libre: forma 1133">
                        <a:extLst>
                          <a:ext uri="{FF2B5EF4-FFF2-40B4-BE49-F238E27FC236}">
                            <a16:creationId xmlns:a16="http://schemas.microsoft.com/office/drawing/2014/main" id="{C60B88F5-FAFE-0D0E-78DA-25EA2B36CCD1}"/>
                          </a:ext>
                        </a:extLst>
                      </p:cNvPr>
                      <p:cNvSpPr/>
                      <p:nvPr/>
                    </p:nvSpPr>
                    <p:spPr>
                      <a:xfrm>
                        <a:off x="6221243" y="3841233"/>
                        <a:ext cx="1059571" cy="700125"/>
                      </a:xfrm>
                      <a:custGeom>
                        <a:avLst/>
                        <a:gdLst>
                          <a:gd name="connsiteX0" fmla="*/ 446637 w 1059571"/>
                          <a:gd name="connsiteY0" fmla="*/ 117832 h 700125"/>
                          <a:gd name="connsiteX1" fmla="*/ 439684 w 1059571"/>
                          <a:gd name="connsiteY1" fmla="*/ 114594 h 700125"/>
                          <a:gd name="connsiteX2" fmla="*/ 168793 w 1059571"/>
                          <a:gd name="connsiteY2" fmla="*/ 4294 h 700125"/>
                          <a:gd name="connsiteX3" fmla="*/ 12678 w 1059571"/>
                          <a:gd name="connsiteY3" fmla="*/ 47062 h 700125"/>
                          <a:gd name="connsiteX4" fmla="*/ 42682 w 1059571"/>
                          <a:gd name="connsiteY4" fmla="*/ 126310 h 700125"/>
                          <a:gd name="connsiteX5" fmla="*/ 267281 w 1059571"/>
                          <a:gd name="connsiteY5" fmla="*/ 245182 h 700125"/>
                          <a:gd name="connsiteX6" fmla="*/ 851069 w 1059571"/>
                          <a:gd name="connsiteY6" fmla="*/ 700000 h 700125"/>
                          <a:gd name="connsiteX7" fmla="*/ 1059571 w 1059571"/>
                          <a:gd name="connsiteY7" fmla="*/ 671521 h 700125"/>
                          <a:gd name="connsiteX8" fmla="*/ 978037 w 1059571"/>
                          <a:gd name="connsiteY8" fmla="*/ 363673 h 700125"/>
                          <a:gd name="connsiteX9" fmla="*/ 948986 w 1059571"/>
                          <a:gd name="connsiteY9" fmla="*/ 307571 h 700125"/>
                          <a:gd name="connsiteX10" fmla="*/ 446542 w 1059571"/>
                          <a:gd name="connsiteY10" fmla="*/ 118023 h 7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9571" h="700125">
                            <a:moveTo>
                              <a:pt x="446637" y="117832"/>
                            </a:moveTo>
                            <a:cubicBezTo>
                              <a:pt x="444256" y="116880"/>
                              <a:pt x="441970" y="115832"/>
                              <a:pt x="439684" y="114594"/>
                            </a:cubicBezTo>
                            <a:cubicBezTo>
                              <a:pt x="418538" y="102307"/>
                              <a:pt x="283379" y="29345"/>
                              <a:pt x="168793" y="4294"/>
                            </a:cubicBezTo>
                            <a:cubicBezTo>
                              <a:pt x="102023" y="-10279"/>
                              <a:pt x="44301" y="14296"/>
                              <a:pt x="12678" y="47062"/>
                            </a:cubicBezTo>
                            <a:cubicBezTo>
                              <a:pt x="-14373" y="75256"/>
                              <a:pt x="4772" y="117071"/>
                              <a:pt x="42682" y="126310"/>
                            </a:cubicBezTo>
                            <a:cubicBezTo>
                              <a:pt x="168507" y="156694"/>
                              <a:pt x="205083" y="200414"/>
                              <a:pt x="267281" y="245182"/>
                            </a:cubicBezTo>
                            <a:cubicBezTo>
                              <a:pt x="407108" y="345956"/>
                              <a:pt x="477784" y="680188"/>
                              <a:pt x="851069" y="700000"/>
                            </a:cubicBezTo>
                            <a:cubicBezTo>
                              <a:pt x="873643" y="701239"/>
                              <a:pt x="1053951" y="693428"/>
                              <a:pt x="1059571" y="671521"/>
                            </a:cubicBezTo>
                            <a:lnTo>
                              <a:pt x="978037" y="363673"/>
                            </a:lnTo>
                            <a:cubicBezTo>
                              <a:pt x="984133" y="340241"/>
                              <a:pt x="971560" y="316048"/>
                              <a:pt x="948986" y="307571"/>
                            </a:cubicBezTo>
                            <a:lnTo>
                              <a:pt x="446542" y="118023"/>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5" name="Forma libre: forma 1134">
                        <a:extLst>
                          <a:ext uri="{FF2B5EF4-FFF2-40B4-BE49-F238E27FC236}">
                            <a16:creationId xmlns:a16="http://schemas.microsoft.com/office/drawing/2014/main" id="{CC6EBEEF-1360-18B9-38EB-8963CE1C73F3}"/>
                          </a:ext>
                        </a:extLst>
                      </p:cNvPr>
                      <p:cNvSpPr/>
                      <p:nvPr/>
                    </p:nvSpPr>
                    <p:spPr>
                      <a:xfrm>
                        <a:off x="6664070" y="3767306"/>
                        <a:ext cx="911352" cy="725921"/>
                      </a:xfrm>
                      <a:custGeom>
                        <a:avLst/>
                        <a:gdLst>
                          <a:gd name="connsiteX0" fmla="*/ 0 w 911352"/>
                          <a:gd name="connsiteY0" fmla="*/ 190331 h 725921"/>
                          <a:gd name="connsiteX1" fmla="*/ 36576 w 911352"/>
                          <a:gd name="connsiteY1" fmla="*/ 104225 h 725921"/>
                          <a:gd name="connsiteX2" fmla="*/ 623888 w 911352"/>
                          <a:gd name="connsiteY2" fmla="*/ 3450 h 725921"/>
                          <a:gd name="connsiteX3" fmla="*/ 911352 w 911352"/>
                          <a:gd name="connsiteY3" fmla="*/ 698966 h 725921"/>
                          <a:gd name="connsiteX4" fmla="*/ 276892 w 911352"/>
                          <a:gd name="connsiteY4" fmla="*/ 725922 h 725921"/>
                          <a:gd name="connsiteX5" fmla="*/ 0 w 911352"/>
                          <a:gd name="connsiteY5" fmla="*/ 190331 h 7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352" h="725921">
                            <a:moveTo>
                              <a:pt x="0" y="190331"/>
                            </a:moveTo>
                            <a:cubicBezTo>
                              <a:pt x="0" y="190331"/>
                              <a:pt x="46006" y="188616"/>
                              <a:pt x="36576" y="104225"/>
                            </a:cubicBezTo>
                            <a:cubicBezTo>
                              <a:pt x="36576" y="104225"/>
                              <a:pt x="352139" y="-22267"/>
                              <a:pt x="623888" y="3450"/>
                            </a:cubicBezTo>
                            <a:cubicBezTo>
                              <a:pt x="623888" y="3450"/>
                              <a:pt x="783241" y="350255"/>
                              <a:pt x="911352" y="698966"/>
                            </a:cubicBezTo>
                            <a:lnTo>
                              <a:pt x="276892" y="725922"/>
                            </a:lnTo>
                            <a:lnTo>
                              <a:pt x="0" y="190331"/>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6" name="Forma libre: forma 1135">
                        <a:extLst>
                          <a:ext uri="{FF2B5EF4-FFF2-40B4-BE49-F238E27FC236}">
                            <a16:creationId xmlns:a16="http://schemas.microsoft.com/office/drawing/2014/main" id="{713E4820-BDF4-B503-D2C3-50199D8365A1}"/>
                          </a:ext>
                        </a:extLst>
                      </p:cNvPr>
                      <p:cNvSpPr/>
                      <p:nvPr/>
                    </p:nvSpPr>
                    <p:spPr>
                      <a:xfrm>
                        <a:off x="6369749" y="2996891"/>
                        <a:ext cx="590834" cy="923313"/>
                      </a:xfrm>
                      <a:custGeom>
                        <a:avLst/>
                        <a:gdLst>
                          <a:gd name="connsiteX0" fmla="*/ 344233 w 590834"/>
                          <a:gd name="connsiteY0" fmla="*/ 923313 h 923313"/>
                          <a:gd name="connsiteX1" fmla="*/ 42290 w 590834"/>
                          <a:gd name="connsiteY1" fmla="*/ 198746 h 923313"/>
                          <a:gd name="connsiteX2" fmla="*/ 24097 w 590834"/>
                          <a:gd name="connsiteY2" fmla="*/ 9104 h 923313"/>
                          <a:gd name="connsiteX3" fmla="*/ 129158 w 590834"/>
                          <a:gd name="connsiteY3" fmla="*/ 48632 h 923313"/>
                          <a:gd name="connsiteX4" fmla="*/ 203739 w 590834"/>
                          <a:gd name="connsiteY4" fmla="*/ 166171 h 923313"/>
                          <a:gd name="connsiteX5" fmla="*/ 590835 w 590834"/>
                          <a:gd name="connsiteY5" fmla="*/ 840541 h 923313"/>
                          <a:gd name="connsiteX6" fmla="*/ 344233 w 590834"/>
                          <a:gd name="connsiteY6" fmla="*/ 923218 h 92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0834" h="923313">
                            <a:moveTo>
                              <a:pt x="344233" y="923313"/>
                            </a:moveTo>
                            <a:cubicBezTo>
                              <a:pt x="344233" y="923313"/>
                              <a:pt x="320230" y="717097"/>
                              <a:pt x="42290" y="198746"/>
                            </a:cubicBezTo>
                            <a:cubicBezTo>
                              <a:pt x="26383" y="169124"/>
                              <a:pt x="-32576" y="47299"/>
                              <a:pt x="24097" y="9104"/>
                            </a:cubicBezTo>
                            <a:cubicBezTo>
                              <a:pt x="60388" y="-15376"/>
                              <a:pt x="99821" y="13485"/>
                              <a:pt x="129158" y="48632"/>
                            </a:cubicBezTo>
                            <a:cubicBezTo>
                              <a:pt x="146018" y="68730"/>
                              <a:pt x="189928" y="143692"/>
                              <a:pt x="203739" y="166171"/>
                            </a:cubicBezTo>
                            <a:cubicBezTo>
                              <a:pt x="358330" y="418107"/>
                              <a:pt x="590835" y="840541"/>
                              <a:pt x="590835" y="840541"/>
                            </a:cubicBezTo>
                            <a:lnTo>
                              <a:pt x="344233" y="923218"/>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7" name="Forma libre: forma 1136">
                        <a:extLst>
                          <a:ext uri="{FF2B5EF4-FFF2-40B4-BE49-F238E27FC236}">
                            <a16:creationId xmlns:a16="http://schemas.microsoft.com/office/drawing/2014/main" id="{5E2676EE-3CEF-14B9-D6B2-BE618EF4C408}"/>
                          </a:ext>
                        </a:extLst>
                      </p:cNvPr>
                      <p:cNvSpPr/>
                      <p:nvPr/>
                    </p:nvSpPr>
                    <p:spPr>
                      <a:xfrm>
                        <a:off x="6748176" y="3452145"/>
                        <a:ext cx="184785" cy="333184"/>
                      </a:xfrm>
                      <a:custGeom>
                        <a:avLst/>
                        <a:gdLst>
                          <a:gd name="connsiteX0" fmla="*/ 0 w 184785"/>
                          <a:gd name="connsiteY0" fmla="*/ 0 h 333184"/>
                          <a:gd name="connsiteX1" fmla="*/ 184785 w 184785"/>
                          <a:gd name="connsiteY1" fmla="*/ 333185 h 333184"/>
                        </a:gdLst>
                        <a:ahLst/>
                        <a:cxnLst>
                          <a:cxn ang="0">
                            <a:pos x="connsiteX0" y="connsiteY0"/>
                          </a:cxn>
                          <a:cxn ang="0">
                            <a:pos x="connsiteX1" y="connsiteY1"/>
                          </a:cxn>
                        </a:cxnLst>
                        <a:rect l="l" t="t" r="r" b="b"/>
                        <a:pathLst>
                          <a:path w="184785" h="333184">
                            <a:moveTo>
                              <a:pt x="0" y="0"/>
                            </a:moveTo>
                            <a:lnTo>
                              <a:pt x="184785" y="333185"/>
                            </a:lnTo>
                          </a:path>
                        </a:pathLst>
                      </a:custGeom>
                      <a:ln w="9716" cap="flat">
                        <a:solidFill>
                          <a:srgbClr val="BE6A4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8" name="Forma libre: forma 1137">
                        <a:extLst>
                          <a:ext uri="{FF2B5EF4-FFF2-40B4-BE49-F238E27FC236}">
                            <a16:creationId xmlns:a16="http://schemas.microsoft.com/office/drawing/2014/main" id="{3A3783BC-C4F9-E506-DBC2-466F71F91D44}"/>
                          </a:ext>
                        </a:extLst>
                      </p:cNvPr>
                      <p:cNvSpPr/>
                      <p:nvPr/>
                    </p:nvSpPr>
                    <p:spPr>
                      <a:xfrm>
                        <a:off x="6897433" y="3459765"/>
                        <a:ext cx="145827" cy="271462"/>
                      </a:xfrm>
                      <a:custGeom>
                        <a:avLst/>
                        <a:gdLst>
                          <a:gd name="connsiteX0" fmla="*/ 0 w 145827"/>
                          <a:gd name="connsiteY0" fmla="*/ 0 h 271462"/>
                          <a:gd name="connsiteX1" fmla="*/ 145828 w 145827"/>
                          <a:gd name="connsiteY1" fmla="*/ 271462 h 271462"/>
                        </a:gdLst>
                        <a:ahLst/>
                        <a:cxnLst>
                          <a:cxn ang="0">
                            <a:pos x="connsiteX0" y="connsiteY0"/>
                          </a:cxn>
                          <a:cxn ang="0">
                            <a:pos x="connsiteX1" y="connsiteY1"/>
                          </a:cxn>
                        </a:cxnLst>
                        <a:rect l="l" t="t" r="r" b="b"/>
                        <a:pathLst>
                          <a:path w="145827" h="271462">
                            <a:moveTo>
                              <a:pt x="0" y="0"/>
                            </a:moveTo>
                            <a:lnTo>
                              <a:pt x="145828" y="271462"/>
                            </a:lnTo>
                          </a:path>
                        </a:pathLst>
                      </a:custGeom>
                      <a:ln w="9716" cap="flat">
                        <a:solidFill>
                          <a:srgbClr val="BE6A4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9" name="Forma libre: forma 1138">
                        <a:extLst>
                          <a:ext uri="{FF2B5EF4-FFF2-40B4-BE49-F238E27FC236}">
                            <a16:creationId xmlns:a16="http://schemas.microsoft.com/office/drawing/2014/main" id="{A98D314B-C5F7-ECD1-1071-64A2B8159301}"/>
                          </a:ext>
                        </a:extLst>
                      </p:cNvPr>
                      <p:cNvSpPr/>
                      <p:nvPr/>
                    </p:nvSpPr>
                    <p:spPr>
                      <a:xfrm>
                        <a:off x="7043261" y="3489198"/>
                        <a:ext cx="109347" cy="201168"/>
                      </a:xfrm>
                      <a:custGeom>
                        <a:avLst/>
                        <a:gdLst>
                          <a:gd name="connsiteX0" fmla="*/ 0 w 109347"/>
                          <a:gd name="connsiteY0" fmla="*/ 0 h 201168"/>
                          <a:gd name="connsiteX1" fmla="*/ 109347 w 109347"/>
                          <a:gd name="connsiteY1" fmla="*/ 201168 h 201168"/>
                        </a:gdLst>
                        <a:ahLst/>
                        <a:cxnLst>
                          <a:cxn ang="0">
                            <a:pos x="connsiteX0" y="connsiteY0"/>
                          </a:cxn>
                          <a:cxn ang="0">
                            <a:pos x="connsiteX1" y="connsiteY1"/>
                          </a:cxn>
                        </a:cxnLst>
                        <a:rect l="l" t="t" r="r" b="b"/>
                        <a:pathLst>
                          <a:path w="109347" h="201168">
                            <a:moveTo>
                              <a:pt x="0" y="0"/>
                            </a:moveTo>
                            <a:lnTo>
                              <a:pt x="109347" y="201168"/>
                            </a:lnTo>
                          </a:path>
                        </a:pathLst>
                      </a:custGeom>
                      <a:ln w="9716" cap="flat">
                        <a:solidFill>
                          <a:srgbClr val="BE6A4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0" name="Forma libre: forma 1139">
                        <a:extLst>
                          <a:ext uri="{FF2B5EF4-FFF2-40B4-BE49-F238E27FC236}">
                            <a16:creationId xmlns:a16="http://schemas.microsoft.com/office/drawing/2014/main" id="{71045953-472B-2A4A-371A-21FF7323B3AD}"/>
                          </a:ext>
                        </a:extLst>
                      </p:cNvPr>
                      <p:cNvSpPr/>
                      <p:nvPr/>
                    </p:nvSpPr>
                    <p:spPr>
                      <a:xfrm>
                        <a:off x="6575107" y="3557206"/>
                        <a:ext cx="59626" cy="141922"/>
                      </a:xfrm>
                      <a:custGeom>
                        <a:avLst/>
                        <a:gdLst>
                          <a:gd name="connsiteX0" fmla="*/ 0 w 59626"/>
                          <a:gd name="connsiteY0" fmla="*/ 0 h 141922"/>
                          <a:gd name="connsiteX1" fmla="*/ 59626 w 59626"/>
                          <a:gd name="connsiteY1" fmla="*/ 141923 h 141922"/>
                        </a:gdLst>
                        <a:ahLst/>
                        <a:cxnLst>
                          <a:cxn ang="0">
                            <a:pos x="connsiteX0" y="connsiteY0"/>
                          </a:cxn>
                          <a:cxn ang="0">
                            <a:pos x="connsiteX1" y="connsiteY1"/>
                          </a:cxn>
                        </a:cxnLst>
                        <a:rect l="l" t="t" r="r" b="b"/>
                        <a:pathLst>
                          <a:path w="59626" h="141922">
                            <a:moveTo>
                              <a:pt x="0" y="0"/>
                            </a:moveTo>
                            <a:lnTo>
                              <a:pt x="59626" y="141923"/>
                            </a:lnTo>
                          </a:path>
                        </a:pathLst>
                      </a:custGeom>
                      <a:ln w="9716" cap="flat">
                        <a:solidFill>
                          <a:srgbClr val="BE6A4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1" name="Forma libre: forma 1140">
                        <a:extLst>
                          <a:ext uri="{FF2B5EF4-FFF2-40B4-BE49-F238E27FC236}">
                            <a16:creationId xmlns:a16="http://schemas.microsoft.com/office/drawing/2014/main" id="{8028BE89-4F19-9153-8749-8D78B0CC2420}"/>
                          </a:ext>
                        </a:extLst>
                      </p:cNvPr>
                      <p:cNvSpPr/>
                      <p:nvPr/>
                    </p:nvSpPr>
                    <p:spPr>
                      <a:xfrm>
                        <a:off x="6428023" y="3004956"/>
                        <a:ext cx="125557" cy="131801"/>
                      </a:xfrm>
                      <a:custGeom>
                        <a:avLst/>
                        <a:gdLst>
                          <a:gd name="connsiteX0" fmla="*/ 125558 w 125557"/>
                          <a:gd name="connsiteY0" fmla="*/ 125339 h 131801"/>
                          <a:gd name="connsiteX1" fmla="*/ 16877 w 125557"/>
                          <a:gd name="connsiteY1" fmla="*/ 92764 h 131801"/>
                          <a:gd name="connsiteX2" fmla="*/ 6781 w 125557"/>
                          <a:gd name="connsiteY2" fmla="*/ 10753 h 131801"/>
                          <a:gd name="connsiteX3" fmla="*/ 40499 w 125557"/>
                          <a:gd name="connsiteY3" fmla="*/ 4276 h 131801"/>
                          <a:gd name="connsiteX4" fmla="*/ 125558 w 125557"/>
                          <a:gd name="connsiteY4" fmla="*/ 125339 h 131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31801">
                            <a:moveTo>
                              <a:pt x="125558" y="125339"/>
                            </a:moveTo>
                            <a:cubicBezTo>
                              <a:pt x="125558" y="125339"/>
                              <a:pt x="51929" y="153343"/>
                              <a:pt x="16877" y="92764"/>
                            </a:cubicBezTo>
                            <a:cubicBezTo>
                              <a:pt x="-5316" y="54473"/>
                              <a:pt x="-2173" y="25993"/>
                              <a:pt x="6781" y="10753"/>
                            </a:cubicBezTo>
                            <a:cubicBezTo>
                              <a:pt x="15925" y="-4868"/>
                              <a:pt x="36499" y="-105"/>
                              <a:pt x="40499" y="4276"/>
                            </a:cubicBezTo>
                            <a:cubicBezTo>
                              <a:pt x="68503" y="33709"/>
                              <a:pt x="105841" y="95812"/>
                              <a:pt x="125558" y="125339"/>
                            </a:cubicBezTo>
                            <a:close/>
                          </a:path>
                        </a:pathLst>
                      </a:custGeom>
                      <a:solidFill>
                        <a:srgbClr val="E3997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2" name="Forma libre: forma 1141">
                        <a:extLst>
                          <a:ext uri="{FF2B5EF4-FFF2-40B4-BE49-F238E27FC236}">
                            <a16:creationId xmlns:a16="http://schemas.microsoft.com/office/drawing/2014/main" id="{8E5212B5-CAA0-457F-5867-59327FC7DF08}"/>
                          </a:ext>
                        </a:extLst>
                      </p:cNvPr>
                      <p:cNvSpPr/>
                      <p:nvPr/>
                    </p:nvSpPr>
                    <p:spPr>
                      <a:xfrm>
                        <a:off x="6264020" y="3925579"/>
                        <a:ext cx="129540" cy="81873"/>
                      </a:xfrm>
                      <a:custGeom>
                        <a:avLst/>
                        <a:gdLst>
                          <a:gd name="connsiteX0" fmla="*/ 0 w 129540"/>
                          <a:gd name="connsiteY0" fmla="*/ 41869 h 81873"/>
                          <a:gd name="connsiteX1" fmla="*/ 66008 w 129540"/>
                          <a:gd name="connsiteY1" fmla="*/ 4055 h 81873"/>
                          <a:gd name="connsiteX2" fmla="*/ 129540 w 129540"/>
                          <a:gd name="connsiteY2" fmla="*/ 34820 h 81873"/>
                          <a:gd name="connsiteX3" fmla="*/ 110680 w 129540"/>
                          <a:gd name="connsiteY3" fmla="*/ 81874 h 81873"/>
                          <a:gd name="connsiteX4" fmla="*/ 0 w 129540"/>
                          <a:gd name="connsiteY4" fmla="*/ 41869 h 8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40" h="81873">
                            <a:moveTo>
                              <a:pt x="0" y="41869"/>
                            </a:moveTo>
                            <a:cubicBezTo>
                              <a:pt x="0" y="41869"/>
                              <a:pt x="1810" y="-15472"/>
                              <a:pt x="66008" y="4055"/>
                            </a:cubicBezTo>
                            <a:cubicBezTo>
                              <a:pt x="66008" y="4055"/>
                              <a:pt x="118967" y="20628"/>
                              <a:pt x="129540" y="34820"/>
                            </a:cubicBezTo>
                            <a:lnTo>
                              <a:pt x="110680" y="81874"/>
                            </a:lnTo>
                            <a:cubicBezTo>
                              <a:pt x="110680" y="81874"/>
                              <a:pt x="87344" y="67301"/>
                              <a:pt x="0" y="41869"/>
                            </a:cubicBezTo>
                            <a:close/>
                          </a:path>
                        </a:pathLst>
                      </a:custGeom>
                      <a:solidFill>
                        <a:srgbClr val="E3997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3" name="Forma libre: forma 1142">
                        <a:extLst>
                          <a:ext uri="{FF2B5EF4-FFF2-40B4-BE49-F238E27FC236}">
                            <a16:creationId xmlns:a16="http://schemas.microsoft.com/office/drawing/2014/main" id="{D24B7024-9052-331C-DCAD-2CDFC0C75A5F}"/>
                          </a:ext>
                        </a:extLst>
                      </p:cNvPr>
                      <p:cNvSpPr/>
                      <p:nvPr/>
                    </p:nvSpPr>
                    <p:spPr>
                      <a:xfrm>
                        <a:off x="6664070" y="3871531"/>
                        <a:ext cx="71495" cy="162210"/>
                      </a:xfrm>
                      <a:custGeom>
                        <a:avLst/>
                        <a:gdLst>
                          <a:gd name="connsiteX0" fmla="*/ 0 w 71495"/>
                          <a:gd name="connsiteY0" fmla="*/ 86106 h 162210"/>
                          <a:gd name="connsiteX1" fmla="*/ 36576 w 71495"/>
                          <a:gd name="connsiteY1" fmla="*/ 0 h 162210"/>
                          <a:gd name="connsiteX2" fmla="*/ 71152 w 71495"/>
                          <a:gd name="connsiteY2" fmla="*/ 162211 h 162210"/>
                          <a:gd name="connsiteX3" fmla="*/ 0 w 71495"/>
                          <a:gd name="connsiteY3" fmla="*/ 86106 h 162210"/>
                        </a:gdLst>
                        <a:ahLst/>
                        <a:cxnLst>
                          <a:cxn ang="0">
                            <a:pos x="connsiteX0" y="connsiteY0"/>
                          </a:cxn>
                          <a:cxn ang="0">
                            <a:pos x="connsiteX1" y="connsiteY1"/>
                          </a:cxn>
                          <a:cxn ang="0">
                            <a:pos x="connsiteX2" y="connsiteY2"/>
                          </a:cxn>
                          <a:cxn ang="0">
                            <a:pos x="connsiteX3" y="connsiteY3"/>
                          </a:cxn>
                        </a:cxnLst>
                        <a:rect l="l" t="t" r="r" b="b"/>
                        <a:pathLst>
                          <a:path w="71495" h="162210">
                            <a:moveTo>
                              <a:pt x="0" y="86106"/>
                            </a:moveTo>
                            <a:cubicBezTo>
                              <a:pt x="0" y="86106"/>
                              <a:pt x="45911" y="82677"/>
                              <a:pt x="36576" y="0"/>
                            </a:cubicBezTo>
                            <a:cubicBezTo>
                              <a:pt x="36576" y="0"/>
                              <a:pt x="75533" y="83439"/>
                              <a:pt x="71152" y="162211"/>
                            </a:cubicBezTo>
                            <a:cubicBezTo>
                              <a:pt x="71152" y="162211"/>
                              <a:pt x="27242" y="101155"/>
                              <a:pt x="0" y="86106"/>
                            </a:cubicBezTo>
                            <a:close/>
                          </a:path>
                        </a:pathLst>
                      </a:custGeom>
                      <a:solidFill>
                        <a:srgbClr val="BE6A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30" name="Forma libre: forma 1129">
                      <a:extLst>
                        <a:ext uri="{FF2B5EF4-FFF2-40B4-BE49-F238E27FC236}">
                          <a16:creationId xmlns:a16="http://schemas.microsoft.com/office/drawing/2014/main" id="{A6E33DFE-9188-58A6-412C-B8B3E7D7DC1D}"/>
                        </a:ext>
                      </a:extLst>
                    </p:cNvPr>
                    <p:cNvSpPr/>
                    <p:nvPr/>
                  </p:nvSpPr>
                  <p:spPr>
                    <a:xfrm>
                      <a:off x="7049071" y="4386262"/>
                      <a:ext cx="789336" cy="552259"/>
                    </a:xfrm>
                    <a:custGeom>
                      <a:avLst/>
                      <a:gdLst>
                        <a:gd name="connsiteX0" fmla="*/ 526352 w 789336"/>
                        <a:gd name="connsiteY0" fmla="*/ 80010 h 552259"/>
                        <a:gd name="connsiteX1" fmla="*/ 789337 w 789336"/>
                        <a:gd name="connsiteY1" fmla="*/ 552260 h 552259"/>
                        <a:gd name="connsiteX2" fmla="*/ 222313 w 789336"/>
                        <a:gd name="connsiteY2" fmla="*/ 552260 h 552259"/>
                        <a:gd name="connsiteX3" fmla="*/ 0 w 789336"/>
                        <a:gd name="connsiteY3" fmla="*/ 0 h 552259"/>
                        <a:gd name="connsiteX4" fmla="*/ 526352 w 789336"/>
                        <a:gd name="connsiteY4" fmla="*/ 80010 h 552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336" h="552259">
                          <a:moveTo>
                            <a:pt x="526352" y="80010"/>
                          </a:moveTo>
                          <a:lnTo>
                            <a:pt x="789337" y="552260"/>
                          </a:lnTo>
                          <a:lnTo>
                            <a:pt x="222313" y="552260"/>
                          </a:lnTo>
                          <a:lnTo>
                            <a:pt x="0" y="0"/>
                          </a:lnTo>
                          <a:lnTo>
                            <a:pt x="526352" y="80010"/>
                          </a:lnTo>
                          <a:close/>
                        </a:path>
                      </a:pathLst>
                    </a:custGeom>
                    <a:solidFill>
                      <a:srgbClr val="D3825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sp>
          <p:nvSpPr>
            <p:cNvPr id="49" name="Gráfico 47">
              <a:extLst>
                <a:ext uri="{FF2B5EF4-FFF2-40B4-BE49-F238E27FC236}">
                  <a16:creationId xmlns:a16="http://schemas.microsoft.com/office/drawing/2014/main" id="{27FAED46-D082-4D37-BE2B-294265BF1EB0}"/>
                </a:ext>
              </a:extLst>
            </p:cNvPr>
            <p:cNvSpPr/>
            <p:nvPr/>
          </p:nvSpPr>
          <p:spPr>
            <a:xfrm flipH="1">
              <a:off x="11051464" y="2650739"/>
              <a:ext cx="461452" cy="461388"/>
            </a:xfrm>
            <a:custGeom>
              <a:avLst/>
              <a:gdLst>
                <a:gd name="connsiteX0" fmla="*/ 5967685 w 6134473"/>
                <a:gd name="connsiteY0" fmla="*/ 5158931 h 6133623"/>
                <a:gd name="connsiteX1" fmla="*/ 4755748 w 6134473"/>
                <a:gd name="connsiteY1" fmla="*/ 3946993 h 6133623"/>
                <a:gd name="connsiteX2" fmla="*/ 4917339 w 6134473"/>
                <a:gd name="connsiteY2" fmla="*/ 3785402 h 6133623"/>
                <a:gd name="connsiteX3" fmla="*/ 4755748 w 6134473"/>
                <a:gd name="connsiteY3" fmla="*/ 3623810 h 6133623"/>
                <a:gd name="connsiteX4" fmla="*/ 4271187 w 6134473"/>
                <a:gd name="connsiteY4" fmla="*/ 4108371 h 6133623"/>
                <a:gd name="connsiteX5" fmla="*/ 3463014 w 6134473"/>
                <a:gd name="connsiteY5" fmla="*/ 3300412 h 6133623"/>
                <a:gd name="connsiteX6" fmla="*/ 4433850 w 6134473"/>
                <a:gd name="connsiteY6" fmla="*/ 2329148 h 6133623"/>
                <a:gd name="connsiteX7" fmla="*/ 4837186 w 6134473"/>
                <a:gd name="connsiteY7" fmla="*/ 2398586 h 6133623"/>
                <a:gd name="connsiteX8" fmla="*/ 5684578 w 6134473"/>
                <a:gd name="connsiteY8" fmla="*/ 2047756 h 6133623"/>
                <a:gd name="connsiteX9" fmla="*/ 5937038 w 6134473"/>
                <a:gd name="connsiteY9" fmla="*/ 724591 h 6133623"/>
                <a:gd name="connsiteX10" fmla="*/ 5870387 w 6134473"/>
                <a:gd name="connsiteY10" fmla="*/ 569857 h 6133623"/>
                <a:gd name="connsiteX11" fmla="*/ 5349608 w 6134473"/>
                <a:gd name="connsiteY11" fmla="*/ 1090636 h 6133623"/>
                <a:gd name="connsiteX12" fmla="*/ 4930412 w 6134473"/>
                <a:gd name="connsiteY12" fmla="*/ 1096423 h 6133623"/>
                <a:gd name="connsiteX13" fmla="*/ 4935984 w 6134473"/>
                <a:gd name="connsiteY13" fmla="*/ 696516 h 6133623"/>
                <a:gd name="connsiteX14" fmla="*/ 5466836 w 6134473"/>
                <a:gd name="connsiteY14" fmla="*/ 165664 h 6133623"/>
                <a:gd name="connsiteX15" fmla="*/ 5312531 w 6134473"/>
                <a:gd name="connsiteY15" fmla="*/ 98798 h 6133623"/>
                <a:gd name="connsiteX16" fmla="*/ 4834829 w 6134473"/>
                <a:gd name="connsiteY16" fmla="*/ 0 h 6133623"/>
                <a:gd name="connsiteX17" fmla="*/ 3987866 w 6134473"/>
                <a:gd name="connsiteY17" fmla="*/ 350830 h 6133623"/>
                <a:gd name="connsiteX18" fmla="*/ 3706902 w 6134473"/>
                <a:gd name="connsiteY18" fmla="*/ 1602415 h 6133623"/>
                <a:gd name="connsiteX19" fmla="*/ 2736281 w 6134473"/>
                <a:gd name="connsiteY19" fmla="*/ 2573036 h 6133623"/>
                <a:gd name="connsiteX20" fmla="*/ 1362752 w 6134473"/>
                <a:gd name="connsiteY20" fmla="*/ 1199721 h 6133623"/>
                <a:gd name="connsiteX21" fmla="*/ 1524343 w 6134473"/>
                <a:gd name="connsiteY21" fmla="*/ 1038130 h 6133623"/>
                <a:gd name="connsiteX22" fmla="*/ 636018 w 6134473"/>
                <a:gd name="connsiteY22" fmla="*/ 149590 h 6133623"/>
                <a:gd name="connsiteX23" fmla="*/ 150815 w 6134473"/>
                <a:gd name="connsiteY23" fmla="*/ 634151 h 6133623"/>
                <a:gd name="connsiteX24" fmla="*/ 1039569 w 6134473"/>
                <a:gd name="connsiteY24" fmla="*/ 1522905 h 6133623"/>
                <a:gd name="connsiteX25" fmla="*/ 1200946 w 6134473"/>
                <a:gd name="connsiteY25" fmla="*/ 1361313 h 6133623"/>
                <a:gd name="connsiteX26" fmla="*/ 2574475 w 6134473"/>
                <a:gd name="connsiteY26" fmla="*/ 2734628 h 6133623"/>
                <a:gd name="connsiteX27" fmla="*/ 1603853 w 6134473"/>
                <a:gd name="connsiteY27" fmla="*/ 3705249 h 6133623"/>
                <a:gd name="connsiteX28" fmla="*/ 1199231 w 6134473"/>
                <a:gd name="connsiteY28" fmla="*/ 3635383 h 6133623"/>
                <a:gd name="connsiteX29" fmla="*/ 352054 w 6134473"/>
                <a:gd name="connsiteY29" fmla="*/ 3986213 h 6133623"/>
                <a:gd name="connsiteX30" fmla="*/ 100022 w 6134473"/>
                <a:gd name="connsiteY30" fmla="*/ 5310878 h 6133623"/>
                <a:gd name="connsiteX31" fmla="*/ 166888 w 6134473"/>
                <a:gd name="connsiteY31" fmla="*/ 5465183 h 6133623"/>
                <a:gd name="connsiteX32" fmla="*/ 697740 w 6134473"/>
                <a:gd name="connsiteY32" fmla="*/ 4934331 h 6133623"/>
                <a:gd name="connsiteX33" fmla="*/ 1097433 w 6134473"/>
                <a:gd name="connsiteY33" fmla="*/ 4928974 h 6133623"/>
                <a:gd name="connsiteX34" fmla="*/ 1091646 w 6134473"/>
                <a:gd name="connsiteY34" fmla="*/ 5348169 h 6133623"/>
                <a:gd name="connsiteX35" fmla="*/ 570867 w 6134473"/>
                <a:gd name="connsiteY35" fmla="*/ 5868948 h 6133623"/>
                <a:gd name="connsiteX36" fmla="*/ 725601 w 6134473"/>
                <a:gd name="connsiteY36" fmla="*/ 5935599 h 6133623"/>
                <a:gd name="connsiteX37" fmla="*/ 1201589 w 6134473"/>
                <a:gd name="connsiteY37" fmla="*/ 6033754 h 6133623"/>
                <a:gd name="connsiteX38" fmla="*/ 2048552 w 6134473"/>
                <a:gd name="connsiteY38" fmla="*/ 5683139 h 6133623"/>
                <a:gd name="connsiteX39" fmla="*/ 2330158 w 6134473"/>
                <a:gd name="connsiteY39" fmla="*/ 4433054 h 6133623"/>
                <a:gd name="connsiteX40" fmla="*/ 3301423 w 6134473"/>
                <a:gd name="connsiteY40" fmla="*/ 3461790 h 6133623"/>
                <a:gd name="connsiteX41" fmla="*/ 4109595 w 6134473"/>
                <a:gd name="connsiteY41" fmla="*/ 4269534 h 6133623"/>
                <a:gd name="connsiteX42" fmla="*/ 3624606 w 6134473"/>
                <a:gd name="connsiteY42" fmla="*/ 4754523 h 6133623"/>
                <a:gd name="connsiteX43" fmla="*/ 3786198 w 6134473"/>
                <a:gd name="connsiteY43" fmla="*/ 4916115 h 6133623"/>
                <a:gd name="connsiteX44" fmla="*/ 3947789 w 6134473"/>
                <a:gd name="connsiteY44" fmla="*/ 4754523 h 6133623"/>
                <a:gd name="connsiteX45" fmla="*/ 5159512 w 6134473"/>
                <a:gd name="connsiteY45" fmla="*/ 5966246 h 6133623"/>
                <a:gd name="connsiteX46" fmla="*/ 5563491 w 6134473"/>
                <a:gd name="connsiteY46" fmla="*/ 6133624 h 6133623"/>
                <a:gd name="connsiteX47" fmla="*/ 5967470 w 6134473"/>
                <a:gd name="connsiteY47" fmla="*/ 5966246 h 6133623"/>
                <a:gd name="connsiteX48" fmla="*/ 5967470 w 6134473"/>
                <a:gd name="connsiteY48" fmla="*/ 5158502 h 6133623"/>
                <a:gd name="connsiteX49" fmla="*/ 474212 w 6134473"/>
                <a:gd name="connsiteY49" fmla="*/ 634365 h 6133623"/>
                <a:gd name="connsiteX50" fmla="*/ 635804 w 6134473"/>
                <a:gd name="connsiteY50" fmla="*/ 472988 h 6133623"/>
                <a:gd name="connsiteX51" fmla="*/ 1201160 w 6134473"/>
                <a:gd name="connsiteY51" fmla="*/ 1038344 h 6133623"/>
                <a:gd name="connsiteX52" fmla="*/ 1039569 w 6134473"/>
                <a:gd name="connsiteY52" fmla="*/ 1199936 h 6133623"/>
                <a:gd name="connsiteX53" fmla="*/ 473998 w 6134473"/>
                <a:gd name="connsiteY53" fmla="*/ 634365 h 6133623"/>
                <a:gd name="connsiteX54" fmla="*/ 2092057 w 6134473"/>
                <a:gd name="connsiteY54" fmla="*/ 4450842 h 6133623"/>
                <a:gd name="connsiteX55" fmla="*/ 1887389 w 6134473"/>
                <a:gd name="connsiteY55" fmla="*/ 5522190 h 6133623"/>
                <a:gd name="connsiteX56" fmla="*/ 1202017 w 6134473"/>
                <a:gd name="connsiteY56" fmla="*/ 5805940 h 6133623"/>
                <a:gd name="connsiteX57" fmla="*/ 983204 w 6134473"/>
                <a:gd name="connsiteY57" fmla="*/ 5781080 h 6133623"/>
                <a:gd name="connsiteX58" fmla="*/ 1319461 w 6134473"/>
                <a:gd name="connsiteY58" fmla="*/ 5444824 h 6133623"/>
                <a:gd name="connsiteX59" fmla="*/ 1329533 w 6134473"/>
                <a:gd name="connsiteY59" fmla="*/ 4697944 h 6133623"/>
                <a:gd name="connsiteX60" fmla="*/ 602157 w 6134473"/>
                <a:gd name="connsiteY60" fmla="*/ 4707803 h 6133623"/>
                <a:gd name="connsiteX61" fmla="*/ 255185 w 6134473"/>
                <a:gd name="connsiteY61" fmla="*/ 5054775 h 6133623"/>
                <a:gd name="connsiteX62" fmla="*/ 514074 w 6134473"/>
                <a:gd name="connsiteY62" fmla="*/ 4148447 h 6133623"/>
                <a:gd name="connsiteX63" fmla="*/ 1199660 w 6134473"/>
                <a:gd name="connsiteY63" fmla="*/ 3864483 h 6133623"/>
                <a:gd name="connsiteX64" fmla="*/ 1586708 w 6134473"/>
                <a:gd name="connsiteY64" fmla="*/ 3944422 h 6133623"/>
                <a:gd name="connsiteX65" fmla="*/ 1658074 w 6134473"/>
                <a:gd name="connsiteY65" fmla="*/ 3975283 h 6133623"/>
                <a:gd name="connsiteX66" fmla="*/ 3976722 w 6134473"/>
                <a:gd name="connsiteY66" fmla="*/ 1656636 h 6133623"/>
                <a:gd name="connsiteX67" fmla="*/ 3945860 w 6134473"/>
                <a:gd name="connsiteY67" fmla="*/ 1585270 h 6133623"/>
                <a:gd name="connsiteX68" fmla="*/ 4149886 w 6134473"/>
                <a:gd name="connsiteY68" fmla="*/ 512850 h 6133623"/>
                <a:gd name="connsiteX69" fmla="*/ 4835257 w 6134473"/>
                <a:gd name="connsiteY69" fmla="*/ 228886 h 6133623"/>
                <a:gd name="connsiteX70" fmla="*/ 5055999 w 6134473"/>
                <a:gd name="connsiteY70" fmla="*/ 253960 h 6133623"/>
                <a:gd name="connsiteX71" fmla="*/ 4709242 w 6134473"/>
                <a:gd name="connsiteY71" fmla="*/ 600718 h 6133623"/>
                <a:gd name="connsiteX72" fmla="*/ 4699169 w 6134473"/>
                <a:gd name="connsiteY72" fmla="*/ 1328095 h 6133623"/>
                <a:gd name="connsiteX73" fmla="*/ 5446048 w 6134473"/>
                <a:gd name="connsiteY73" fmla="*/ 1318022 h 6133623"/>
                <a:gd name="connsiteX74" fmla="*/ 5782518 w 6134473"/>
                <a:gd name="connsiteY74" fmla="*/ 981551 h 6133623"/>
                <a:gd name="connsiteX75" fmla="*/ 5523415 w 6134473"/>
                <a:gd name="connsiteY75" fmla="*/ 1886164 h 6133623"/>
                <a:gd name="connsiteX76" fmla="*/ 4837615 w 6134473"/>
                <a:gd name="connsiteY76" fmla="*/ 2170129 h 6133623"/>
                <a:gd name="connsiteX77" fmla="*/ 4451638 w 6134473"/>
                <a:gd name="connsiteY77" fmla="*/ 2090618 h 6133623"/>
                <a:gd name="connsiteX78" fmla="*/ 4380486 w 6134473"/>
                <a:gd name="connsiteY78" fmla="*/ 2059972 h 6133623"/>
                <a:gd name="connsiteX79" fmla="*/ 2061411 w 6134473"/>
                <a:gd name="connsiteY79" fmla="*/ 4379476 h 6133623"/>
                <a:gd name="connsiteX80" fmla="*/ 2092057 w 6134473"/>
                <a:gd name="connsiteY80" fmla="*/ 4450628 h 6133623"/>
                <a:gd name="connsiteX81" fmla="*/ 5806307 w 6134473"/>
                <a:gd name="connsiteY81" fmla="*/ 5805083 h 6133623"/>
                <a:gd name="connsiteX82" fmla="*/ 5563920 w 6134473"/>
                <a:gd name="connsiteY82" fmla="*/ 5905595 h 6133623"/>
                <a:gd name="connsiteX83" fmla="*/ 5321532 w 6134473"/>
                <a:gd name="connsiteY83" fmla="*/ 5805083 h 6133623"/>
                <a:gd name="connsiteX84" fmla="*/ 4109810 w 6134473"/>
                <a:gd name="connsiteY84" fmla="*/ 4593360 h 6133623"/>
                <a:gd name="connsiteX85" fmla="*/ 4594584 w 6134473"/>
                <a:gd name="connsiteY85" fmla="*/ 4108585 h 6133623"/>
                <a:gd name="connsiteX86" fmla="*/ 5806522 w 6134473"/>
                <a:gd name="connsiteY86" fmla="*/ 5320522 h 6133623"/>
                <a:gd name="connsiteX87" fmla="*/ 5806736 w 6134473"/>
                <a:gd name="connsiteY87" fmla="*/ 5805083 h 613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134473" h="6133623">
                  <a:moveTo>
                    <a:pt x="5967685" y="5158931"/>
                  </a:moveTo>
                  <a:lnTo>
                    <a:pt x="4755748" y="3946993"/>
                  </a:lnTo>
                  <a:lnTo>
                    <a:pt x="4917339" y="3785402"/>
                  </a:lnTo>
                  <a:lnTo>
                    <a:pt x="4755748" y="3623810"/>
                  </a:lnTo>
                  <a:lnTo>
                    <a:pt x="4271187" y="4108371"/>
                  </a:lnTo>
                  <a:lnTo>
                    <a:pt x="3463014" y="3300412"/>
                  </a:lnTo>
                  <a:lnTo>
                    <a:pt x="4433850" y="2329148"/>
                  </a:lnTo>
                  <a:cubicBezTo>
                    <a:pt x="4563081" y="2375226"/>
                    <a:pt x="4698312" y="2398586"/>
                    <a:pt x="4837186" y="2398586"/>
                  </a:cubicBezTo>
                  <a:cubicBezTo>
                    <a:pt x="5157155" y="2398586"/>
                    <a:pt x="5458049" y="2273856"/>
                    <a:pt x="5684578" y="2047756"/>
                  </a:cubicBezTo>
                  <a:cubicBezTo>
                    <a:pt x="6033907" y="1698212"/>
                    <a:pt x="6132919" y="1178933"/>
                    <a:pt x="5937038" y="724591"/>
                  </a:cubicBezTo>
                  <a:lnTo>
                    <a:pt x="5870387" y="569857"/>
                  </a:lnTo>
                  <a:lnTo>
                    <a:pt x="5349608" y="1090636"/>
                  </a:lnTo>
                  <a:lnTo>
                    <a:pt x="4930412" y="1096423"/>
                  </a:lnTo>
                  <a:lnTo>
                    <a:pt x="4935984" y="696516"/>
                  </a:lnTo>
                  <a:lnTo>
                    <a:pt x="5466836" y="165664"/>
                  </a:lnTo>
                  <a:lnTo>
                    <a:pt x="5312531" y="98798"/>
                  </a:lnTo>
                  <a:cubicBezTo>
                    <a:pt x="5161227" y="33218"/>
                    <a:pt x="5000278" y="0"/>
                    <a:pt x="4834829" y="0"/>
                  </a:cubicBezTo>
                  <a:cubicBezTo>
                    <a:pt x="4514646" y="0"/>
                    <a:pt x="4213966" y="124730"/>
                    <a:pt x="3987866" y="350830"/>
                  </a:cubicBezTo>
                  <a:cubicBezTo>
                    <a:pt x="3656538" y="681942"/>
                    <a:pt x="3550025" y="1165646"/>
                    <a:pt x="3706902" y="1602415"/>
                  </a:cubicBezTo>
                  <a:lnTo>
                    <a:pt x="2736281" y="2573036"/>
                  </a:lnTo>
                  <a:lnTo>
                    <a:pt x="1362752" y="1199721"/>
                  </a:lnTo>
                  <a:lnTo>
                    <a:pt x="1524343" y="1038130"/>
                  </a:lnTo>
                  <a:lnTo>
                    <a:pt x="636018" y="149590"/>
                  </a:lnTo>
                  <a:lnTo>
                    <a:pt x="150815" y="634151"/>
                  </a:lnTo>
                  <a:lnTo>
                    <a:pt x="1039569" y="1522905"/>
                  </a:lnTo>
                  <a:lnTo>
                    <a:pt x="1200946" y="1361313"/>
                  </a:lnTo>
                  <a:lnTo>
                    <a:pt x="2574475" y="2734628"/>
                  </a:lnTo>
                  <a:lnTo>
                    <a:pt x="1603853" y="3705249"/>
                  </a:lnTo>
                  <a:cubicBezTo>
                    <a:pt x="1474194" y="3658743"/>
                    <a:pt x="1338320" y="3635383"/>
                    <a:pt x="1199231" y="3635383"/>
                  </a:cubicBezTo>
                  <a:cubicBezTo>
                    <a:pt x="879263" y="3635383"/>
                    <a:pt x="578368" y="3760113"/>
                    <a:pt x="352054" y="3986213"/>
                  </a:cubicBezTo>
                  <a:cubicBezTo>
                    <a:pt x="2082" y="4335971"/>
                    <a:pt x="-96931" y="4856107"/>
                    <a:pt x="100022" y="5310878"/>
                  </a:cubicBezTo>
                  <a:lnTo>
                    <a:pt x="166888" y="5465183"/>
                  </a:lnTo>
                  <a:lnTo>
                    <a:pt x="697740" y="4934331"/>
                  </a:lnTo>
                  <a:lnTo>
                    <a:pt x="1097433" y="4928974"/>
                  </a:lnTo>
                  <a:lnTo>
                    <a:pt x="1091646" y="5348169"/>
                  </a:lnTo>
                  <a:lnTo>
                    <a:pt x="570867" y="5868948"/>
                  </a:lnTo>
                  <a:lnTo>
                    <a:pt x="725601" y="5935599"/>
                  </a:lnTo>
                  <a:cubicBezTo>
                    <a:pt x="876477" y="6000536"/>
                    <a:pt x="1036782" y="6033754"/>
                    <a:pt x="1201589" y="6033754"/>
                  </a:cubicBezTo>
                  <a:cubicBezTo>
                    <a:pt x="1521772" y="6033754"/>
                    <a:pt x="1822452" y="5909239"/>
                    <a:pt x="2048552" y="5683139"/>
                  </a:cubicBezTo>
                  <a:cubicBezTo>
                    <a:pt x="2379450" y="5352241"/>
                    <a:pt x="2485964" y="4868966"/>
                    <a:pt x="2330158" y="4433054"/>
                  </a:cubicBezTo>
                  <a:lnTo>
                    <a:pt x="3301423" y="3461790"/>
                  </a:lnTo>
                  <a:lnTo>
                    <a:pt x="4109595" y="4269534"/>
                  </a:lnTo>
                  <a:lnTo>
                    <a:pt x="3624606" y="4754523"/>
                  </a:lnTo>
                  <a:lnTo>
                    <a:pt x="3786198" y="4916115"/>
                  </a:lnTo>
                  <a:lnTo>
                    <a:pt x="3947789" y="4754523"/>
                  </a:lnTo>
                  <a:lnTo>
                    <a:pt x="5159512" y="5966246"/>
                  </a:lnTo>
                  <a:cubicBezTo>
                    <a:pt x="5267311" y="6074259"/>
                    <a:pt x="5411115" y="6133624"/>
                    <a:pt x="5563491" y="6133624"/>
                  </a:cubicBezTo>
                  <a:cubicBezTo>
                    <a:pt x="5715868" y="6133624"/>
                    <a:pt x="5859457" y="6074259"/>
                    <a:pt x="5967470" y="5966246"/>
                  </a:cubicBezTo>
                  <a:cubicBezTo>
                    <a:pt x="6190141" y="5743575"/>
                    <a:pt x="6190141" y="5381173"/>
                    <a:pt x="5967470" y="5158502"/>
                  </a:cubicBezTo>
                  <a:close/>
                  <a:moveTo>
                    <a:pt x="474212" y="634365"/>
                  </a:moveTo>
                  <a:lnTo>
                    <a:pt x="635804" y="472988"/>
                  </a:lnTo>
                  <a:lnTo>
                    <a:pt x="1201160" y="1038344"/>
                  </a:lnTo>
                  <a:lnTo>
                    <a:pt x="1039569" y="1199936"/>
                  </a:lnTo>
                  <a:lnTo>
                    <a:pt x="473998" y="634365"/>
                  </a:lnTo>
                  <a:close/>
                  <a:moveTo>
                    <a:pt x="2092057" y="4450842"/>
                  </a:moveTo>
                  <a:cubicBezTo>
                    <a:pt x="2250434" y="4818603"/>
                    <a:pt x="2170067" y="5239298"/>
                    <a:pt x="1887389" y="5522190"/>
                  </a:cubicBezTo>
                  <a:cubicBezTo>
                    <a:pt x="1704366" y="5705213"/>
                    <a:pt x="1461121" y="5805940"/>
                    <a:pt x="1202017" y="5805940"/>
                  </a:cubicBezTo>
                  <a:cubicBezTo>
                    <a:pt x="1127651" y="5805940"/>
                    <a:pt x="1054356" y="5797582"/>
                    <a:pt x="983204" y="5781080"/>
                  </a:cubicBezTo>
                  <a:lnTo>
                    <a:pt x="1319461" y="5444824"/>
                  </a:lnTo>
                  <a:lnTo>
                    <a:pt x="1329533" y="4697944"/>
                  </a:lnTo>
                  <a:lnTo>
                    <a:pt x="602157" y="4707803"/>
                  </a:lnTo>
                  <a:lnTo>
                    <a:pt x="255185" y="5054775"/>
                  </a:lnTo>
                  <a:cubicBezTo>
                    <a:pt x="178889" y="4731163"/>
                    <a:pt x="272544" y="4389763"/>
                    <a:pt x="514074" y="4148447"/>
                  </a:cubicBezTo>
                  <a:cubicBezTo>
                    <a:pt x="697097" y="3965424"/>
                    <a:pt x="940556" y="3864483"/>
                    <a:pt x="1199660" y="3864483"/>
                  </a:cubicBezTo>
                  <a:cubicBezTo>
                    <a:pt x="1333820" y="3864483"/>
                    <a:pt x="1463907" y="3891272"/>
                    <a:pt x="1586708" y="3944422"/>
                  </a:cubicBezTo>
                  <a:lnTo>
                    <a:pt x="1658074" y="3975283"/>
                  </a:lnTo>
                  <a:lnTo>
                    <a:pt x="3976722" y="1656636"/>
                  </a:lnTo>
                  <a:lnTo>
                    <a:pt x="3945860" y="1585270"/>
                  </a:lnTo>
                  <a:cubicBezTo>
                    <a:pt x="3786412" y="1216866"/>
                    <a:pt x="3866565" y="796171"/>
                    <a:pt x="4149886" y="512850"/>
                  </a:cubicBezTo>
                  <a:cubicBezTo>
                    <a:pt x="4332909" y="329827"/>
                    <a:pt x="4576368" y="228886"/>
                    <a:pt x="4835257" y="228886"/>
                  </a:cubicBezTo>
                  <a:cubicBezTo>
                    <a:pt x="4910267" y="228886"/>
                    <a:pt x="4984205" y="237458"/>
                    <a:pt x="5055999" y="253960"/>
                  </a:cubicBezTo>
                  <a:lnTo>
                    <a:pt x="4709242" y="600718"/>
                  </a:lnTo>
                  <a:lnTo>
                    <a:pt x="4699169" y="1328095"/>
                  </a:lnTo>
                  <a:lnTo>
                    <a:pt x="5446048" y="1318022"/>
                  </a:lnTo>
                  <a:lnTo>
                    <a:pt x="5782518" y="981551"/>
                  </a:lnTo>
                  <a:cubicBezTo>
                    <a:pt x="5857957" y="1304520"/>
                    <a:pt x="5764088" y="1645277"/>
                    <a:pt x="5523415" y="1886164"/>
                  </a:cubicBezTo>
                  <a:cubicBezTo>
                    <a:pt x="5340178" y="2069187"/>
                    <a:pt x="5096719" y="2170129"/>
                    <a:pt x="4837615" y="2170129"/>
                  </a:cubicBezTo>
                  <a:cubicBezTo>
                    <a:pt x="4703884" y="2170129"/>
                    <a:pt x="4574010" y="2143339"/>
                    <a:pt x="4451638" y="2090618"/>
                  </a:cubicBezTo>
                  <a:lnTo>
                    <a:pt x="4380486" y="2059972"/>
                  </a:lnTo>
                  <a:lnTo>
                    <a:pt x="2061411" y="4379476"/>
                  </a:lnTo>
                  <a:lnTo>
                    <a:pt x="2092057" y="4450628"/>
                  </a:lnTo>
                  <a:close/>
                  <a:moveTo>
                    <a:pt x="5806307" y="5805083"/>
                  </a:moveTo>
                  <a:cubicBezTo>
                    <a:pt x="5741585" y="5869805"/>
                    <a:pt x="5655431" y="5905595"/>
                    <a:pt x="5563920" y="5905595"/>
                  </a:cubicBezTo>
                  <a:cubicBezTo>
                    <a:pt x="5472409" y="5905595"/>
                    <a:pt x="5386255" y="5869805"/>
                    <a:pt x="5321532" y="5805083"/>
                  </a:cubicBezTo>
                  <a:lnTo>
                    <a:pt x="4109810" y="4593360"/>
                  </a:lnTo>
                  <a:lnTo>
                    <a:pt x="4594584" y="4108585"/>
                  </a:lnTo>
                  <a:lnTo>
                    <a:pt x="5806522" y="5320522"/>
                  </a:lnTo>
                  <a:cubicBezTo>
                    <a:pt x="5940252" y="5454253"/>
                    <a:pt x="5940252" y="5671566"/>
                    <a:pt x="5806736" y="5805083"/>
                  </a:cubicBez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orma libre: forma 52">
              <a:extLst>
                <a:ext uri="{FF2B5EF4-FFF2-40B4-BE49-F238E27FC236}">
                  <a16:creationId xmlns:a16="http://schemas.microsoft.com/office/drawing/2014/main" id="{761FF9AD-7052-BCAF-904A-A53B974F2B42}"/>
                </a:ext>
              </a:extLst>
            </p:cNvPr>
            <p:cNvSpPr/>
            <p:nvPr/>
          </p:nvSpPr>
          <p:spPr>
            <a:xfrm>
              <a:off x="8166721" y="778815"/>
              <a:ext cx="553520" cy="553520"/>
            </a:xfrm>
            <a:custGeom>
              <a:avLst/>
              <a:gdLst>
                <a:gd name="connsiteX0" fmla="*/ 32004 w 292608"/>
                <a:gd name="connsiteY0" fmla="*/ 292608 h 292608"/>
                <a:gd name="connsiteX1" fmla="*/ 0 w 292608"/>
                <a:gd name="connsiteY1" fmla="*/ 260604 h 292608"/>
                <a:gd name="connsiteX2" fmla="*/ 32004 w 292608"/>
                <a:gd name="connsiteY2" fmla="*/ 228600 h 292608"/>
                <a:gd name="connsiteX3" fmla="*/ 64008 w 292608"/>
                <a:gd name="connsiteY3" fmla="*/ 260604 h 292608"/>
                <a:gd name="connsiteX4" fmla="*/ 32004 w 292608"/>
                <a:gd name="connsiteY4" fmla="*/ 292608 h 292608"/>
                <a:gd name="connsiteX5" fmla="*/ 32004 w 292608"/>
                <a:gd name="connsiteY5" fmla="*/ 235458 h 292608"/>
                <a:gd name="connsiteX6" fmla="*/ 6858 w 292608"/>
                <a:gd name="connsiteY6" fmla="*/ 260604 h 292608"/>
                <a:gd name="connsiteX7" fmla="*/ 32004 w 292608"/>
                <a:gd name="connsiteY7" fmla="*/ 285750 h 292608"/>
                <a:gd name="connsiteX8" fmla="*/ 57150 w 292608"/>
                <a:gd name="connsiteY8" fmla="*/ 260604 h 292608"/>
                <a:gd name="connsiteX9" fmla="*/ 32004 w 292608"/>
                <a:gd name="connsiteY9" fmla="*/ 235458 h 292608"/>
                <a:gd name="connsiteX10" fmla="*/ 260604 w 292608"/>
                <a:gd name="connsiteY10" fmla="*/ 281930 h 292608"/>
                <a:gd name="connsiteX11" fmla="*/ 203454 w 292608"/>
                <a:gd name="connsiteY11" fmla="*/ 281930 h 292608"/>
                <a:gd name="connsiteX12" fmla="*/ 180975 w 292608"/>
                <a:gd name="connsiteY12" fmla="*/ 259451 h 292608"/>
                <a:gd name="connsiteX13" fmla="*/ 203454 w 292608"/>
                <a:gd name="connsiteY13" fmla="*/ 236972 h 292608"/>
                <a:gd name="connsiteX14" fmla="*/ 260604 w 292608"/>
                <a:gd name="connsiteY14" fmla="*/ 236972 h 292608"/>
                <a:gd name="connsiteX15" fmla="*/ 283083 w 292608"/>
                <a:gd name="connsiteY15" fmla="*/ 259451 h 292608"/>
                <a:gd name="connsiteX16" fmla="*/ 260604 w 292608"/>
                <a:gd name="connsiteY16" fmla="*/ 281930 h 292608"/>
                <a:gd name="connsiteX17" fmla="*/ 235458 w 292608"/>
                <a:gd name="connsiteY17" fmla="*/ 275072 h 292608"/>
                <a:gd name="connsiteX18" fmla="*/ 260604 w 292608"/>
                <a:gd name="connsiteY18" fmla="*/ 275072 h 292608"/>
                <a:gd name="connsiteX19" fmla="*/ 276225 w 292608"/>
                <a:gd name="connsiteY19" fmla="*/ 259451 h 292608"/>
                <a:gd name="connsiteX20" fmla="*/ 260604 w 292608"/>
                <a:gd name="connsiteY20" fmla="*/ 243830 h 292608"/>
                <a:gd name="connsiteX21" fmla="*/ 235458 w 292608"/>
                <a:gd name="connsiteY21" fmla="*/ 243830 h 292608"/>
                <a:gd name="connsiteX22" fmla="*/ 235458 w 292608"/>
                <a:gd name="connsiteY22" fmla="*/ 275072 h 292608"/>
                <a:gd name="connsiteX23" fmla="*/ 203454 w 292608"/>
                <a:gd name="connsiteY23" fmla="*/ 243830 h 292608"/>
                <a:gd name="connsiteX24" fmla="*/ 187833 w 292608"/>
                <a:gd name="connsiteY24" fmla="*/ 259451 h 292608"/>
                <a:gd name="connsiteX25" fmla="*/ 203454 w 292608"/>
                <a:gd name="connsiteY25" fmla="*/ 275072 h 292608"/>
                <a:gd name="connsiteX26" fmla="*/ 228600 w 292608"/>
                <a:gd name="connsiteY26" fmla="*/ 275072 h 292608"/>
                <a:gd name="connsiteX27" fmla="*/ 228600 w 292608"/>
                <a:gd name="connsiteY27" fmla="*/ 243840 h 292608"/>
                <a:gd name="connsiteX28" fmla="*/ 203454 w 292608"/>
                <a:gd name="connsiteY28" fmla="*/ 243830 h 292608"/>
                <a:gd name="connsiteX29" fmla="*/ 203454 w 292608"/>
                <a:gd name="connsiteY29" fmla="*/ 243830 h 292608"/>
                <a:gd name="connsiteX30" fmla="*/ 115414 w 292608"/>
                <a:gd name="connsiteY30" fmla="*/ 264033 h 292608"/>
                <a:gd name="connsiteX31" fmla="*/ 99517 w 292608"/>
                <a:gd name="connsiteY31" fmla="*/ 257451 h 292608"/>
                <a:gd name="connsiteX32" fmla="*/ 99517 w 292608"/>
                <a:gd name="connsiteY32" fmla="*/ 225657 h 292608"/>
                <a:gd name="connsiteX33" fmla="*/ 139932 w 292608"/>
                <a:gd name="connsiteY33" fmla="*/ 185242 h 292608"/>
                <a:gd name="connsiteX34" fmla="*/ 171717 w 292608"/>
                <a:gd name="connsiteY34" fmla="*/ 185242 h 292608"/>
                <a:gd name="connsiteX35" fmla="*/ 171717 w 292608"/>
                <a:gd name="connsiteY35" fmla="*/ 217046 h 292608"/>
                <a:gd name="connsiteX36" fmla="*/ 131302 w 292608"/>
                <a:gd name="connsiteY36" fmla="*/ 257451 h 292608"/>
                <a:gd name="connsiteX37" fmla="*/ 115414 w 292608"/>
                <a:gd name="connsiteY37" fmla="*/ 264033 h 292608"/>
                <a:gd name="connsiteX38" fmla="*/ 155829 w 292608"/>
                <a:gd name="connsiteY38" fmla="*/ 185528 h 292608"/>
                <a:gd name="connsiteX39" fmla="*/ 144780 w 292608"/>
                <a:gd name="connsiteY39" fmla="*/ 190090 h 292608"/>
                <a:gd name="connsiteX40" fmla="*/ 104365 w 292608"/>
                <a:gd name="connsiteY40" fmla="*/ 230505 h 292608"/>
                <a:gd name="connsiteX41" fmla="*/ 99793 w 292608"/>
                <a:gd name="connsiteY41" fmla="*/ 241544 h 292608"/>
                <a:gd name="connsiteX42" fmla="*/ 104365 w 292608"/>
                <a:gd name="connsiteY42" fmla="*/ 252584 h 292608"/>
                <a:gd name="connsiteX43" fmla="*/ 126454 w 292608"/>
                <a:gd name="connsiteY43" fmla="*/ 252584 h 292608"/>
                <a:gd name="connsiteX44" fmla="*/ 166859 w 292608"/>
                <a:gd name="connsiteY44" fmla="*/ 212179 h 292608"/>
                <a:gd name="connsiteX45" fmla="*/ 166859 w 292608"/>
                <a:gd name="connsiteY45" fmla="*/ 190090 h 292608"/>
                <a:gd name="connsiteX46" fmla="*/ 155829 w 292608"/>
                <a:gd name="connsiteY46" fmla="*/ 185528 h 292608"/>
                <a:gd name="connsiteX47" fmla="*/ 101946 w 292608"/>
                <a:gd name="connsiteY47" fmla="*/ 228086 h 292608"/>
                <a:gd name="connsiteX48" fmla="*/ 102032 w 292608"/>
                <a:gd name="connsiteY48" fmla="*/ 228086 h 292608"/>
                <a:gd name="connsiteX49" fmla="*/ 101946 w 292608"/>
                <a:gd name="connsiteY49" fmla="*/ 228086 h 292608"/>
                <a:gd name="connsiteX50" fmla="*/ 51054 w 292608"/>
                <a:gd name="connsiteY50" fmla="*/ 197358 h 292608"/>
                <a:gd name="connsiteX51" fmla="*/ 14954 w 292608"/>
                <a:gd name="connsiteY51" fmla="*/ 182404 h 292608"/>
                <a:gd name="connsiteX52" fmla="*/ 14954 w 292608"/>
                <a:gd name="connsiteY52" fmla="*/ 182404 h 292608"/>
                <a:gd name="connsiteX53" fmla="*/ 0 w 292608"/>
                <a:gd name="connsiteY53" fmla="*/ 146304 h 292608"/>
                <a:gd name="connsiteX54" fmla="*/ 14954 w 292608"/>
                <a:gd name="connsiteY54" fmla="*/ 110204 h 292608"/>
                <a:gd name="connsiteX55" fmla="*/ 87154 w 292608"/>
                <a:gd name="connsiteY55" fmla="*/ 110204 h 292608"/>
                <a:gd name="connsiteX56" fmla="*/ 102108 w 292608"/>
                <a:gd name="connsiteY56" fmla="*/ 146304 h 292608"/>
                <a:gd name="connsiteX57" fmla="*/ 87154 w 292608"/>
                <a:gd name="connsiteY57" fmla="*/ 182404 h 292608"/>
                <a:gd name="connsiteX58" fmla="*/ 51054 w 292608"/>
                <a:gd name="connsiteY58" fmla="*/ 197358 h 292608"/>
                <a:gd name="connsiteX59" fmla="*/ 6991 w 292608"/>
                <a:gd name="connsiteY59" fmla="*/ 149733 h 292608"/>
                <a:gd name="connsiteX60" fmla="*/ 19802 w 292608"/>
                <a:gd name="connsiteY60" fmla="*/ 177546 h 292608"/>
                <a:gd name="connsiteX61" fmla="*/ 19802 w 292608"/>
                <a:gd name="connsiteY61" fmla="*/ 177546 h 292608"/>
                <a:gd name="connsiteX62" fmla="*/ 51054 w 292608"/>
                <a:gd name="connsiteY62" fmla="*/ 190500 h 292608"/>
                <a:gd name="connsiteX63" fmla="*/ 82306 w 292608"/>
                <a:gd name="connsiteY63" fmla="*/ 177556 h 292608"/>
                <a:gd name="connsiteX64" fmla="*/ 95117 w 292608"/>
                <a:gd name="connsiteY64" fmla="*/ 149743 h 292608"/>
                <a:gd name="connsiteX65" fmla="*/ 6991 w 292608"/>
                <a:gd name="connsiteY65" fmla="*/ 149733 h 292608"/>
                <a:gd name="connsiteX66" fmla="*/ 6991 w 292608"/>
                <a:gd name="connsiteY66" fmla="*/ 149733 h 292608"/>
                <a:gd name="connsiteX67" fmla="*/ 6991 w 292608"/>
                <a:gd name="connsiteY67" fmla="*/ 142875 h 292608"/>
                <a:gd name="connsiteX68" fmla="*/ 95126 w 292608"/>
                <a:gd name="connsiteY68" fmla="*/ 142875 h 292608"/>
                <a:gd name="connsiteX69" fmla="*/ 82315 w 292608"/>
                <a:gd name="connsiteY69" fmla="*/ 115052 h 292608"/>
                <a:gd name="connsiteX70" fmla="*/ 51054 w 292608"/>
                <a:gd name="connsiteY70" fmla="*/ 102108 h 292608"/>
                <a:gd name="connsiteX71" fmla="*/ 19802 w 292608"/>
                <a:gd name="connsiteY71" fmla="*/ 115052 h 292608"/>
                <a:gd name="connsiteX72" fmla="*/ 6991 w 292608"/>
                <a:gd name="connsiteY72" fmla="*/ 142875 h 292608"/>
                <a:gd name="connsiteX73" fmla="*/ 241554 w 292608"/>
                <a:gd name="connsiteY73" fmla="*/ 196406 h 292608"/>
                <a:gd name="connsiteX74" fmla="*/ 205454 w 292608"/>
                <a:gd name="connsiteY74" fmla="*/ 181451 h 292608"/>
                <a:gd name="connsiteX75" fmla="*/ 158420 w 292608"/>
                <a:gd name="connsiteY75" fmla="*/ 134417 h 292608"/>
                <a:gd name="connsiteX76" fmla="*/ 158306 w 292608"/>
                <a:gd name="connsiteY76" fmla="*/ 134312 h 292608"/>
                <a:gd name="connsiteX77" fmla="*/ 158201 w 292608"/>
                <a:gd name="connsiteY77" fmla="*/ 134207 h 292608"/>
                <a:gd name="connsiteX78" fmla="*/ 111166 w 292608"/>
                <a:gd name="connsiteY78" fmla="*/ 87154 h 292608"/>
                <a:gd name="connsiteX79" fmla="*/ 111166 w 292608"/>
                <a:gd name="connsiteY79" fmla="*/ 14954 h 292608"/>
                <a:gd name="connsiteX80" fmla="*/ 147266 w 292608"/>
                <a:gd name="connsiteY80" fmla="*/ 0 h 292608"/>
                <a:gd name="connsiteX81" fmla="*/ 183366 w 292608"/>
                <a:gd name="connsiteY81" fmla="*/ 14954 h 292608"/>
                <a:gd name="connsiteX82" fmla="*/ 230400 w 292608"/>
                <a:gd name="connsiteY82" fmla="*/ 61989 h 292608"/>
                <a:gd name="connsiteX83" fmla="*/ 230515 w 292608"/>
                <a:gd name="connsiteY83" fmla="*/ 62093 h 292608"/>
                <a:gd name="connsiteX84" fmla="*/ 230619 w 292608"/>
                <a:gd name="connsiteY84" fmla="*/ 62198 h 292608"/>
                <a:gd name="connsiteX85" fmla="*/ 277654 w 292608"/>
                <a:gd name="connsiteY85" fmla="*/ 109233 h 292608"/>
                <a:gd name="connsiteX86" fmla="*/ 292608 w 292608"/>
                <a:gd name="connsiteY86" fmla="*/ 145332 h 292608"/>
                <a:gd name="connsiteX87" fmla="*/ 277654 w 292608"/>
                <a:gd name="connsiteY87" fmla="*/ 181432 h 292608"/>
                <a:gd name="connsiteX88" fmla="*/ 241554 w 292608"/>
                <a:gd name="connsiteY88" fmla="*/ 196406 h 292608"/>
                <a:gd name="connsiteX89" fmla="*/ 165583 w 292608"/>
                <a:gd name="connsiteY89" fmla="*/ 131874 h 292608"/>
                <a:gd name="connsiteX90" fmla="*/ 210302 w 292608"/>
                <a:gd name="connsiteY90" fmla="*/ 176594 h 292608"/>
                <a:gd name="connsiteX91" fmla="*/ 241544 w 292608"/>
                <a:gd name="connsiteY91" fmla="*/ 189538 h 292608"/>
                <a:gd name="connsiteX92" fmla="*/ 272786 w 292608"/>
                <a:gd name="connsiteY92" fmla="*/ 176594 h 292608"/>
                <a:gd name="connsiteX93" fmla="*/ 285731 w 292608"/>
                <a:gd name="connsiteY93" fmla="*/ 145352 h 292608"/>
                <a:gd name="connsiteX94" fmla="*/ 272786 w 292608"/>
                <a:gd name="connsiteY94" fmla="*/ 114100 h 292608"/>
                <a:gd name="connsiteX95" fmla="*/ 228076 w 292608"/>
                <a:gd name="connsiteY95" fmla="*/ 69380 h 292608"/>
                <a:gd name="connsiteX96" fmla="*/ 165583 w 292608"/>
                <a:gd name="connsiteY96" fmla="*/ 131874 h 292608"/>
                <a:gd name="connsiteX97" fmla="*/ 147266 w 292608"/>
                <a:gd name="connsiteY97" fmla="*/ 6858 h 292608"/>
                <a:gd name="connsiteX98" fmla="*/ 116015 w 292608"/>
                <a:gd name="connsiteY98" fmla="*/ 19802 h 292608"/>
                <a:gd name="connsiteX99" fmla="*/ 103061 w 292608"/>
                <a:gd name="connsiteY99" fmla="*/ 51054 h 292608"/>
                <a:gd name="connsiteX100" fmla="*/ 116005 w 292608"/>
                <a:gd name="connsiteY100" fmla="*/ 82306 h 292608"/>
                <a:gd name="connsiteX101" fmla="*/ 160725 w 292608"/>
                <a:gd name="connsiteY101" fmla="*/ 127025 h 292608"/>
                <a:gd name="connsiteX102" fmla="*/ 223228 w 292608"/>
                <a:gd name="connsiteY102" fmla="*/ 64522 h 292608"/>
                <a:gd name="connsiteX103" fmla="*/ 178508 w 292608"/>
                <a:gd name="connsiteY103" fmla="*/ 19802 h 292608"/>
                <a:gd name="connsiteX104" fmla="*/ 147266 w 292608"/>
                <a:gd name="connsiteY104" fmla="*/ 6858 h 292608"/>
                <a:gd name="connsiteX105" fmla="*/ 32004 w 292608"/>
                <a:gd name="connsiteY105" fmla="*/ 64008 h 292608"/>
                <a:gd name="connsiteX106" fmla="*/ 0 w 292608"/>
                <a:gd name="connsiteY106" fmla="*/ 32004 h 292608"/>
                <a:gd name="connsiteX107" fmla="*/ 32004 w 292608"/>
                <a:gd name="connsiteY107" fmla="*/ 0 h 292608"/>
                <a:gd name="connsiteX108" fmla="*/ 64008 w 292608"/>
                <a:gd name="connsiteY108" fmla="*/ 32004 h 292608"/>
                <a:gd name="connsiteX109" fmla="*/ 32004 w 292608"/>
                <a:gd name="connsiteY109" fmla="*/ 64008 h 292608"/>
                <a:gd name="connsiteX110" fmla="*/ 32004 w 292608"/>
                <a:gd name="connsiteY110" fmla="*/ 6858 h 292608"/>
                <a:gd name="connsiteX111" fmla="*/ 6858 w 292608"/>
                <a:gd name="connsiteY111" fmla="*/ 32004 h 292608"/>
                <a:gd name="connsiteX112" fmla="*/ 32004 w 292608"/>
                <a:gd name="connsiteY112" fmla="*/ 57150 h 292608"/>
                <a:gd name="connsiteX113" fmla="*/ 57150 w 292608"/>
                <a:gd name="connsiteY113" fmla="*/ 32004 h 292608"/>
                <a:gd name="connsiteX114" fmla="*/ 32004 w 292608"/>
                <a:gd name="connsiteY114" fmla="*/ 6858 h 292608"/>
                <a:gd name="connsiteX115" fmla="*/ 265367 w 292608"/>
                <a:gd name="connsiteY115" fmla="*/ 54483 h 292608"/>
                <a:gd name="connsiteX116" fmla="*/ 238125 w 292608"/>
                <a:gd name="connsiteY116" fmla="*/ 27242 h 292608"/>
                <a:gd name="connsiteX117" fmla="*/ 265367 w 292608"/>
                <a:gd name="connsiteY117" fmla="*/ 0 h 292608"/>
                <a:gd name="connsiteX118" fmla="*/ 292608 w 292608"/>
                <a:gd name="connsiteY118" fmla="*/ 27242 h 292608"/>
                <a:gd name="connsiteX119" fmla="*/ 265367 w 292608"/>
                <a:gd name="connsiteY119" fmla="*/ 54483 h 292608"/>
                <a:gd name="connsiteX120" fmla="*/ 265367 w 292608"/>
                <a:gd name="connsiteY120" fmla="*/ 6858 h 292608"/>
                <a:gd name="connsiteX121" fmla="*/ 244983 w 292608"/>
                <a:gd name="connsiteY121" fmla="*/ 27242 h 292608"/>
                <a:gd name="connsiteX122" fmla="*/ 265367 w 292608"/>
                <a:gd name="connsiteY122" fmla="*/ 47625 h 292608"/>
                <a:gd name="connsiteX123" fmla="*/ 285750 w 292608"/>
                <a:gd name="connsiteY123" fmla="*/ 27242 h 292608"/>
                <a:gd name="connsiteX124" fmla="*/ 265367 w 292608"/>
                <a:gd name="connsiteY124" fmla="*/ 6858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92608" h="292608">
                  <a:moveTo>
                    <a:pt x="32004" y="292608"/>
                  </a:moveTo>
                  <a:cubicBezTo>
                    <a:pt x="14354" y="292608"/>
                    <a:pt x="0" y="278244"/>
                    <a:pt x="0" y="260604"/>
                  </a:cubicBezTo>
                  <a:cubicBezTo>
                    <a:pt x="0" y="242964"/>
                    <a:pt x="14354" y="228600"/>
                    <a:pt x="32004" y="228600"/>
                  </a:cubicBezTo>
                  <a:cubicBezTo>
                    <a:pt x="49654" y="228600"/>
                    <a:pt x="64008" y="242954"/>
                    <a:pt x="64008" y="260604"/>
                  </a:cubicBezTo>
                  <a:cubicBezTo>
                    <a:pt x="64008" y="278254"/>
                    <a:pt x="49654" y="292608"/>
                    <a:pt x="32004" y="292608"/>
                  </a:cubicBezTo>
                  <a:close/>
                  <a:moveTo>
                    <a:pt x="32004" y="235458"/>
                  </a:moveTo>
                  <a:cubicBezTo>
                    <a:pt x="18136" y="235458"/>
                    <a:pt x="6858" y="246736"/>
                    <a:pt x="6858" y="260604"/>
                  </a:cubicBezTo>
                  <a:cubicBezTo>
                    <a:pt x="6858" y="274472"/>
                    <a:pt x="18136" y="285750"/>
                    <a:pt x="32004" y="285750"/>
                  </a:cubicBezTo>
                  <a:cubicBezTo>
                    <a:pt x="45872" y="285750"/>
                    <a:pt x="57150" y="274472"/>
                    <a:pt x="57150" y="260604"/>
                  </a:cubicBezTo>
                  <a:cubicBezTo>
                    <a:pt x="57150" y="246736"/>
                    <a:pt x="45872" y="235458"/>
                    <a:pt x="32004" y="235458"/>
                  </a:cubicBezTo>
                  <a:close/>
                  <a:moveTo>
                    <a:pt x="260604" y="281930"/>
                  </a:moveTo>
                  <a:lnTo>
                    <a:pt x="203454" y="281930"/>
                  </a:lnTo>
                  <a:cubicBezTo>
                    <a:pt x="191052" y="281930"/>
                    <a:pt x="180975" y="271844"/>
                    <a:pt x="180975" y="259451"/>
                  </a:cubicBezTo>
                  <a:cubicBezTo>
                    <a:pt x="180975" y="247059"/>
                    <a:pt x="191062" y="236972"/>
                    <a:pt x="203454" y="236972"/>
                  </a:cubicBezTo>
                  <a:lnTo>
                    <a:pt x="260604" y="236972"/>
                  </a:lnTo>
                  <a:cubicBezTo>
                    <a:pt x="273006" y="236972"/>
                    <a:pt x="283083" y="247059"/>
                    <a:pt x="283083" y="259451"/>
                  </a:cubicBezTo>
                  <a:cubicBezTo>
                    <a:pt x="283083" y="271844"/>
                    <a:pt x="273006" y="281930"/>
                    <a:pt x="260604" y="281930"/>
                  </a:cubicBezTo>
                  <a:close/>
                  <a:moveTo>
                    <a:pt x="235458" y="275072"/>
                  </a:moveTo>
                  <a:lnTo>
                    <a:pt x="260604" y="275072"/>
                  </a:lnTo>
                  <a:cubicBezTo>
                    <a:pt x="269215" y="275072"/>
                    <a:pt x="276225" y="268072"/>
                    <a:pt x="276225" y="259451"/>
                  </a:cubicBezTo>
                  <a:cubicBezTo>
                    <a:pt x="276225" y="250831"/>
                    <a:pt x="269224" y="243830"/>
                    <a:pt x="260604" y="243830"/>
                  </a:cubicBezTo>
                  <a:lnTo>
                    <a:pt x="235458" y="243830"/>
                  </a:lnTo>
                  <a:lnTo>
                    <a:pt x="235458" y="275072"/>
                  </a:lnTo>
                  <a:close/>
                  <a:moveTo>
                    <a:pt x="203454" y="243830"/>
                  </a:moveTo>
                  <a:cubicBezTo>
                    <a:pt x="194843" y="243830"/>
                    <a:pt x="187833" y="250831"/>
                    <a:pt x="187833" y="259451"/>
                  </a:cubicBezTo>
                  <a:cubicBezTo>
                    <a:pt x="187833" y="268072"/>
                    <a:pt x="194834" y="275072"/>
                    <a:pt x="203454" y="275072"/>
                  </a:cubicBezTo>
                  <a:lnTo>
                    <a:pt x="228600" y="275072"/>
                  </a:lnTo>
                  <a:lnTo>
                    <a:pt x="228600" y="243840"/>
                  </a:lnTo>
                  <a:lnTo>
                    <a:pt x="203454" y="243830"/>
                  </a:lnTo>
                  <a:lnTo>
                    <a:pt x="203454" y="243830"/>
                  </a:lnTo>
                  <a:close/>
                  <a:moveTo>
                    <a:pt x="115414" y="264033"/>
                  </a:moveTo>
                  <a:cubicBezTo>
                    <a:pt x="109414" y="264033"/>
                    <a:pt x="103765" y="261690"/>
                    <a:pt x="99517" y="257451"/>
                  </a:cubicBezTo>
                  <a:cubicBezTo>
                    <a:pt x="90754" y="248688"/>
                    <a:pt x="90754" y="234420"/>
                    <a:pt x="99517" y="225657"/>
                  </a:cubicBezTo>
                  <a:lnTo>
                    <a:pt x="139932" y="185242"/>
                  </a:lnTo>
                  <a:cubicBezTo>
                    <a:pt x="148695" y="176498"/>
                    <a:pt x="162944" y="176498"/>
                    <a:pt x="171717" y="185242"/>
                  </a:cubicBezTo>
                  <a:cubicBezTo>
                    <a:pt x="180480" y="194015"/>
                    <a:pt x="180480" y="208274"/>
                    <a:pt x="171717" y="217046"/>
                  </a:cubicBezTo>
                  <a:lnTo>
                    <a:pt x="131302" y="257451"/>
                  </a:lnTo>
                  <a:cubicBezTo>
                    <a:pt x="127063" y="261690"/>
                    <a:pt x="121425" y="264033"/>
                    <a:pt x="115414" y="264033"/>
                  </a:cubicBezTo>
                  <a:close/>
                  <a:moveTo>
                    <a:pt x="155829" y="185528"/>
                  </a:moveTo>
                  <a:cubicBezTo>
                    <a:pt x="151829" y="185528"/>
                    <a:pt x="147828" y="187052"/>
                    <a:pt x="144780" y="190090"/>
                  </a:cubicBezTo>
                  <a:lnTo>
                    <a:pt x="104365" y="230505"/>
                  </a:lnTo>
                  <a:cubicBezTo>
                    <a:pt x="101413" y="233458"/>
                    <a:pt x="99793" y="237382"/>
                    <a:pt x="99793" y="241544"/>
                  </a:cubicBezTo>
                  <a:cubicBezTo>
                    <a:pt x="99793" y="245707"/>
                    <a:pt x="101422" y="249641"/>
                    <a:pt x="104365" y="252584"/>
                  </a:cubicBezTo>
                  <a:cubicBezTo>
                    <a:pt x="110271" y="258499"/>
                    <a:pt x="120548" y="258499"/>
                    <a:pt x="126454" y="252584"/>
                  </a:cubicBezTo>
                  <a:lnTo>
                    <a:pt x="166859" y="212179"/>
                  </a:lnTo>
                  <a:cubicBezTo>
                    <a:pt x="172955" y="206083"/>
                    <a:pt x="172955" y="196177"/>
                    <a:pt x="166859" y="190090"/>
                  </a:cubicBezTo>
                  <a:cubicBezTo>
                    <a:pt x="163830" y="187052"/>
                    <a:pt x="159830" y="185528"/>
                    <a:pt x="155829" y="185528"/>
                  </a:cubicBezTo>
                  <a:close/>
                  <a:moveTo>
                    <a:pt x="101946" y="228086"/>
                  </a:moveTo>
                  <a:lnTo>
                    <a:pt x="102032" y="228086"/>
                  </a:lnTo>
                  <a:lnTo>
                    <a:pt x="101946" y="228086"/>
                  </a:lnTo>
                  <a:close/>
                  <a:moveTo>
                    <a:pt x="51054" y="197358"/>
                  </a:moveTo>
                  <a:cubicBezTo>
                    <a:pt x="37414" y="197358"/>
                    <a:pt x="24594" y="192043"/>
                    <a:pt x="14954" y="182404"/>
                  </a:cubicBezTo>
                  <a:lnTo>
                    <a:pt x="14954" y="182404"/>
                  </a:lnTo>
                  <a:cubicBezTo>
                    <a:pt x="5305" y="172755"/>
                    <a:pt x="0" y="159944"/>
                    <a:pt x="0" y="146304"/>
                  </a:cubicBezTo>
                  <a:cubicBezTo>
                    <a:pt x="0" y="132664"/>
                    <a:pt x="5315" y="119844"/>
                    <a:pt x="14954" y="110204"/>
                  </a:cubicBezTo>
                  <a:cubicBezTo>
                    <a:pt x="34862" y="90297"/>
                    <a:pt x="67247" y="90297"/>
                    <a:pt x="87154" y="110204"/>
                  </a:cubicBezTo>
                  <a:cubicBezTo>
                    <a:pt x="96803" y="119844"/>
                    <a:pt x="102108" y="132664"/>
                    <a:pt x="102108" y="146304"/>
                  </a:cubicBezTo>
                  <a:cubicBezTo>
                    <a:pt x="102108" y="159944"/>
                    <a:pt x="96793" y="172755"/>
                    <a:pt x="87154" y="182404"/>
                  </a:cubicBezTo>
                  <a:cubicBezTo>
                    <a:pt x="77514" y="192053"/>
                    <a:pt x="64694" y="197358"/>
                    <a:pt x="51054" y="197358"/>
                  </a:cubicBezTo>
                  <a:close/>
                  <a:moveTo>
                    <a:pt x="6991" y="149733"/>
                  </a:moveTo>
                  <a:cubicBezTo>
                    <a:pt x="7791" y="160249"/>
                    <a:pt x="12268" y="170021"/>
                    <a:pt x="19802" y="177546"/>
                  </a:cubicBezTo>
                  <a:lnTo>
                    <a:pt x="19802" y="177546"/>
                  </a:lnTo>
                  <a:cubicBezTo>
                    <a:pt x="28146" y="185899"/>
                    <a:pt x="39253" y="190500"/>
                    <a:pt x="51054" y="190500"/>
                  </a:cubicBezTo>
                  <a:cubicBezTo>
                    <a:pt x="62855" y="190500"/>
                    <a:pt x="73962" y="185909"/>
                    <a:pt x="82306" y="177556"/>
                  </a:cubicBezTo>
                  <a:cubicBezTo>
                    <a:pt x="89840" y="170031"/>
                    <a:pt x="94317" y="160258"/>
                    <a:pt x="95117" y="149743"/>
                  </a:cubicBezTo>
                  <a:lnTo>
                    <a:pt x="6991" y="149733"/>
                  </a:lnTo>
                  <a:lnTo>
                    <a:pt x="6991" y="149733"/>
                  </a:lnTo>
                  <a:close/>
                  <a:moveTo>
                    <a:pt x="6991" y="142875"/>
                  </a:moveTo>
                  <a:lnTo>
                    <a:pt x="95126" y="142875"/>
                  </a:lnTo>
                  <a:cubicBezTo>
                    <a:pt x="94326" y="132359"/>
                    <a:pt x="89849" y="122587"/>
                    <a:pt x="82315" y="115052"/>
                  </a:cubicBezTo>
                  <a:cubicBezTo>
                    <a:pt x="73962" y="106709"/>
                    <a:pt x="62855" y="102108"/>
                    <a:pt x="51054" y="102108"/>
                  </a:cubicBezTo>
                  <a:cubicBezTo>
                    <a:pt x="39253" y="102108"/>
                    <a:pt x="28146" y="106709"/>
                    <a:pt x="19802" y="115052"/>
                  </a:cubicBezTo>
                  <a:cubicBezTo>
                    <a:pt x="12268" y="122587"/>
                    <a:pt x="7791" y="132359"/>
                    <a:pt x="6991" y="142875"/>
                  </a:cubicBezTo>
                  <a:close/>
                  <a:moveTo>
                    <a:pt x="241554" y="196406"/>
                  </a:moveTo>
                  <a:cubicBezTo>
                    <a:pt x="227914" y="196406"/>
                    <a:pt x="215103" y="191091"/>
                    <a:pt x="205454" y="181451"/>
                  </a:cubicBezTo>
                  <a:lnTo>
                    <a:pt x="158420" y="134417"/>
                  </a:lnTo>
                  <a:cubicBezTo>
                    <a:pt x="158382" y="134388"/>
                    <a:pt x="158344" y="134350"/>
                    <a:pt x="158306" y="134312"/>
                  </a:cubicBezTo>
                  <a:cubicBezTo>
                    <a:pt x="158267" y="134283"/>
                    <a:pt x="158239" y="134245"/>
                    <a:pt x="158201" y="134207"/>
                  </a:cubicBezTo>
                  <a:lnTo>
                    <a:pt x="111166" y="87154"/>
                  </a:lnTo>
                  <a:cubicBezTo>
                    <a:pt x="91259" y="67247"/>
                    <a:pt x="91259" y="34862"/>
                    <a:pt x="111166" y="14954"/>
                  </a:cubicBezTo>
                  <a:cubicBezTo>
                    <a:pt x="120806" y="5305"/>
                    <a:pt x="133626" y="0"/>
                    <a:pt x="147266" y="0"/>
                  </a:cubicBezTo>
                  <a:cubicBezTo>
                    <a:pt x="160906" y="0"/>
                    <a:pt x="173717" y="5315"/>
                    <a:pt x="183366" y="14954"/>
                  </a:cubicBezTo>
                  <a:lnTo>
                    <a:pt x="230400" y="61989"/>
                  </a:lnTo>
                  <a:cubicBezTo>
                    <a:pt x="230438" y="62017"/>
                    <a:pt x="230476" y="62055"/>
                    <a:pt x="230515" y="62093"/>
                  </a:cubicBezTo>
                  <a:cubicBezTo>
                    <a:pt x="230553" y="62122"/>
                    <a:pt x="230581" y="62160"/>
                    <a:pt x="230619" y="62198"/>
                  </a:cubicBezTo>
                  <a:lnTo>
                    <a:pt x="277654" y="109233"/>
                  </a:lnTo>
                  <a:cubicBezTo>
                    <a:pt x="287303" y="118872"/>
                    <a:pt x="292608" y="131693"/>
                    <a:pt x="292608" y="145332"/>
                  </a:cubicBezTo>
                  <a:cubicBezTo>
                    <a:pt x="292608" y="158972"/>
                    <a:pt x="287293" y="171783"/>
                    <a:pt x="277654" y="181432"/>
                  </a:cubicBezTo>
                  <a:cubicBezTo>
                    <a:pt x="268014" y="191081"/>
                    <a:pt x="255194" y="196406"/>
                    <a:pt x="241554" y="196406"/>
                  </a:cubicBezTo>
                  <a:close/>
                  <a:moveTo>
                    <a:pt x="165583" y="131874"/>
                  </a:moveTo>
                  <a:lnTo>
                    <a:pt x="210302" y="176594"/>
                  </a:lnTo>
                  <a:cubicBezTo>
                    <a:pt x="218646" y="184947"/>
                    <a:pt x="229743" y="189538"/>
                    <a:pt x="241544" y="189538"/>
                  </a:cubicBezTo>
                  <a:cubicBezTo>
                    <a:pt x="253346" y="189538"/>
                    <a:pt x="264443" y="184947"/>
                    <a:pt x="272786" y="176594"/>
                  </a:cubicBezTo>
                  <a:cubicBezTo>
                    <a:pt x="281140" y="168250"/>
                    <a:pt x="285731" y="157153"/>
                    <a:pt x="285731" y="145352"/>
                  </a:cubicBezTo>
                  <a:cubicBezTo>
                    <a:pt x="285731" y="133550"/>
                    <a:pt x="281140" y="122444"/>
                    <a:pt x="272786" y="114100"/>
                  </a:cubicBezTo>
                  <a:lnTo>
                    <a:pt x="228076" y="69380"/>
                  </a:lnTo>
                  <a:lnTo>
                    <a:pt x="165583" y="131874"/>
                  </a:lnTo>
                  <a:close/>
                  <a:moveTo>
                    <a:pt x="147266" y="6858"/>
                  </a:moveTo>
                  <a:cubicBezTo>
                    <a:pt x="135465" y="6858"/>
                    <a:pt x="124358" y="11459"/>
                    <a:pt x="116015" y="19802"/>
                  </a:cubicBezTo>
                  <a:cubicBezTo>
                    <a:pt x="107661" y="28146"/>
                    <a:pt x="103061" y="39253"/>
                    <a:pt x="103061" y="51054"/>
                  </a:cubicBezTo>
                  <a:cubicBezTo>
                    <a:pt x="103061" y="62855"/>
                    <a:pt x="107652" y="73962"/>
                    <a:pt x="116005" y="82306"/>
                  </a:cubicBezTo>
                  <a:lnTo>
                    <a:pt x="160725" y="127025"/>
                  </a:lnTo>
                  <a:lnTo>
                    <a:pt x="223228" y="64522"/>
                  </a:lnTo>
                  <a:lnTo>
                    <a:pt x="178508" y="19802"/>
                  </a:lnTo>
                  <a:cubicBezTo>
                    <a:pt x="170164" y="11449"/>
                    <a:pt x="159068" y="6858"/>
                    <a:pt x="147266" y="6858"/>
                  </a:cubicBezTo>
                  <a:close/>
                  <a:moveTo>
                    <a:pt x="32004" y="64008"/>
                  </a:moveTo>
                  <a:cubicBezTo>
                    <a:pt x="14354" y="64008"/>
                    <a:pt x="0" y="49654"/>
                    <a:pt x="0" y="32004"/>
                  </a:cubicBezTo>
                  <a:cubicBezTo>
                    <a:pt x="0" y="14354"/>
                    <a:pt x="14354" y="0"/>
                    <a:pt x="32004" y="0"/>
                  </a:cubicBezTo>
                  <a:cubicBezTo>
                    <a:pt x="49654" y="0"/>
                    <a:pt x="64008" y="14354"/>
                    <a:pt x="64008" y="32004"/>
                  </a:cubicBezTo>
                  <a:cubicBezTo>
                    <a:pt x="64008" y="49654"/>
                    <a:pt x="49654" y="64008"/>
                    <a:pt x="32004" y="64008"/>
                  </a:cubicBezTo>
                  <a:close/>
                  <a:moveTo>
                    <a:pt x="32004" y="6858"/>
                  </a:moveTo>
                  <a:cubicBezTo>
                    <a:pt x="18136" y="6858"/>
                    <a:pt x="6858" y="18136"/>
                    <a:pt x="6858" y="32004"/>
                  </a:cubicBezTo>
                  <a:cubicBezTo>
                    <a:pt x="6858" y="45872"/>
                    <a:pt x="18136" y="57150"/>
                    <a:pt x="32004" y="57150"/>
                  </a:cubicBezTo>
                  <a:cubicBezTo>
                    <a:pt x="45872" y="57150"/>
                    <a:pt x="57150" y="45872"/>
                    <a:pt x="57150" y="32004"/>
                  </a:cubicBezTo>
                  <a:cubicBezTo>
                    <a:pt x="57150" y="18136"/>
                    <a:pt x="45872" y="6858"/>
                    <a:pt x="32004" y="6858"/>
                  </a:cubicBezTo>
                  <a:close/>
                  <a:moveTo>
                    <a:pt x="265367" y="54483"/>
                  </a:moveTo>
                  <a:cubicBezTo>
                    <a:pt x="250346" y="54483"/>
                    <a:pt x="238125" y="42262"/>
                    <a:pt x="238125" y="27242"/>
                  </a:cubicBezTo>
                  <a:cubicBezTo>
                    <a:pt x="238125" y="12221"/>
                    <a:pt x="250346" y="0"/>
                    <a:pt x="265367" y="0"/>
                  </a:cubicBezTo>
                  <a:cubicBezTo>
                    <a:pt x="280387" y="0"/>
                    <a:pt x="292608" y="12221"/>
                    <a:pt x="292608" y="27242"/>
                  </a:cubicBezTo>
                  <a:cubicBezTo>
                    <a:pt x="292608" y="42262"/>
                    <a:pt x="280387" y="54483"/>
                    <a:pt x="265367" y="54483"/>
                  </a:cubicBezTo>
                  <a:close/>
                  <a:moveTo>
                    <a:pt x="265367" y="6858"/>
                  </a:moveTo>
                  <a:cubicBezTo>
                    <a:pt x="254127" y="6858"/>
                    <a:pt x="244983" y="16002"/>
                    <a:pt x="244983" y="27242"/>
                  </a:cubicBezTo>
                  <a:cubicBezTo>
                    <a:pt x="244983" y="38481"/>
                    <a:pt x="254127" y="47625"/>
                    <a:pt x="265367" y="47625"/>
                  </a:cubicBezTo>
                  <a:cubicBezTo>
                    <a:pt x="276606" y="47625"/>
                    <a:pt x="285750" y="38481"/>
                    <a:pt x="285750" y="27242"/>
                  </a:cubicBezTo>
                  <a:cubicBezTo>
                    <a:pt x="285750" y="16002"/>
                    <a:pt x="276606" y="6858"/>
                    <a:pt x="265367" y="6858"/>
                  </a:cubicBez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orma libre: forma 53">
              <a:extLst>
                <a:ext uri="{FF2B5EF4-FFF2-40B4-BE49-F238E27FC236}">
                  <a16:creationId xmlns:a16="http://schemas.microsoft.com/office/drawing/2014/main" id="{E1D6EC7D-6F86-98FD-A395-9E1F49EA57DC}"/>
                </a:ext>
              </a:extLst>
            </p:cNvPr>
            <p:cNvSpPr/>
            <p:nvPr/>
          </p:nvSpPr>
          <p:spPr>
            <a:xfrm>
              <a:off x="5943600" y="3276600"/>
              <a:ext cx="304800" cy="304800"/>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orma libre: forma 82">
              <a:extLst>
                <a:ext uri="{FF2B5EF4-FFF2-40B4-BE49-F238E27FC236}">
                  <a16:creationId xmlns:a16="http://schemas.microsoft.com/office/drawing/2014/main" id="{59F80820-4844-F3E5-67A1-494D51772DA8}"/>
                </a:ext>
              </a:extLst>
            </p:cNvPr>
            <p:cNvSpPr/>
            <p:nvPr/>
          </p:nvSpPr>
          <p:spPr>
            <a:xfrm>
              <a:off x="6952129" y="1461289"/>
              <a:ext cx="370840" cy="290491"/>
            </a:xfrm>
            <a:custGeom>
              <a:avLst/>
              <a:gdLst>
                <a:gd name="connsiteX0" fmla="*/ 4572000 w 6858000"/>
                <a:gd name="connsiteY0" fmla="*/ 4686300 h 5372100"/>
                <a:gd name="connsiteX1" fmla="*/ 4686300 w 6858000"/>
                <a:gd name="connsiteY1" fmla="*/ 4800600 h 5372100"/>
                <a:gd name="connsiteX2" fmla="*/ 4572000 w 6858000"/>
                <a:gd name="connsiteY2" fmla="*/ 4914900 h 5372100"/>
                <a:gd name="connsiteX3" fmla="*/ 4457700 w 6858000"/>
                <a:gd name="connsiteY3" fmla="*/ 4800600 h 5372100"/>
                <a:gd name="connsiteX4" fmla="*/ 4572000 w 6858000"/>
                <a:gd name="connsiteY4" fmla="*/ 4686300 h 5372100"/>
                <a:gd name="connsiteX5" fmla="*/ 3886200 w 6858000"/>
                <a:gd name="connsiteY5" fmla="*/ 4686300 h 5372100"/>
                <a:gd name="connsiteX6" fmla="*/ 4000500 w 6858000"/>
                <a:gd name="connsiteY6" fmla="*/ 4800600 h 5372100"/>
                <a:gd name="connsiteX7" fmla="*/ 3886200 w 6858000"/>
                <a:gd name="connsiteY7" fmla="*/ 4914900 h 5372100"/>
                <a:gd name="connsiteX8" fmla="*/ 3771900 w 6858000"/>
                <a:gd name="connsiteY8" fmla="*/ 4800600 h 5372100"/>
                <a:gd name="connsiteX9" fmla="*/ 3886200 w 6858000"/>
                <a:gd name="connsiteY9" fmla="*/ 4686300 h 5372100"/>
                <a:gd name="connsiteX10" fmla="*/ 4229100 w 6858000"/>
                <a:gd name="connsiteY10" fmla="*/ 4343400 h 5372100"/>
                <a:gd name="connsiteX11" fmla="*/ 4343400 w 6858000"/>
                <a:gd name="connsiteY11" fmla="*/ 4457700 h 5372100"/>
                <a:gd name="connsiteX12" fmla="*/ 4229100 w 6858000"/>
                <a:gd name="connsiteY12" fmla="*/ 4572000 h 5372100"/>
                <a:gd name="connsiteX13" fmla="*/ 4114800 w 6858000"/>
                <a:gd name="connsiteY13" fmla="*/ 4457700 h 5372100"/>
                <a:gd name="connsiteX14" fmla="*/ 4229100 w 6858000"/>
                <a:gd name="connsiteY14" fmla="*/ 4343400 h 5372100"/>
                <a:gd name="connsiteX15" fmla="*/ 4572000 w 6858000"/>
                <a:gd name="connsiteY15" fmla="*/ 4000500 h 5372100"/>
                <a:gd name="connsiteX16" fmla="*/ 4686300 w 6858000"/>
                <a:gd name="connsiteY16" fmla="*/ 4114800 h 5372100"/>
                <a:gd name="connsiteX17" fmla="*/ 4572000 w 6858000"/>
                <a:gd name="connsiteY17" fmla="*/ 4229100 h 5372100"/>
                <a:gd name="connsiteX18" fmla="*/ 4457700 w 6858000"/>
                <a:gd name="connsiteY18" fmla="*/ 4114800 h 5372100"/>
                <a:gd name="connsiteX19" fmla="*/ 4572000 w 6858000"/>
                <a:gd name="connsiteY19" fmla="*/ 4000500 h 5372100"/>
                <a:gd name="connsiteX20" fmla="*/ 3886200 w 6858000"/>
                <a:gd name="connsiteY20" fmla="*/ 4000500 h 5372100"/>
                <a:gd name="connsiteX21" fmla="*/ 4000500 w 6858000"/>
                <a:gd name="connsiteY21" fmla="*/ 4114800 h 5372100"/>
                <a:gd name="connsiteX22" fmla="*/ 3886200 w 6858000"/>
                <a:gd name="connsiteY22" fmla="*/ 4229100 h 5372100"/>
                <a:gd name="connsiteX23" fmla="*/ 3771900 w 6858000"/>
                <a:gd name="connsiteY23" fmla="*/ 4114800 h 5372100"/>
                <a:gd name="connsiteX24" fmla="*/ 3886200 w 6858000"/>
                <a:gd name="connsiteY24" fmla="*/ 4000500 h 5372100"/>
                <a:gd name="connsiteX25" fmla="*/ 2057400 w 6858000"/>
                <a:gd name="connsiteY25" fmla="*/ 3771900 h 5372100"/>
                <a:gd name="connsiteX26" fmla="*/ 2057400 w 6858000"/>
                <a:gd name="connsiteY26" fmla="*/ 5143500 h 5372100"/>
                <a:gd name="connsiteX27" fmla="*/ 2971800 w 6858000"/>
                <a:gd name="connsiteY27" fmla="*/ 5143500 h 5372100"/>
                <a:gd name="connsiteX28" fmla="*/ 2971800 w 6858000"/>
                <a:gd name="connsiteY28" fmla="*/ 3771900 h 5372100"/>
                <a:gd name="connsiteX29" fmla="*/ 4229100 w 6858000"/>
                <a:gd name="connsiteY29" fmla="*/ 3657600 h 5372100"/>
                <a:gd name="connsiteX30" fmla="*/ 4343400 w 6858000"/>
                <a:gd name="connsiteY30" fmla="*/ 3771900 h 5372100"/>
                <a:gd name="connsiteX31" fmla="*/ 4229100 w 6858000"/>
                <a:gd name="connsiteY31" fmla="*/ 3886200 h 5372100"/>
                <a:gd name="connsiteX32" fmla="*/ 4114800 w 6858000"/>
                <a:gd name="connsiteY32" fmla="*/ 3771900 h 5372100"/>
                <a:gd name="connsiteX33" fmla="*/ 4229100 w 6858000"/>
                <a:gd name="connsiteY33" fmla="*/ 3657600 h 5372100"/>
                <a:gd name="connsiteX34" fmla="*/ 4572000 w 6858000"/>
                <a:gd name="connsiteY34" fmla="*/ 3314700 h 5372100"/>
                <a:gd name="connsiteX35" fmla="*/ 4686300 w 6858000"/>
                <a:gd name="connsiteY35" fmla="*/ 3429000 h 5372100"/>
                <a:gd name="connsiteX36" fmla="*/ 4572000 w 6858000"/>
                <a:gd name="connsiteY36" fmla="*/ 3543300 h 5372100"/>
                <a:gd name="connsiteX37" fmla="*/ 4457700 w 6858000"/>
                <a:gd name="connsiteY37" fmla="*/ 3429000 h 5372100"/>
                <a:gd name="connsiteX38" fmla="*/ 4572000 w 6858000"/>
                <a:gd name="connsiteY38" fmla="*/ 3314700 h 5372100"/>
                <a:gd name="connsiteX39" fmla="*/ 3886200 w 6858000"/>
                <a:gd name="connsiteY39" fmla="*/ 3314700 h 5372100"/>
                <a:gd name="connsiteX40" fmla="*/ 4000500 w 6858000"/>
                <a:gd name="connsiteY40" fmla="*/ 3429000 h 5372100"/>
                <a:gd name="connsiteX41" fmla="*/ 3886200 w 6858000"/>
                <a:gd name="connsiteY41" fmla="*/ 3543300 h 5372100"/>
                <a:gd name="connsiteX42" fmla="*/ 3771900 w 6858000"/>
                <a:gd name="connsiteY42" fmla="*/ 3429000 h 5372100"/>
                <a:gd name="connsiteX43" fmla="*/ 3886200 w 6858000"/>
                <a:gd name="connsiteY43" fmla="*/ 3314700 h 5372100"/>
                <a:gd name="connsiteX44" fmla="*/ 4229100 w 6858000"/>
                <a:gd name="connsiteY44" fmla="*/ 2971800 h 5372100"/>
                <a:gd name="connsiteX45" fmla="*/ 4343400 w 6858000"/>
                <a:gd name="connsiteY45" fmla="*/ 3086100 h 5372100"/>
                <a:gd name="connsiteX46" fmla="*/ 4229100 w 6858000"/>
                <a:gd name="connsiteY46" fmla="*/ 3200400 h 5372100"/>
                <a:gd name="connsiteX47" fmla="*/ 4114800 w 6858000"/>
                <a:gd name="connsiteY47" fmla="*/ 3086100 h 5372100"/>
                <a:gd name="connsiteX48" fmla="*/ 4229100 w 6858000"/>
                <a:gd name="connsiteY48" fmla="*/ 2971800 h 5372100"/>
                <a:gd name="connsiteX49" fmla="*/ 342900 w 6858000"/>
                <a:gd name="connsiteY49" fmla="*/ 2743200 h 5372100"/>
                <a:gd name="connsiteX50" fmla="*/ 342900 w 6858000"/>
                <a:gd name="connsiteY50" fmla="*/ 5143500 h 5372100"/>
                <a:gd name="connsiteX51" fmla="*/ 1257300 w 6858000"/>
                <a:gd name="connsiteY51" fmla="*/ 5143500 h 5372100"/>
                <a:gd name="connsiteX52" fmla="*/ 1257300 w 6858000"/>
                <a:gd name="connsiteY52" fmla="*/ 2743200 h 5372100"/>
                <a:gd name="connsiteX53" fmla="*/ 4572000 w 6858000"/>
                <a:gd name="connsiteY53" fmla="*/ 2628900 h 5372100"/>
                <a:gd name="connsiteX54" fmla="*/ 4686300 w 6858000"/>
                <a:gd name="connsiteY54" fmla="*/ 2743200 h 5372100"/>
                <a:gd name="connsiteX55" fmla="*/ 4572000 w 6858000"/>
                <a:gd name="connsiteY55" fmla="*/ 2857500 h 5372100"/>
                <a:gd name="connsiteX56" fmla="*/ 4457700 w 6858000"/>
                <a:gd name="connsiteY56" fmla="*/ 2743200 h 5372100"/>
                <a:gd name="connsiteX57" fmla="*/ 4572000 w 6858000"/>
                <a:gd name="connsiteY57" fmla="*/ 2628900 h 5372100"/>
                <a:gd name="connsiteX58" fmla="*/ 3886200 w 6858000"/>
                <a:gd name="connsiteY58" fmla="*/ 2628900 h 5372100"/>
                <a:gd name="connsiteX59" fmla="*/ 4000500 w 6858000"/>
                <a:gd name="connsiteY59" fmla="*/ 2743200 h 5372100"/>
                <a:gd name="connsiteX60" fmla="*/ 3886200 w 6858000"/>
                <a:gd name="connsiteY60" fmla="*/ 2857500 h 5372100"/>
                <a:gd name="connsiteX61" fmla="*/ 3771900 w 6858000"/>
                <a:gd name="connsiteY61" fmla="*/ 2743200 h 5372100"/>
                <a:gd name="connsiteX62" fmla="*/ 3886200 w 6858000"/>
                <a:gd name="connsiteY62" fmla="*/ 2628900 h 5372100"/>
                <a:gd name="connsiteX63" fmla="*/ 4229100 w 6858000"/>
                <a:gd name="connsiteY63" fmla="*/ 2286000 h 5372100"/>
                <a:gd name="connsiteX64" fmla="*/ 4343400 w 6858000"/>
                <a:gd name="connsiteY64" fmla="*/ 2400300 h 5372100"/>
                <a:gd name="connsiteX65" fmla="*/ 4229100 w 6858000"/>
                <a:gd name="connsiteY65" fmla="*/ 2514600 h 5372100"/>
                <a:gd name="connsiteX66" fmla="*/ 4114800 w 6858000"/>
                <a:gd name="connsiteY66" fmla="*/ 2400300 h 5372100"/>
                <a:gd name="connsiteX67" fmla="*/ 4229100 w 6858000"/>
                <a:gd name="connsiteY67" fmla="*/ 2286000 h 5372100"/>
                <a:gd name="connsiteX68" fmla="*/ 4572000 w 6858000"/>
                <a:gd name="connsiteY68" fmla="*/ 1943100 h 5372100"/>
                <a:gd name="connsiteX69" fmla="*/ 4686300 w 6858000"/>
                <a:gd name="connsiteY69" fmla="*/ 2057400 h 5372100"/>
                <a:gd name="connsiteX70" fmla="*/ 4572000 w 6858000"/>
                <a:gd name="connsiteY70" fmla="*/ 2171700 h 5372100"/>
                <a:gd name="connsiteX71" fmla="*/ 4457700 w 6858000"/>
                <a:gd name="connsiteY71" fmla="*/ 2057400 h 5372100"/>
                <a:gd name="connsiteX72" fmla="*/ 4572000 w 6858000"/>
                <a:gd name="connsiteY72" fmla="*/ 1943100 h 5372100"/>
                <a:gd name="connsiteX73" fmla="*/ 3886200 w 6858000"/>
                <a:gd name="connsiteY73" fmla="*/ 1943100 h 5372100"/>
                <a:gd name="connsiteX74" fmla="*/ 4000500 w 6858000"/>
                <a:gd name="connsiteY74" fmla="*/ 2057400 h 5372100"/>
                <a:gd name="connsiteX75" fmla="*/ 3886200 w 6858000"/>
                <a:gd name="connsiteY75" fmla="*/ 2171700 h 5372100"/>
                <a:gd name="connsiteX76" fmla="*/ 3771900 w 6858000"/>
                <a:gd name="connsiteY76" fmla="*/ 2057400 h 5372100"/>
                <a:gd name="connsiteX77" fmla="*/ 3886200 w 6858000"/>
                <a:gd name="connsiteY77" fmla="*/ 1943100 h 5372100"/>
                <a:gd name="connsiteX78" fmla="*/ 4229100 w 6858000"/>
                <a:gd name="connsiteY78" fmla="*/ 1600200 h 5372100"/>
                <a:gd name="connsiteX79" fmla="*/ 4343400 w 6858000"/>
                <a:gd name="connsiteY79" fmla="*/ 1714500 h 5372100"/>
                <a:gd name="connsiteX80" fmla="*/ 4229100 w 6858000"/>
                <a:gd name="connsiteY80" fmla="*/ 1828800 h 5372100"/>
                <a:gd name="connsiteX81" fmla="*/ 4114800 w 6858000"/>
                <a:gd name="connsiteY81" fmla="*/ 1714500 h 5372100"/>
                <a:gd name="connsiteX82" fmla="*/ 4229100 w 6858000"/>
                <a:gd name="connsiteY82" fmla="*/ 1600200 h 5372100"/>
                <a:gd name="connsiteX83" fmla="*/ 4572000 w 6858000"/>
                <a:gd name="connsiteY83" fmla="*/ 1257301 h 5372100"/>
                <a:gd name="connsiteX84" fmla="*/ 4686300 w 6858000"/>
                <a:gd name="connsiteY84" fmla="*/ 1371600 h 5372100"/>
                <a:gd name="connsiteX85" fmla="*/ 4572000 w 6858000"/>
                <a:gd name="connsiteY85" fmla="*/ 1485900 h 5372100"/>
                <a:gd name="connsiteX86" fmla="*/ 4457700 w 6858000"/>
                <a:gd name="connsiteY86" fmla="*/ 1371600 h 5372100"/>
                <a:gd name="connsiteX87" fmla="*/ 4572000 w 6858000"/>
                <a:gd name="connsiteY87" fmla="*/ 1257301 h 5372100"/>
                <a:gd name="connsiteX88" fmla="*/ 3886200 w 6858000"/>
                <a:gd name="connsiteY88" fmla="*/ 1257301 h 5372100"/>
                <a:gd name="connsiteX89" fmla="*/ 4000500 w 6858000"/>
                <a:gd name="connsiteY89" fmla="*/ 1371600 h 5372100"/>
                <a:gd name="connsiteX90" fmla="*/ 3886200 w 6858000"/>
                <a:gd name="connsiteY90" fmla="*/ 1485900 h 5372100"/>
                <a:gd name="connsiteX91" fmla="*/ 3771900 w 6858000"/>
                <a:gd name="connsiteY91" fmla="*/ 1371600 h 5372100"/>
                <a:gd name="connsiteX92" fmla="*/ 3886200 w 6858000"/>
                <a:gd name="connsiteY92" fmla="*/ 1257301 h 5372100"/>
                <a:gd name="connsiteX93" fmla="*/ 5486400 w 6858000"/>
                <a:gd name="connsiteY93" fmla="*/ 1143000 h 5372100"/>
                <a:gd name="connsiteX94" fmla="*/ 5486400 w 6858000"/>
                <a:gd name="connsiteY94" fmla="*/ 5143500 h 5372100"/>
                <a:gd name="connsiteX95" fmla="*/ 6400800 w 6858000"/>
                <a:gd name="connsiteY95" fmla="*/ 5143500 h 5372100"/>
                <a:gd name="connsiteX96" fmla="*/ 6400800 w 6858000"/>
                <a:gd name="connsiteY96" fmla="*/ 1143000 h 5372100"/>
                <a:gd name="connsiteX97" fmla="*/ 4229100 w 6858000"/>
                <a:gd name="connsiteY97" fmla="*/ 914400 h 5372100"/>
                <a:gd name="connsiteX98" fmla="*/ 4343400 w 6858000"/>
                <a:gd name="connsiteY98" fmla="*/ 1028701 h 5372100"/>
                <a:gd name="connsiteX99" fmla="*/ 4229100 w 6858000"/>
                <a:gd name="connsiteY99" fmla="*/ 1143001 h 5372100"/>
                <a:gd name="connsiteX100" fmla="*/ 4114800 w 6858000"/>
                <a:gd name="connsiteY100" fmla="*/ 1028701 h 5372100"/>
                <a:gd name="connsiteX101" fmla="*/ 4229100 w 6858000"/>
                <a:gd name="connsiteY101" fmla="*/ 914400 h 5372100"/>
                <a:gd name="connsiteX102" fmla="*/ 4572000 w 6858000"/>
                <a:gd name="connsiteY102" fmla="*/ 571501 h 5372100"/>
                <a:gd name="connsiteX103" fmla="*/ 4686300 w 6858000"/>
                <a:gd name="connsiteY103" fmla="*/ 685801 h 5372100"/>
                <a:gd name="connsiteX104" fmla="*/ 4572000 w 6858000"/>
                <a:gd name="connsiteY104" fmla="*/ 800101 h 5372100"/>
                <a:gd name="connsiteX105" fmla="*/ 4457700 w 6858000"/>
                <a:gd name="connsiteY105" fmla="*/ 685801 h 5372100"/>
                <a:gd name="connsiteX106" fmla="*/ 4572000 w 6858000"/>
                <a:gd name="connsiteY106" fmla="*/ 571501 h 5372100"/>
                <a:gd name="connsiteX107" fmla="*/ 3886200 w 6858000"/>
                <a:gd name="connsiteY107" fmla="*/ 571501 h 5372100"/>
                <a:gd name="connsiteX108" fmla="*/ 4000500 w 6858000"/>
                <a:gd name="connsiteY108" fmla="*/ 685801 h 5372100"/>
                <a:gd name="connsiteX109" fmla="*/ 3886200 w 6858000"/>
                <a:gd name="connsiteY109" fmla="*/ 800101 h 5372100"/>
                <a:gd name="connsiteX110" fmla="*/ 3771900 w 6858000"/>
                <a:gd name="connsiteY110" fmla="*/ 685801 h 5372100"/>
                <a:gd name="connsiteX111" fmla="*/ 3886200 w 6858000"/>
                <a:gd name="connsiteY111" fmla="*/ 571501 h 5372100"/>
                <a:gd name="connsiteX112" fmla="*/ 4229100 w 6858000"/>
                <a:gd name="connsiteY112" fmla="*/ 228601 h 5372100"/>
                <a:gd name="connsiteX113" fmla="*/ 4343400 w 6858000"/>
                <a:gd name="connsiteY113" fmla="*/ 342901 h 5372100"/>
                <a:gd name="connsiteX114" fmla="*/ 4229100 w 6858000"/>
                <a:gd name="connsiteY114" fmla="*/ 457200 h 5372100"/>
                <a:gd name="connsiteX115" fmla="*/ 4114800 w 6858000"/>
                <a:gd name="connsiteY115" fmla="*/ 342901 h 5372100"/>
                <a:gd name="connsiteX116" fmla="*/ 4229100 w 6858000"/>
                <a:gd name="connsiteY116" fmla="*/ 228601 h 5372100"/>
                <a:gd name="connsiteX117" fmla="*/ 3771900 w 6858000"/>
                <a:gd name="connsiteY117" fmla="*/ 228600 h 5372100"/>
                <a:gd name="connsiteX118" fmla="*/ 3771900 w 6858000"/>
                <a:gd name="connsiteY118" fmla="*/ 685800 h 5372100"/>
                <a:gd name="connsiteX119" fmla="*/ 3771900 w 6858000"/>
                <a:gd name="connsiteY119" fmla="*/ 685801 h 5372100"/>
                <a:gd name="connsiteX120" fmla="*/ 3771900 w 6858000"/>
                <a:gd name="connsiteY120" fmla="*/ 1371600 h 5372100"/>
                <a:gd name="connsiteX121" fmla="*/ 3771900 w 6858000"/>
                <a:gd name="connsiteY121" fmla="*/ 2057400 h 5372100"/>
                <a:gd name="connsiteX122" fmla="*/ 3771900 w 6858000"/>
                <a:gd name="connsiteY122" fmla="*/ 2743200 h 5372100"/>
                <a:gd name="connsiteX123" fmla="*/ 3771900 w 6858000"/>
                <a:gd name="connsiteY123" fmla="*/ 3429000 h 5372100"/>
                <a:gd name="connsiteX124" fmla="*/ 3771900 w 6858000"/>
                <a:gd name="connsiteY124" fmla="*/ 4114800 h 5372100"/>
                <a:gd name="connsiteX125" fmla="*/ 3771900 w 6858000"/>
                <a:gd name="connsiteY125" fmla="*/ 4800600 h 5372100"/>
                <a:gd name="connsiteX126" fmla="*/ 3771900 w 6858000"/>
                <a:gd name="connsiteY126" fmla="*/ 5143500 h 5372100"/>
                <a:gd name="connsiteX127" fmla="*/ 4114800 w 6858000"/>
                <a:gd name="connsiteY127" fmla="*/ 5143500 h 5372100"/>
                <a:gd name="connsiteX128" fmla="*/ 4229100 w 6858000"/>
                <a:gd name="connsiteY128" fmla="*/ 5029200 h 5372100"/>
                <a:gd name="connsiteX129" fmla="*/ 4343400 w 6858000"/>
                <a:gd name="connsiteY129" fmla="*/ 5143500 h 5372100"/>
                <a:gd name="connsiteX130" fmla="*/ 4686300 w 6858000"/>
                <a:gd name="connsiteY130" fmla="*/ 5143500 h 5372100"/>
                <a:gd name="connsiteX131" fmla="*/ 4686300 w 6858000"/>
                <a:gd name="connsiteY131" fmla="*/ 4800600 h 5372100"/>
                <a:gd name="connsiteX132" fmla="*/ 4686300 w 6858000"/>
                <a:gd name="connsiteY132" fmla="*/ 4114800 h 5372100"/>
                <a:gd name="connsiteX133" fmla="*/ 4686300 w 6858000"/>
                <a:gd name="connsiteY133" fmla="*/ 3429000 h 5372100"/>
                <a:gd name="connsiteX134" fmla="*/ 4686300 w 6858000"/>
                <a:gd name="connsiteY134" fmla="*/ 2743200 h 5372100"/>
                <a:gd name="connsiteX135" fmla="*/ 4686300 w 6858000"/>
                <a:gd name="connsiteY135" fmla="*/ 2057400 h 5372100"/>
                <a:gd name="connsiteX136" fmla="*/ 4686300 w 6858000"/>
                <a:gd name="connsiteY136" fmla="*/ 1371600 h 5372100"/>
                <a:gd name="connsiteX137" fmla="*/ 4686300 w 6858000"/>
                <a:gd name="connsiteY137" fmla="*/ 685801 h 5372100"/>
                <a:gd name="connsiteX138" fmla="*/ 4686300 w 6858000"/>
                <a:gd name="connsiteY138" fmla="*/ 685800 h 5372100"/>
                <a:gd name="connsiteX139" fmla="*/ 4686300 w 6858000"/>
                <a:gd name="connsiteY139" fmla="*/ 228600 h 5372100"/>
                <a:gd name="connsiteX140" fmla="*/ 4229100 w 6858000"/>
                <a:gd name="connsiteY140" fmla="*/ 228600 h 5372100"/>
                <a:gd name="connsiteX141" fmla="*/ 3543300 w 6858000"/>
                <a:gd name="connsiteY141" fmla="*/ 0 h 5372100"/>
                <a:gd name="connsiteX142" fmla="*/ 4914900 w 6858000"/>
                <a:gd name="connsiteY142" fmla="*/ 0 h 5372100"/>
                <a:gd name="connsiteX143" fmla="*/ 4914900 w 6858000"/>
                <a:gd name="connsiteY143" fmla="*/ 5143500 h 5372100"/>
                <a:gd name="connsiteX144" fmla="*/ 5257800 w 6858000"/>
                <a:gd name="connsiteY144" fmla="*/ 5143500 h 5372100"/>
                <a:gd name="connsiteX145" fmla="*/ 5257800 w 6858000"/>
                <a:gd name="connsiteY145" fmla="*/ 914400 h 5372100"/>
                <a:gd name="connsiteX146" fmla="*/ 6629400 w 6858000"/>
                <a:gd name="connsiteY146" fmla="*/ 914400 h 5372100"/>
                <a:gd name="connsiteX147" fmla="*/ 6629400 w 6858000"/>
                <a:gd name="connsiteY147" fmla="*/ 5143500 h 5372100"/>
                <a:gd name="connsiteX148" fmla="*/ 6743700 w 6858000"/>
                <a:gd name="connsiteY148" fmla="*/ 5143500 h 5372100"/>
                <a:gd name="connsiteX149" fmla="*/ 6858000 w 6858000"/>
                <a:gd name="connsiteY149" fmla="*/ 5257800 h 5372100"/>
                <a:gd name="connsiteX150" fmla="*/ 6743700 w 6858000"/>
                <a:gd name="connsiteY150" fmla="*/ 5372100 h 5372100"/>
                <a:gd name="connsiteX151" fmla="*/ 6629400 w 6858000"/>
                <a:gd name="connsiteY151" fmla="*/ 5372100 h 5372100"/>
                <a:gd name="connsiteX152" fmla="*/ 5257800 w 6858000"/>
                <a:gd name="connsiteY152" fmla="*/ 5372100 h 5372100"/>
                <a:gd name="connsiteX153" fmla="*/ 4914900 w 6858000"/>
                <a:gd name="connsiteY153" fmla="*/ 5372100 h 5372100"/>
                <a:gd name="connsiteX154" fmla="*/ 3543300 w 6858000"/>
                <a:gd name="connsiteY154" fmla="*/ 5372100 h 5372100"/>
                <a:gd name="connsiteX155" fmla="*/ 3200400 w 6858000"/>
                <a:gd name="connsiteY155" fmla="*/ 5372100 h 5372100"/>
                <a:gd name="connsiteX156" fmla="*/ 1828800 w 6858000"/>
                <a:gd name="connsiteY156" fmla="*/ 5372100 h 5372100"/>
                <a:gd name="connsiteX157" fmla="*/ 1485900 w 6858000"/>
                <a:gd name="connsiteY157" fmla="*/ 5372100 h 5372100"/>
                <a:gd name="connsiteX158" fmla="*/ 114300 w 6858000"/>
                <a:gd name="connsiteY158" fmla="*/ 5372100 h 5372100"/>
                <a:gd name="connsiteX159" fmla="*/ 0 w 6858000"/>
                <a:gd name="connsiteY159" fmla="*/ 5257800 h 5372100"/>
                <a:gd name="connsiteX160" fmla="*/ 114300 w 6858000"/>
                <a:gd name="connsiteY160" fmla="*/ 5143500 h 5372100"/>
                <a:gd name="connsiteX161" fmla="*/ 114300 w 6858000"/>
                <a:gd name="connsiteY161" fmla="*/ 2514600 h 5372100"/>
                <a:gd name="connsiteX162" fmla="*/ 1485900 w 6858000"/>
                <a:gd name="connsiteY162" fmla="*/ 2514600 h 5372100"/>
                <a:gd name="connsiteX163" fmla="*/ 1485900 w 6858000"/>
                <a:gd name="connsiteY163" fmla="*/ 5143500 h 5372100"/>
                <a:gd name="connsiteX164" fmla="*/ 1828800 w 6858000"/>
                <a:gd name="connsiteY164" fmla="*/ 5143500 h 5372100"/>
                <a:gd name="connsiteX165" fmla="*/ 1828800 w 6858000"/>
                <a:gd name="connsiteY165" fmla="*/ 3543300 h 5372100"/>
                <a:gd name="connsiteX166" fmla="*/ 3200400 w 6858000"/>
                <a:gd name="connsiteY166" fmla="*/ 3543300 h 5372100"/>
                <a:gd name="connsiteX167" fmla="*/ 3200400 w 6858000"/>
                <a:gd name="connsiteY167" fmla="*/ 5143500 h 5372100"/>
                <a:gd name="connsiteX168" fmla="*/ 3543300 w 6858000"/>
                <a:gd name="connsiteY168" fmla="*/ 5143500 h 537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858000" h="5372100">
                  <a:moveTo>
                    <a:pt x="4572000" y="4686300"/>
                  </a:moveTo>
                  <a:cubicBezTo>
                    <a:pt x="4635126" y="4686300"/>
                    <a:pt x="4686300" y="4737474"/>
                    <a:pt x="4686300" y="4800600"/>
                  </a:cubicBezTo>
                  <a:cubicBezTo>
                    <a:pt x="4686300" y="4863726"/>
                    <a:pt x="4635126" y="4914900"/>
                    <a:pt x="4572000" y="4914900"/>
                  </a:cubicBezTo>
                  <a:cubicBezTo>
                    <a:pt x="4508874" y="4914900"/>
                    <a:pt x="4457700" y="4863726"/>
                    <a:pt x="4457700" y="4800600"/>
                  </a:cubicBezTo>
                  <a:cubicBezTo>
                    <a:pt x="4457700" y="4737474"/>
                    <a:pt x="4508874" y="4686300"/>
                    <a:pt x="4572000" y="4686300"/>
                  </a:cubicBezTo>
                  <a:close/>
                  <a:moveTo>
                    <a:pt x="3886200" y="4686300"/>
                  </a:moveTo>
                  <a:cubicBezTo>
                    <a:pt x="3949326" y="4686300"/>
                    <a:pt x="4000500" y="4737474"/>
                    <a:pt x="4000500" y="4800600"/>
                  </a:cubicBezTo>
                  <a:cubicBezTo>
                    <a:pt x="4000500" y="4863726"/>
                    <a:pt x="3949326" y="4914900"/>
                    <a:pt x="3886200" y="4914900"/>
                  </a:cubicBezTo>
                  <a:cubicBezTo>
                    <a:pt x="3823074" y="4914900"/>
                    <a:pt x="3771900" y="4863726"/>
                    <a:pt x="3771900" y="4800600"/>
                  </a:cubicBezTo>
                  <a:cubicBezTo>
                    <a:pt x="3771900" y="4737474"/>
                    <a:pt x="3823074" y="4686300"/>
                    <a:pt x="3886200" y="4686300"/>
                  </a:cubicBezTo>
                  <a:close/>
                  <a:moveTo>
                    <a:pt x="4229100" y="4343400"/>
                  </a:moveTo>
                  <a:cubicBezTo>
                    <a:pt x="4292226" y="4343400"/>
                    <a:pt x="4343400" y="4394574"/>
                    <a:pt x="4343400" y="4457700"/>
                  </a:cubicBezTo>
                  <a:cubicBezTo>
                    <a:pt x="4343400" y="4520826"/>
                    <a:pt x="4292226" y="4572000"/>
                    <a:pt x="4229100" y="4572000"/>
                  </a:cubicBezTo>
                  <a:cubicBezTo>
                    <a:pt x="4165974" y="4572000"/>
                    <a:pt x="4114800" y="4520826"/>
                    <a:pt x="4114800" y="4457700"/>
                  </a:cubicBezTo>
                  <a:cubicBezTo>
                    <a:pt x="4114800" y="4394574"/>
                    <a:pt x="4165974" y="4343400"/>
                    <a:pt x="4229100" y="4343400"/>
                  </a:cubicBezTo>
                  <a:close/>
                  <a:moveTo>
                    <a:pt x="4572000" y="4000500"/>
                  </a:moveTo>
                  <a:cubicBezTo>
                    <a:pt x="4635126" y="4000500"/>
                    <a:pt x="4686300" y="4051674"/>
                    <a:pt x="4686300" y="4114800"/>
                  </a:cubicBezTo>
                  <a:cubicBezTo>
                    <a:pt x="4686300" y="4177926"/>
                    <a:pt x="4635126" y="4229100"/>
                    <a:pt x="4572000" y="4229100"/>
                  </a:cubicBezTo>
                  <a:cubicBezTo>
                    <a:pt x="4508874" y="4229100"/>
                    <a:pt x="4457700" y="4177926"/>
                    <a:pt x="4457700" y="4114800"/>
                  </a:cubicBezTo>
                  <a:cubicBezTo>
                    <a:pt x="4457700" y="4051674"/>
                    <a:pt x="4508874" y="4000500"/>
                    <a:pt x="4572000" y="4000500"/>
                  </a:cubicBezTo>
                  <a:close/>
                  <a:moveTo>
                    <a:pt x="3886200" y="4000500"/>
                  </a:moveTo>
                  <a:cubicBezTo>
                    <a:pt x="3949326" y="4000500"/>
                    <a:pt x="4000500" y="4051674"/>
                    <a:pt x="4000500" y="4114800"/>
                  </a:cubicBezTo>
                  <a:cubicBezTo>
                    <a:pt x="4000500" y="4177926"/>
                    <a:pt x="3949326" y="4229100"/>
                    <a:pt x="3886200" y="4229100"/>
                  </a:cubicBezTo>
                  <a:cubicBezTo>
                    <a:pt x="3823074" y="4229100"/>
                    <a:pt x="3771900" y="4177926"/>
                    <a:pt x="3771900" y="4114800"/>
                  </a:cubicBezTo>
                  <a:cubicBezTo>
                    <a:pt x="3771900" y="4051674"/>
                    <a:pt x="3823074" y="4000500"/>
                    <a:pt x="3886200" y="4000500"/>
                  </a:cubicBezTo>
                  <a:close/>
                  <a:moveTo>
                    <a:pt x="2057400" y="3771900"/>
                  </a:moveTo>
                  <a:lnTo>
                    <a:pt x="2057400" y="5143500"/>
                  </a:lnTo>
                  <a:lnTo>
                    <a:pt x="2971800" y="5143500"/>
                  </a:lnTo>
                  <a:lnTo>
                    <a:pt x="2971800" y="3771900"/>
                  </a:lnTo>
                  <a:close/>
                  <a:moveTo>
                    <a:pt x="4229100" y="3657600"/>
                  </a:moveTo>
                  <a:cubicBezTo>
                    <a:pt x="4292226" y="3657600"/>
                    <a:pt x="4343400" y="3708774"/>
                    <a:pt x="4343400" y="3771900"/>
                  </a:cubicBezTo>
                  <a:cubicBezTo>
                    <a:pt x="4343400" y="3835026"/>
                    <a:pt x="4292226" y="3886200"/>
                    <a:pt x="4229100" y="3886200"/>
                  </a:cubicBezTo>
                  <a:cubicBezTo>
                    <a:pt x="4165974" y="3886200"/>
                    <a:pt x="4114800" y="3835026"/>
                    <a:pt x="4114800" y="3771900"/>
                  </a:cubicBezTo>
                  <a:cubicBezTo>
                    <a:pt x="4114800" y="3708774"/>
                    <a:pt x="4165974" y="3657600"/>
                    <a:pt x="4229100" y="3657600"/>
                  </a:cubicBezTo>
                  <a:close/>
                  <a:moveTo>
                    <a:pt x="4572000" y="3314700"/>
                  </a:moveTo>
                  <a:cubicBezTo>
                    <a:pt x="4635126" y="3314700"/>
                    <a:pt x="4686300" y="3365874"/>
                    <a:pt x="4686300" y="3429000"/>
                  </a:cubicBezTo>
                  <a:cubicBezTo>
                    <a:pt x="4686300" y="3492126"/>
                    <a:pt x="4635126" y="3543300"/>
                    <a:pt x="4572000" y="3543300"/>
                  </a:cubicBezTo>
                  <a:cubicBezTo>
                    <a:pt x="4508874" y="3543300"/>
                    <a:pt x="4457700" y="3492126"/>
                    <a:pt x="4457700" y="3429000"/>
                  </a:cubicBezTo>
                  <a:cubicBezTo>
                    <a:pt x="4457700" y="3365874"/>
                    <a:pt x="4508874" y="3314700"/>
                    <a:pt x="4572000" y="3314700"/>
                  </a:cubicBezTo>
                  <a:close/>
                  <a:moveTo>
                    <a:pt x="3886200" y="3314700"/>
                  </a:moveTo>
                  <a:cubicBezTo>
                    <a:pt x="3949326" y="3314700"/>
                    <a:pt x="4000500" y="3365874"/>
                    <a:pt x="4000500" y="3429000"/>
                  </a:cubicBezTo>
                  <a:cubicBezTo>
                    <a:pt x="4000500" y="3492126"/>
                    <a:pt x="3949326" y="3543300"/>
                    <a:pt x="3886200" y="3543300"/>
                  </a:cubicBezTo>
                  <a:cubicBezTo>
                    <a:pt x="3823074" y="3543300"/>
                    <a:pt x="3771900" y="3492126"/>
                    <a:pt x="3771900" y="3429000"/>
                  </a:cubicBezTo>
                  <a:cubicBezTo>
                    <a:pt x="3771900" y="3365874"/>
                    <a:pt x="3823074" y="3314700"/>
                    <a:pt x="3886200" y="3314700"/>
                  </a:cubicBezTo>
                  <a:close/>
                  <a:moveTo>
                    <a:pt x="4229100" y="2971800"/>
                  </a:moveTo>
                  <a:cubicBezTo>
                    <a:pt x="4292226" y="2971800"/>
                    <a:pt x="4343400" y="3022974"/>
                    <a:pt x="4343400" y="3086100"/>
                  </a:cubicBezTo>
                  <a:cubicBezTo>
                    <a:pt x="4343400" y="3149226"/>
                    <a:pt x="4292226" y="3200400"/>
                    <a:pt x="4229100" y="3200400"/>
                  </a:cubicBezTo>
                  <a:cubicBezTo>
                    <a:pt x="4165974" y="3200400"/>
                    <a:pt x="4114800" y="3149226"/>
                    <a:pt x="4114800" y="3086100"/>
                  </a:cubicBezTo>
                  <a:cubicBezTo>
                    <a:pt x="4114800" y="3022974"/>
                    <a:pt x="4165974" y="2971800"/>
                    <a:pt x="4229100" y="2971800"/>
                  </a:cubicBezTo>
                  <a:close/>
                  <a:moveTo>
                    <a:pt x="342900" y="2743200"/>
                  </a:moveTo>
                  <a:lnTo>
                    <a:pt x="342900" y="5143500"/>
                  </a:lnTo>
                  <a:lnTo>
                    <a:pt x="1257300" y="5143500"/>
                  </a:lnTo>
                  <a:lnTo>
                    <a:pt x="1257300" y="2743200"/>
                  </a:lnTo>
                  <a:close/>
                  <a:moveTo>
                    <a:pt x="4572000" y="2628900"/>
                  </a:moveTo>
                  <a:cubicBezTo>
                    <a:pt x="4635126" y="2628900"/>
                    <a:pt x="4686300" y="2680074"/>
                    <a:pt x="4686300" y="2743200"/>
                  </a:cubicBezTo>
                  <a:cubicBezTo>
                    <a:pt x="4686300" y="2806326"/>
                    <a:pt x="4635126" y="2857500"/>
                    <a:pt x="4572000" y="2857500"/>
                  </a:cubicBezTo>
                  <a:cubicBezTo>
                    <a:pt x="4508874" y="2857500"/>
                    <a:pt x="4457700" y="2806326"/>
                    <a:pt x="4457700" y="2743200"/>
                  </a:cubicBezTo>
                  <a:cubicBezTo>
                    <a:pt x="4457700" y="2680074"/>
                    <a:pt x="4508874" y="2628900"/>
                    <a:pt x="4572000" y="2628900"/>
                  </a:cubicBezTo>
                  <a:close/>
                  <a:moveTo>
                    <a:pt x="3886200" y="2628900"/>
                  </a:moveTo>
                  <a:cubicBezTo>
                    <a:pt x="3949326" y="2628900"/>
                    <a:pt x="4000500" y="2680074"/>
                    <a:pt x="4000500" y="2743200"/>
                  </a:cubicBezTo>
                  <a:cubicBezTo>
                    <a:pt x="4000500" y="2806326"/>
                    <a:pt x="3949326" y="2857500"/>
                    <a:pt x="3886200" y="2857500"/>
                  </a:cubicBezTo>
                  <a:cubicBezTo>
                    <a:pt x="3823074" y="2857500"/>
                    <a:pt x="3771900" y="2806326"/>
                    <a:pt x="3771900" y="2743200"/>
                  </a:cubicBezTo>
                  <a:cubicBezTo>
                    <a:pt x="3771900" y="2680074"/>
                    <a:pt x="3823074" y="2628900"/>
                    <a:pt x="3886200" y="2628900"/>
                  </a:cubicBezTo>
                  <a:close/>
                  <a:moveTo>
                    <a:pt x="4229100" y="2286000"/>
                  </a:moveTo>
                  <a:cubicBezTo>
                    <a:pt x="4292226" y="2286000"/>
                    <a:pt x="4343400" y="2337174"/>
                    <a:pt x="4343400" y="2400300"/>
                  </a:cubicBezTo>
                  <a:cubicBezTo>
                    <a:pt x="4343400" y="2463426"/>
                    <a:pt x="4292226" y="2514600"/>
                    <a:pt x="4229100" y="2514600"/>
                  </a:cubicBezTo>
                  <a:cubicBezTo>
                    <a:pt x="4165974" y="2514600"/>
                    <a:pt x="4114800" y="2463426"/>
                    <a:pt x="4114800" y="2400300"/>
                  </a:cubicBezTo>
                  <a:cubicBezTo>
                    <a:pt x="4114800" y="2337174"/>
                    <a:pt x="4165974" y="2286000"/>
                    <a:pt x="4229100" y="2286000"/>
                  </a:cubicBezTo>
                  <a:close/>
                  <a:moveTo>
                    <a:pt x="4572000" y="1943100"/>
                  </a:moveTo>
                  <a:cubicBezTo>
                    <a:pt x="4635126" y="1943100"/>
                    <a:pt x="4686300" y="1994274"/>
                    <a:pt x="4686300" y="2057400"/>
                  </a:cubicBezTo>
                  <a:cubicBezTo>
                    <a:pt x="4686300" y="2120526"/>
                    <a:pt x="4635126" y="2171700"/>
                    <a:pt x="4572000" y="2171700"/>
                  </a:cubicBezTo>
                  <a:cubicBezTo>
                    <a:pt x="4508874" y="2171700"/>
                    <a:pt x="4457700" y="2120526"/>
                    <a:pt x="4457700" y="2057400"/>
                  </a:cubicBezTo>
                  <a:cubicBezTo>
                    <a:pt x="4457700" y="1994274"/>
                    <a:pt x="4508874" y="1943100"/>
                    <a:pt x="4572000" y="1943100"/>
                  </a:cubicBezTo>
                  <a:close/>
                  <a:moveTo>
                    <a:pt x="3886200" y="1943100"/>
                  </a:moveTo>
                  <a:cubicBezTo>
                    <a:pt x="3949326" y="1943100"/>
                    <a:pt x="4000500" y="1994274"/>
                    <a:pt x="4000500" y="2057400"/>
                  </a:cubicBezTo>
                  <a:cubicBezTo>
                    <a:pt x="4000500" y="2120526"/>
                    <a:pt x="3949326" y="2171700"/>
                    <a:pt x="3886200" y="2171700"/>
                  </a:cubicBezTo>
                  <a:cubicBezTo>
                    <a:pt x="3823074" y="2171700"/>
                    <a:pt x="3771900" y="2120526"/>
                    <a:pt x="3771900" y="2057400"/>
                  </a:cubicBezTo>
                  <a:cubicBezTo>
                    <a:pt x="3771900" y="1994274"/>
                    <a:pt x="3823074" y="1943100"/>
                    <a:pt x="3886200" y="1943100"/>
                  </a:cubicBezTo>
                  <a:close/>
                  <a:moveTo>
                    <a:pt x="4229100" y="1600200"/>
                  </a:moveTo>
                  <a:cubicBezTo>
                    <a:pt x="4292226" y="1600200"/>
                    <a:pt x="4343400" y="1651374"/>
                    <a:pt x="4343400" y="1714500"/>
                  </a:cubicBezTo>
                  <a:cubicBezTo>
                    <a:pt x="4343400" y="1777626"/>
                    <a:pt x="4292226" y="1828800"/>
                    <a:pt x="4229100" y="1828800"/>
                  </a:cubicBezTo>
                  <a:cubicBezTo>
                    <a:pt x="4165974" y="1828800"/>
                    <a:pt x="4114800" y="1777626"/>
                    <a:pt x="4114800" y="1714500"/>
                  </a:cubicBezTo>
                  <a:cubicBezTo>
                    <a:pt x="4114800" y="1651374"/>
                    <a:pt x="4165974" y="1600200"/>
                    <a:pt x="4229100" y="1600200"/>
                  </a:cubicBezTo>
                  <a:close/>
                  <a:moveTo>
                    <a:pt x="4572000" y="1257301"/>
                  </a:moveTo>
                  <a:cubicBezTo>
                    <a:pt x="4635126" y="1257301"/>
                    <a:pt x="4686300" y="1308475"/>
                    <a:pt x="4686300" y="1371600"/>
                  </a:cubicBezTo>
                  <a:cubicBezTo>
                    <a:pt x="4686300" y="1434726"/>
                    <a:pt x="4635126" y="1485900"/>
                    <a:pt x="4572000" y="1485900"/>
                  </a:cubicBezTo>
                  <a:cubicBezTo>
                    <a:pt x="4508874" y="1485900"/>
                    <a:pt x="4457700" y="1434726"/>
                    <a:pt x="4457700" y="1371600"/>
                  </a:cubicBezTo>
                  <a:cubicBezTo>
                    <a:pt x="4457700" y="1308475"/>
                    <a:pt x="4508874" y="1257301"/>
                    <a:pt x="4572000" y="1257301"/>
                  </a:cubicBezTo>
                  <a:close/>
                  <a:moveTo>
                    <a:pt x="3886200" y="1257301"/>
                  </a:moveTo>
                  <a:cubicBezTo>
                    <a:pt x="3949326" y="1257301"/>
                    <a:pt x="4000500" y="1308475"/>
                    <a:pt x="4000500" y="1371600"/>
                  </a:cubicBezTo>
                  <a:cubicBezTo>
                    <a:pt x="4000500" y="1434726"/>
                    <a:pt x="3949326" y="1485900"/>
                    <a:pt x="3886200" y="1485900"/>
                  </a:cubicBezTo>
                  <a:cubicBezTo>
                    <a:pt x="3823074" y="1485900"/>
                    <a:pt x="3771900" y="1434726"/>
                    <a:pt x="3771900" y="1371600"/>
                  </a:cubicBezTo>
                  <a:cubicBezTo>
                    <a:pt x="3771900" y="1308475"/>
                    <a:pt x="3823074" y="1257301"/>
                    <a:pt x="3886200" y="1257301"/>
                  </a:cubicBezTo>
                  <a:close/>
                  <a:moveTo>
                    <a:pt x="5486400" y="1143000"/>
                  </a:moveTo>
                  <a:lnTo>
                    <a:pt x="5486400" y="5143500"/>
                  </a:lnTo>
                  <a:lnTo>
                    <a:pt x="6400800" y="5143500"/>
                  </a:lnTo>
                  <a:lnTo>
                    <a:pt x="6400800" y="1143000"/>
                  </a:lnTo>
                  <a:close/>
                  <a:moveTo>
                    <a:pt x="4229100" y="914400"/>
                  </a:moveTo>
                  <a:cubicBezTo>
                    <a:pt x="4292226" y="914400"/>
                    <a:pt x="4343400" y="965575"/>
                    <a:pt x="4343400" y="1028701"/>
                  </a:cubicBezTo>
                  <a:cubicBezTo>
                    <a:pt x="4343400" y="1091826"/>
                    <a:pt x="4292226" y="1143001"/>
                    <a:pt x="4229100" y="1143001"/>
                  </a:cubicBezTo>
                  <a:cubicBezTo>
                    <a:pt x="4165974" y="1143001"/>
                    <a:pt x="4114800" y="1091826"/>
                    <a:pt x="4114800" y="1028701"/>
                  </a:cubicBezTo>
                  <a:cubicBezTo>
                    <a:pt x="4114800" y="965575"/>
                    <a:pt x="4165974" y="914400"/>
                    <a:pt x="4229100" y="914400"/>
                  </a:cubicBezTo>
                  <a:close/>
                  <a:moveTo>
                    <a:pt x="4572000" y="571501"/>
                  </a:moveTo>
                  <a:cubicBezTo>
                    <a:pt x="4635126" y="571501"/>
                    <a:pt x="4686300" y="622674"/>
                    <a:pt x="4686300" y="685801"/>
                  </a:cubicBezTo>
                  <a:cubicBezTo>
                    <a:pt x="4686300" y="748927"/>
                    <a:pt x="4635126" y="800101"/>
                    <a:pt x="4572000" y="800101"/>
                  </a:cubicBezTo>
                  <a:cubicBezTo>
                    <a:pt x="4508874" y="800101"/>
                    <a:pt x="4457700" y="748927"/>
                    <a:pt x="4457700" y="685801"/>
                  </a:cubicBezTo>
                  <a:cubicBezTo>
                    <a:pt x="4457700" y="622674"/>
                    <a:pt x="4508874" y="571501"/>
                    <a:pt x="4572000" y="571501"/>
                  </a:cubicBezTo>
                  <a:close/>
                  <a:moveTo>
                    <a:pt x="3886200" y="571501"/>
                  </a:moveTo>
                  <a:cubicBezTo>
                    <a:pt x="3949326" y="571501"/>
                    <a:pt x="4000500" y="622674"/>
                    <a:pt x="4000500" y="685801"/>
                  </a:cubicBezTo>
                  <a:cubicBezTo>
                    <a:pt x="4000500" y="748927"/>
                    <a:pt x="3949326" y="800101"/>
                    <a:pt x="3886200" y="800101"/>
                  </a:cubicBezTo>
                  <a:cubicBezTo>
                    <a:pt x="3823074" y="800101"/>
                    <a:pt x="3771900" y="748927"/>
                    <a:pt x="3771900" y="685801"/>
                  </a:cubicBezTo>
                  <a:cubicBezTo>
                    <a:pt x="3771900" y="622674"/>
                    <a:pt x="3823074" y="571501"/>
                    <a:pt x="3886200" y="571501"/>
                  </a:cubicBezTo>
                  <a:close/>
                  <a:moveTo>
                    <a:pt x="4229100" y="228601"/>
                  </a:moveTo>
                  <a:cubicBezTo>
                    <a:pt x="4292226" y="228601"/>
                    <a:pt x="4343400" y="279775"/>
                    <a:pt x="4343400" y="342901"/>
                  </a:cubicBezTo>
                  <a:cubicBezTo>
                    <a:pt x="4343400" y="406026"/>
                    <a:pt x="4292226" y="457200"/>
                    <a:pt x="4229100" y="457200"/>
                  </a:cubicBezTo>
                  <a:cubicBezTo>
                    <a:pt x="4165974" y="457200"/>
                    <a:pt x="4114800" y="406026"/>
                    <a:pt x="4114800" y="342901"/>
                  </a:cubicBezTo>
                  <a:cubicBezTo>
                    <a:pt x="4114800" y="279775"/>
                    <a:pt x="4165974" y="228601"/>
                    <a:pt x="4229100" y="228601"/>
                  </a:cubicBezTo>
                  <a:close/>
                  <a:moveTo>
                    <a:pt x="3771900" y="228600"/>
                  </a:moveTo>
                  <a:lnTo>
                    <a:pt x="3771900" y="685800"/>
                  </a:lnTo>
                  <a:lnTo>
                    <a:pt x="3771900" y="685801"/>
                  </a:lnTo>
                  <a:lnTo>
                    <a:pt x="3771900" y="1371600"/>
                  </a:lnTo>
                  <a:lnTo>
                    <a:pt x="3771900" y="2057400"/>
                  </a:lnTo>
                  <a:lnTo>
                    <a:pt x="3771900" y="2743200"/>
                  </a:lnTo>
                  <a:lnTo>
                    <a:pt x="3771900" y="3429000"/>
                  </a:lnTo>
                  <a:lnTo>
                    <a:pt x="3771900" y="4114800"/>
                  </a:lnTo>
                  <a:lnTo>
                    <a:pt x="3771900" y="4800600"/>
                  </a:lnTo>
                  <a:lnTo>
                    <a:pt x="3771900" y="5143500"/>
                  </a:lnTo>
                  <a:lnTo>
                    <a:pt x="4114800" y="5143500"/>
                  </a:lnTo>
                  <a:cubicBezTo>
                    <a:pt x="4114800" y="5080407"/>
                    <a:pt x="4166007" y="5029200"/>
                    <a:pt x="4229100" y="5029200"/>
                  </a:cubicBezTo>
                  <a:cubicBezTo>
                    <a:pt x="4292194" y="5029200"/>
                    <a:pt x="4343400" y="5080407"/>
                    <a:pt x="4343400" y="5143500"/>
                  </a:cubicBezTo>
                  <a:lnTo>
                    <a:pt x="4686300" y="5143500"/>
                  </a:lnTo>
                  <a:lnTo>
                    <a:pt x="4686300" y="4800600"/>
                  </a:lnTo>
                  <a:lnTo>
                    <a:pt x="4686300" y="4114800"/>
                  </a:lnTo>
                  <a:lnTo>
                    <a:pt x="4686300" y="3429000"/>
                  </a:lnTo>
                  <a:lnTo>
                    <a:pt x="4686300" y="2743200"/>
                  </a:lnTo>
                  <a:lnTo>
                    <a:pt x="4686300" y="2057400"/>
                  </a:lnTo>
                  <a:lnTo>
                    <a:pt x="4686300" y="1371600"/>
                  </a:lnTo>
                  <a:lnTo>
                    <a:pt x="4686300" y="685801"/>
                  </a:lnTo>
                  <a:lnTo>
                    <a:pt x="4686300" y="685800"/>
                  </a:lnTo>
                  <a:lnTo>
                    <a:pt x="4686300" y="228600"/>
                  </a:lnTo>
                  <a:lnTo>
                    <a:pt x="4229100" y="228600"/>
                  </a:lnTo>
                  <a:close/>
                  <a:moveTo>
                    <a:pt x="3543300" y="0"/>
                  </a:moveTo>
                  <a:lnTo>
                    <a:pt x="4914900" y="0"/>
                  </a:lnTo>
                  <a:lnTo>
                    <a:pt x="4914900" y="5143500"/>
                  </a:lnTo>
                  <a:lnTo>
                    <a:pt x="5257800" y="5143500"/>
                  </a:lnTo>
                  <a:lnTo>
                    <a:pt x="5257800" y="914400"/>
                  </a:lnTo>
                  <a:lnTo>
                    <a:pt x="6629400" y="914400"/>
                  </a:lnTo>
                  <a:lnTo>
                    <a:pt x="6629400" y="5143500"/>
                  </a:lnTo>
                  <a:lnTo>
                    <a:pt x="6743700" y="5143500"/>
                  </a:lnTo>
                  <a:cubicBezTo>
                    <a:pt x="6806794" y="5143500"/>
                    <a:pt x="6858000" y="5194592"/>
                    <a:pt x="6858000" y="5257800"/>
                  </a:cubicBezTo>
                  <a:cubicBezTo>
                    <a:pt x="6858000" y="5321008"/>
                    <a:pt x="6806794" y="5372100"/>
                    <a:pt x="6743700" y="5372100"/>
                  </a:cubicBezTo>
                  <a:lnTo>
                    <a:pt x="6629400" y="5372100"/>
                  </a:lnTo>
                  <a:lnTo>
                    <a:pt x="5257800" y="5372100"/>
                  </a:lnTo>
                  <a:lnTo>
                    <a:pt x="4914900" y="5372100"/>
                  </a:lnTo>
                  <a:lnTo>
                    <a:pt x="3543300" y="5372100"/>
                  </a:lnTo>
                  <a:lnTo>
                    <a:pt x="3200400" y="5372100"/>
                  </a:lnTo>
                  <a:lnTo>
                    <a:pt x="1828800" y="5372100"/>
                  </a:lnTo>
                  <a:lnTo>
                    <a:pt x="1485900" y="5372100"/>
                  </a:lnTo>
                  <a:lnTo>
                    <a:pt x="114300" y="5372100"/>
                  </a:lnTo>
                  <a:cubicBezTo>
                    <a:pt x="51206" y="5372100"/>
                    <a:pt x="0" y="5321008"/>
                    <a:pt x="0" y="5257800"/>
                  </a:cubicBezTo>
                  <a:cubicBezTo>
                    <a:pt x="0" y="5194592"/>
                    <a:pt x="51206" y="5143500"/>
                    <a:pt x="114300" y="5143500"/>
                  </a:cubicBezTo>
                  <a:lnTo>
                    <a:pt x="114300" y="2514600"/>
                  </a:lnTo>
                  <a:lnTo>
                    <a:pt x="1485900" y="2514600"/>
                  </a:lnTo>
                  <a:lnTo>
                    <a:pt x="1485900" y="5143500"/>
                  </a:lnTo>
                  <a:lnTo>
                    <a:pt x="1828800" y="5143500"/>
                  </a:lnTo>
                  <a:lnTo>
                    <a:pt x="1828800" y="3543300"/>
                  </a:lnTo>
                  <a:lnTo>
                    <a:pt x="3200400" y="3543300"/>
                  </a:lnTo>
                  <a:lnTo>
                    <a:pt x="3200400" y="5143500"/>
                  </a:lnTo>
                  <a:lnTo>
                    <a:pt x="3543300" y="5143500"/>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6" name="Gráfico 84">
              <a:extLst>
                <a:ext uri="{FF2B5EF4-FFF2-40B4-BE49-F238E27FC236}">
                  <a16:creationId xmlns:a16="http://schemas.microsoft.com/office/drawing/2014/main" id="{F3AFCA31-C1FA-0764-32ED-05F06C48BBA4}"/>
                </a:ext>
              </a:extLst>
            </p:cNvPr>
            <p:cNvGrpSpPr/>
            <p:nvPr/>
          </p:nvGrpSpPr>
          <p:grpSpPr>
            <a:xfrm>
              <a:off x="6096384" y="2632620"/>
              <a:ext cx="508668" cy="518658"/>
              <a:chOff x="3095625" y="375046"/>
              <a:chExt cx="6000750" cy="6118621"/>
            </a:xfrm>
            <a:solidFill>
              <a:srgbClr val="000000"/>
            </a:solidFill>
          </p:grpSpPr>
          <p:sp>
            <p:nvSpPr>
              <p:cNvPr id="87" name="Forma libre: forma 86">
                <a:extLst>
                  <a:ext uri="{FF2B5EF4-FFF2-40B4-BE49-F238E27FC236}">
                    <a16:creationId xmlns:a16="http://schemas.microsoft.com/office/drawing/2014/main" id="{9843364B-B993-FB9F-2D0E-6134496CE53B}"/>
                  </a:ext>
                </a:extLst>
              </p:cNvPr>
              <p:cNvSpPr/>
              <p:nvPr/>
            </p:nvSpPr>
            <p:spPr>
              <a:xfrm>
                <a:off x="4563665" y="1725215"/>
                <a:ext cx="3064668" cy="4768452"/>
              </a:xfrm>
              <a:custGeom>
                <a:avLst/>
                <a:gdLst>
                  <a:gd name="connsiteX0" fmla="*/ 1532334 w 3064668"/>
                  <a:gd name="connsiteY0" fmla="*/ 0 h 4768452"/>
                  <a:gd name="connsiteX1" fmla="*/ 0 w 3064668"/>
                  <a:gd name="connsiteY1" fmla="*/ 1532334 h 4768452"/>
                  <a:gd name="connsiteX2" fmla="*/ 857250 w 3064668"/>
                  <a:gd name="connsiteY2" fmla="*/ 2903935 h 4768452"/>
                  <a:gd name="connsiteX3" fmla="*/ 857250 w 3064668"/>
                  <a:gd name="connsiteY3" fmla="*/ 3418284 h 4768452"/>
                  <a:gd name="connsiteX4" fmla="*/ 857250 w 3064668"/>
                  <a:gd name="connsiteY4" fmla="*/ 3632597 h 4768452"/>
                  <a:gd name="connsiteX5" fmla="*/ 857250 w 3064668"/>
                  <a:gd name="connsiteY5" fmla="*/ 4200525 h 4768452"/>
                  <a:gd name="connsiteX6" fmla="*/ 1028700 w 3064668"/>
                  <a:gd name="connsiteY6" fmla="*/ 4200525 h 4768452"/>
                  <a:gd name="connsiteX7" fmla="*/ 1221581 w 3064668"/>
                  <a:gd name="connsiteY7" fmla="*/ 4768453 h 4768452"/>
                  <a:gd name="connsiteX8" fmla="*/ 1853803 w 3064668"/>
                  <a:gd name="connsiteY8" fmla="*/ 4768453 h 4768452"/>
                  <a:gd name="connsiteX9" fmla="*/ 1875234 w 3064668"/>
                  <a:gd name="connsiteY9" fmla="*/ 4693444 h 4768452"/>
                  <a:gd name="connsiteX10" fmla="*/ 2035969 w 3064668"/>
                  <a:gd name="connsiteY10" fmla="*/ 4200525 h 4768452"/>
                  <a:gd name="connsiteX11" fmla="*/ 2207419 w 3064668"/>
                  <a:gd name="connsiteY11" fmla="*/ 4200525 h 4768452"/>
                  <a:gd name="connsiteX12" fmla="*/ 2207419 w 3064668"/>
                  <a:gd name="connsiteY12" fmla="*/ 4093369 h 4768452"/>
                  <a:gd name="connsiteX13" fmla="*/ 2207419 w 3064668"/>
                  <a:gd name="connsiteY13" fmla="*/ 3632597 h 4768452"/>
                  <a:gd name="connsiteX14" fmla="*/ 2207419 w 3064668"/>
                  <a:gd name="connsiteY14" fmla="*/ 3418284 h 4768452"/>
                  <a:gd name="connsiteX15" fmla="*/ 2207419 w 3064668"/>
                  <a:gd name="connsiteY15" fmla="*/ 2903935 h 4768452"/>
                  <a:gd name="connsiteX16" fmla="*/ 3064669 w 3064668"/>
                  <a:gd name="connsiteY16" fmla="*/ 1532334 h 4768452"/>
                  <a:gd name="connsiteX17" fmla="*/ 1532334 w 3064668"/>
                  <a:gd name="connsiteY17" fmla="*/ 0 h 4768452"/>
                  <a:gd name="connsiteX18" fmla="*/ 1071563 w 3064668"/>
                  <a:gd name="connsiteY18" fmla="*/ 3975497 h 4768452"/>
                  <a:gd name="connsiteX19" fmla="*/ 1071563 w 3064668"/>
                  <a:gd name="connsiteY19" fmla="*/ 3621881 h 4768452"/>
                  <a:gd name="connsiteX20" fmla="*/ 1993106 w 3064668"/>
                  <a:gd name="connsiteY20" fmla="*/ 3621881 h 4768452"/>
                  <a:gd name="connsiteX21" fmla="*/ 1993106 w 3064668"/>
                  <a:gd name="connsiteY21" fmla="*/ 3975497 h 4768452"/>
                  <a:gd name="connsiteX22" fmla="*/ 1071563 w 3064668"/>
                  <a:gd name="connsiteY22" fmla="*/ 3975497 h 4768452"/>
                  <a:gd name="connsiteX23" fmla="*/ 1693069 w 3064668"/>
                  <a:gd name="connsiteY23" fmla="*/ 4543425 h 4768452"/>
                  <a:gd name="connsiteX24" fmla="*/ 1371600 w 3064668"/>
                  <a:gd name="connsiteY24" fmla="*/ 4543425 h 4768452"/>
                  <a:gd name="connsiteX25" fmla="*/ 1253728 w 3064668"/>
                  <a:gd name="connsiteY25" fmla="*/ 4189810 h 4768452"/>
                  <a:gd name="connsiteX26" fmla="*/ 1810940 w 3064668"/>
                  <a:gd name="connsiteY26" fmla="*/ 4189810 h 4768452"/>
                  <a:gd name="connsiteX27" fmla="*/ 1693069 w 3064668"/>
                  <a:gd name="connsiteY27" fmla="*/ 4543425 h 4768452"/>
                  <a:gd name="connsiteX28" fmla="*/ 2057400 w 3064668"/>
                  <a:gd name="connsiteY28" fmla="*/ 2732484 h 4768452"/>
                  <a:gd name="connsiteX29" fmla="*/ 1993106 w 3064668"/>
                  <a:gd name="connsiteY29" fmla="*/ 2764631 h 4768452"/>
                  <a:gd name="connsiteX30" fmla="*/ 1993106 w 3064668"/>
                  <a:gd name="connsiteY30" fmla="*/ 3418284 h 4768452"/>
                  <a:gd name="connsiteX31" fmla="*/ 1639491 w 3064668"/>
                  <a:gd name="connsiteY31" fmla="*/ 3418284 h 4768452"/>
                  <a:gd name="connsiteX32" fmla="*/ 1639491 w 3064668"/>
                  <a:gd name="connsiteY32" fmla="*/ 2378869 h 4768452"/>
                  <a:gd name="connsiteX33" fmla="*/ 1832372 w 3064668"/>
                  <a:gd name="connsiteY33" fmla="*/ 2100263 h 4768452"/>
                  <a:gd name="connsiteX34" fmla="*/ 1532334 w 3064668"/>
                  <a:gd name="connsiteY34" fmla="*/ 1800225 h 4768452"/>
                  <a:gd name="connsiteX35" fmla="*/ 1232297 w 3064668"/>
                  <a:gd name="connsiteY35" fmla="*/ 2100263 h 4768452"/>
                  <a:gd name="connsiteX36" fmla="*/ 1425178 w 3064668"/>
                  <a:gd name="connsiteY36" fmla="*/ 2378869 h 4768452"/>
                  <a:gd name="connsiteX37" fmla="*/ 1425178 w 3064668"/>
                  <a:gd name="connsiteY37" fmla="*/ 3418284 h 4768452"/>
                  <a:gd name="connsiteX38" fmla="*/ 1071563 w 3064668"/>
                  <a:gd name="connsiteY38" fmla="*/ 3418284 h 4768452"/>
                  <a:gd name="connsiteX39" fmla="*/ 1071563 w 3064668"/>
                  <a:gd name="connsiteY39" fmla="*/ 2764631 h 4768452"/>
                  <a:gd name="connsiteX40" fmla="*/ 1007269 w 3064668"/>
                  <a:gd name="connsiteY40" fmla="*/ 2732484 h 4768452"/>
                  <a:gd name="connsiteX41" fmla="*/ 225028 w 3064668"/>
                  <a:gd name="connsiteY41" fmla="*/ 1532334 h 4768452"/>
                  <a:gd name="connsiteX42" fmla="*/ 610791 w 3064668"/>
                  <a:gd name="connsiteY42" fmla="*/ 600075 h 4768452"/>
                  <a:gd name="connsiteX43" fmla="*/ 1543050 w 3064668"/>
                  <a:gd name="connsiteY43" fmla="*/ 214313 h 4768452"/>
                  <a:gd name="connsiteX44" fmla="*/ 2475309 w 3064668"/>
                  <a:gd name="connsiteY44" fmla="*/ 600075 h 4768452"/>
                  <a:gd name="connsiteX45" fmla="*/ 2861072 w 3064668"/>
                  <a:gd name="connsiteY45" fmla="*/ 1532334 h 4768452"/>
                  <a:gd name="connsiteX46" fmla="*/ 2057400 w 3064668"/>
                  <a:gd name="connsiteY46" fmla="*/ 2732484 h 4768452"/>
                  <a:gd name="connsiteX47" fmla="*/ 1532334 w 3064668"/>
                  <a:gd name="connsiteY47" fmla="*/ 2175272 h 4768452"/>
                  <a:gd name="connsiteX48" fmla="*/ 1446609 w 3064668"/>
                  <a:gd name="connsiteY48" fmla="*/ 2089547 h 4768452"/>
                  <a:gd name="connsiteX49" fmla="*/ 1532334 w 3064668"/>
                  <a:gd name="connsiteY49" fmla="*/ 2003822 h 4768452"/>
                  <a:gd name="connsiteX50" fmla="*/ 1618059 w 3064668"/>
                  <a:gd name="connsiteY50" fmla="*/ 2089547 h 4768452"/>
                  <a:gd name="connsiteX51" fmla="*/ 1532334 w 3064668"/>
                  <a:gd name="connsiteY51" fmla="*/ 2175272 h 476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064668" h="4768452">
                    <a:moveTo>
                      <a:pt x="1532334" y="0"/>
                    </a:moveTo>
                    <a:cubicBezTo>
                      <a:pt x="685800" y="0"/>
                      <a:pt x="10715" y="685800"/>
                      <a:pt x="0" y="1532334"/>
                    </a:cubicBezTo>
                    <a:cubicBezTo>
                      <a:pt x="0" y="2132409"/>
                      <a:pt x="342900" y="2646759"/>
                      <a:pt x="857250" y="2903935"/>
                    </a:cubicBezTo>
                    <a:lnTo>
                      <a:pt x="857250" y="3418284"/>
                    </a:lnTo>
                    <a:lnTo>
                      <a:pt x="857250" y="3632597"/>
                    </a:lnTo>
                    <a:lnTo>
                      <a:pt x="857250" y="4200525"/>
                    </a:lnTo>
                    <a:lnTo>
                      <a:pt x="1028700" y="4200525"/>
                    </a:lnTo>
                    <a:lnTo>
                      <a:pt x="1221581" y="4768453"/>
                    </a:lnTo>
                    <a:lnTo>
                      <a:pt x="1853803" y="4768453"/>
                    </a:lnTo>
                    <a:lnTo>
                      <a:pt x="1875234" y="4693444"/>
                    </a:lnTo>
                    <a:lnTo>
                      <a:pt x="2035969" y="4200525"/>
                    </a:lnTo>
                    <a:lnTo>
                      <a:pt x="2207419" y="4200525"/>
                    </a:lnTo>
                    <a:lnTo>
                      <a:pt x="2207419" y="4093369"/>
                    </a:lnTo>
                    <a:lnTo>
                      <a:pt x="2207419" y="3632597"/>
                    </a:lnTo>
                    <a:lnTo>
                      <a:pt x="2207419" y="3418284"/>
                    </a:lnTo>
                    <a:lnTo>
                      <a:pt x="2207419" y="2903935"/>
                    </a:lnTo>
                    <a:cubicBezTo>
                      <a:pt x="2711053" y="2657475"/>
                      <a:pt x="3053953" y="2132409"/>
                      <a:pt x="3064669" y="1532334"/>
                    </a:cubicBezTo>
                    <a:cubicBezTo>
                      <a:pt x="3053953" y="685800"/>
                      <a:pt x="2378869" y="0"/>
                      <a:pt x="1532334" y="0"/>
                    </a:cubicBezTo>
                    <a:close/>
                    <a:moveTo>
                      <a:pt x="1071563" y="3975497"/>
                    </a:moveTo>
                    <a:lnTo>
                      <a:pt x="1071563" y="3621881"/>
                    </a:lnTo>
                    <a:lnTo>
                      <a:pt x="1993106" y="3621881"/>
                    </a:lnTo>
                    <a:lnTo>
                      <a:pt x="1993106" y="3975497"/>
                    </a:lnTo>
                    <a:lnTo>
                      <a:pt x="1071563" y="3975497"/>
                    </a:lnTo>
                    <a:close/>
                    <a:moveTo>
                      <a:pt x="1693069" y="4543425"/>
                    </a:moveTo>
                    <a:lnTo>
                      <a:pt x="1371600" y="4543425"/>
                    </a:lnTo>
                    <a:lnTo>
                      <a:pt x="1253728" y="4189810"/>
                    </a:lnTo>
                    <a:lnTo>
                      <a:pt x="1810940" y="4189810"/>
                    </a:lnTo>
                    <a:lnTo>
                      <a:pt x="1693069" y="4543425"/>
                    </a:lnTo>
                    <a:close/>
                    <a:moveTo>
                      <a:pt x="2057400" y="2732484"/>
                    </a:moveTo>
                    <a:lnTo>
                      <a:pt x="1993106" y="2764631"/>
                    </a:lnTo>
                    <a:lnTo>
                      <a:pt x="1993106" y="3418284"/>
                    </a:lnTo>
                    <a:lnTo>
                      <a:pt x="1639491" y="3418284"/>
                    </a:lnTo>
                    <a:lnTo>
                      <a:pt x="1639491" y="2378869"/>
                    </a:lnTo>
                    <a:cubicBezTo>
                      <a:pt x="1746647" y="2336006"/>
                      <a:pt x="1832372" y="2228850"/>
                      <a:pt x="1832372" y="2100263"/>
                    </a:cubicBezTo>
                    <a:cubicBezTo>
                      <a:pt x="1832372" y="1939528"/>
                      <a:pt x="1703784" y="1800225"/>
                      <a:pt x="1532334" y="1800225"/>
                    </a:cubicBezTo>
                    <a:cubicBezTo>
                      <a:pt x="1371600" y="1800225"/>
                      <a:pt x="1232297" y="1928812"/>
                      <a:pt x="1232297" y="2100263"/>
                    </a:cubicBezTo>
                    <a:cubicBezTo>
                      <a:pt x="1232297" y="2228850"/>
                      <a:pt x="1307306" y="2336006"/>
                      <a:pt x="1425178" y="2378869"/>
                    </a:cubicBezTo>
                    <a:lnTo>
                      <a:pt x="1425178" y="3418284"/>
                    </a:lnTo>
                    <a:lnTo>
                      <a:pt x="1071563" y="3418284"/>
                    </a:lnTo>
                    <a:lnTo>
                      <a:pt x="1071563" y="2764631"/>
                    </a:lnTo>
                    <a:lnTo>
                      <a:pt x="1007269" y="2732484"/>
                    </a:lnTo>
                    <a:cubicBezTo>
                      <a:pt x="546497" y="2528888"/>
                      <a:pt x="214313" y="2068116"/>
                      <a:pt x="225028" y="1532334"/>
                    </a:cubicBezTo>
                    <a:cubicBezTo>
                      <a:pt x="225028" y="1168003"/>
                      <a:pt x="375047" y="846534"/>
                      <a:pt x="610791" y="600075"/>
                    </a:cubicBezTo>
                    <a:cubicBezTo>
                      <a:pt x="846534" y="364331"/>
                      <a:pt x="1178719" y="214313"/>
                      <a:pt x="1543050" y="214313"/>
                    </a:cubicBezTo>
                    <a:cubicBezTo>
                      <a:pt x="1907381" y="214313"/>
                      <a:pt x="2228850" y="364331"/>
                      <a:pt x="2475309" y="600075"/>
                    </a:cubicBezTo>
                    <a:cubicBezTo>
                      <a:pt x="2711053" y="835819"/>
                      <a:pt x="2861072" y="1168003"/>
                      <a:pt x="2861072" y="1532334"/>
                    </a:cubicBezTo>
                    <a:cubicBezTo>
                      <a:pt x="2850356" y="2068116"/>
                      <a:pt x="2518172" y="2528888"/>
                      <a:pt x="2057400" y="2732484"/>
                    </a:cubicBezTo>
                    <a:close/>
                    <a:moveTo>
                      <a:pt x="1532334" y="2175272"/>
                    </a:moveTo>
                    <a:cubicBezTo>
                      <a:pt x="1489472" y="2175272"/>
                      <a:pt x="1446609" y="2143125"/>
                      <a:pt x="1446609" y="2089547"/>
                    </a:cubicBezTo>
                    <a:cubicBezTo>
                      <a:pt x="1446609" y="2046684"/>
                      <a:pt x="1478756" y="2003822"/>
                      <a:pt x="1532334" y="2003822"/>
                    </a:cubicBezTo>
                    <a:cubicBezTo>
                      <a:pt x="1575197" y="2003822"/>
                      <a:pt x="1618059" y="2035969"/>
                      <a:pt x="1618059" y="2089547"/>
                    </a:cubicBezTo>
                    <a:cubicBezTo>
                      <a:pt x="1618059" y="2143125"/>
                      <a:pt x="1575197" y="2175272"/>
                      <a:pt x="1532334" y="2175272"/>
                    </a:cubicBez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orma libre: forma 87">
                <a:extLst>
                  <a:ext uri="{FF2B5EF4-FFF2-40B4-BE49-F238E27FC236}">
                    <a16:creationId xmlns:a16="http://schemas.microsoft.com/office/drawing/2014/main" id="{65A7A5A8-207C-476F-F87C-003AAB5595C3}"/>
                  </a:ext>
                </a:extLst>
              </p:cNvPr>
              <p:cNvSpPr/>
              <p:nvPr/>
            </p:nvSpPr>
            <p:spPr>
              <a:xfrm>
                <a:off x="5988843" y="375046"/>
                <a:ext cx="214312" cy="750093"/>
              </a:xfrm>
              <a:custGeom>
                <a:avLst/>
                <a:gdLst>
                  <a:gd name="connsiteX0" fmla="*/ 0 w 214312"/>
                  <a:gd name="connsiteY0" fmla="*/ 0 h 750093"/>
                  <a:gd name="connsiteX1" fmla="*/ 214313 w 214312"/>
                  <a:gd name="connsiteY1" fmla="*/ 0 h 750093"/>
                  <a:gd name="connsiteX2" fmla="*/ 214313 w 214312"/>
                  <a:gd name="connsiteY2" fmla="*/ 750094 h 750093"/>
                  <a:gd name="connsiteX3" fmla="*/ 0 w 214312"/>
                  <a:gd name="connsiteY3" fmla="*/ 750094 h 750093"/>
                </a:gdLst>
                <a:ahLst/>
                <a:cxnLst>
                  <a:cxn ang="0">
                    <a:pos x="connsiteX0" y="connsiteY0"/>
                  </a:cxn>
                  <a:cxn ang="0">
                    <a:pos x="connsiteX1" y="connsiteY1"/>
                  </a:cxn>
                  <a:cxn ang="0">
                    <a:pos x="connsiteX2" y="connsiteY2"/>
                  </a:cxn>
                  <a:cxn ang="0">
                    <a:pos x="connsiteX3" y="connsiteY3"/>
                  </a:cxn>
                </a:cxnLst>
                <a:rect l="l" t="t" r="r" b="b"/>
                <a:pathLst>
                  <a:path w="214312" h="750093">
                    <a:moveTo>
                      <a:pt x="0" y="0"/>
                    </a:moveTo>
                    <a:lnTo>
                      <a:pt x="214313" y="0"/>
                    </a:lnTo>
                    <a:lnTo>
                      <a:pt x="214313" y="750094"/>
                    </a:lnTo>
                    <a:lnTo>
                      <a:pt x="0" y="750094"/>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orma libre: forma 88">
                <a:extLst>
                  <a:ext uri="{FF2B5EF4-FFF2-40B4-BE49-F238E27FC236}">
                    <a16:creationId xmlns:a16="http://schemas.microsoft.com/office/drawing/2014/main" id="{FA9CF1F2-A3F3-68B0-080C-FC13F64B80C7}"/>
                  </a:ext>
                </a:extLst>
              </p:cNvPr>
              <p:cNvSpPr/>
              <p:nvPr/>
            </p:nvSpPr>
            <p:spPr>
              <a:xfrm>
                <a:off x="8346281" y="3268265"/>
                <a:ext cx="750093" cy="214312"/>
              </a:xfrm>
              <a:custGeom>
                <a:avLst/>
                <a:gdLst>
                  <a:gd name="connsiteX0" fmla="*/ 0 w 750093"/>
                  <a:gd name="connsiteY0" fmla="*/ 0 h 214312"/>
                  <a:gd name="connsiteX1" fmla="*/ 750094 w 750093"/>
                  <a:gd name="connsiteY1" fmla="*/ 0 h 214312"/>
                  <a:gd name="connsiteX2" fmla="*/ 750094 w 750093"/>
                  <a:gd name="connsiteY2" fmla="*/ 214313 h 214312"/>
                  <a:gd name="connsiteX3" fmla="*/ 0 w 750093"/>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750093" h="214312">
                    <a:moveTo>
                      <a:pt x="0" y="0"/>
                    </a:moveTo>
                    <a:lnTo>
                      <a:pt x="750094" y="0"/>
                    </a:lnTo>
                    <a:lnTo>
                      <a:pt x="750094" y="214313"/>
                    </a:lnTo>
                    <a:lnTo>
                      <a:pt x="0" y="214313"/>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orma libre: forma 89">
                <a:extLst>
                  <a:ext uri="{FF2B5EF4-FFF2-40B4-BE49-F238E27FC236}">
                    <a16:creationId xmlns:a16="http://schemas.microsoft.com/office/drawing/2014/main" id="{35F5ADCE-BABC-5D17-568C-FC7C3C47E47D}"/>
                  </a:ext>
                </a:extLst>
              </p:cNvPr>
              <p:cNvSpPr/>
              <p:nvPr/>
            </p:nvSpPr>
            <p:spPr>
              <a:xfrm>
                <a:off x="3095625" y="3268265"/>
                <a:ext cx="750093" cy="214312"/>
              </a:xfrm>
              <a:custGeom>
                <a:avLst/>
                <a:gdLst>
                  <a:gd name="connsiteX0" fmla="*/ 0 w 750093"/>
                  <a:gd name="connsiteY0" fmla="*/ 0 h 214312"/>
                  <a:gd name="connsiteX1" fmla="*/ 750094 w 750093"/>
                  <a:gd name="connsiteY1" fmla="*/ 0 h 214312"/>
                  <a:gd name="connsiteX2" fmla="*/ 750094 w 750093"/>
                  <a:gd name="connsiteY2" fmla="*/ 214313 h 214312"/>
                  <a:gd name="connsiteX3" fmla="*/ 0 w 750093"/>
                  <a:gd name="connsiteY3" fmla="*/ 214313 h 214312"/>
                </a:gdLst>
                <a:ahLst/>
                <a:cxnLst>
                  <a:cxn ang="0">
                    <a:pos x="connsiteX0" y="connsiteY0"/>
                  </a:cxn>
                  <a:cxn ang="0">
                    <a:pos x="connsiteX1" y="connsiteY1"/>
                  </a:cxn>
                  <a:cxn ang="0">
                    <a:pos x="connsiteX2" y="connsiteY2"/>
                  </a:cxn>
                  <a:cxn ang="0">
                    <a:pos x="connsiteX3" y="connsiteY3"/>
                  </a:cxn>
                </a:cxnLst>
                <a:rect l="l" t="t" r="r" b="b"/>
                <a:pathLst>
                  <a:path w="750093" h="214312">
                    <a:moveTo>
                      <a:pt x="0" y="0"/>
                    </a:moveTo>
                    <a:lnTo>
                      <a:pt x="750094" y="0"/>
                    </a:lnTo>
                    <a:lnTo>
                      <a:pt x="750094" y="214313"/>
                    </a:lnTo>
                    <a:lnTo>
                      <a:pt x="0" y="214313"/>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orma libre: forma 90">
                <a:extLst>
                  <a:ext uri="{FF2B5EF4-FFF2-40B4-BE49-F238E27FC236}">
                    <a16:creationId xmlns:a16="http://schemas.microsoft.com/office/drawing/2014/main" id="{EF56C5F4-1723-FF99-2EB6-0E7484E7D358}"/>
                  </a:ext>
                </a:extLst>
              </p:cNvPr>
              <p:cNvSpPr/>
              <p:nvPr/>
            </p:nvSpPr>
            <p:spPr>
              <a:xfrm rot="-2700000">
                <a:off x="7577465" y="1415609"/>
                <a:ext cx="750086" cy="214310"/>
              </a:xfrm>
              <a:custGeom>
                <a:avLst/>
                <a:gdLst>
                  <a:gd name="connsiteX0" fmla="*/ 0 w 750086"/>
                  <a:gd name="connsiteY0" fmla="*/ 0 h 214310"/>
                  <a:gd name="connsiteX1" fmla="*/ 750087 w 750086"/>
                  <a:gd name="connsiteY1" fmla="*/ 0 h 214310"/>
                  <a:gd name="connsiteX2" fmla="*/ 750087 w 750086"/>
                  <a:gd name="connsiteY2" fmla="*/ 214310 h 214310"/>
                  <a:gd name="connsiteX3" fmla="*/ 0 w 750086"/>
                  <a:gd name="connsiteY3" fmla="*/ 214310 h 214310"/>
                </a:gdLst>
                <a:ahLst/>
                <a:cxnLst>
                  <a:cxn ang="0">
                    <a:pos x="connsiteX0" y="connsiteY0"/>
                  </a:cxn>
                  <a:cxn ang="0">
                    <a:pos x="connsiteX1" y="connsiteY1"/>
                  </a:cxn>
                  <a:cxn ang="0">
                    <a:pos x="connsiteX2" y="connsiteY2"/>
                  </a:cxn>
                  <a:cxn ang="0">
                    <a:pos x="connsiteX3" y="connsiteY3"/>
                  </a:cxn>
                </a:cxnLst>
                <a:rect l="l" t="t" r="r" b="b"/>
                <a:pathLst>
                  <a:path w="750086" h="214310">
                    <a:moveTo>
                      <a:pt x="0" y="0"/>
                    </a:moveTo>
                    <a:lnTo>
                      <a:pt x="750087" y="0"/>
                    </a:lnTo>
                    <a:lnTo>
                      <a:pt x="750087" y="214310"/>
                    </a:lnTo>
                    <a:lnTo>
                      <a:pt x="0" y="214310"/>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orma libre: forma 91">
                <a:extLst>
                  <a:ext uri="{FF2B5EF4-FFF2-40B4-BE49-F238E27FC236}">
                    <a16:creationId xmlns:a16="http://schemas.microsoft.com/office/drawing/2014/main" id="{28436133-7D10-BC6E-F26F-561EA221D24C}"/>
                  </a:ext>
                </a:extLst>
              </p:cNvPr>
              <p:cNvSpPr/>
              <p:nvPr/>
            </p:nvSpPr>
            <p:spPr>
              <a:xfrm rot="-2700000">
                <a:off x="4135554" y="1145337"/>
                <a:ext cx="214310" cy="750086"/>
              </a:xfrm>
              <a:custGeom>
                <a:avLst/>
                <a:gdLst>
                  <a:gd name="connsiteX0" fmla="*/ 0 w 214310"/>
                  <a:gd name="connsiteY0" fmla="*/ 0 h 750086"/>
                  <a:gd name="connsiteX1" fmla="*/ 214310 w 214310"/>
                  <a:gd name="connsiteY1" fmla="*/ 0 h 750086"/>
                  <a:gd name="connsiteX2" fmla="*/ 214310 w 214310"/>
                  <a:gd name="connsiteY2" fmla="*/ 750087 h 750086"/>
                  <a:gd name="connsiteX3" fmla="*/ 0 w 214310"/>
                  <a:gd name="connsiteY3" fmla="*/ 750087 h 750086"/>
                </a:gdLst>
                <a:ahLst/>
                <a:cxnLst>
                  <a:cxn ang="0">
                    <a:pos x="connsiteX0" y="connsiteY0"/>
                  </a:cxn>
                  <a:cxn ang="0">
                    <a:pos x="connsiteX1" y="connsiteY1"/>
                  </a:cxn>
                  <a:cxn ang="0">
                    <a:pos x="connsiteX2" y="connsiteY2"/>
                  </a:cxn>
                  <a:cxn ang="0">
                    <a:pos x="connsiteX3" y="connsiteY3"/>
                  </a:cxn>
                </a:cxnLst>
                <a:rect l="l" t="t" r="r" b="b"/>
                <a:pathLst>
                  <a:path w="214310" h="750086">
                    <a:moveTo>
                      <a:pt x="0" y="0"/>
                    </a:moveTo>
                    <a:lnTo>
                      <a:pt x="214310" y="0"/>
                    </a:lnTo>
                    <a:lnTo>
                      <a:pt x="214310" y="750087"/>
                    </a:lnTo>
                    <a:lnTo>
                      <a:pt x="0" y="750087"/>
                    </a:lnTo>
                    <a:close/>
                  </a:path>
                </a:pathLst>
              </a:custGeom>
              <a:solidFill>
                <a:schemeClr val="bg1">
                  <a:lumMod val="85000"/>
                </a:schemeClr>
              </a:solidFill>
              <a:ln w="1714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8" name="Grupo 97">
              <a:extLst>
                <a:ext uri="{FF2B5EF4-FFF2-40B4-BE49-F238E27FC236}">
                  <a16:creationId xmlns:a16="http://schemas.microsoft.com/office/drawing/2014/main" id="{B56CFFB0-AFB1-071D-A398-215AF25C8CE1}"/>
                </a:ext>
              </a:extLst>
            </p:cNvPr>
            <p:cNvGrpSpPr/>
            <p:nvPr/>
          </p:nvGrpSpPr>
          <p:grpSpPr>
            <a:xfrm>
              <a:off x="6282572" y="1020685"/>
              <a:ext cx="5121763" cy="5124178"/>
              <a:chOff x="6709275" y="1281947"/>
              <a:chExt cx="4860624" cy="4862916"/>
            </a:xfrm>
          </p:grpSpPr>
          <p:sp>
            <p:nvSpPr>
              <p:cNvPr id="1212" name="Arco 1211">
                <a:extLst>
                  <a:ext uri="{FF2B5EF4-FFF2-40B4-BE49-F238E27FC236}">
                    <a16:creationId xmlns:a16="http://schemas.microsoft.com/office/drawing/2014/main" id="{989D41C5-503F-34BA-CB56-B50E619E6A01}"/>
                  </a:ext>
                </a:extLst>
              </p:cNvPr>
              <p:cNvSpPr/>
              <p:nvPr/>
            </p:nvSpPr>
            <p:spPr>
              <a:xfrm>
                <a:off x="6709275" y="1281947"/>
                <a:ext cx="4860624" cy="4862916"/>
              </a:xfrm>
              <a:prstGeom prst="arc">
                <a:avLst>
                  <a:gd name="adj1" fmla="val 16200000"/>
                  <a:gd name="adj2" fmla="val 17614948"/>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Arco 92">
                <a:extLst>
                  <a:ext uri="{FF2B5EF4-FFF2-40B4-BE49-F238E27FC236}">
                    <a16:creationId xmlns:a16="http://schemas.microsoft.com/office/drawing/2014/main" id="{C6B6CA56-0326-AC2C-2FE4-E412617609D8}"/>
                  </a:ext>
                </a:extLst>
              </p:cNvPr>
              <p:cNvSpPr/>
              <p:nvPr/>
            </p:nvSpPr>
            <p:spPr>
              <a:xfrm>
                <a:off x="6709275" y="1281947"/>
                <a:ext cx="4860624" cy="4862916"/>
              </a:xfrm>
              <a:prstGeom prst="arc">
                <a:avLst>
                  <a:gd name="adj1" fmla="val 14083426"/>
                  <a:gd name="adj2" fmla="val 15273104"/>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Arco 93">
                <a:extLst>
                  <a:ext uri="{FF2B5EF4-FFF2-40B4-BE49-F238E27FC236}">
                    <a16:creationId xmlns:a16="http://schemas.microsoft.com/office/drawing/2014/main" id="{86AC7B49-EE28-21BC-2CAC-A2F82E28EA74}"/>
                  </a:ext>
                </a:extLst>
              </p:cNvPr>
              <p:cNvSpPr/>
              <p:nvPr/>
            </p:nvSpPr>
            <p:spPr>
              <a:xfrm>
                <a:off x="6709275" y="1281947"/>
                <a:ext cx="4860624" cy="4862916"/>
              </a:xfrm>
              <a:prstGeom prst="arc">
                <a:avLst>
                  <a:gd name="adj1" fmla="val 12327605"/>
                  <a:gd name="adj2" fmla="val 13294849"/>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Arco 94">
                <a:extLst>
                  <a:ext uri="{FF2B5EF4-FFF2-40B4-BE49-F238E27FC236}">
                    <a16:creationId xmlns:a16="http://schemas.microsoft.com/office/drawing/2014/main" id="{16F2C89E-56D0-2BE3-7C0D-2DE7BC8D212A}"/>
                  </a:ext>
                </a:extLst>
              </p:cNvPr>
              <p:cNvSpPr/>
              <p:nvPr/>
            </p:nvSpPr>
            <p:spPr>
              <a:xfrm>
                <a:off x="6709275" y="1281947"/>
                <a:ext cx="4860624" cy="4862916"/>
              </a:xfrm>
              <a:prstGeom prst="arc">
                <a:avLst>
                  <a:gd name="adj1" fmla="val 9368275"/>
                  <a:gd name="adj2" fmla="val 11309785"/>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Arco 95">
                <a:extLst>
                  <a:ext uri="{FF2B5EF4-FFF2-40B4-BE49-F238E27FC236}">
                    <a16:creationId xmlns:a16="http://schemas.microsoft.com/office/drawing/2014/main" id="{76E0FA11-3DB7-1726-85A6-347E0C3A9882}"/>
                  </a:ext>
                </a:extLst>
              </p:cNvPr>
              <p:cNvSpPr/>
              <p:nvPr/>
            </p:nvSpPr>
            <p:spPr>
              <a:xfrm>
                <a:off x="6709275" y="1281947"/>
                <a:ext cx="4860624" cy="4862916"/>
              </a:xfrm>
              <a:prstGeom prst="arc">
                <a:avLst>
                  <a:gd name="adj1" fmla="val 19061151"/>
                  <a:gd name="adj2" fmla="val 20025122"/>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Arco 96">
                <a:extLst>
                  <a:ext uri="{FF2B5EF4-FFF2-40B4-BE49-F238E27FC236}">
                    <a16:creationId xmlns:a16="http://schemas.microsoft.com/office/drawing/2014/main" id="{A61033F6-A2D5-FDD7-9261-D81AC0EAB525}"/>
                  </a:ext>
                </a:extLst>
              </p:cNvPr>
              <p:cNvSpPr/>
              <p:nvPr/>
            </p:nvSpPr>
            <p:spPr>
              <a:xfrm>
                <a:off x="6709275" y="1281947"/>
                <a:ext cx="4860624" cy="4862916"/>
              </a:xfrm>
              <a:prstGeom prst="arc">
                <a:avLst>
                  <a:gd name="adj1" fmla="val 21166028"/>
                  <a:gd name="adj2" fmla="val 1294923"/>
                </a:avLst>
              </a:prstGeom>
              <a:noFill/>
              <a:ln w="12700" cap="rnd">
                <a:solidFill>
                  <a:schemeClr val="bg2">
                    <a:lumMod val="75000"/>
                  </a:schemeClr>
                </a:solidFill>
                <a:prstDash val="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0665663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Word"/>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1017713D-0228-8D28-37CE-DDCD0C4D116A}"/>
              </a:ext>
            </a:extLst>
          </p:cNvPr>
          <p:cNvSpPr txBox="1"/>
          <p:nvPr/>
        </p:nvSpPr>
        <p:spPr>
          <a:xfrm>
            <a:off x="6474134" y="1281947"/>
            <a:ext cx="5142905"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F142A"/>
                </a:solidFill>
                <a:effectLst/>
                <a:uLnTx/>
                <a:uFillTx/>
                <a:latin typeface="Oswald SemiBold" pitchFamily="2" charset="0"/>
                <a:ea typeface="+mn-ea"/>
                <a:cs typeface="Poppins Light" panose="00000400000000000000" pitchFamily="2" charset="0"/>
              </a:rPr>
              <a:t>Pharmaceutical ERP </a:t>
            </a:r>
            <a:r>
              <a:rPr kumimoji="0" lang="en-US" sz="3200" b="0" i="0" u="none" strike="noStrike" kern="1200" cap="none" spc="0" normalizeH="0" baseline="0" noProof="0" dirty="0">
                <a:ln>
                  <a:noFill/>
                </a:ln>
                <a:solidFill>
                  <a:srgbClr val="EC2129"/>
                </a:solidFill>
                <a:effectLst/>
                <a:uLnTx/>
                <a:uFillTx/>
                <a:latin typeface="Oswald SemiBold" pitchFamily="2" charset="0"/>
                <a:ea typeface="+mn-ea"/>
                <a:cs typeface="Poppins Light" panose="00000400000000000000" pitchFamily="2" charset="0"/>
              </a:rPr>
              <a:t>Solution</a:t>
            </a:r>
          </a:p>
        </p:txBody>
      </p:sp>
      <p:grpSp>
        <p:nvGrpSpPr>
          <p:cNvPr id="4" name="Grupo 3">
            <a:extLst>
              <a:ext uri="{FF2B5EF4-FFF2-40B4-BE49-F238E27FC236}">
                <a16:creationId xmlns:a16="http://schemas.microsoft.com/office/drawing/2014/main" id="{DA7C4BBE-EA2C-C5E0-B561-ECF85AB1FC50}"/>
              </a:ext>
            </a:extLst>
          </p:cNvPr>
          <p:cNvGrpSpPr/>
          <p:nvPr/>
        </p:nvGrpSpPr>
        <p:grpSpPr>
          <a:xfrm>
            <a:off x="3868859" y="82631"/>
            <a:ext cx="354651" cy="850738"/>
            <a:chOff x="-683062" y="-16463286"/>
            <a:chExt cx="14194073" cy="34048790"/>
          </a:xfrm>
          <a:solidFill>
            <a:srgbClr val="0F142A"/>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6519433" y="5924631"/>
            <a:ext cx="354651" cy="850738"/>
            <a:chOff x="-683062" y="-16463286"/>
            <a:chExt cx="14194073" cy="34048790"/>
          </a:xfrm>
          <a:solidFill>
            <a:srgbClr val="0F142A"/>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9" name="CuadroTexto 38">
            <a:hlinkClick r:id="rId2"/>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sp>
        <p:nvSpPr>
          <p:cNvPr id="43" name="CuadroTexto 42">
            <a:extLst>
              <a:ext uri="{FF2B5EF4-FFF2-40B4-BE49-F238E27FC236}">
                <a16:creationId xmlns:a16="http://schemas.microsoft.com/office/drawing/2014/main" id="{71AFAA80-5F5B-F923-CD72-3B40E8A665AE}"/>
              </a:ext>
            </a:extLst>
          </p:cNvPr>
          <p:cNvSpPr txBox="1"/>
          <p:nvPr/>
        </p:nvSpPr>
        <p:spPr>
          <a:xfrm>
            <a:off x="6474135" y="2174258"/>
            <a:ext cx="4819192" cy="117416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Health Icon has partnered with </a:t>
            </a:r>
            <a:r>
              <a:rPr kumimoji="0" lang="en-US" sz="1200" b="0" i="0" u="none" strike="noStrike" kern="1200" cap="none" spc="0" normalizeH="0" baseline="0" noProof="0" dirty="0" err="1">
                <a:ln>
                  <a:noFill/>
                </a:ln>
                <a:solidFill>
                  <a:srgbClr val="02AEF1"/>
                </a:solidFill>
                <a:effectLst/>
                <a:uLnTx/>
                <a:uFillTx/>
                <a:latin typeface="Poppins Light" panose="00000400000000000000" pitchFamily="2" charset="0"/>
                <a:ea typeface="+mn-ea"/>
                <a:cs typeface="Poppins Light" panose="00000400000000000000" pitchFamily="2" charset="0"/>
                <a:hlinkClick r:id="rId3">
                  <a:extLst>
                    <a:ext uri="{A12FA001-AC4F-418D-AE19-62706E023703}">
                      <ahyp:hlinkClr xmlns:ahyp="http://schemas.microsoft.com/office/drawing/2018/hyperlinkcolor" val="tx"/>
                    </a:ext>
                  </a:extLst>
                </a:hlinkClick>
              </a:rPr>
              <a:t>ERPNext</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to provide a quality ERP solution for the pharmacies. The solution takes care of everyday pharmacy operations and helps taking things to the next level.</a:t>
            </a:r>
          </a:p>
        </p:txBody>
      </p:sp>
      <p:sp>
        <p:nvSpPr>
          <p:cNvPr id="44" name="CuadroTexto 43">
            <a:extLst>
              <a:ext uri="{FF2B5EF4-FFF2-40B4-BE49-F238E27FC236}">
                <a16:creationId xmlns:a16="http://schemas.microsoft.com/office/drawing/2014/main" id="{0B8D9EF1-284A-D83E-3F2F-69E8C5F3FEA8}"/>
              </a:ext>
            </a:extLst>
          </p:cNvPr>
          <p:cNvSpPr txBox="1"/>
          <p:nvPr/>
        </p:nvSpPr>
        <p:spPr>
          <a:xfrm>
            <a:off x="6474135" y="3613052"/>
            <a:ext cx="4819192" cy="8971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Powered by </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hlinkClick r:id="rId4">
                  <a:extLst>
                    <a:ext uri="{A12FA001-AC4F-418D-AE19-62706E023703}">
                      <ahyp:hlinkClr xmlns:ahyp="http://schemas.microsoft.com/office/drawing/2018/hyperlinkcolor" val="tx"/>
                    </a:ext>
                  </a:extLst>
                </a:hlinkClick>
              </a:rPr>
              <a:t>Frappe Framework </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and </a:t>
            </a:r>
            <a:r>
              <a:rPr kumimoji="0" lang="en-US" sz="1200" b="0" i="0" u="none" strike="noStrike" kern="1200" cap="none" spc="0" normalizeH="0" baseline="0" noProof="0" dirty="0">
                <a:ln>
                  <a:noFill/>
                </a:ln>
                <a:solidFill>
                  <a:srgbClr val="02AEF1"/>
                </a:solidFill>
                <a:effectLst/>
                <a:uLnTx/>
                <a:uFillTx/>
                <a:latin typeface="Poppins Light" panose="00000400000000000000" pitchFamily="2" charset="0"/>
                <a:ea typeface="+mn-ea"/>
                <a:cs typeface="Poppins Light" panose="00000400000000000000" pitchFamily="2" charset="0"/>
                <a:hlinkClick r:id="rId5">
                  <a:extLst>
                    <a:ext uri="{A12FA001-AC4F-418D-AE19-62706E023703}">
                      <ahyp:hlinkClr xmlns:ahyp="http://schemas.microsoft.com/office/drawing/2018/hyperlinkcolor" val="tx"/>
                    </a:ext>
                  </a:extLst>
                </a:hlinkClick>
              </a:rPr>
              <a:t>Frappe Cloud</a:t>
            </a:r>
            <a:r>
              <a:rPr kumimoji="0" lang="en-US" sz="1200" b="0" i="0" u="none" strike="noStrike" kern="1200" cap="none" spc="0" normalizeH="0" baseline="0" noProof="0" dirty="0">
                <a:ln>
                  <a:noFill/>
                </a:ln>
                <a:solidFill>
                  <a:srgbClr val="E7E6E6">
                    <a:lumMod val="25000"/>
                  </a:srgbClr>
                </a:solidFill>
                <a:effectLst/>
                <a:uLnTx/>
                <a:uFillTx/>
                <a:latin typeface="Poppins Light" panose="00000400000000000000" pitchFamily="2" charset="0"/>
                <a:ea typeface="+mn-ea"/>
                <a:cs typeface="Poppins Light" panose="00000400000000000000" pitchFamily="2" charset="0"/>
              </a:rPr>
              <a:t>, this ERP solution is your turnkey solution for running your seamless daily pharmaceutical operations.</a:t>
            </a:r>
          </a:p>
        </p:txBody>
      </p:sp>
      <p:sp>
        <p:nvSpPr>
          <p:cNvPr id="1215" name="Rectángulo: una sola esquina redondeada 1214">
            <a:extLst>
              <a:ext uri="{FF2B5EF4-FFF2-40B4-BE49-F238E27FC236}">
                <a16:creationId xmlns:a16="http://schemas.microsoft.com/office/drawing/2014/main" id="{21E1EB2C-510D-6DE6-FDF4-FEFBD902D5AE}"/>
              </a:ext>
            </a:extLst>
          </p:cNvPr>
          <p:cNvSpPr/>
          <p:nvPr/>
        </p:nvSpPr>
        <p:spPr>
          <a:xfrm flipV="1">
            <a:off x="0" y="-2"/>
            <a:ext cx="594048" cy="6420883"/>
          </a:xfrm>
          <a:prstGeom prst="round1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18" name="CuadroTexto 1217">
            <a:extLst>
              <a:ext uri="{FF2B5EF4-FFF2-40B4-BE49-F238E27FC236}">
                <a16:creationId xmlns:a16="http://schemas.microsoft.com/office/drawing/2014/main" id="{CED94F6D-AF81-B6D4-DD3A-9490007813B0}"/>
              </a:ext>
            </a:extLst>
          </p:cNvPr>
          <p:cNvSpPr txBox="1"/>
          <p:nvPr/>
        </p:nvSpPr>
        <p:spPr>
          <a:xfrm rot="16200000">
            <a:off x="-2318586" y="3361349"/>
            <a:ext cx="52606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300" normalizeH="0" baseline="0" noProof="0" dirty="0">
                <a:ln>
                  <a:noFill/>
                </a:ln>
                <a:solidFill>
                  <a:srgbClr val="C00000">
                    <a:alpha val="40000"/>
                  </a:srgbClr>
                </a:solidFill>
                <a:effectLst/>
                <a:uLnTx/>
                <a:uFillTx/>
                <a:latin typeface="Oswald SemiBold" pitchFamily="2" charset="0"/>
                <a:ea typeface="+mn-ea"/>
                <a:cs typeface="Poppins Light" panose="00000400000000000000" pitchFamily="2" charset="0"/>
              </a:rPr>
              <a:t>Digital Transformation</a:t>
            </a:r>
          </a:p>
        </p:txBody>
      </p:sp>
      <p:sp>
        <p:nvSpPr>
          <p:cNvPr id="1219" name="Forma libre: forma 1218">
            <a:extLst>
              <a:ext uri="{FF2B5EF4-FFF2-40B4-BE49-F238E27FC236}">
                <a16:creationId xmlns:a16="http://schemas.microsoft.com/office/drawing/2014/main" id="{76EA40F3-021F-B5C8-61A3-CB7B7A8EC0DF}"/>
              </a:ext>
            </a:extLst>
          </p:cNvPr>
          <p:cNvSpPr/>
          <p:nvPr/>
        </p:nvSpPr>
        <p:spPr>
          <a:xfrm rot="5400000">
            <a:off x="126159" y="596527"/>
            <a:ext cx="371154" cy="371152"/>
          </a:xfrm>
          <a:custGeom>
            <a:avLst/>
            <a:gdLst>
              <a:gd name="connsiteX0" fmla="*/ 4174352 w 6857987"/>
              <a:gd name="connsiteY0" fmla="*/ 4738481 h 6857960"/>
              <a:gd name="connsiteX1" fmla="*/ 4317226 w 6857987"/>
              <a:gd name="connsiteY1" fmla="*/ 4881356 h 6857960"/>
              <a:gd name="connsiteX2" fmla="*/ 4460101 w 6857987"/>
              <a:gd name="connsiteY2" fmla="*/ 4738481 h 6857960"/>
              <a:gd name="connsiteX3" fmla="*/ 4317226 w 6857987"/>
              <a:gd name="connsiteY3" fmla="*/ 4595606 h 6857960"/>
              <a:gd name="connsiteX4" fmla="*/ 4174352 w 6857987"/>
              <a:gd name="connsiteY4" fmla="*/ 4738481 h 6857960"/>
              <a:gd name="connsiteX5" fmla="*/ 3540900 w 6857987"/>
              <a:gd name="connsiteY5" fmla="*/ 2210667 h 6857960"/>
              <a:gd name="connsiteX6" fmla="*/ 3683775 w 6857987"/>
              <a:gd name="connsiteY6" fmla="*/ 2353542 h 6857960"/>
              <a:gd name="connsiteX7" fmla="*/ 3826650 w 6857987"/>
              <a:gd name="connsiteY7" fmla="*/ 2210667 h 6857960"/>
              <a:gd name="connsiteX8" fmla="*/ 3683775 w 6857987"/>
              <a:gd name="connsiteY8" fmla="*/ 2067792 h 6857960"/>
              <a:gd name="connsiteX9" fmla="*/ 3540900 w 6857987"/>
              <a:gd name="connsiteY9" fmla="*/ 2210667 h 6857960"/>
              <a:gd name="connsiteX10" fmla="*/ 2718522 w 6857987"/>
              <a:gd name="connsiteY10" fmla="*/ 3483485 h 6857960"/>
              <a:gd name="connsiteX11" fmla="*/ 2861397 w 6857987"/>
              <a:gd name="connsiteY11" fmla="*/ 3626360 h 6857960"/>
              <a:gd name="connsiteX12" fmla="*/ 3004272 w 6857987"/>
              <a:gd name="connsiteY12" fmla="*/ 3483485 h 6857960"/>
              <a:gd name="connsiteX13" fmla="*/ 2861397 w 6857987"/>
              <a:gd name="connsiteY13" fmla="*/ 3340609 h 6857960"/>
              <a:gd name="connsiteX14" fmla="*/ 2718522 w 6857987"/>
              <a:gd name="connsiteY14" fmla="*/ 3483485 h 6857960"/>
              <a:gd name="connsiteX15" fmla="*/ 1277354 w 6857987"/>
              <a:gd name="connsiteY15" fmla="*/ 3428960 h 6857960"/>
              <a:gd name="connsiteX16" fmla="*/ 3429013 w 6857987"/>
              <a:gd name="connsiteY16" fmla="*/ 5580618 h 6857960"/>
              <a:gd name="connsiteX17" fmla="*/ 5411315 w 6857987"/>
              <a:gd name="connsiteY17" fmla="*/ 4265684 h 6857960"/>
              <a:gd name="connsiteX18" fmla="*/ 5454484 w 6857987"/>
              <a:gd name="connsiteY18" fmla="*/ 4147964 h 6857960"/>
              <a:gd name="connsiteX19" fmla="*/ 4474462 w 6857987"/>
              <a:gd name="connsiteY19" fmla="*/ 4147964 h 6857960"/>
              <a:gd name="connsiteX20" fmla="*/ 4474462 w 6857987"/>
              <a:gd name="connsiteY20" fmla="*/ 4147963 h 6857960"/>
              <a:gd name="connsiteX21" fmla="*/ 4460102 w 6857987"/>
              <a:gd name="connsiteY21" fmla="*/ 4147963 h 6857960"/>
              <a:gd name="connsiteX22" fmla="*/ 4460102 w 6857987"/>
              <a:gd name="connsiteY22" fmla="*/ 4269822 h 6857960"/>
              <a:gd name="connsiteX23" fmla="*/ 4460101 w 6857987"/>
              <a:gd name="connsiteY23" fmla="*/ 4269822 h 6857960"/>
              <a:gd name="connsiteX24" fmla="*/ 4460101 w 6857987"/>
              <a:gd name="connsiteY24" fmla="*/ 4334245 h 6857960"/>
              <a:gd name="connsiteX25" fmla="*/ 4745851 w 6857987"/>
              <a:gd name="connsiteY25" fmla="*/ 4738481 h 6857960"/>
              <a:gd name="connsiteX26" fmla="*/ 4317226 w 6857987"/>
              <a:gd name="connsiteY26" fmla="*/ 5167106 h 6857960"/>
              <a:gd name="connsiteX27" fmla="*/ 3888602 w 6857987"/>
              <a:gd name="connsiteY27" fmla="*/ 4738481 h 6857960"/>
              <a:gd name="connsiteX28" fmla="*/ 4174352 w 6857987"/>
              <a:gd name="connsiteY28" fmla="*/ 4334245 h 6857960"/>
              <a:gd name="connsiteX29" fmla="*/ 4174352 w 6857987"/>
              <a:gd name="connsiteY29" fmla="*/ 4069219 h 6857960"/>
              <a:gd name="connsiteX30" fmla="*/ 4174353 w 6857987"/>
              <a:gd name="connsiteY30" fmla="*/ 4069219 h 6857960"/>
              <a:gd name="connsiteX31" fmla="*/ 4174353 w 6857987"/>
              <a:gd name="connsiteY31" fmla="*/ 4005088 h 6857960"/>
              <a:gd name="connsiteX32" fmla="*/ 4317227 w 6857987"/>
              <a:gd name="connsiteY32" fmla="*/ 3862213 h 6857960"/>
              <a:gd name="connsiteX33" fmla="*/ 4931289 w 6857987"/>
              <a:gd name="connsiteY33" fmla="*/ 3862213 h 6857960"/>
              <a:gd name="connsiteX34" fmla="*/ 4931289 w 6857987"/>
              <a:gd name="connsiteY34" fmla="*/ 3862214 h 6857960"/>
              <a:gd name="connsiteX35" fmla="*/ 5536835 w 6857987"/>
              <a:gd name="connsiteY35" fmla="*/ 3862214 h 6857960"/>
              <a:gd name="connsiteX36" fmla="*/ 5536878 w 6857987"/>
              <a:gd name="connsiteY36" fmla="*/ 3862050 h 6857960"/>
              <a:gd name="connsiteX37" fmla="*/ 5569540 w 6857987"/>
              <a:gd name="connsiteY37" fmla="*/ 3648642 h 6857960"/>
              <a:gd name="connsiteX38" fmla="*/ 5570669 w 6857987"/>
              <a:gd name="connsiteY38" fmla="*/ 3626361 h 6857960"/>
              <a:gd name="connsiteX39" fmla="*/ 3345182 w 6857987"/>
              <a:gd name="connsiteY39" fmla="*/ 3626361 h 6857960"/>
              <a:gd name="connsiteX40" fmla="*/ 3345182 w 6857987"/>
              <a:gd name="connsiteY40" fmla="*/ 3626360 h 6857960"/>
              <a:gd name="connsiteX41" fmla="*/ 3265633 w 6857987"/>
              <a:gd name="connsiteY41" fmla="*/ 3626360 h 6857960"/>
              <a:gd name="connsiteX42" fmla="*/ 2861397 w 6857987"/>
              <a:gd name="connsiteY42" fmla="*/ 3912110 h 6857960"/>
              <a:gd name="connsiteX43" fmla="*/ 2432772 w 6857987"/>
              <a:gd name="connsiteY43" fmla="*/ 3483485 h 6857960"/>
              <a:gd name="connsiteX44" fmla="*/ 2861397 w 6857987"/>
              <a:gd name="connsiteY44" fmla="*/ 3054859 h 6857960"/>
              <a:gd name="connsiteX45" fmla="*/ 3265633 w 6857987"/>
              <a:gd name="connsiteY45" fmla="*/ 3340609 h 6857960"/>
              <a:gd name="connsiteX46" fmla="*/ 3530660 w 6857987"/>
              <a:gd name="connsiteY46" fmla="*/ 3340609 h 6857960"/>
              <a:gd name="connsiteX47" fmla="*/ 3530660 w 6857987"/>
              <a:gd name="connsiteY47" fmla="*/ 3340611 h 6857960"/>
              <a:gd name="connsiteX48" fmla="*/ 5576193 w 6857987"/>
              <a:gd name="connsiteY48" fmla="*/ 3340611 h 6857960"/>
              <a:gd name="connsiteX49" fmla="*/ 5569540 w 6857987"/>
              <a:gd name="connsiteY49" fmla="*/ 3209277 h 6857960"/>
              <a:gd name="connsiteX50" fmla="*/ 5550815 w 6857987"/>
              <a:gd name="connsiteY50" fmla="*/ 3086935 h 6857960"/>
              <a:gd name="connsiteX51" fmla="*/ 4297837 w 6857987"/>
              <a:gd name="connsiteY51" fmla="*/ 3086935 h 6857960"/>
              <a:gd name="connsiteX52" fmla="*/ 4297837 w 6857987"/>
              <a:gd name="connsiteY52" fmla="*/ 3086936 h 6857960"/>
              <a:gd name="connsiteX53" fmla="*/ 3683776 w 6857987"/>
              <a:gd name="connsiteY53" fmla="*/ 3086936 h 6857960"/>
              <a:gd name="connsiteX54" fmla="*/ 3540901 w 6857987"/>
              <a:gd name="connsiteY54" fmla="*/ 2944060 h 6857960"/>
              <a:gd name="connsiteX55" fmla="*/ 3540901 w 6857987"/>
              <a:gd name="connsiteY55" fmla="*/ 2879929 h 6857960"/>
              <a:gd name="connsiteX56" fmla="*/ 3540900 w 6857987"/>
              <a:gd name="connsiteY56" fmla="*/ 2879929 h 6857960"/>
              <a:gd name="connsiteX57" fmla="*/ 3540900 w 6857987"/>
              <a:gd name="connsiteY57" fmla="*/ 2614903 h 6857960"/>
              <a:gd name="connsiteX58" fmla="*/ 3255150 w 6857987"/>
              <a:gd name="connsiteY58" fmla="*/ 2210667 h 6857960"/>
              <a:gd name="connsiteX59" fmla="*/ 3683775 w 6857987"/>
              <a:gd name="connsiteY59" fmla="*/ 1782042 h 6857960"/>
              <a:gd name="connsiteX60" fmla="*/ 4112400 w 6857987"/>
              <a:gd name="connsiteY60" fmla="*/ 2210667 h 6857960"/>
              <a:gd name="connsiteX61" fmla="*/ 3826650 w 6857987"/>
              <a:gd name="connsiteY61" fmla="*/ 2614903 h 6857960"/>
              <a:gd name="connsiteX62" fmla="*/ 3826650 w 6857987"/>
              <a:gd name="connsiteY62" fmla="*/ 2679326 h 6857960"/>
              <a:gd name="connsiteX63" fmla="*/ 3826651 w 6857987"/>
              <a:gd name="connsiteY63" fmla="*/ 2679326 h 6857960"/>
              <a:gd name="connsiteX64" fmla="*/ 3826651 w 6857987"/>
              <a:gd name="connsiteY64" fmla="*/ 2801185 h 6857960"/>
              <a:gd name="connsiteX65" fmla="*/ 3841010 w 6857987"/>
              <a:gd name="connsiteY65" fmla="*/ 2801185 h 6857960"/>
              <a:gd name="connsiteX66" fmla="*/ 3841010 w 6857987"/>
              <a:gd name="connsiteY66" fmla="*/ 2801184 h 6857960"/>
              <a:gd name="connsiteX67" fmla="*/ 5486700 w 6857987"/>
              <a:gd name="connsiteY67" fmla="*/ 2801184 h 6857960"/>
              <a:gd name="connsiteX68" fmla="*/ 5483773 w 6857987"/>
              <a:gd name="connsiteY68" fmla="*/ 2789826 h 6857960"/>
              <a:gd name="connsiteX69" fmla="*/ 3429013 w 6857987"/>
              <a:gd name="connsiteY69" fmla="*/ 1277302 h 6857960"/>
              <a:gd name="connsiteX70" fmla="*/ 1277354 w 6857987"/>
              <a:gd name="connsiteY70" fmla="*/ 3428960 h 6857960"/>
              <a:gd name="connsiteX71" fmla="*/ 1004120 w 6857987"/>
              <a:gd name="connsiteY71" fmla="*/ 3428960 h 6857960"/>
              <a:gd name="connsiteX72" fmla="*/ 3429013 w 6857987"/>
              <a:gd name="connsiteY72" fmla="*/ 1004067 h 6857960"/>
              <a:gd name="connsiteX73" fmla="*/ 5853904 w 6857987"/>
              <a:gd name="connsiteY73" fmla="*/ 3428960 h 6857960"/>
              <a:gd name="connsiteX74" fmla="*/ 3429012 w 6857987"/>
              <a:gd name="connsiteY74" fmla="*/ 5853853 h 6857960"/>
              <a:gd name="connsiteX75" fmla="*/ 1004120 w 6857987"/>
              <a:gd name="connsiteY75" fmla="*/ 3428960 h 6857960"/>
              <a:gd name="connsiteX76" fmla="*/ 273235 w 6857987"/>
              <a:gd name="connsiteY76" fmla="*/ 3621131 h 6857960"/>
              <a:gd name="connsiteX77" fmla="*/ 662694 w 6857987"/>
              <a:gd name="connsiteY77" fmla="*/ 4042269 h 6857960"/>
              <a:gd name="connsiteX78" fmla="*/ 784089 w 6857987"/>
              <a:gd name="connsiteY78" fmla="*/ 4142955 h 6857960"/>
              <a:gd name="connsiteX79" fmla="*/ 1053909 w 6857987"/>
              <a:gd name="connsiteY79" fmla="*/ 4794264 h 6857960"/>
              <a:gd name="connsiteX80" fmla="*/ 1039295 w 6857987"/>
              <a:gd name="connsiteY80" fmla="*/ 4951342 h 6857960"/>
              <a:gd name="connsiteX81" fmla="*/ 1061677 w 6857987"/>
              <a:gd name="connsiteY81" fmla="*/ 5524561 h 6857960"/>
              <a:gd name="connsiteX82" fmla="*/ 1333412 w 6857987"/>
              <a:gd name="connsiteY82" fmla="*/ 5796323 h 6857960"/>
              <a:gd name="connsiteX83" fmla="*/ 1906618 w 6857987"/>
              <a:gd name="connsiteY83" fmla="*/ 5818692 h 6857960"/>
              <a:gd name="connsiteX84" fmla="*/ 2063696 w 6857987"/>
              <a:gd name="connsiteY84" fmla="*/ 5804078 h 6857960"/>
              <a:gd name="connsiteX85" fmla="*/ 2715018 w 6857987"/>
              <a:gd name="connsiteY85" fmla="*/ 6073884 h 6857960"/>
              <a:gd name="connsiteX86" fmla="*/ 2815705 w 6857987"/>
              <a:gd name="connsiteY86" fmla="*/ 6195279 h 6857960"/>
              <a:gd name="connsiteX87" fmla="*/ 3236856 w 6857987"/>
              <a:gd name="connsiteY87" fmla="*/ 6584738 h 6857960"/>
              <a:gd name="connsiteX88" fmla="*/ 3621185 w 6857987"/>
              <a:gd name="connsiteY88" fmla="*/ 6584738 h 6857960"/>
              <a:gd name="connsiteX89" fmla="*/ 4042309 w 6857987"/>
              <a:gd name="connsiteY89" fmla="*/ 6195279 h 6857960"/>
              <a:gd name="connsiteX90" fmla="*/ 4142996 w 6857987"/>
              <a:gd name="connsiteY90" fmla="*/ 6073884 h 6857960"/>
              <a:gd name="connsiteX91" fmla="*/ 4794318 w 6857987"/>
              <a:gd name="connsiteY91" fmla="*/ 5804078 h 6857960"/>
              <a:gd name="connsiteX92" fmla="*/ 4951396 w 6857987"/>
              <a:gd name="connsiteY92" fmla="*/ 5818692 h 6857960"/>
              <a:gd name="connsiteX93" fmla="*/ 5524601 w 6857987"/>
              <a:gd name="connsiteY93" fmla="*/ 5796323 h 6857960"/>
              <a:gd name="connsiteX94" fmla="*/ 5796363 w 6857987"/>
              <a:gd name="connsiteY94" fmla="*/ 5524561 h 6857960"/>
              <a:gd name="connsiteX95" fmla="*/ 5818759 w 6857987"/>
              <a:gd name="connsiteY95" fmla="*/ 4951342 h 6857960"/>
              <a:gd name="connsiteX96" fmla="*/ 5785889 w 6857987"/>
              <a:gd name="connsiteY96" fmla="*/ 4862429 h 6857960"/>
              <a:gd name="connsiteX97" fmla="*/ 5804132 w 6857987"/>
              <a:gd name="connsiteY97" fmla="*/ 4794264 h 6857960"/>
              <a:gd name="connsiteX98" fmla="*/ 6073938 w 6857987"/>
              <a:gd name="connsiteY98" fmla="*/ 4142955 h 6857960"/>
              <a:gd name="connsiteX99" fmla="*/ 6195333 w 6857987"/>
              <a:gd name="connsiteY99" fmla="*/ 4042269 h 6857960"/>
              <a:gd name="connsiteX100" fmla="*/ 6584792 w 6857987"/>
              <a:gd name="connsiteY100" fmla="*/ 3621118 h 6857960"/>
              <a:gd name="connsiteX101" fmla="*/ 6584792 w 6857987"/>
              <a:gd name="connsiteY101" fmla="*/ 3236789 h 6857960"/>
              <a:gd name="connsiteX102" fmla="*/ 6195319 w 6857987"/>
              <a:gd name="connsiteY102" fmla="*/ 2815638 h 6857960"/>
              <a:gd name="connsiteX103" fmla="*/ 6073925 w 6857987"/>
              <a:gd name="connsiteY103" fmla="*/ 2714951 h 6857960"/>
              <a:gd name="connsiteX104" fmla="*/ 5804119 w 6857987"/>
              <a:gd name="connsiteY104" fmla="*/ 2063642 h 6857960"/>
              <a:gd name="connsiteX105" fmla="*/ 5818732 w 6857987"/>
              <a:gd name="connsiteY105" fmla="*/ 1906564 h 6857960"/>
              <a:gd name="connsiteX106" fmla="*/ 5796336 w 6857987"/>
              <a:gd name="connsiteY106" fmla="*/ 1333359 h 6857960"/>
              <a:gd name="connsiteX107" fmla="*/ 5524575 w 6857987"/>
              <a:gd name="connsiteY107" fmla="*/ 1061583 h 6857960"/>
              <a:gd name="connsiteX108" fmla="*/ 4951369 w 6857987"/>
              <a:gd name="connsiteY108" fmla="*/ 1039215 h 6857960"/>
              <a:gd name="connsiteX109" fmla="*/ 4794291 w 6857987"/>
              <a:gd name="connsiteY109" fmla="*/ 1053828 h 6857960"/>
              <a:gd name="connsiteX110" fmla="*/ 4142982 w 6857987"/>
              <a:gd name="connsiteY110" fmla="*/ 784022 h 6857960"/>
              <a:gd name="connsiteX111" fmla="*/ 4042282 w 6857987"/>
              <a:gd name="connsiteY111" fmla="*/ 662627 h 6857960"/>
              <a:gd name="connsiteX112" fmla="*/ 3621171 w 6857987"/>
              <a:gd name="connsiteY112" fmla="*/ 273182 h 6857960"/>
              <a:gd name="connsiteX113" fmla="*/ 3236842 w 6857987"/>
              <a:gd name="connsiteY113" fmla="*/ 273182 h 6857960"/>
              <a:gd name="connsiteX114" fmla="*/ 2815705 w 6857987"/>
              <a:gd name="connsiteY114" fmla="*/ 662641 h 6857960"/>
              <a:gd name="connsiteX115" fmla="*/ 2715005 w 6857987"/>
              <a:gd name="connsiteY115" fmla="*/ 784035 h 6857960"/>
              <a:gd name="connsiteX116" fmla="*/ 2063696 w 6857987"/>
              <a:gd name="connsiteY116" fmla="*/ 1053841 h 6857960"/>
              <a:gd name="connsiteX117" fmla="*/ 1906618 w 6857987"/>
              <a:gd name="connsiteY117" fmla="*/ 1039228 h 6857960"/>
              <a:gd name="connsiteX118" fmla="*/ 1333412 w 6857987"/>
              <a:gd name="connsiteY118" fmla="*/ 1061610 h 6857960"/>
              <a:gd name="connsiteX119" fmla="*/ 1061651 w 6857987"/>
              <a:gd name="connsiteY119" fmla="*/ 1333372 h 6857960"/>
              <a:gd name="connsiteX120" fmla="*/ 1039268 w 6857987"/>
              <a:gd name="connsiteY120" fmla="*/ 1906577 h 6857960"/>
              <a:gd name="connsiteX121" fmla="*/ 1053882 w 6857987"/>
              <a:gd name="connsiteY121" fmla="*/ 2063655 h 6857960"/>
              <a:gd name="connsiteX122" fmla="*/ 784062 w 6857987"/>
              <a:gd name="connsiteY122" fmla="*/ 2714964 h 6857960"/>
              <a:gd name="connsiteX123" fmla="*/ 662668 w 6857987"/>
              <a:gd name="connsiteY123" fmla="*/ 2815651 h 6857960"/>
              <a:gd name="connsiteX124" fmla="*/ 273235 w 6857987"/>
              <a:gd name="connsiteY124" fmla="*/ 3236802 h 6857960"/>
              <a:gd name="connsiteX125" fmla="*/ 0 w 6857987"/>
              <a:gd name="connsiteY125" fmla="*/ 3621118 h 6857960"/>
              <a:gd name="connsiteX126" fmla="*/ 0 w 6857987"/>
              <a:gd name="connsiteY126" fmla="*/ 3236789 h 6857960"/>
              <a:gd name="connsiteX127" fmla="*/ 544876 w 6857987"/>
              <a:gd name="connsiteY127" fmla="*/ 2557659 h 6857960"/>
              <a:gd name="connsiteX128" fmla="*/ 773548 w 6857987"/>
              <a:gd name="connsiteY128" fmla="*/ 2005644 h 6857960"/>
              <a:gd name="connsiteX129" fmla="*/ 868448 w 6857987"/>
              <a:gd name="connsiteY129" fmla="*/ 1140142 h 6857960"/>
              <a:gd name="connsiteX130" fmla="*/ 1140210 w 6857987"/>
              <a:gd name="connsiteY130" fmla="*/ 868381 h 6857960"/>
              <a:gd name="connsiteX131" fmla="*/ 2005711 w 6857987"/>
              <a:gd name="connsiteY131" fmla="*/ 773467 h 6857960"/>
              <a:gd name="connsiteX132" fmla="*/ 2557726 w 6857987"/>
              <a:gd name="connsiteY132" fmla="*/ 544796 h 6857960"/>
              <a:gd name="connsiteX133" fmla="*/ 3236842 w 6857987"/>
              <a:gd name="connsiteY133" fmla="*/ 0 h 6857960"/>
              <a:gd name="connsiteX134" fmla="*/ 3621171 w 6857987"/>
              <a:gd name="connsiteY134" fmla="*/ 0 h 6857960"/>
              <a:gd name="connsiteX135" fmla="*/ 4300274 w 6857987"/>
              <a:gd name="connsiteY135" fmla="*/ 544849 h 6857960"/>
              <a:gd name="connsiteX136" fmla="*/ 4852290 w 6857987"/>
              <a:gd name="connsiteY136" fmla="*/ 773521 h 6857960"/>
              <a:gd name="connsiteX137" fmla="*/ 5717791 w 6857987"/>
              <a:gd name="connsiteY137" fmla="*/ 868435 h 6857960"/>
              <a:gd name="connsiteX138" fmla="*/ 5989552 w 6857987"/>
              <a:gd name="connsiteY138" fmla="*/ 1140196 h 6857960"/>
              <a:gd name="connsiteX139" fmla="*/ 6084466 w 6857987"/>
              <a:gd name="connsiteY139" fmla="*/ 2005684 h 6857960"/>
              <a:gd name="connsiteX140" fmla="*/ 6313124 w 6857987"/>
              <a:gd name="connsiteY140" fmla="*/ 2557699 h 6857960"/>
              <a:gd name="connsiteX141" fmla="*/ 6857987 w 6857987"/>
              <a:gd name="connsiteY141" fmla="*/ 3236829 h 6857960"/>
              <a:gd name="connsiteX142" fmla="*/ 6857987 w 6857987"/>
              <a:gd name="connsiteY142" fmla="*/ 3621158 h 6857960"/>
              <a:gd name="connsiteX143" fmla="*/ 6313124 w 6857987"/>
              <a:gd name="connsiteY143" fmla="*/ 4300261 h 6857960"/>
              <a:gd name="connsiteX144" fmla="*/ 6084466 w 6857987"/>
              <a:gd name="connsiteY144" fmla="*/ 4852276 h 6857960"/>
              <a:gd name="connsiteX145" fmla="*/ 5989552 w 6857987"/>
              <a:gd name="connsiteY145" fmla="*/ 5717777 h 6857960"/>
              <a:gd name="connsiteX146" fmla="*/ 5717791 w 6857987"/>
              <a:gd name="connsiteY146" fmla="*/ 5989526 h 6857960"/>
              <a:gd name="connsiteX147" fmla="*/ 4852290 w 6857987"/>
              <a:gd name="connsiteY147" fmla="*/ 6084439 h 6857960"/>
              <a:gd name="connsiteX148" fmla="*/ 4300274 w 6857987"/>
              <a:gd name="connsiteY148" fmla="*/ 6313111 h 6857960"/>
              <a:gd name="connsiteX149" fmla="*/ 3621171 w 6857987"/>
              <a:gd name="connsiteY149" fmla="*/ 6857960 h 6857960"/>
              <a:gd name="connsiteX150" fmla="*/ 3236842 w 6857987"/>
              <a:gd name="connsiteY150" fmla="*/ 6857960 h 6857960"/>
              <a:gd name="connsiteX151" fmla="*/ 2557699 w 6857987"/>
              <a:gd name="connsiteY151" fmla="*/ 6313084 h 6857960"/>
              <a:gd name="connsiteX152" fmla="*/ 2005684 w 6857987"/>
              <a:gd name="connsiteY152" fmla="*/ 6084412 h 6857960"/>
              <a:gd name="connsiteX153" fmla="*/ 1140183 w 6857987"/>
              <a:gd name="connsiteY153" fmla="*/ 5989512 h 6857960"/>
              <a:gd name="connsiteX154" fmla="*/ 868421 w 6857987"/>
              <a:gd name="connsiteY154" fmla="*/ 5717737 h 6857960"/>
              <a:gd name="connsiteX155" fmla="*/ 773521 w 6857987"/>
              <a:gd name="connsiteY155" fmla="*/ 4852236 h 6857960"/>
              <a:gd name="connsiteX156" fmla="*/ 544849 w 6857987"/>
              <a:gd name="connsiteY156" fmla="*/ 4300221 h 6857960"/>
              <a:gd name="connsiteX157" fmla="*/ 0 w 6857987"/>
              <a:gd name="connsiteY157" fmla="*/ 3621118 h 6857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857987" h="6857960">
                <a:moveTo>
                  <a:pt x="4174352" y="4738481"/>
                </a:moveTo>
                <a:cubicBezTo>
                  <a:pt x="4174352" y="4817388"/>
                  <a:pt x="4238319" y="4881356"/>
                  <a:pt x="4317226" y="4881356"/>
                </a:cubicBezTo>
                <a:cubicBezTo>
                  <a:pt x="4396133" y="4881356"/>
                  <a:pt x="4460101" y="4817388"/>
                  <a:pt x="4460101" y="4738481"/>
                </a:cubicBezTo>
                <a:cubicBezTo>
                  <a:pt x="4460101" y="4659574"/>
                  <a:pt x="4396133" y="4595606"/>
                  <a:pt x="4317226" y="4595606"/>
                </a:cubicBezTo>
                <a:cubicBezTo>
                  <a:pt x="4238319" y="4595606"/>
                  <a:pt x="4174352" y="4659574"/>
                  <a:pt x="4174352" y="4738481"/>
                </a:cubicBezTo>
                <a:close/>
                <a:moveTo>
                  <a:pt x="3540900" y="2210667"/>
                </a:moveTo>
                <a:cubicBezTo>
                  <a:pt x="3540900" y="2289574"/>
                  <a:pt x="3604868" y="2353542"/>
                  <a:pt x="3683775" y="2353542"/>
                </a:cubicBezTo>
                <a:cubicBezTo>
                  <a:pt x="3762682" y="2353542"/>
                  <a:pt x="3826650" y="2289574"/>
                  <a:pt x="3826650" y="2210667"/>
                </a:cubicBezTo>
                <a:cubicBezTo>
                  <a:pt x="3826650" y="2131760"/>
                  <a:pt x="3762682" y="2067792"/>
                  <a:pt x="3683775" y="2067792"/>
                </a:cubicBezTo>
                <a:cubicBezTo>
                  <a:pt x="3604868" y="2067792"/>
                  <a:pt x="3540900" y="2131760"/>
                  <a:pt x="3540900" y="2210667"/>
                </a:cubicBezTo>
                <a:close/>
                <a:moveTo>
                  <a:pt x="2718522" y="3483485"/>
                </a:moveTo>
                <a:cubicBezTo>
                  <a:pt x="2718522" y="3562392"/>
                  <a:pt x="2782490" y="3626360"/>
                  <a:pt x="2861397" y="3626360"/>
                </a:cubicBezTo>
                <a:cubicBezTo>
                  <a:pt x="2940304" y="3626360"/>
                  <a:pt x="3004272" y="3562392"/>
                  <a:pt x="3004272" y="3483485"/>
                </a:cubicBezTo>
                <a:cubicBezTo>
                  <a:pt x="3004272" y="3404578"/>
                  <a:pt x="2940304" y="3340609"/>
                  <a:pt x="2861397" y="3340609"/>
                </a:cubicBezTo>
                <a:cubicBezTo>
                  <a:pt x="2782490" y="3340609"/>
                  <a:pt x="2718522" y="3404578"/>
                  <a:pt x="2718522" y="3483485"/>
                </a:cubicBezTo>
                <a:close/>
                <a:moveTo>
                  <a:pt x="1277354" y="3428960"/>
                </a:moveTo>
                <a:cubicBezTo>
                  <a:pt x="1277354" y="4615395"/>
                  <a:pt x="2242578" y="5580618"/>
                  <a:pt x="3429013" y="5580618"/>
                </a:cubicBezTo>
                <a:cubicBezTo>
                  <a:pt x="4318837" y="5580618"/>
                  <a:pt x="5084232" y="5037680"/>
                  <a:pt x="5411315" y="4265684"/>
                </a:cubicBezTo>
                <a:lnTo>
                  <a:pt x="5454484" y="4147964"/>
                </a:lnTo>
                <a:lnTo>
                  <a:pt x="4474462" y="4147964"/>
                </a:lnTo>
                <a:lnTo>
                  <a:pt x="4474462" y="4147963"/>
                </a:lnTo>
                <a:lnTo>
                  <a:pt x="4460102" y="4147963"/>
                </a:lnTo>
                <a:lnTo>
                  <a:pt x="4460102" y="4269822"/>
                </a:lnTo>
                <a:lnTo>
                  <a:pt x="4460101" y="4269822"/>
                </a:lnTo>
                <a:lnTo>
                  <a:pt x="4460101" y="4334245"/>
                </a:lnTo>
                <a:cubicBezTo>
                  <a:pt x="4626579" y="4393086"/>
                  <a:pt x="4745851" y="4551855"/>
                  <a:pt x="4745851" y="4738481"/>
                </a:cubicBezTo>
                <a:cubicBezTo>
                  <a:pt x="4745851" y="4975205"/>
                  <a:pt x="4553950" y="5167106"/>
                  <a:pt x="4317226" y="5167106"/>
                </a:cubicBezTo>
                <a:cubicBezTo>
                  <a:pt x="4080503" y="5167106"/>
                  <a:pt x="3888602" y="4975205"/>
                  <a:pt x="3888602" y="4738481"/>
                </a:cubicBezTo>
                <a:cubicBezTo>
                  <a:pt x="3888602" y="4551855"/>
                  <a:pt x="4007874" y="4393086"/>
                  <a:pt x="4174352" y="4334245"/>
                </a:cubicBezTo>
                <a:lnTo>
                  <a:pt x="4174352" y="4069219"/>
                </a:lnTo>
                <a:lnTo>
                  <a:pt x="4174353" y="4069219"/>
                </a:lnTo>
                <a:lnTo>
                  <a:pt x="4174353" y="4005088"/>
                </a:lnTo>
                <a:cubicBezTo>
                  <a:pt x="4174353" y="3926192"/>
                  <a:pt x="4238320" y="3862213"/>
                  <a:pt x="4317227" y="3862213"/>
                </a:cubicBezTo>
                <a:lnTo>
                  <a:pt x="4931289" y="3862213"/>
                </a:lnTo>
                <a:lnTo>
                  <a:pt x="4931289" y="3862214"/>
                </a:lnTo>
                <a:lnTo>
                  <a:pt x="5536835" y="3862214"/>
                </a:lnTo>
                <a:lnTo>
                  <a:pt x="5536878" y="3862050"/>
                </a:lnTo>
                <a:cubicBezTo>
                  <a:pt x="5551233" y="3792081"/>
                  <a:pt x="5562181" y="3720885"/>
                  <a:pt x="5569540" y="3648642"/>
                </a:cubicBezTo>
                <a:lnTo>
                  <a:pt x="5570669" y="3626361"/>
                </a:lnTo>
                <a:lnTo>
                  <a:pt x="3345182" y="3626361"/>
                </a:lnTo>
                <a:lnTo>
                  <a:pt x="3345182" y="3626360"/>
                </a:lnTo>
                <a:lnTo>
                  <a:pt x="3265633" y="3626360"/>
                </a:lnTo>
                <a:cubicBezTo>
                  <a:pt x="3206792" y="3792838"/>
                  <a:pt x="3048023" y="3912110"/>
                  <a:pt x="2861397" y="3912110"/>
                </a:cubicBezTo>
                <a:cubicBezTo>
                  <a:pt x="2624673" y="3912110"/>
                  <a:pt x="2432772" y="3720209"/>
                  <a:pt x="2432772" y="3483485"/>
                </a:cubicBezTo>
                <a:cubicBezTo>
                  <a:pt x="2432772" y="3246760"/>
                  <a:pt x="2624673" y="3054859"/>
                  <a:pt x="2861397" y="3054859"/>
                </a:cubicBezTo>
                <a:cubicBezTo>
                  <a:pt x="3048023" y="3054859"/>
                  <a:pt x="3206792" y="3174131"/>
                  <a:pt x="3265633" y="3340609"/>
                </a:cubicBezTo>
                <a:lnTo>
                  <a:pt x="3530660" y="3340609"/>
                </a:lnTo>
                <a:lnTo>
                  <a:pt x="3530660" y="3340611"/>
                </a:lnTo>
                <a:lnTo>
                  <a:pt x="5576193" y="3340611"/>
                </a:lnTo>
                <a:lnTo>
                  <a:pt x="5569540" y="3209277"/>
                </a:lnTo>
                <a:lnTo>
                  <a:pt x="5550815" y="3086935"/>
                </a:lnTo>
                <a:lnTo>
                  <a:pt x="4297837" y="3086935"/>
                </a:lnTo>
                <a:lnTo>
                  <a:pt x="4297837" y="3086936"/>
                </a:lnTo>
                <a:lnTo>
                  <a:pt x="3683776" y="3086936"/>
                </a:lnTo>
                <a:cubicBezTo>
                  <a:pt x="3604869" y="3086936"/>
                  <a:pt x="3540901" y="3022956"/>
                  <a:pt x="3540901" y="2944060"/>
                </a:cubicBezTo>
                <a:lnTo>
                  <a:pt x="3540901" y="2879929"/>
                </a:lnTo>
                <a:lnTo>
                  <a:pt x="3540900" y="2879929"/>
                </a:lnTo>
                <a:lnTo>
                  <a:pt x="3540900" y="2614903"/>
                </a:lnTo>
                <a:cubicBezTo>
                  <a:pt x="3374422" y="2556062"/>
                  <a:pt x="3255150" y="2397293"/>
                  <a:pt x="3255150" y="2210667"/>
                </a:cubicBezTo>
                <a:cubicBezTo>
                  <a:pt x="3255150" y="1973943"/>
                  <a:pt x="3447051" y="1782042"/>
                  <a:pt x="3683775" y="1782042"/>
                </a:cubicBezTo>
                <a:cubicBezTo>
                  <a:pt x="3920499" y="1782042"/>
                  <a:pt x="4112400" y="1973943"/>
                  <a:pt x="4112400" y="2210667"/>
                </a:cubicBezTo>
                <a:cubicBezTo>
                  <a:pt x="4112400" y="2397293"/>
                  <a:pt x="3993128" y="2556062"/>
                  <a:pt x="3826650" y="2614903"/>
                </a:cubicBezTo>
                <a:lnTo>
                  <a:pt x="3826650" y="2679326"/>
                </a:lnTo>
                <a:lnTo>
                  <a:pt x="3826651" y="2679326"/>
                </a:lnTo>
                <a:lnTo>
                  <a:pt x="3826651" y="2801185"/>
                </a:lnTo>
                <a:lnTo>
                  <a:pt x="3841010" y="2801185"/>
                </a:lnTo>
                <a:lnTo>
                  <a:pt x="3841010" y="2801184"/>
                </a:lnTo>
                <a:lnTo>
                  <a:pt x="5486700" y="2801184"/>
                </a:lnTo>
                <a:lnTo>
                  <a:pt x="5483773" y="2789826"/>
                </a:lnTo>
                <a:cubicBezTo>
                  <a:pt x="5210934" y="1914501"/>
                  <a:pt x="4392990" y="1277302"/>
                  <a:pt x="3429013" y="1277302"/>
                </a:cubicBezTo>
                <a:cubicBezTo>
                  <a:pt x="2242578" y="1277302"/>
                  <a:pt x="1277354" y="2242526"/>
                  <a:pt x="1277354" y="3428960"/>
                </a:cubicBezTo>
                <a:close/>
                <a:moveTo>
                  <a:pt x="1004120" y="3428960"/>
                </a:moveTo>
                <a:cubicBezTo>
                  <a:pt x="1004120" y="2091864"/>
                  <a:pt x="2091917" y="1004067"/>
                  <a:pt x="3429013" y="1004067"/>
                </a:cubicBezTo>
                <a:cubicBezTo>
                  <a:pt x="4766108" y="1004067"/>
                  <a:pt x="5853904" y="2091864"/>
                  <a:pt x="5853904" y="3428960"/>
                </a:cubicBezTo>
                <a:cubicBezTo>
                  <a:pt x="5853904" y="4766056"/>
                  <a:pt x="4766107" y="5853853"/>
                  <a:pt x="3429012" y="5853853"/>
                </a:cubicBezTo>
                <a:cubicBezTo>
                  <a:pt x="2091917" y="5853853"/>
                  <a:pt x="1004120" y="4766056"/>
                  <a:pt x="1004120" y="3428960"/>
                </a:cubicBezTo>
                <a:close/>
                <a:moveTo>
                  <a:pt x="273235" y="3621131"/>
                </a:moveTo>
                <a:cubicBezTo>
                  <a:pt x="273235" y="3840400"/>
                  <a:pt x="444310" y="4025378"/>
                  <a:pt x="662694" y="4042269"/>
                </a:cubicBezTo>
                <a:cubicBezTo>
                  <a:pt x="720412" y="4046742"/>
                  <a:pt x="769034" y="4087073"/>
                  <a:pt x="784089" y="4142955"/>
                </a:cubicBezTo>
                <a:cubicBezTo>
                  <a:pt x="845449" y="4370917"/>
                  <a:pt x="936238" y="4590038"/>
                  <a:pt x="1053909" y="4794264"/>
                </a:cubicBezTo>
                <a:cubicBezTo>
                  <a:pt x="1082827" y="4844427"/>
                  <a:pt x="1076974" y="4907368"/>
                  <a:pt x="1039295" y="4951342"/>
                </a:cubicBezTo>
                <a:cubicBezTo>
                  <a:pt x="896764" y="5117729"/>
                  <a:pt x="906609" y="5369506"/>
                  <a:pt x="1061677" y="5524561"/>
                </a:cubicBezTo>
                <a:lnTo>
                  <a:pt x="1333412" y="5796323"/>
                </a:lnTo>
                <a:cubicBezTo>
                  <a:pt x="1488481" y="5951378"/>
                  <a:pt x="1740244" y="5961210"/>
                  <a:pt x="1906618" y="5818692"/>
                </a:cubicBezTo>
                <a:cubicBezTo>
                  <a:pt x="1950592" y="5781026"/>
                  <a:pt x="2013533" y="5775173"/>
                  <a:pt x="2063696" y="5804078"/>
                </a:cubicBezTo>
                <a:cubicBezTo>
                  <a:pt x="2267895" y="5921709"/>
                  <a:pt x="2487030" y="6012484"/>
                  <a:pt x="2715018" y="6073884"/>
                </a:cubicBezTo>
                <a:cubicBezTo>
                  <a:pt x="2770913" y="6088940"/>
                  <a:pt x="2811244" y="6137575"/>
                  <a:pt x="2815705" y="6195279"/>
                </a:cubicBezTo>
                <a:cubicBezTo>
                  <a:pt x="2832582" y="6413677"/>
                  <a:pt x="3017574" y="6584738"/>
                  <a:pt x="3236856" y="6584738"/>
                </a:cubicBezTo>
                <a:lnTo>
                  <a:pt x="3621185" y="6584738"/>
                </a:lnTo>
                <a:cubicBezTo>
                  <a:pt x="3840467" y="6584738"/>
                  <a:pt x="4025432" y="6413663"/>
                  <a:pt x="4042309" y="6195279"/>
                </a:cubicBezTo>
                <a:cubicBezTo>
                  <a:pt x="4046783" y="6137575"/>
                  <a:pt x="4087114" y="6088940"/>
                  <a:pt x="4142996" y="6073884"/>
                </a:cubicBezTo>
                <a:cubicBezTo>
                  <a:pt x="4370984" y="6012511"/>
                  <a:pt x="4590119" y="5921736"/>
                  <a:pt x="4794318" y="5804078"/>
                </a:cubicBezTo>
                <a:cubicBezTo>
                  <a:pt x="4844481" y="5775173"/>
                  <a:pt x="4907422" y="5781026"/>
                  <a:pt x="4951396" y="5818692"/>
                </a:cubicBezTo>
                <a:cubicBezTo>
                  <a:pt x="5117769" y="5961196"/>
                  <a:pt x="5369546" y="5951378"/>
                  <a:pt x="5524601" y="5796323"/>
                </a:cubicBezTo>
                <a:lnTo>
                  <a:pt x="5796363" y="5524561"/>
                </a:lnTo>
                <a:cubicBezTo>
                  <a:pt x="5951431" y="5369493"/>
                  <a:pt x="5961263" y="5117716"/>
                  <a:pt x="5818759" y="4951342"/>
                </a:cubicBezTo>
                <a:cubicBezTo>
                  <a:pt x="5797020" y="4925986"/>
                  <a:pt x="5785889" y="4894295"/>
                  <a:pt x="5785889" y="4862429"/>
                </a:cubicBezTo>
                <a:cubicBezTo>
                  <a:pt x="5785889" y="4839016"/>
                  <a:pt x="5791889" y="4815495"/>
                  <a:pt x="5804132" y="4794264"/>
                </a:cubicBezTo>
                <a:cubicBezTo>
                  <a:pt x="5921776" y="4590065"/>
                  <a:pt x="6012551" y="4370930"/>
                  <a:pt x="6073938" y="4142955"/>
                </a:cubicBezTo>
                <a:cubicBezTo>
                  <a:pt x="6088994" y="4087060"/>
                  <a:pt x="6137615" y="4046742"/>
                  <a:pt x="6195333" y="4042269"/>
                </a:cubicBezTo>
                <a:cubicBezTo>
                  <a:pt x="6413730" y="4025365"/>
                  <a:pt x="6584792" y="3840400"/>
                  <a:pt x="6584792" y="3621118"/>
                </a:cubicBezTo>
                <a:lnTo>
                  <a:pt x="6584792" y="3236789"/>
                </a:lnTo>
                <a:cubicBezTo>
                  <a:pt x="6584792" y="3017520"/>
                  <a:pt x="6413717" y="2832541"/>
                  <a:pt x="6195319" y="2815638"/>
                </a:cubicBezTo>
                <a:cubicBezTo>
                  <a:pt x="6137602" y="2811164"/>
                  <a:pt x="6088980" y="2770833"/>
                  <a:pt x="6073925" y="2714951"/>
                </a:cubicBezTo>
                <a:cubicBezTo>
                  <a:pt x="6012551" y="2486963"/>
                  <a:pt x="5921776" y="2267841"/>
                  <a:pt x="5804119" y="2063642"/>
                </a:cubicBezTo>
                <a:cubicBezTo>
                  <a:pt x="5775226" y="2013479"/>
                  <a:pt x="5781067" y="1950525"/>
                  <a:pt x="5818732" y="1906564"/>
                </a:cubicBezTo>
                <a:cubicBezTo>
                  <a:pt x="5961263" y="1740191"/>
                  <a:pt x="5951418" y="1488414"/>
                  <a:pt x="5796336" y="1333359"/>
                </a:cubicBezTo>
                <a:lnTo>
                  <a:pt x="5524575" y="1061583"/>
                </a:lnTo>
                <a:cubicBezTo>
                  <a:pt x="5369519" y="906529"/>
                  <a:pt x="5117743" y="896697"/>
                  <a:pt x="4951369" y="1039215"/>
                </a:cubicBezTo>
                <a:cubicBezTo>
                  <a:pt x="4907395" y="1076880"/>
                  <a:pt x="4844454" y="1082734"/>
                  <a:pt x="4794291" y="1053828"/>
                </a:cubicBezTo>
                <a:cubicBezTo>
                  <a:pt x="4590065" y="936170"/>
                  <a:pt x="4370930" y="845409"/>
                  <a:pt x="4142982" y="784022"/>
                </a:cubicBezTo>
                <a:cubicBezTo>
                  <a:pt x="4087087" y="768966"/>
                  <a:pt x="4046742" y="720331"/>
                  <a:pt x="4042282" y="662627"/>
                </a:cubicBezTo>
                <a:cubicBezTo>
                  <a:pt x="4025419" y="444243"/>
                  <a:pt x="3840453" y="273182"/>
                  <a:pt x="3621171" y="273182"/>
                </a:cubicBezTo>
                <a:lnTo>
                  <a:pt x="3236842" y="273182"/>
                </a:lnTo>
                <a:cubicBezTo>
                  <a:pt x="3017560" y="273182"/>
                  <a:pt x="2832582" y="444257"/>
                  <a:pt x="2815705" y="662641"/>
                </a:cubicBezTo>
                <a:cubicBezTo>
                  <a:pt x="2811231" y="720345"/>
                  <a:pt x="2770900" y="768980"/>
                  <a:pt x="2715005" y="784035"/>
                </a:cubicBezTo>
                <a:cubicBezTo>
                  <a:pt x="2487030" y="845409"/>
                  <a:pt x="2267909" y="936184"/>
                  <a:pt x="2063696" y="1053841"/>
                </a:cubicBezTo>
                <a:cubicBezTo>
                  <a:pt x="2013533" y="1082760"/>
                  <a:pt x="1950592" y="1076893"/>
                  <a:pt x="1906618" y="1039228"/>
                </a:cubicBezTo>
                <a:cubicBezTo>
                  <a:pt x="1740244" y="896724"/>
                  <a:pt x="1488481" y="906555"/>
                  <a:pt x="1333412" y="1061610"/>
                </a:cubicBezTo>
                <a:lnTo>
                  <a:pt x="1061651" y="1333372"/>
                </a:lnTo>
                <a:cubicBezTo>
                  <a:pt x="906555" y="1488441"/>
                  <a:pt x="896750" y="1740231"/>
                  <a:pt x="1039268" y="1906577"/>
                </a:cubicBezTo>
                <a:cubicBezTo>
                  <a:pt x="1076961" y="1950552"/>
                  <a:pt x="1082787" y="2013493"/>
                  <a:pt x="1053882" y="2063655"/>
                </a:cubicBezTo>
                <a:cubicBezTo>
                  <a:pt x="936224" y="2267895"/>
                  <a:pt x="845423" y="2487030"/>
                  <a:pt x="784062" y="2714964"/>
                </a:cubicBezTo>
                <a:cubicBezTo>
                  <a:pt x="769007" y="2770860"/>
                  <a:pt x="720385" y="2811177"/>
                  <a:pt x="662668" y="2815651"/>
                </a:cubicBezTo>
                <a:cubicBezTo>
                  <a:pt x="444297" y="2832528"/>
                  <a:pt x="273235" y="3017520"/>
                  <a:pt x="273235" y="3236802"/>
                </a:cubicBezTo>
                <a:close/>
                <a:moveTo>
                  <a:pt x="0" y="3621118"/>
                </a:moveTo>
                <a:lnTo>
                  <a:pt x="0" y="3236789"/>
                </a:lnTo>
                <a:cubicBezTo>
                  <a:pt x="0" y="2908770"/>
                  <a:pt x="232542" y="2627337"/>
                  <a:pt x="544876" y="2557659"/>
                </a:cubicBezTo>
                <a:cubicBezTo>
                  <a:pt x="602553" y="2366452"/>
                  <a:pt x="679197" y="2181406"/>
                  <a:pt x="773548" y="2005644"/>
                </a:cubicBezTo>
                <a:cubicBezTo>
                  <a:pt x="601923" y="1735543"/>
                  <a:pt x="636508" y="1372096"/>
                  <a:pt x="868448" y="1140142"/>
                </a:cubicBezTo>
                <a:lnTo>
                  <a:pt x="1140210" y="868381"/>
                </a:lnTo>
                <a:cubicBezTo>
                  <a:pt x="1372163" y="636441"/>
                  <a:pt x="1735623" y="601910"/>
                  <a:pt x="2005711" y="773467"/>
                </a:cubicBezTo>
                <a:cubicBezTo>
                  <a:pt x="2181487" y="679116"/>
                  <a:pt x="2366506" y="602472"/>
                  <a:pt x="2557726" y="544796"/>
                </a:cubicBezTo>
                <a:cubicBezTo>
                  <a:pt x="2627391" y="232502"/>
                  <a:pt x="2908823" y="-53"/>
                  <a:pt x="3236842" y="0"/>
                </a:cubicBezTo>
                <a:lnTo>
                  <a:pt x="3621171" y="0"/>
                </a:lnTo>
                <a:cubicBezTo>
                  <a:pt x="3949190" y="0"/>
                  <a:pt x="4230596" y="232556"/>
                  <a:pt x="4300274" y="544849"/>
                </a:cubicBezTo>
                <a:cubicBezTo>
                  <a:pt x="4491481" y="602513"/>
                  <a:pt x="4676527" y="679156"/>
                  <a:pt x="4852290" y="773521"/>
                </a:cubicBezTo>
                <a:cubicBezTo>
                  <a:pt x="5122391" y="601937"/>
                  <a:pt x="5485851" y="636481"/>
                  <a:pt x="5717791" y="868435"/>
                </a:cubicBezTo>
                <a:lnTo>
                  <a:pt x="5989552" y="1140196"/>
                </a:lnTo>
                <a:cubicBezTo>
                  <a:pt x="6221492" y="1372136"/>
                  <a:pt x="6256036" y="1735596"/>
                  <a:pt x="6084466" y="2005684"/>
                </a:cubicBezTo>
                <a:cubicBezTo>
                  <a:pt x="6178804" y="2181447"/>
                  <a:pt x="6255461" y="2366465"/>
                  <a:pt x="6313124" y="2557699"/>
                </a:cubicBezTo>
                <a:cubicBezTo>
                  <a:pt x="6625431" y="2627378"/>
                  <a:pt x="6857987" y="2908810"/>
                  <a:pt x="6857987" y="3236829"/>
                </a:cubicBezTo>
                <a:lnTo>
                  <a:pt x="6857987" y="3621158"/>
                </a:lnTo>
                <a:cubicBezTo>
                  <a:pt x="6857987" y="3949163"/>
                  <a:pt x="6625431" y="4230582"/>
                  <a:pt x="6313124" y="4300261"/>
                </a:cubicBezTo>
                <a:cubicBezTo>
                  <a:pt x="6255447" y="4491508"/>
                  <a:pt x="6178817" y="4676527"/>
                  <a:pt x="6084466" y="4852276"/>
                </a:cubicBezTo>
                <a:cubicBezTo>
                  <a:pt x="6256104" y="5122390"/>
                  <a:pt x="6221505" y="5485824"/>
                  <a:pt x="5989552" y="5717777"/>
                </a:cubicBezTo>
                <a:lnTo>
                  <a:pt x="5717791" y="5989526"/>
                </a:lnTo>
                <a:cubicBezTo>
                  <a:pt x="5485838" y="6221479"/>
                  <a:pt x="5122391" y="6255996"/>
                  <a:pt x="4852290" y="6084439"/>
                </a:cubicBezTo>
                <a:cubicBezTo>
                  <a:pt x="4676527" y="6178777"/>
                  <a:pt x="4491508" y="6255434"/>
                  <a:pt x="4300274" y="6313111"/>
                </a:cubicBezTo>
                <a:cubicBezTo>
                  <a:pt x="4230623" y="6625404"/>
                  <a:pt x="3949190" y="6857960"/>
                  <a:pt x="3621171" y="6857960"/>
                </a:cubicBezTo>
                <a:lnTo>
                  <a:pt x="3236842" y="6857960"/>
                </a:lnTo>
                <a:cubicBezTo>
                  <a:pt x="2908823" y="6857960"/>
                  <a:pt x="2627391" y="6625404"/>
                  <a:pt x="2557699" y="6313084"/>
                </a:cubicBezTo>
                <a:cubicBezTo>
                  <a:pt x="2366465" y="6255407"/>
                  <a:pt x="2181447" y="6178763"/>
                  <a:pt x="2005684" y="6084412"/>
                </a:cubicBezTo>
                <a:cubicBezTo>
                  <a:pt x="1735596" y="6255996"/>
                  <a:pt x="1372149" y="6221438"/>
                  <a:pt x="1140183" y="5989512"/>
                </a:cubicBezTo>
                <a:lnTo>
                  <a:pt x="868421" y="5717737"/>
                </a:lnTo>
                <a:cubicBezTo>
                  <a:pt x="636468" y="5485811"/>
                  <a:pt x="601937" y="5122350"/>
                  <a:pt x="773521" y="4852236"/>
                </a:cubicBezTo>
                <a:cubicBezTo>
                  <a:pt x="679170" y="4676473"/>
                  <a:pt x="602513" y="4491427"/>
                  <a:pt x="544849" y="4300221"/>
                </a:cubicBezTo>
                <a:cubicBezTo>
                  <a:pt x="232556" y="4230556"/>
                  <a:pt x="0" y="3949123"/>
                  <a:pt x="0" y="3621118"/>
                </a:cubicBezTo>
                <a:close/>
              </a:path>
            </a:pathLst>
          </a:custGeom>
          <a:solidFill>
            <a:schemeClr val="bg1"/>
          </a:solidFill>
          <a:ln w="2857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54" name="Grupo 353">
            <a:extLst>
              <a:ext uri="{FF2B5EF4-FFF2-40B4-BE49-F238E27FC236}">
                <a16:creationId xmlns:a16="http://schemas.microsoft.com/office/drawing/2014/main" id="{3A1B8CD9-53F0-A36D-CC26-B5DEB303866A}"/>
              </a:ext>
            </a:extLst>
          </p:cNvPr>
          <p:cNvGrpSpPr/>
          <p:nvPr/>
        </p:nvGrpSpPr>
        <p:grpSpPr>
          <a:xfrm>
            <a:off x="1610267" y="1365813"/>
            <a:ext cx="4153988" cy="4153988"/>
            <a:chOff x="1610267" y="1365813"/>
            <a:chExt cx="4153988" cy="4153988"/>
          </a:xfrm>
        </p:grpSpPr>
        <p:grpSp>
          <p:nvGrpSpPr>
            <p:cNvPr id="287" name="Gráfico 285">
              <a:extLst>
                <a:ext uri="{FF2B5EF4-FFF2-40B4-BE49-F238E27FC236}">
                  <a16:creationId xmlns:a16="http://schemas.microsoft.com/office/drawing/2014/main" id="{83CE8131-1BEE-EF10-1DDB-17A0BD6CCBC3}"/>
                </a:ext>
              </a:extLst>
            </p:cNvPr>
            <p:cNvGrpSpPr/>
            <p:nvPr/>
          </p:nvGrpSpPr>
          <p:grpSpPr>
            <a:xfrm rot="16200000">
              <a:off x="1610267" y="1365813"/>
              <a:ext cx="4153988" cy="4153988"/>
              <a:chOff x="4510087" y="1843087"/>
              <a:chExt cx="3169634" cy="3169634"/>
            </a:xfrm>
            <a:solidFill>
              <a:srgbClr val="EC2129"/>
            </a:solidFill>
          </p:grpSpPr>
          <p:sp>
            <p:nvSpPr>
              <p:cNvPr id="288" name="Forma libre: forma 287">
                <a:extLst>
                  <a:ext uri="{FF2B5EF4-FFF2-40B4-BE49-F238E27FC236}">
                    <a16:creationId xmlns:a16="http://schemas.microsoft.com/office/drawing/2014/main" id="{95A77CFB-AAF5-5244-583B-5710B89B973E}"/>
                  </a:ext>
                </a:extLst>
              </p:cNvPr>
              <p:cNvSpPr/>
              <p:nvPr/>
            </p:nvSpPr>
            <p:spPr>
              <a:xfrm>
                <a:off x="6772274" y="2926555"/>
                <a:ext cx="292036" cy="279273"/>
              </a:xfrm>
              <a:custGeom>
                <a:avLst/>
                <a:gdLst>
                  <a:gd name="connsiteX0" fmla="*/ 0 w 292036"/>
                  <a:gd name="connsiteY0" fmla="*/ 234601 h 279273"/>
                  <a:gd name="connsiteX1" fmla="*/ 292037 w 292036"/>
                  <a:gd name="connsiteY1" fmla="*/ 279273 h 279273"/>
                  <a:gd name="connsiteX2" fmla="*/ 179641 w 292036"/>
                  <a:gd name="connsiteY2" fmla="*/ 0 h 279273"/>
                  <a:gd name="connsiteX3" fmla="*/ 0 w 292036"/>
                  <a:gd name="connsiteY3" fmla="*/ 234601 h 279273"/>
                  <a:gd name="connsiteX4" fmla="*/ 292037 w 292036"/>
                  <a:gd name="connsiteY4" fmla="*/ 279273 h 279273"/>
                  <a:gd name="connsiteX5" fmla="*/ 179641 w 292036"/>
                  <a:gd name="connsiteY5" fmla="*/ 0 h 279273"/>
                  <a:gd name="connsiteX6" fmla="*/ 0 w 292036"/>
                  <a:gd name="connsiteY6" fmla="*/ 234601 h 27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36" h="279273">
                    <a:moveTo>
                      <a:pt x="0" y="234601"/>
                    </a:moveTo>
                    <a:lnTo>
                      <a:pt x="292037" y="279273"/>
                    </a:lnTo>
                    <a:lnTo>
                      <a:pt x="179641" y="0"/>
                    </a:lnTo>
                    <a:lnTo>
                      <a:pt x="0" y="234601"/>
                    </a:lnTo>
                    <a:lnTo>
                      <a:pt x="292037" y="279273"/>
                    </a:lnTo>
                    <a:lnTo>
                      <a:pt x="179641" y="0"/>
                    </a:lnTo>
                    <a:lnTo>
                      <a:pt x="0" y="23460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Forma libre: forma 288">
                <a:extLst>
                  <a:ext uri="{FF2B5EF4-FFF2-40B4-BE49-F238E27FC236}">
                    <a16:creationId xmlns:a16="http://schemas.microsoft.com/office/drawing/2014/main" id="{E4DABBCE-AA9F-F37D-DEBB-CADD8AC7960D}"/>
                  </a:ext>
                </a:extLst>
              </p:cNvPr>
              <p:cNvSpPr/>
              <p:nvPr/>
            </p:nvSpPr>
            <p:spPr>
              <a:xfrm>
                <a:off x="6387274" y="2436684"/>
                <a:ext cx="267462" cy="294989"/>
              </a:xfrm>
              <a:custGeom>
                <a:avLst/>
                <a:gdLst>
                  <a:gd name="connsiteX0" fmla="*/ 23908 w 267462"/>
                  <a:gd name="connsiteY0" fmla="*/ 294989 h 294989"/>
                  <a:gd name="connsiteX1" fmla="*/ 267462 w 267462"/>
                  <a:gd name="connsiteY1" fmla="*/ 126778 h 294989"/>
                  <a:gd name="connsiteX2" fmla="*/ 0 w 267462"/>
                  <a:gd name="connsiteY2" fmla="*/ 0 h 294989"/>
                  <a:gd name="connsiteX3" fmla="*/ 23908 w 267462"/>
                  <a:gd name="connsiteY3" fmla="*/ 294989 h 294989"/>
                  <a:gd name="connsiteX4" fmla="*/ 267462 w 267462"/>
                  <a:gd name="connsiteY4" fmla="*/ 126778 h 294989"/>
                  <a:gd name="connsiteX5" fmla="*/ 0 w 267462"/>
                  <a:gd name="connsiteY5" fmla="*/ 0 h 294989"/>
                  <a:gd name="connsiteX6" fmla="*/ 23908 w 267462"/>
                  <a:gd name="connsiteY6" fmla="*/ 294989 h 29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62" h="294989">
                    <a:moveTo>
                      <a:pt x="23908" y="294989"/>
                    </a:moveTo>
                    <a:lnTo>
                      <a:pt x="267462" y="126778"/>
                    </a:lnTo>
                    <a:lnTo>
                      <a:pt x="0" y="0"/>
                    </a:lnTo>
                    <a:lnTo>
                      <a:pt x="23908" y="294989"/>
                    </a:lnTo>
                    <a:lnTo>
                      <a:pt x="267462" y="126778"/>
                    </a:lnTo>
                    <a:lnTo>
                      <a:pt x="0" y="0"/>
                    </a:lnTo>
                    <a:lnTo>
                      <a:pt x="23908" y="294989"/>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Forma libre: forma 289">
                <a:extLst>
                  <a:ext uri="{FF2B5EF4-FFF2-40B4-BE49-F238E27FC236}">
                    <a16:creationId xmlns:a16="http://schemas.microsoft.com/office/drawing/2014/main" id="{D3465FEF-EE57-5718-713A-C03D0941EF92}"/>
                  </a:ext>
                </a:extLst>
              </p:cNvPr>
              <p:cNvSpPr/>
              <p:nvPr/>
            </p:nvSpPr>
            <p:spPr>
              <a:xfrm>
                <a:off x="5585364" y="4081366"/>
                <a:ext cx="277272" cy="291845"/>
              </a:xfrm>
              <a:custGeom>
                <a:avLst/>
                <a:gdLst>
                  <a:gd name="connsiteX0" fmla="*/ 228219 w 277272"/>
                  <a:gd name="connsiteY0" fmla="*/ 0 h 291845"/>
                  <a:gd name="connsiteX1" fmla="*/ 0 w 277272"/>
                  <a:gd name="connsiteY1" fmla="*/ 188404 h 291845"/>
                  <a:gd name="connsiteX2" fmla="*/ 277273 w 277272"/>
                  <a:gd name="connsiteY2" fmla="*/ 291846 h 291845"/>
                  <a:gd name="connsiteX3" fmla="*/ 228219 w 277272"/>
                  <a:gd name="connsiteY3" fmla="*/ 0 h 291845"/>
                  <a:gd name="connsiteX4" fmla="*/ 0 w 277272"/>
                  <a:gd name="connsiteY4" fmla="*/ 188404 h 291845"/>
                  <a:gd name="connsiteX5" fmla="*/ 277273 w 277272"/>
                  <a:gd name="connsiteY5" fmla="*/ 291846 h 291845"/>
                  <a:gd name="connsiteX6" fmla="*/ 228219 w 277272"/>
                  <a:gd name="connsiteY6" fmla="*/ 0 h 29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272" h="291845">
                    <a:moveTo>
                      <a:pt x="228219" y="0"/>
                    </a:moveTo>
                    <a:lnTo>
                      <a:pt x="0" y="188404"/>
                    </a:lnTo>
                    <a:lnTo>
                      <a:pt x="277273" y="291846"/>
                    </a:lnTo>
                    <a:lnTo>
                      <a:pt x="228219" y="0"/>
                    </a:lnTo>
                    <a:lnTo>
                      <a:pt x="0" y="188404"/>
                    </a:lnTo>
                    <a:lnTo>
                      <a:pt x="277273" y="291846"/>
                    </a:lnTo>
                    <a:lnTo>
                      <a:pt x="228219"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Forma libre: forma 290">
                <a:extLst>
                  <a:ext uri="{FF2B5EF4-FFF2-40B4-BE49-F238E27FC236}">
                    <a16:creationId xmlns:a16="http://schemas.microsoft.com/office/drawing/2014/main" id="{49ECCEB2-9F6A-559B-9E67-7113523A861D}"/>
                  </a:ext>
                </a:extLst>
              </p:cNvPr>
              <p:cNvSpPr/>
              <p:nvPr/>
            </p:nvSpPr>
            <p:spPr>
              <a:xfrm>
                <a:off x="5143499" y="3662933"/>
                <a:ext cx="294893" cy="268224"/>
              </a:xfrm>
              <a:custGeom>
                <a:avLst/>
                <a:gdLst>
                  <a:gd name="connsiteX0" fmla="*/ 294894 w 294893"/>
                  <a:gd name="connsiteY0" fmla="*/ 25717 h 268224"/>
                  <a:gd name="connsiteX1" fmla="*/ 0 w 294893"/>
                  <a:gd name="connsiteY1" fmla="*/ 0 h 268224"/>
                  <a:gd name="connsiteX2" fmla="*/ 125158 w 294893"/>
                  <a:gd name="connsiteY2" fmla="*/ 268224 h 268224"/>
                  <a:gd name="connsiteX3" fmla="*/ 294894 w 294893"/>
                  <a:gd name="connsiteY3" fmla="*/ 25717 h 268224"/>
                  <a:gd name="connsiteX4" fmla="*/ 0 w 294893"/>
                  <a:gd name="connsiteY4" fmla="*/ 0 h 268224"/>
                  <a:gd name="connsiteX5" fmla="*/ 125158 w 294893"/>
                  <a:gd name="connsiteY5" fmla="*/ 268224 h 268224"/>
                  <a:gd name="connsiteX6" fmla="*/ 294894 w 294893"/>
                  <a:gd name="connsiteY6" fmla="*/ 25717 h 26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893" h="268224">
                    <a:moveTo>
                      <a:pt x="294894" y="25717"/>
                    </a:moveTo>
                    <a:lnTo>
                      <a:pt x="0" y="0"/>
                    </a:lnTo>
                    <a:lnTo>
                      <a:pt x="125158" y="268224"/>
                    </a:lnTo>
                    <a:lnTo>
                      <a:pt x="294894" y="25717"/>
                    </a:lnTo>
                    <a:lnTo>
                      <a:pt x="0" y="0"/>
                    </a:lnTo>
                    <a:lnTo>
                      <a:pt x="125158" y="268224"/>
                    </a:lnTo>
                    <a:lnTo>
                      <a:pt x="294894" y="2571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Forma libre: forma 291">
                <a:extLst>
                  <a:ext uri="{FF2B5EF4-FFF2-40B4-BE49-F238E27FC236}">
                    <a16:creationId xmlns:a16="http://schemas.microsoft.com/office/drawing/2014/main" id="{54B7CF27-2E18-21BF-B990-4F694D7E82A0}"/>
                  </a:ext>
                </a:extLst>
              </p:cNvPr>
              <p:cNvSpPr/>
              <p:nvPr/>
            </p:nvSpPr>
            <p:spPr>
              <a:xfrm>
                <a:off x="5587936" y="2453639"/>
                <a:ext cx="270224" cy="294417"/>
              </a:xfrm>
              <a:custGeom>
                <a:avLst/>
                <a:gdLst>
                  <a:gd name="connsiteX0" fmla="*/ 239649 w 270224"/>
                  <a:gd name="connsiteY0" fmla="*/ 294418 h 294417"/>
                  <a:gd name="connsiteX1" fmla="*/ 270224 w 270224"/>
                  <a:gd name="connsiteY1" fmla="*/ 0 h 294417"/>
                  <a:gd name="connsiteX2" fmla="*/ 0 w 270224"/>
                  <a:gd name="connsiteY2" fmla="*/ 120777 h 294417"/>
                  <a:gd name="connsiteX3" fmla="*/ 239649 w 270224"/>
                  <a:gd name="connsiteY3" fmla="*/ 294418 h 294417"/>
                  <a:gd name="connsiteX4" fmla="*/ 270224 w 270224"/>
                  <a:gd name="connsiteY4" fmla="*/ 0 h 294417"/>
                  <a:gd name="connsiteX5" fmla="*/ 0 w 270224"/>
                  <a:gd name="connsiteY5" fmla="*/ 120777 h 294417"/>
                  <a:gd name="connsiteX6" fmla="*/ 239649 w 270224"/>
                  <a:gd name="connsiteY6" fmla="*/ 294418 h 294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224" h="294417">
                    <a:moveTo>
                      <a:pt x="239649" y="294418"/>
                    </a:moveTo>
                    <a:lnTo>
                      <a:pt x="270224" y="0"/>
                    </a:lnTo>
                    <a:lnTo>
                      <a:pt x="0" y="120777"/>
                    </a:lnTo>
                    <a:lnTo>
                      <a:pt x="239649" y="294418"/>
                    </a:lnTo>
                    <a:lnTo>
                      <a:pt x="270224" y="0"/>
                    </a:lnTo>
                    <a:lnTo>
                      <a:pt x="0" y="120777"/>
                    </a:lnTo>
                    <a:lnTo>
                      <a:pt x="239649" y="29441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Forma libre: forma 318">
                <a:extLst>
                  <a:ext uri="{FF2B5EF4-FFF2-40B4-BE49-F238E27FC236}">
                    <a16:creationId xmlns:a16="http://schemas.microsoft.com/office/drawing/2014/main" id="{955864C3-CEA8-E41F-566E-0B566BF32DB2}"/>
                  </a:ext>
                </a:extLst>
              </p:cNvPr>
              <p:cNvSpPr/>
              <p:nvPr/>
            </p:nvSpPr>
            <p:spPr>
              <a:xfrm>
                <a:off x="5146928" y="2941891"/>
                <a:ext cx="292036" cy="277177"/>
              </a:xfrm>
              <a:custGeom>
                <a:avLst/>
                <a:gdLst>
                  <a:gd name="connsiteX0" fmla="*/ 292036 w 292036"/>
                  <a:gd name="connsiteY0" fmla="*/ 228695 h 277177"/>
                  <a:gd name="connsiteX1" fmla="*/ 104108 w 292036"/>
                  <a:gd name="connsiteY1" fmla="*/ 0 h 277177"/>
                  <a:gd name="connsiteX2" fmla="*/ 0 w 292036"/>
                  <a:gd name="connsiteY2" fmla="*/ 277178 h 277177"/>
                  <a:gd name="connsiteX3" fmla="*/ 292036 w 292036"/>
                  <a:gd name="connsiteY3" fmla="*/ 228695 h 277177"/>
                  <a:gd name="connsiteX4" fmla="*/ 104108 w 292036"/>
                  <a:gd name="connsiteY4" fmla="*/ 0 h 277177"/>
                  <a:gd name="connsiteX5" fmla="*/ 0 w 292036"/>
                  <a:gd name="connsiteY5" fmla="*/ 277178 h 277177"/>
                  <a:gd name="connsiteX6" fmla="*/ 292036 w 292036"/>
                  <a:gd name="connsiteY6" fmla="*/ 228695 h 277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36" h="277177">
                    <a:moveTo>
                      <a:pt x="292036" y="228695"/>
                    </a:moveTo>
                    <a:lnTo>
                      <a:pt x="104108" y="0"/>
                    </a:lnTo>
                    <a:lnTo>
                      <a:pt x="0" y="277178"/>
                    </a:lnTo>
                    <a:lnTo>
                      <a:pt x="292036" y="228695"/>
                    </a:lnTo>
                    <a:lnTo>
                      <a:pt x="104108" y="0"/>
                    </a:lnTo>
                    <a:lnTo>
                      <a:pt x="0" y="277178"/>
                    </a:lnTo>
                    <a:lnTo>
                      <a:pt x="292036" y="22869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Forma libre: forma 319">
                <a:extLst>
                  <a:ext uri="{FF2B5EF4-FFF2-40B4-BE49-F238E27FC236}">
                    <a16:creationId xmlns:a16="http://schemas.microsoft.com/office/drawing/2014/main" id="{74EFDF5A-CD45-3737-4182-1203F19F5F26}"/>
                  </a:ext>
                </a:extLst>
              </p:cNvPr>
              <p:cNvSpPr/>
              <p:nvPr/>
            </p:nvSpPr>
            <p:spPr>
              <a:xfrm>
                <a:off x="6774274" y="2320289"/>
                <a:ext cx="905446" cy="1088707"/>
              </a:xfrm>
              <a:custGeom>
                <a:avLst/>
                <a:gdLst>
                  <a:gd name="connsiteX0" fmla="*/ 0 w 905446"/>
                  <a:gd name="connsiteY0" fmla="*/ 454343 h 1088707"/>
                  <a:gd name="connsiteX1" fmla="*/ 262890 w 905446"/>
                  <a:gd name="connsiteY1" fmla="*/ 1088708 h 1088707"/>
                  <a:gd name="connsiteX2" fmla="*/ 905446 w 905446"/>
                  <a:gd name="connsiteY2" fmla="*/ 1088708 h 1088707"/>
                  <a:gd name="connsiteX3" fmla="*/ 454342 w 905446"/>
                  <a:gd name="connsiteY3" fmla="*/ 0 h 1088707"/>
                  <a:gd name="connsiteX4" fmla="*/ 0 w 905446"/>
                  <a:gd name="connsiteY4" fmla="*/ 454343 h 108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446" h="1088707">
                    <a:moveTo>
                      <a:pt x="0" y="454343"/>
                    </a:moveTo>
                    <a:cubicBezTo>
                      <a:pt x="158877" y="619506"/>
                      <a:pt x="258127" y="847249"/>
                      <a:pt x="262890" y="1088708"/>
                    </a:cubicBezTo>
                    <a:lnTo>
                      <a:pt x="905446" y="1088708"/>
                    </a:lnTo>
                    <a:cubicBezTo>
                      <a:pt x="900493" y="667607"/>
                      <a:pt x="729425" y="281559"/>
                      <a:pt x="454342" y="0"/>
                    </a:cubicBezTo>
                    <a:lnTo>
                      <a:pt x="0" y="454343"/>
                    </a:lnTo>
                    <a:close/>
                  </a:path>
                </a:pathLst>
              </a:custGeom>
              <a:solidFill>
                <a:srgbClr val="0F142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Forma libre: forma 320">
                <a:extLst>
                  <a:ext uri="{FF2B5EF4-FFF2-40B4-BE49-F238E27FC236}">
                    <a16:creationId xmlns:a16="http://schemas.microsoft.com/office/drawing/2014/main" id="{F28FC8A3-EA29-D916-4C5F-0CF5190732E9}"/>
                  </a:ext>
                </a:extLst>
              </p:cNvPr>
              <p:cNvSpPr/>
              <p:nvPr/>
            </p:nvSpPr>
            <p:spPr>
              <a:xfrm>
                <a:off x="4984146" y="4107370"/>
                <a:ext cx="1081373" cy="905351"/>
              </a:xfrm>
              <a:custGeom>
                <a:avLst/>
                <a:gdLst>
                  <a:gd name="connsiteX0" fmla="*/ 1081373 w 1081373"/>
                  <a:gd name="connsiteY0" fmla="*/ 905351 h 905351"/>
                  <a:gd name="connsiteX1" fmla="*/ 1081373 w 1081373"/>
                  <a:gd name="connsiteY1" fmla="*/ 262795 h 905351"/>
                  <a:gd name="connsiteX2" fmla="*/ 455390 w 1081373"/>
                  <a:gd name="connsiteY2" fmla="*/ 0 h 905351"/>
                  <a:gd name="connsiteX3" fmla="*/ 0 w 1081373"/>
                  <a:gd name="connsiteY3" fmla="*/ 454343 h 905351"/>
                  <a:gd name="connsiteX4" fmla="*/ 1081373 w 1081373"/>
                  <a:gd name="connsiteY4" fmla="*/ 905351 h 9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373" h="905351">
                    <a:moveTo>
                      <a:pt x="1081373" y="905351"/>
                    </a:moveTo>
                    <a:lnTo>
                      <a:pt x="1081373" y="262795"/>
                    </a:lnTo>
                    <a:cubicBezTo>
                      <a:pt x="834295" y="256413"/>
                      <a:pt x="619220" y="157543"/>
                      <a:pt x="455390" y="0"/>
                    </a:cubicBezTo>
                    <a:lnTo>
                      <a:pt x="0" y="454343"/>
                    </a:lnTo>
                    <a:cubicBezTo>
                      <a:pt x="280226" y="728091"/>
                      <a:pt x="660273" y="898874"/>
                      <a:pt x="1081373" y="905351"/>
                    </a:cubicBezTo>
                    <a:close/>
                  </a:path>
                </a:pathLst>
              </a:custGeom>
              <a:solidFill>
                <a:srgbClr val="860C1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Forma libre: forma 321">
                <a:extLst>
                  <a:ext uri="{FF2B5EF4-FFF2-40B4-BE49-F238E27FC236}">
                    <a16:creationId xmlns:a16="http://schemas.microsoft.com/office/drawing/2014/main" id="{273DD891-F381-69F3-8E27-36D53220A159}"/>
                  </a:ext>
                </a:extLst>
              </p:cNvPr>
              <p:cNvSpPr/>
              <p:nvPr/>
            </p:nvSpPr>
            <p:spPr>
              <a:xfrm>
                <a:off x="4983955" y="1843182"/>
                <a:ext cx="1081563" cy="905636"/>
              </a:xfrm>
              <a:custGeom>
                <a:avLst/>
                <a:gdLst>
                  <a:gd name="connsiteX0" fmla="*/ 455390 w 1081563"/>
                  <a:gd name="connsiteY0" fmla="*/ 905637 h 905636"/>
                  <a:gd name="connsiteX1" fmla="*/ 1081564 w 1081563"/>
                  <a:gd name="connsiteY1" fmla="*/ 642652 h 905636"/>
                  <a:gd name="connsiteX2" fmla="*/ 1081564 w 1081563"/>
                  <a:gd name="connsiteY2" fmla="*/ 0 h 905636"/>
                  <a:gd name="connsiteX3" fmla="*/ 0 w 1081563"/>
                  <a:gd name="connsiteY3" fmla="*/ 451199 h 905636"/>
                  <a:gd name="connsiteX4" fmla="*/ 455390 w 1081563"/>
                  <a:gd name="connsiteY4" fmla="*/ 905542 h 905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563" h="905636">
                    <a:moveTo>
                      <a:pt x="455390" y="905637"/>
                    </a:moveTo>
                    <a:cubicBezTo>
                      <a:pt x="619220" y="747998"/>
                      <a:pt x="834485" y="649034"/>
                      <a:pt x="1081564" y="642652"/>
                    </a:cubicBezTo>
                    <a:lnTo>
                      <a:pt x="1081564" y="0"/>
                    </a:lnTo>
                    <a:cubicBezTo>
                      <a:pt x="660463" y="6572"/>
                      <a:pt x="280130" y="177355"/>
                      <a:pt x="0" y="451199"/>
                    </a:cubicBezTo>
                    <a:lnTo>
                      <a:pt x="455390" y="905542"/>
                    </a:lnTo>
                    <a:close/>
                  </a:path>
                </a:pathLst>
              </a:custGeom>
              <a:solidFill>
                <a:srgbClr val="33459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Forma libre: forma 322">
                <a:extLst>
                  <a:ext uri="{FF2B5EF4-FFF2-40B4-BE49-F238E27FC236}">
                    <a16:creationId xmlns:a16="http://schemas.microsoft.com/office/drawing/2014/main" id="{EE8694E2-BE43-DC3F-D9A4-1DA5C4F62EB0}"/>
                  </a:ext>
                </a:extLst>
              </p:cNvPr>
              <p:cNvSpPr/>
              <p:nvPr/>
            </p:nvSpPr>
            <p:spPr>
              <a:xfrm>
                <a:off x="6104857" y="1843087"/>
                <a:ext cx="1091469" cy="903255"/>
              </a:xfrm>
              <a:custGeom>
                <a:avLst/>
                <a:gdLst>
                  <a:gd name="connsiteX0" fmla="*/ 0 w 1091469"/>
                  <a:gd name="connsiteY0" fmla="*/ 642557 h 903255"/>
                  <a:gd name="connsiteX1" fmla="*/ 638461 w 1091469"/>
                  <a:gd name="connsiteY1" fmla="*/ 903256 h 903255"/>
                  <a:gd name="connsiteX2" fmla="*/ 1091470 w 1091469"/>
                  <a:gd name="connsiteY2" fmla="*/ 448913 h 903255"/>
                  <a:gd name="connsiteX3" fmla="*/ 0 w 1091469"/>
                  <a:gd name="connsiteY3" fmla="*/ 0 h 903255"/>
                  <a:gd name="connsiteX4" fmla="*/ 0 w 1091469"/>
                  <a:gd name="connsiteY4" fmla="*/ 642557 h 903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469" h="903255">
                    <a:moveTo>
                      <a:pt x="0" y="642557"/>
                    </a:moveTo>
                    <a:cubicBezTo>
                      <a:pt x="247079" y="646462"/>
                      <a:pt x="472631" y="744855"/>
                      <a:pt x="638461" y="903256"/>
                    </a:cubicBezTo>
                    <a:lnTo>
                      <a:pt x="1091470" y="448913"/>
                    </a:lnTo>
                    <a:cubicBezTo>
                      <a:pt x="809244" y="174308"/>
                      <a:pt x="426720" y="4000"/>
                      <a:pt x="0" y="0"/>
                    </a:cubicBezTo>
                    <a:lnTo>
                      <a:pt x="0" y="642557"/>
                    </a:lnTo>
                    <a:close/>
                  </a:path>
                </a:pathLst>
              </a:custGeom>
              <a:solidFill>
                <a:srgbClr val="1F2A5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Forma libre: forma 323">
                <a:extLst>
                  <a:ext uri="{FF2B5EF4-FFF2-40B4-BE49-F238E27FC236}">
                    <a16:creationId xmlns:a16="http://schemas.microsoft.com/office/drawing/2014/main" id="{E117AB26-B067-62EA-C755-A1D153AF42AA}"/>
                  </a:ext>
                </a:extLst>
              </p:cNvPr>
              <p:cNvSpPr/>
              <p:nvPr/>
            </p:nvSpPr>
            <p:spPr>
              <a:xfrm>
                <a:off x="4510087" y="3454050"/>
                <a:ext cx="903160" cy="1082801"/>
              </a:xfrm>
              <a:custGeom>
                <a:avLst/>
                <a:gdLst>
                  <a:gd name="connsiteX0" fmla="*/ 903161 w 903160"/>
                  <a:gd name="connsiteY0" fmla="*/ 627221 h 1082801"/>
                  <a:gd name="connsiteX1" fmla="*/ 642557 w 903160"/>
                  <a:gd name="connsiteY1" fmla="*/ 0 h 1082801"/>
                  <a:gd name="connsiteX2" fmla="*/ 0 w 903160"/>
                  <a:gd name="connsiteY2" fmla="*/ 0 h 1082801"/>
                  <a:gd name="connsiteX3" fmla="*/ 448818 w 903160"/>
                  <a:gd name="connsiteY3" fmla="*/ 1082802 h 1082801"/>
                  <a:gd name="connsiteX4" fmla="*/ 903161 w 903160"/>
                  <a:gd name="connsiteY4" fmla="*/ 627317 h 1082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160" h="1082801">
                    <a:moveTo>
                      <a:pt x="903161" y="627221"/>
                    </a:moveTo>
                    <a:cubicBezTo>
                      <a:pt x="746093" y="462820"/>
                      <a:pt x="647986" y="241459"/>
                      <a:pt x="642557" y="0"/>
                    </a:cubicBezTo>
                    <a:lnTo>
                      <a:pt x="0" y="0"/>
                    </a:lnTo>
                    <a:cubicBezTo>
                      <a:pt x="5525" y="421100"/>
                      <a:pt x="175546" y="802005"/>
                      <a:pt x="448818" y="1082802"/>
                    </a:cubicBezTo>
                    <a:lnTo>
                      <a:pt x="903161" y="627317"/>
                    </a:lnTo>
                    <a:close/>
                  </a:path>
                </a:pathLst>
              </a:custGeom>
              <a:solidFill>
                <a:srgbClr val="B8101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Forma libre: forma 341">
                <a:extLst>
                  <a:ext uri="{FF2B5EF4-FFF2-40B4-BE49-F238E27FC236}">
                    <a16:creationId xmlns:a16="http://schemas.microsoft.com/office/drawing/2014/main" id="{36EABB83-76A6-D322-BB8A-5A4AD421B06B}"/>
                  </a:ext>
                </a:extLst>
              </p:cNvPr>
              <p:cNvSpPr/>
              <p:nvPr/>
            </p:nvSpPr>
            <p:spPr>
              <a:xfrm>
                <a:off x="4510087" y="2322861"/>
                <a:ext cx="902970" cy="1086135"/>
              </a:xfrm>
              <a:custGeom>
                <a:avLst/>
                <a:gdLst>
                  <a:gd name="connsiteX0" fmla="*/ 642557 w 902970"/>
                  <a:gd name="connsiteY0" fmla="*/ 1086136 h 1086135"/>
                  <a:gd name="connsiteX1" fmla="*/ 902970 w 902970"/>
                  <a:gd name="connsiteY1" fmla="*/ 454343 h 1086135"/>
                  <a:gd name="connsiteX2" fmla="*/ 448628 w 902970"/>
                  <a:gd name="connsiteY2" fmla="*/ 0 h 1086135"/>
                  <a:gd name="connsiteX3" fmla="*/ 0 w 902970"/>
                  <a:gd name="connsiteY3" fmla="*/ 1086136 h 1086135"/>
                  <a:gd name="connsiteX4" fmla="*/ 642557 w 902970"/>
                  <a:gd name="connsiteY4" fmla="*/ 1086136 h 1086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970" h="1086135">
                    <a:moveTo>
                      <a:pt x="642557" y="1086136"/>
                    </a:moveTo>
                    <a:cubicBezTo>
                      <a:pt x="647319" y="850297"/>
                      <a:pt x="745522" y="619316"/>
                      <a:pt x="902970" y="454343"/>
                    </a:cubicBezTo>
                    <a:lnTo>
                      <a:pt x="448628" y="0"/>
                    </a:lnTo>
                    <a:cubicBezTo>
                      <a:pt x="174974" y="281369"/>
                      <a:pt x="4953" y="665036"/>
                      <a:pt x="0" y="1086136"/>
                    </a:cubicBezTo>
                    <a:lnTo>
                      <a:pt x="642557" y="1086136"/>
                    </a:lnTo>
                    <a:close/>
                  </a:path>
                </a:pathLst>
              </a:custGeom>
              <a:solidFill>
                <a:srgbClr val="EC21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9" name="Bocadillo: ovalado 258">
              <a:extLst>
                <a:ext uri="{FF2B5EF4-FFF2-40B4-BE49-F238E27FC236}">
                  <a16:creationId xmlns:a16="http://schemas.microsoft.com/office/drawing/2014/main" id="{F5FE1ACD-2976-D57E-BB19-BA969FBE9FB1}"/>
                </a:ext>
              </a:extLst>
            </p:cNvPr>
            <p:cNvSpPr/>
            <p:nvPr/>
          </p:nvSpPr>
          <p:spPr>
            <a:xfrm rot="16200000">
              <a:off x="2274202" y="2029748"/>
              <a:ext cx="2826118" cy="2826118"/>
            </a:xfrm>
            <a:prstGeom prst="wedgeEllipseCallout">
              <a:avLst>
                <a:gd name="adj1" fmla="val 42225"/>
                <a:gd name="adj2" fmla="val 41481"/>
              </a:avLst>
            </a:prstGeom>
            <a:solidFill>
              <a:schemeClr val="bg1"/>
            </a:solidFill>
            <a:ln>
              <a:noFill/>
            </a:ln>
            <a:effectLst>
              <a:outerShdw blurRad="381000" dist="3810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5" name="CuadroTexto 344">
              <a:extLst>
                <a:ext uri="{FF2B5EF4-FFF2-40B4-BE49-F238E27FC236}">
                  <a16:creationId xmlns:a16="http://schemas.microsoft.com/office/drawing/2014/main" id="{C7C27E60-0C01-CD7A-1CE8-9335E648843B}"/>
                </a:ext>
              </a:extLst>
            </p:cNvPr>
            <p:cNvSpPr txBox="1"/>
            <p:nvPr/>
          </p:nvSpPr>
          <p:spPr>
            <a:xfrm rot="20288442">
              <a:off x="2481665" y="1804655"/>
              <a:ext cx="1178288" cy="347752"/>
            </a:xfrm>
            <a:prstGeom prst="rect">
              <a:avLst/>
            </a:prstGeom>
            <a:noFill/>
          </p:spPr>
          <p:txBody>
            <a:bodyPr wrap="square">
              <a:prstTxWarp prst="textArchUp">
                <a:avLst>
                  <a:gd name="adj" fmla="val 11107668"/>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Human Resource</a:t>
              </a:r>
            </a:p>
          </p:txBody>
        </p:sp>
        <p:sp>
          <p:nvSpPr>
            <p:cNvPr id="346" name="CuadroTexto 345">
              <a:extLst>
                <a:ext uri="{FF2B5EF4-FFF2-40B4-BE49-F238E27FC236}">
                  <a16:creationId xmlns:a16="http://schemas.microsoft.com/office/drawing/2014/main" id="{9B0E00AB-4486-3BD9-D41E-B91816E32A4C}"/>
                </a:ext>
              </a:extLst>
            </p:cNvPr>
            <p:cNvSpPr txBox="1"/>
            <p:nvPr/>
          </p:nvSpPr>
          <p:spPr>
            <a:xfrm rot="17724083">
              <a:off x="1708597" y="2603852"/>
              <a:ext cx="1178288" cy="531540"/>
            </a:xfrm>
            <a:prstGeom prst="rect">
              <a:avLst/>
            </a:prstGeom>
            <a:noFill/>
          </p:spPr>
          <p:txBody>
            <a:bodyPr wrap="square">
              <a:prstTxWarp prst="textArchUp">
                <a:avLst>
                  <a:gd name="adj" fmla="val 11107668"/>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urchasing</a:t>
              </a:r>
            </a:p>
          </p:txBody>
        </p:sp>
        <p:sp>
          <p:nvSpPr>
            <p:cNvPr id="347" name="CuadroTexto 346">
              <a:extLst>
                <a:ext uri="{FF2B5EF4-FFF2-40B4-BE49-F238E27FC236}">
                  <a16:creationId xmlns:a16="http://schemas.microsoft.com/office/drawing/2014/main" id="{A2DC1201-A376-511C-C246-6C13B5EB4BD9}"/>
                </a:ext>
              </a:extLst>
            </p:cNvPr>
            <p:cNvSpPr txBox="1"/>
            <p:nvPr/>
          </p:nvSpPr>
          <p:spPr>
            <a:xfrm rot="14800671">
              <a:off x="1760546" y="3715200"/>
              <a:ext cx="1178288" cy="586624"/>
            </a:xfrm>
            <a:prstGeom prst="rect">
              <a:avLst/>
            </a:prstGeom>
            <a:noFill/>
          </p:spPr>
          <p:txBody>
            <a:bodyPr wrap="square">
              <a:prstTxWarp prst="textArchUp">
                <a:avLst>
                  <a:gd name="adj" fmla="val 11107668"/>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Inventory</a:t>
              </a:r>
            </a:p>
          </p:txBody>
        </p:sp>
        <p:sp>
          <p:nvSpPr>
            <p:cNvPr id="350" name="CuadroTexto 349">
              <a:extLst>
                <a:ext uri="{FF2B5EF4-FFF2-40B4-BE49-F238E27FC236}">
                  <a16:creationId xmlns:a16="http://schemas.microsoft.com/office/drawing/2014/main" id="{28AFA4FC-4031-9ED3-B90B-B46C816D836A}"/>
                </a:ext>
              </a:extLst>
            </p:cNvPr>
            <p:cNvSpPr txBox="1"/>
            <p:nvPr/>
          </p:nvSpPr>
          <p:spPr>
            <a:xfrm rot="17724083">
              <a:off x="4483016" y="3777716"/>
              <a:ext cx="1178288" cy="531540"/>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ccounting</a:t>
              </a:r>
            </a:p>
          </p:txBody>
        </p:sp>
        <p:sp>
          <p:nvSpPr>
            <p:cNvPr id="351" name="CuadroTexto 350">
              <a:extLst>
                <a:ext uri="{FF2B5EF4-FFF2-40B4-BE49-F238E27FC236}">
                  <a16:creationId xmlns:a16="http://schemas.microsoft.com/office/drawing/2014/main" id="{79463F03-88CF-41A8-5EF4-CBD033E60512}"/>
                </a:ext>
              </a:extLst>
            </p:cNvPr>
            <p:cNvSpPr txBox="1"/>
            <p:nvPr/>
          </p:nvSpPr>
          <p:spPr>
            <a:xfrm rot="20225593">
              <a:off x="3424993" y="4465105"/>
              <a:ext cx="1675934" cy="690454"/>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Business Intelligence</a:t>
              </a:r>
            </a:p>
          </p:txBody>
        </p:sp>
        <p:sp>
          <p:nvSpPr>
            <p:cNvPr id="353" name="CuadroTexto 352">
              <a:extLst>
                <a:ext uri="{FF2B5EF4-FFF2-40B4-BE49-F238E27FC236}">
                  <a16:creationId xmlns:a16="http://schemas.microsoft.com/office/drawing/2014/main" id="{7C6A50E2-7661-45A4-3659-1D7A135B8CCD}"/>
                </a:ext>
              </a:extLst>
            </p:cNvPr>
            <p:cNvSpPr txBox="1"/>
            <p:nvPr/>
          </p:nvSpPr>
          <p:spPr>
            <a:xfrm rot="1389089">
              <a:off x="2548513" y="4566995"/>
              <a:ext cx="1178288" cy="531540"/>
            </a:xfrm>
            <a:prstGeom prst="rect">
              <a:avLst/>
            </a:prstGeom>
            <a:noFill/>
          </p:spPr>
          <p:txBody>
            <a:bodyPr wrap="square">
              <a:prstTxWarp prst="textArchDown">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ales (CRM)</a:t>
              </a:r>
            </a:p>
          </p:txBody>
        </p:sp>
        <p:grpSp>
          <p:nvGrpSpPr>
            <p:cNvPr id="344" name="Grupo 343">
              <a:extLst>
                <a:ext uri="{FF2B5EF4-FFF2-40B4-BE49-F238E27FC236}">
                  <a16:creationId xmlns:a16="http://schemas.microsoft.com/office/drawing/2014/main" id="{64889127-0C78-612D-A01D-05AF77943C34}"/>
                </a:ext>
              </a:extLst>
            </p:cNvPr>
            <p:cNvGrpSpPr/>
            <p:nvPr/>
          </p:nvGrpSpPr>
          <p:grpSpPr>
            <a:xfrm>
              <a:off x="2721018" y="3131007"/>
              <a:ext cx="1962742" cy="751202"/>
              <a:chOff x="2939068" y="3508427"/>
              <a:chExt cx="1962742" cy="751202"/>
            </a:xfrm>
          </p:grpSpPr>
          <p:pic>
            <p:nvPicPr>
              <p:cNvPr id="258" name="Imagen 257" descr="Icono&#10;&#10;Descripción generada automáticamente">
                <a:extLst>
                  <a:ext uri="{FF2B5EF4-FFF2-40B4-BE49-F238E27FC236}">
                    <a16:creationId xmlns:a16="http://schemas.microsoft.com/office/drawing/2014/main" id="{BB07A07C-DA6D-AAA4-9CCA-427B05E198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39068" y="3508427"/>
                <a:ext cx="1962742" cy="369584"/>
              </a:xfrm>
              <a:prstGeom prst="rect">
                <a:avLst/>
              </a:prstGeom>
            </p:spPr>
          </p:pic>
          <p:sp>
            <p:nvSpPr>
              <p:cNvPr id="343" name="CuadroTexto 342">
                <a:extLst>
                  <a:ext uri="{FF2B5EF4-FFF2-40B4-BE49-F238E27FC236}">
                    <a16:creationId xmlns:a16="http://schemas.microsoft.com/office/drawing/2014/main" id="{3EA3DEEB-833D-C021-2194-77878AA81BF4}"/>
                  </a:ext>
                </a:extLst>
              </p:cNvPr>
              <p:cNvSpPr txBox="1"/>
              <p:nvPr/>
            </p:nvSpPr>
            <p:spPr>
              <a:xfrm>
                <a:off x="3240950" y="3890297"/>
                <a:ext cx="135897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9FF"/>
                    </a:solidFill>
                    <a:effectLst/>
                    <a:uLnTx/>
                    <a:uFillTx/>
                    <a:latin typeface="Poppins Light" panose="00000400000000000000" pitchFamily="2" charset="0"/>
                    <a:ea typeface="+mn-ea"/>
                    <a:cs typeface="Poppins Light" panose="00000400000000000000" pitchFamily="2" charset="0"/>
                  </a:rPr>
                  <a:t>MODULES</a:t>
                </a:r>
              </a:p>
            </p:txBody>
          </p:sp>
        </p:grpSp>
      </p:grpSp>
      <p:pic>
        <p:nvPicPr>
          <p:cNvPr id="355" name="Imagen 354" descr="Un dibujo animado con letras&#10;&#10;Descripción generada automáticamente con confianza baja">
            <a:extLst>
              <a:ext uri="{FF2B5EF4-FFF2-40B4-BE49-F238E27FC236}">
                <a16:creationId xmlns:a16="http://schemas.microsoft.com/office/drawing/2014/main" id="{C3998447-125B-0B2C-44E6-8D3D88D7B374}"/>
              </a:ext>
            </a:extLst>
          </p:cNvPr>
          <p:cNvPicPr>
            <a:picLocks noChangeAspect="1"/>
          </p:cNvPicPr>
          <p:nvPr/>
        </p:nvPicPr>
        <p:blipFill>
          <a:blip r:embed="rId7">
            <a:grayscl/>
            <a:alphaModFix amt="5000"/>
            <a:extLst>
              <a:ext uri="{28A0092B-C50C-407E-A947-70E740481C1C}">
                <a14:useLocalDpi xmlns:a14="http://schemas.microsoft.com/office/drawing/2010/main" val="0"/>
              </a:ext>
            </a:extLst>
          </a:blip>
          <a:stretch>
            <a:fillRect/>
          </a:stretch>
        </p:blipFill>
        <p:spPr>
          <a:xfrm>
            <a:off x="7477385" y="4970364"/>
            <a:ext cx="3278067" cy="2780503"/>
          </a:xfrm>
          <a:prstGeom prst="rect">
            <a:avLst/>
          </a:prstGeom>
        </p:spPr>
      </p:pic>
    </p:spTree>
    <p:extLst>
      <p:ext uri="{BB962C8B-B14F-4D97-AF65-F5344CB8AC3E}">
        <p14:creationId xmlns:p14="http://schemas.microsoft.com/office/powerpoint/2010/main" val="12464667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Word"/>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1B9327D-CE74-27F6-83B2-096EF261837D}"/>
              </a:ext>
            </a:extLst>
          </p:cNvPr>
          <p:cNvSpPr/>
          <p:nvPr/>
        </p:nvSpPr>
        <p:spPr>
          <a:xfrm rot="2261073">
            <a:off x="6264526" y="4748822"/>
            <a:ext cx="3371751" cy="1614640"/>
          </a:xfrm>
          <a:prstGeom prst="rect">
            <a:avLst/>
          </a:prstGeom>
          <a:noFill/>
          <a:ln>
            <a:solidFill>
              <a:schemeClr val="accent3">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11" name="Rectangle 10">
            <a:extLst>
              <a:ext uri="{FF2B5EF4-FFF2-40B4-BE49-F238E27FC236}">
                <a16:creationId xmlns:a16="http://schemas.microsoft.com/office/drawing/2014/main" id="{505AB576-38CD-D900-5766-7DF72786BA1B}"/>
              </a:ext>
            </a:extLst>
          </p:cNvPr>
          <p:cNvSpPr/>
          <p:nvPr/>
        </p:nvSpPr>
        <p:spPr>
          <a:xfrm rot="2261073">
            <a:off x="6264735" y="5671022"/>
            <a:ext cx="3279571" cy="1671199"/>
          </a:xfrm>
          <a:prstGeom prst="rect">
            <a:avLst/>
          </a:prstGeom>
          <a:noFill/>
          <a:ln>
            <a:solidFill>
              <a:schemeClr val="accent1">
                <a:alpha val="3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sp>
        <p:nvSpPr>
          <p:cNvPr id="2" name="Slide Number Placeholder 1">
            <a:extLst>
              <a:ext uri="{FF2B5EF4-FFF2-40B4-BE49-F238E27FC236}">
                <a16:creationId xmlns:a16="http://schemas.microsoft.com/office/drawing/2014/main" id="{30574CE8-02CF-A4A8-5CD5-C68BAA3C8CC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AA9021D-9B96-4B30-92A0-C1A8EC1C2159}" type="slidenum">
              <a:rPr kumimoji="0" lang="en-US" sz="1100" b="0" i="0" u="none" strike="noStrike" kern="1200" cap="none" spc="0" normalizeH="0" baseline="0" noProof="0" smtClean="0">
                <a:ln>
                  <a:noFill/>
                </a:ln>
                <a:solidFill>
                  <a:prstClr val="black">
                    <a:lumMod val="75000"/>
                    <a:lumOff val="25000"/>
                  </a:prstClr>
                </a:solidFill>
                <a:effectLst/>
                <a:uLnTx/>
                <a:uFillTx/>
                <a:latin typeface="Jos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prstClr val="black">
                  <a:lumMod val="75000"/>
                  <a:lumOff val="25000"/>
                </a:prstClr>
              </a:solidFill>
              <a:effectLst/>
              <a:uLnTx/>
              <a:uFillTx/>
              <a:latin typeface="Jost"/>
              <a:ea typeface="+mn-ea"/>
              <a:cs typeface="+mn-cs"/>
            </a:endParaRPr>
          </a:p>
        </p:txBody>
      </p:sp>
      <p:pic>
        <p:nvPicPr>
          <p:cNvPr id="24" name="Picture Placeholder 23" descr="A picture containing indoor, arranged&#10;&#10;Description automatically generated">
            <a:extLst>
              <a:ext uri="{FF2B5EF4-FFF2-40B4-BE49-F238E27FC236}">
                <a16:creationId xmlns:a16="http://schemas.microsoft.com/office/drawing/2014/main" id="{29802CE4-7C89-F0DF-C14A-22E7A6A4A782}"/>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a:stretch/>
        </p:blipFill>
        <p:spPr>
          <a:xfrm>
            <a:off x="6226932" y="2384894"/>
            <a:ext cx="2513002" cy="2519941"/>
          </a:xfrm>
        </p:spPr>
      </p:pic>
      <p:pic>
        <p:nvPicPr>
          <p:cNvPr id="28" name="Picture Placeholder 27" descr="Graphical user interface&#10;&#10;Description automatically generated">
            <a:extLst>
              <a:ext uri="{FF2B5EF4-FFF2-40B4-BE49-F238E27FC236}">
                <a16:creationId xmlns:a16="http://schemas.microsoft.com/office/drawing/2014/main" id="{47218DBD-CDF4-4E07-DD90-84E78CD3DA68}"/>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a:stretch/>
        </p:blipFill>
        <p:spPr>
          <a:xfrm>
            <a:off x="7617256" y="2076505"/>
            <a:ext cx="3618348" cy="3910116"/>
          </a:xfrm>
        </p:spPr>
      </p:pic>
      <p:sp>
        <p:nvSpPr>
          <p:cNvPr id="7" name="TextBox 6">
            <a:extLst>
              <a:ext uri="{FF2B5EF4-FFF2-40B4-BE49-F238E27FC236}">
                <a16:creationId xmlns:a16="http://schemas.microsoft.com/office/drawing/2014/main" id="{73B44AFA-7CED-95DA-73C7-9FA10441B1F1}"/>
              </a:ext>
            </a:extLst>
          </p:cNvPr>
          <p:cNvSpPr txBox="1"/>
          <p:nvPr/>
        </p:nvSpPr>
        <p:spPr>
          <a:xfrm>
            <a:off x="997332" y="2232499"/>
            <a:ext cx="4875877" cy="2737929"/>
          </a:xfrm>
          <a:prstGeom prst="rect">
            <a:avLst/>
          </a:prstGeom>
          <a:noFill/>
        </p:spPr>
        <p:txBody>
          <a:bodyPr wrap="square">
            <a:spAutoFit/>
          </a:bodyPr>
          <a:lstStyle>
            <a:defPPr>
              <a:defRPr lang="en-US"/>
            </a:defPPr>
            <a:lvl1pPr>
              <a:lnSpc>
                <a:spcPts val="2600"/>
              </a:lnSpc>
              <a:defRPr sz="1600">
                <a:solidFill>
                  <a:schemeClr val="tx1">
                    <a:lumMod val="75000"/>
                    <a:lumOff val="25000"/>
                  </a:schemeClr>
                </a:solidFill>
              </a:defRPr>
            </a:lvl1p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Jost"/>
                <a:ea typeface="+mn-ea"/>
                <a:cs typeface="+mn-cs"/>
              </a:rPr>
              <a:t>Health Icon projects international expertise unto local markets in the region. We understand that every market has its own dynamics. Either it is researching market access plans, strategies, and business-case potentials, Health Icon is there to provide supervision, pricing, business analytics, and evaluation. We put the expertise of our team to ensuring a successful deployment of our projects successfully.</a:t>
            </a:r>
          </a:p>
        </p:txBody>
      </p:sp>
      <p:sp>
        <p:nvSpPr>
          <p:cNvPr id="9" name="TextBox 8">
            <a:extLst>
              <a:ext uri="{FF2B5EF4-FFF2-40B4-BE49-F238E27FC236}">
                <a16:creationId xmlns:a16="http://schemas.microsoft.com/office/drawing/2014/main" id="{64EE3412-ABD3-8FCC-8531-7EA526AC12A9}"/>
              </a:ext>
            </a:extLst>
          </p:cNvPr>
          <p:cNvSpPr txBox="1"/>
          <p:nvPr/>
        </p:nvSpPr>
        <p:spPr>
          <a:xfrm>
            <a:off x="1986456" y="974238"/>
            <a:ext cx="5325816" cy="1077218"/>
          </a:xfrm>
          <a:prstGeom prst="rect">
            <a:avLst/>
          </a:prstGeom>
          <a:noFill/>
        </p:spPr>
        <p:txBody>
          <a:bodyPr wrap="square" rtlCol="0">
            <a:spAutoFit/>
          </a:bodyPr>
          <a:lstStyle>
            <a:defPPr>
              <a:defRPr lang="en-US"/>
            </a:defPPr>
            <a:lvl1pPr algn="ctr">
              <a:defRPr sz="3200">
                <a:solidFill>
                  <a:schemeClr val="accent3"/>
                </a:solidFill>
                <a:effectLst/>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2AEF1"/>
                </a:solidFill>
                <a:effectLst/>
                <a:uLnTx/>
                <a:uFillTx/>
                <a:latin typeface="Jost ExtraBold"/>
                <a:ea typeface="+mn-ea"/>
                <a:cs typeface="+mn-cs"/>
              </a:rPr>
              <a:t>BUSINESS </a:t>
            </a:r>
            <a:r>
              <a:rPr kumimoji="0" lang="en-US" sz="3200" b="0" i="0" u="none" strike="noStrike" kern="1200" cap="none" spc="0" normalizeH="0" baseline="0" noProof="0" dirty="0">
                <a:ln>
                  <a:noFill/>
                </a:ln>
                <a:solidFill>
                  <a:prstClr val="black"/>
                </a:solidFill>
                <a:effectLst/>
                <a:uLnTx/>
                <a:uFillTx/>
                <a:latin typeface="Jost ExtraBold"/>
                <a:ea typeface="+mn-ea"/>
                <a:cs typeface="+mn-cs"/>
              </a:rPr>
              <a:t>DEVELOPMENT</a:t>
            </a:r>
          </a:p>
        </p:txBody>
      </p:sp>
      <p:pic>
        <p:nvPicPr>
          <p:cNvPr id="26" name="Picture Placeholder 25" descr="A picture containing text, person&#10;&#10;Description automatically generated">
            <a:extLst>
              <a:ext uri="{FF2B5EF4-FFF2-40B4-BE49-F238E27FC236}">
                <a16:creationId xmlns:a16="http://schemas.microsoft.com/office/drawing/2014/main" id="{890B76A6-1625-8BC3-4BF2-EDF7CDFDC522}"/>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a:stretch/>
        </p:blipFill>
        <p:spPr>
          <a:xfrm>
            <a:off x="7386082" y="959831"/>
            <a:ext cx="2504818" cy="2513317"/>
          </a:xfrm>
        </p:spPr>
      </p:pic>
      <p:grpSp>
        <p:nvGrpSpPr>
          <p:cNvPr id="8" name="Group 7">
            <a:extLst>
              <a:ext uri="{FF2B5EF4-FFF2-40B4-BE49-F238E27FC236}">
                <a16:creationId xmlns:a16="http://schemas.microsoft.com/office/drawing/2014/main" id="{DF383C73-C900-9654-B868-1C069CFA6D4C}"/>
              </a:ext>
            </a:extLst>
          </p:cNvPr>
          <p:cNvGrpSpPr/>
          <p:nvPr/>
        </p:nvGrpSpPr>
        <p:grpSpPr>
          <a:xfrm>
            <a:off x="1091292" y="5102017"/>
            <a:ext cx="611384" cy="611384"/>
            <a:chOff x="1091292" y="5102017"/>
            <a:chExt cx="611384" cy="611384"/>
          </a:xfrm>
        </p:grpSpPr>
        <p:sp>
          <p:nvSpPr>
            <p:cNvPr id="17" name="Oval 16">
              <a:extLst>
                <a:ext uri="{FF2B5EF4-FFF2-40B4-BE49-F238E27FC236}">
                  <a16:creationId xmlns:a16="http://schemas.microsoft.com/office/drawing/2014/main" id="{76C88405-2031-306B-DFCA-9A3AA633D140}"/>
                </a:ext>
              </a:extLst>
            </p:cNvPr>
            <p:cNvSpPr/>
            <p:nvPr/>
          </p:nvSpPr>
          <p:spPr>
            <a:xfrm>
              <a:off x="1091292" y="5102017"/>
              <a:ext cx="611384" cy="611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4" name="Graphic 3">
              <a:extLst>
                <a:ext uri="{FF2B5EF4-FFF2-40B4-BE49-F238E27FC236}">
                  <a16:creationId xmlns:a16="http://schemas.microsoft.com/office/drawing/2014/main" id="{79167FF2-9E24-9544-37DC-9DF5095D1F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14104" y="5224829"/>
              <a:ext cx="365760" cy="365760"/>
            </a:xfrm>
            <a:prstGeom prst="rect">
              <a:avLst/>
            </a:prstGeom>
          </p:spPr>
        </p:pic>
      </p:grpSp>
      <p:grpSp>
        <p:nvGrpSpPr>
          <p:cNvPr id="12" name="Group 11">
            <a:extLst>
              <a:ext uri="{FF2B5EF4-FFF2-40B4-BE49-F238E27FC236}">
                <a16:creationId xmlns:a16="http://schemas.microsoft.com/office/drawing/2014/main" id="{E666766F-E779-9F4F-FBD4-98A8AE674250}"/>
              </a:ext>
            </a:extLst>
          </p:cNvPr>
          <p:cNvGrpSpPr/>
          <p:nvPr/>
        </p:nvGrpSpPr>
        <p:grpSpPr>
          <a:xfrm>
            <a:off x="1834129" y="5102017"/>
            <a:ext cx="611384" cy="611384"/>
            <a:chOff x="1834129" y="5102017"/>
            <a:chExt cx="611384" cy="611384"/>
          </a:xfrm>
        </p:grpSpPr>
        <p:sp>
          <p:nvSpPr>
            <p:cNvPr id="18" name="Oval 17">
              <a:extLst>
                <a:ext uri="{FF2B5EF4-FFF2-40B4-BE49-F238E27FC236}">
                  <a16:creationId xmlns:a16="http://schemas.microsoft.com/office/drawing/2014/main" id="{22858F00-1BB7-C341-4FE8-4E6184F697A5}"/>
                </a:ext>
              </a:extLst>
            </p:cNvPr>
            <p:cNvSpPr/>
            <p:nvPr/>
          </p:nvSpPr>
          <p:spPr>
            <a:xfrm>
              <a:off x="1834129" y="5102017"/>
              <a:ext cx="611384" cy="61138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5" name="Graphic 4">
              <a:extLst>
                <a:ext uri="{FF2B5EF4-FFF2-40B4-BE49-F238E27FC236}">
                  <a16:creationId xmlns:a16="http://schemas.microsoft.com/office/drawing/2014/main" id="{25966E92-2EBE-4FDE-C5C7-FB10F443D3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956941" y="5224829"/>
              <a:ext cx="365760" cy="365760"/>
            </a:xfrm>
            <a:prstGeom prst="rect">
              <a:avLst/>
            </a:prstGeom>
          </p:spPr>
        </p:pic>
      </p:grpSp>
      <p:grpSp>
        <p:nvGrpSpPr>
          <p:cNvPr id="13" name="Group 12">
            <a:extLst>
              <a:ext uri="{FF2B5EF4-FFF2-40B4-BE49-F238E27FC236}">
                <a16:creationId xmlns:a16="http://schemas.microsoft.com/office/drawing/2014/main" id="{432F622C-437D-941E-08A2-D3392DC6BFBA}"/>
              </a:ext>
            </a:extLst>
          </p:cNvPr>
          <p:cNvGrpSpPr/>
          <p:nvPr/>
        </p:nvGrpSpPr>
        <p:grpSpPr>
          <a:xfrm>
            <a:off x="2583761" y="5102017"/>
            <a:ext cx="611384" cy="611384"/>
            <a:chOff x="2583761" y="5102017"/>
            <a:chExt cx="611384" cy="611384"/>
          </a:xfrm>
        </p:grpSpPr>
        <p:sp>
          <p:nvSpPr>
            <p:cNvPr id="19" name="Oval 18">
              <a:extLst>
                <a:ext uri="{FF2B5EF4-FFF2-40B4-BE49-F238E27FC236}">
                  <a16:creationId xmlns:a16="http://schemas.microsoft.com/office/drawing/2014/main" id="{54008214-68BA-7931-BAFB-E501B6DB7562}"/>
                </a:ext>
              </a:extLst>
            </p:cNvPr>
            <p:cNvSpPr/>
            <p:nvPr/>
          </p:nvSpPr>
          <p:spPr>
            <a:xfrm>
              <a:off x="2583761" y="5102017"/>
              <a:ext cx="611384" cy="6113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Jost"/>
                <a:ea typeface="+mn-ea"/>
                <a:cs typeface="+mn-cs"/>
              </a:endParaRPr>
            </a:p>
          </p:txBody>
        </p:sp>
        <p:pic>
          <p:nvPicPr>
            <p:cNvPr id="6" name="Graphic 5">
              <a:extLst>
                <a:ext uri="{FF2B5EF4-FFF2-40B4-BE49-F238E27FC236}">
                  <a16:creationId xmlns:a16="http://schemas.microsoft.com/office/drawing/2014/main" id="{B1C12D35-BE0F-1BC6-050B-A39AB795C37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706573" y="5224829"/>
              <a:ext cx="365760" cy="365760"/>
            </a:xfrm>
            <a:prstGeom prst="rect">
              <a:avLst/>
            </a:prstGeom>
          </p:spPr>
        </p:pic>
      </p:grpSp>
    </p:spTree>
    <p:extLst>
      <p:ext uri="{BB962C8B-B14F-4D97-AF65-F5344CB8AC3E}">
        <p14:creationId xmlns:p14="http://schemas.microsoft.com/office/powerpoint/2010/main" val="39117479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1000" fill="hold"/>
                                        <p:tgtEl>
                                          <p:spTgt spid="9"/>
                                        </p:tgtEl>
                                        <p:attrNameLst>
                                          <p:attrName>ppt_x</p:attrName>
                                        </p:attrNameLst>
                                      </p:cBhvr>
                                      <p:tavLst>
                                        <p:tav tm="0">
                                          <p:val>
                                            <p:strVal val="#ppt_x"/>
                                          </p:val>
                                        </p:tav>
                                        <p:tav tm="100000">
                                          <p:val>
                                            <p:strVal val="#ppt_x"/>
                                          </p:val>
                                        </p:tav>
                                      </p:tavLst>
                                    </p:anim>
                                    <p:anim calcmode="lin" valueType="num">
                                      <p:cBhvr additive="base">
                                        <p:cTn id="8" dur="1000" fill="hold"/>
                                        <p:tgtEl>
                                          <p:spTgt spid="9"/>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1000"/>
                                        <p:tgtEl>
                                          <p:spTgt spid="26"/>
                                        </p:tgtEl>
                                      </p:cBhvr>
                                    </p:animEffect>
                                  </p:childTnLst>
                                </p:cTn>
                              </p:par>
                              <p:par>
                                <p:cTn id="12" presetID="10" presetClass="entr" presetSubtype="0" fill="hold" nodeType="withEffect">
                                  <p:stCondLst>
                                    <p:cond delay="20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1000"/>
                                        <p:tgtEl>
                                          <p:spTgt spid="24"/>
                                        </p:tgtEl>
                                      </p:cBhvr>
                                    </p:animEffect>
                                  </p:childTnLst>
                                </p:cTn>
                              </p:par>
                              <p:par>
                                <p:cTn id="15" presetID="10" presetClass="entr" presetSubtype="0" fill="hold" nodeType="withEffect">
                                  <p:stCondLst>
                                    <p:cond delay="3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childTnLst>
                                </p:cTn>
                              </p:par>
                              <p:par>
                                <p:cTn id="18" presetID="2" presetClass="entr" presetSubtype="8" decel="100000" fill="hold" grpId="0" nodeType="withEffect">
                                  <p:stCondLst>
                                    <p:cond delay="70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1000" fill="hold"/>
                                        <p:tgtEl>
                                          <p:spTgt spid="7"/>
                                        </p:tgtEl>
                                        <p:attrNameLst>
                                          <p:attrName>ppt_x</p:attrName>
                                        </p:attrNameLst>
                                      </p:cBhvr>
                                      <p:tavLst>
                                        <p:tav tm="0">
                                          <p:val>
                                            <p:strVal val="0-#ppt_w/2"/>
                                          </p:val>
                                        </p:tav>
                                        <p:tav tm="100000">
                                          <p:val>
                                            <p:strVal val="#ppt_x"/>
                                          </p:val>
                                        </p:tav>
                                      </p:tavLst>
                                    </p:anim>
                                    <p:anim calcmode="lin" valueType="num">
                                      <p:cBhvr additive="base">
                                        <p:cTn id="21" dur="1000" fill="hold"/>
                                        <p:tgtEl>
                                          <p:spTgt spid="7"/>
                                        </p:tgtEl>
                                        <p:attrNameLst>
                                          <p:attrName>ppt_y</p:attrName>
                                        </p:attrNameLst>
                                      </p:cBhvr>
                                      <p:tavLst>
                                        <p:tav tm="0">
                                          <p:val>
                                            <p:strVal val="#ppt_y"/>
                                          </p:val>
                                        </p:tav>
                                        <p:tav tm="100000">
                                          <p:val>
                                            <p:strVal val="#ppt_y"/>
                                          </p:val>
                                        </p:tav>
                                      </p:tavLst>
                                    </p:anim>
                                  </p:childTnLst>
                                </p:cTn>
                              </p:par>
                              <p:par>
                                <p:cTn id="22" presetID="22" presetClass="entr" presetSubtype="4" fill="hold" grpId="0" nodeType="withEffect">
                                  <p:stCondLst>
                                    <p:cond delay="900"/>
                                  </p:stCondLst>
                                  <p:childTnLst>
                                    <p:set>
                                      <p:cBhvr>
                                        <p:cTn id="23" dur="1" fill="hold">
                                          <p:stCondLst>
                                            <p:cond delay="0"/>
                                          </p:stCondLst>
                                        </p:cTn>
                                        <p:tgtEl>
                                          <p:spTgt spid="11"/>
                                        </p:tgtEl>
                                        <p:attrNameLst>
                                          <p:attrName>style.visibility</p:attrName>
                                        </p:attrNameLst>
                                      </p:cBhvr>
                                      <p:to>
                                        <p:strVal val="visible"/>
                                      </p:to>
                                    </p:set>
                                    <p:animEffect transition="in" filter="wipe(down)">
                                      <p:cBhvr>
                                        <p:cTn id="24" dur="1000"/>
                                        <p:tgtEl>
                                          <p:spTgt spid="11"/>
                                        </p:tgtEl>
                                      </p:cBhvr>
                                    </p:animEffect>
                                  </p:childTnLst>
                                </p:cTn>
                              </p:par>
                              <p:par>
                                <p:cTn id="25" presetID="22" presetClass="entr" presetSubtype="4" fill="hold" grpId="0" nodeType="withEffect">
                                  <p:stCondLst>
                                    <p:cond delay="100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1000"/>
                                        <p:tgtEl>
                                          <p:spTgt spid="10"/>
                                        </p:tgtEl>
                                      </p:cBhvr>
                                    </p:animEffect>
                                  </p:childTnLst>
                                </p:cTn>
                              </p:par>
                              <p:par>
                                <p:cTn id="28" presetID="53" presetClass="entr" presetSubtype="16" fill="hold" nodeType="withEffect">
                                  <p:stCondLst>
                                    <p:cond delay="1200"/>
                                  </p:stCondLst>
                                  <p:childTnLst>
                                    <p:set>
                                      <p:cBhvr>
                                        <p:cTn id="29" dur="1" fill="hold">
                                          <p:stCondLst>
                                            <p:cond delay="0"/>
                                          </p:stCondLst>
                                        </p:cTn>
                                        <p:tgtEl>
                                          <p:spTgt spid="8"/>
                                        </p:tgtEl>
                                        <p:attrNameLst>
                                          <p:attrName>style.visibility</p:attrName>
                                        </p:attrNameLst>
                                      </p:cBhvr>
                                      <p:to>
                                        <p:strVal val="visible"/>
                                      </p:to>
                                    </p:set>
                                    <p:anim calcmode="lin" valueType="num">
                                      <p:cBhvr>
                                        <p:cTn id="30" dur="1000" fill="hold"/>
                                        <p:tgtEl>
                                          <p:spTgt spid="8"/>
                                        </p:tgtEl>
                                        <p:attrNameLst>
                                          <p:attrName>ppt_w</p:attrName>
                                        </p:attrNameLst>
                                      </p:cBhvr>
                                      <p:tavLst>
                                        <p:tav tm="0">
                                          <p:val>
                                            <p:fltVal val="0"/>
                                          </p:val>
                                        </p:tav>
                                        <p:tav tm="100000">
                                          <p:val>
                                            <p:strVal val="#ppt_w"/>
                                          </p:val>
                                        </p:tav>
                                      </p:tavLst>
                                    </p:anim>
                                    <p:anim calcmode="lin" valueType="num">
                                      <p:cBhvr>
                                        <p:cTn id="31" dur="1000" fill="hold"/>
                                        <p:tgtEl>
                                          <p:spTgt spid="8"/>
                                        </p:tgtEl>
                                        <p:attrNameLst>
                                          <p:attrName>ppt_h</p:attrName>
                                        </p:attrNameLst>
                                      </p:cBhvr>
                                      <p:tavLst>
                                        <p:tav tm="0">
                                          <p:val>
                                            <p:fltVal val="0"/>
                                          </p:val>
                                        </p:tav>
                                        <p:tav tm="100000">
                                          <p:val>
                                            <p:strVal val="#ppt_h"/>
                                          </p:val>
                                        </p:tav>
                                      </p:tavLst>
                                    </p:anim>
                                    <p:animEffect transition="in" filter="fade">
                                      <p:cBhvr>
                                        <p:cTn id="32" dur="1000"/>
                                        <p:tgtEl>
                                          <p:spTgt spid="8"/>
                                        </p:tgtEl>
                                      </p:cBhvr>
                                    </p:animEffect>
                                  </p:childTnLst>
                                </p:cTn>
                              </p:par>
                              <p:par>
                                <p:cTn id="33" presetID="53" presetClass="entr" presetSubtype="16" fill="hold" nodeType="withEffect">
                                  <p:stCondLst>
                                    <p:cond delay="1400"/>
                                  </p:stCondLst>
                                  <p:childTnLst>
                                    <p:set>
                                      <p:cBhvr>
                                        <p:cTn id="34" dur="1" fill="hold">
                                          <p:stCondLst>
                                            <p:cond delay="0"/>
                                          </p:stCondLst>
                                        </p:cTn>
                                        <p:tgtEl>
                                          <p:spTgt spid="12"/>
                                        </p:tgtEl>
                                        <p:attrNameLst>
                                          <p:attrName>style.visibility</p:attrName>
                                        </p:attrNameLst>
                                      </p:cBhvr>
                                      <p:to>
                                        <p:strVal val="visible"/>
                                      </p:to>
                                    </p:set>
                                    <p:anim calcmode="lin" valueType="num">
                                      <p:cBhvr>
                                        <p:cTn id="35" dur="1000" fill="hold"/>
                                        <p:tgtEl>
                                          <p:spTgt spid="12"/>
                                        </p:tgtEl>
                                        <p:attrNameLst>
                                          <p:attrName>ppt_w</p:attrName>
                                        </p:attrNameLst>
                                      </p:cBhvr>
                                      <p:tavLst>
                                        <p:tav tm="0">
                                          <p:val>
                                            <p:fltVal val="0"/>
                                          </p:val>
                                        </p:tav>
                                        <p:tav tm="100000">
                                          <p:val>
                                            <p:strVal val="#ppt_w"/>
                                          </p:val>
                                        </p:tav>
                                      </p:tavLst>
                                    </p:anim>
                                    <p:anim calcmode="lin" valueType="num">
                                      <p:cBhvr>
                                        <p:cTn id="36" dur="1000" fill="hold"/>
                                        <p:tgtEl>
                                          <p:spTgt spid="12"/>
                                        </p:tgtEl>
                                        <p:attrNameLst>
                                          <p:attrName>ppt_h</p:attrName>
                                        </p:attrNameLst>
                                      </p:cBhvr>
                                      <p:tavLst>
                                        <p:tav tm="0">
                                          <p:val>
                                            <p:fltVal val="0"/>
                                          </p:val>
                                        </p:tav>
                                        <p:tav tm="100000">
                                          <p:val>
                                            <p:strVal val="#ppt_h"/>
                                          </p:val>
                                        </p:tav>
                                      </p:tavLst>
                                    </p:anim>
                                    <p:animEffect transition="in" filter="fade">
                                      <p:cBhvr>
                                        <p:cTn id="37" dur="1000"/>
                                        <p:tgtEl>
                                          <p:spTgt spid="12"/>
                                        </p:tgtEl>
                                      </p:cBhvr>
                                    </p:animEffect>
                                  </p:childTnLst>
                                </p:cTn>
                              </p:par>
                              <p:par>
                                <p:cTn id="38" presetID="53" presetClass="entr" presetSubtype="16" fill="hold" nodeType="withEffect">
                                  <p:stCondLst>
                                    <p:cond delay="1600"/>
                                  </p:stCondLst>
                                  <p:childTnLst>
                                    <p:set>
                                      <p:cBhvr>
                                        <p:cTn id="39" dur="1" fill="hold">
                                          <p:stCondLst>
                                            <p:cond delay="0"/>
                                          </p:stCondLst>
                                        </p:cTn>
                                        <p:tgtEl>
                                          <p:spTgt spid="13"/>
                                        </p:tgtEl>
                                        <p:attrNameLst>
                                          <p:attrName>style.visibility</p:attrName>
                                        </p:attrNameLst>
                                      </p:cBhvr>
                                      <p:to>
                                        <p:strVal val="visible"/>
                                      </p:to>
                                    </p:set>
                                    <p:anim calcmode="lin" valueType="num">
                                      <p:cBhvr>
                                        <p:cTn id="40" dur="1000" fill="hold"/>
                                        <p:tgtEl>
                                          <p:spTgt spid="13"/>
                                        </p:tgtEl>
                                        <p:attrNameLst>
                                          <p:attrName>ppt_w</p:attrName>
                                        </p:attrNameLst>
                                      </p:cBhvr>
                                      <p:tavLst>
                                        <p:tav tm="0">
                                          <p:val>
                                            <p:fltVal val="0"/>
                                          </p:val>
                                        </p:tav>
                                        <p:tav tm="100000">
                                          <p:val>
                                            <p:strVal val="#ppt_w"/>
                                          </p:val>
                                        </p:tav>
                                      </p:tavLst>
                                    </p:anim>
                                    <p:anim calcmode="lin" valueType="num">
                                      <p:cBhvr>
                                        <p:cTn id="41" dur="1000" fill="hold"/>
                                        <p:tgtEl>
                                          <p:spTgt spid="13"/>
                                        </p:tgtEl>
                                        <p:attrNameLst>
                                          <p:attrName>ppt_h</p:attrName>
                                        </p:attrNameLst>
                                      </p:cBhvr>
                                      <p:tavLst>
                                        <p:tav tm="0">
                                          <p:val>
                                            <p:fltVal val="0"/>
                                          </p:val>
                                        </p:tav>
                                        <p:tav tm="100000">
                                          <p:val>
                                            <p:strVal val="#ppt_h"/>
                                          </p:val>
                                        </p:tav>
                                      </p:tavLst>
                                    </p:anim>
                                    <p:animEffect transition="in" filter="fade">
                                      <p:cBhvr>
                                        <p:cTn id="42"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7"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Imagen 43" descr="Interfaz de usuario gráfica&#10;&#10;Descripción generada automáticamente con confianza baja">
            <a:extLst>
              <a:ext uri="{FF2B5EF4-FFF2-40B4-BE49-F238E27FC236}">
                <a16:creationId xmlns:a16="http://schemas.microsoft.com/office/drawing/2014/main" id="{A2C789D4-2CAA-1B8C-1BED-07234CBE6A59}"/>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200000"/>
                    </a14:imgEffect>
                    <a14:imgEffect>
                      <a14:brightnessContrast bright="-20000" contrast="20000"/>
                    </a14:imgEffect>
                  </a14:imgLayer>
                </a14:imgProps>
              </a:ext>
              <a:ext uri="{28A0092B-C50C-407E-A947-70E740481C1C}">
                <a14:useLocalDpi xmlns:a14="http://schemas.microsoft.com/office/drawing/2010/main" val="0"/>
              </a:ext>
            </a:extLst>
          </a:blip>
          <a:srcRect l="11467" t="3018" r="8048" b="6439"/>
          <a:stretch/>
        </p:blipFill>
        <p:spPr>
          <a:xfrm>
            <a:off x="0" y="0"/>
            <a:ext cx="12192000" cy="6858000"/>
          </a:xfrm>
          <a:prstGeom prst="rect">
            <a:avLst/>
          </a:prstGeom>
        </p:spPr>
      </p:pic>
      <p:grpSp>
        <p:nvGrpSpPr>
          <p:cNvPr id="54" name="Map_Africa">
            <a:extLst>
              <a:ext uri="{FF2B5EF4-FFF2-40B4-BE49-F238E27FC236}">
                <a16:creationId xmlns:a16="http://schemas.microsoft.com/office/drawing/2014/main" id="{0C77476E-14E1-142B-D951-A7B22C86CD01}"/>
              </a:ext>
            </a:extLst>
          </p:cNvPr>
          <p:cNvGrpSpPr/>
          <p:nvPr/>
        </p:nvGrpSpPr>
        <p:grpSpPr>
          <a:xfrm>
            <a:off x="4011770" y="333679"/>
            <a:ext cx="6585109" cy="6190643"/>
            <a:chOff x="4858807" y="775625"/>
            <a:chExt cx="4833772" cy="5384800"/>
          </a:xfrm>
          <a:noFill/>
        </p:grpSpPr>
        <p:sp>
          <p:nvSpPr>
            <p:cNvPr id="149" name="Angola">
              <a:extLst>
                <a:ext uri="{FF2B5EF4-FFF2-40B4-BE49-F238E27FC236}">
                  <a16:creationId xmlns:a16="http://schemas.microsoft.com/office/drawing/2014/main" id="{AA286C49-61DB-C5C0-76DB-BD4266A75B96}"/>
                </a:ext>
              </a:extLst>
            </p:cNvPr>
            <p:cNvSpPr>
              <a:spLocks noEditPoints="1"/>
            </p:cNvSpPr>
            <p:nvPr/>
          </p:nvSpPr>
          <p:spPr bwMode="auto">
            <a:xfrm>
              <a:off x="6904929" y="3895062"/>
              <a:ext cx="881063" cy="1006475"/>
            </a:xfrm>
            <a:custGeom>
              <a:avLst/>
              <a:gdLst>
                <a:gd name="T0" fmla="*/ 83 w 555"/>
                <a:gd name="T1" fmla="*/ 67 h 634"/>
                <a:gd name="T2" fmla="*/ 55 w 555"/>
                <a:gd name="T3" fmla="*/ 72 h 634"/>
                <a:gd name="T4" fmla="*/ 32 w 555"/>
                <a:gd name="T5" fmla="*/ 88 h 634"/>
                <a:gd name="T6" fmla="*/ 63 w 555"/>
                <a:gd name="T7" fmla="*/ 149 h 634"/>
                <a:gd name="T8" fmla="*/ 62 w 555"/>
                <a:gd name="T9" fmla="*/ 213 h 634"/>
                <a:gd name="T10" fmla="*/ 70 w 555"/>
                <a:gd name="T11" fmla="*/ 251 h 634"/>
                <a:gd name="T12" fmla="*/ 95 w 555"/>
                <a:gd name="T13" fmla="*/ 296 h 634"/>
                <a:gd name="T14" fmla="*/ 92 w 555"/>
                <a:gd name="T15" fmla="*/ 358 h 634"/>
                <a:gd name="T16" fmla="*/ 51 w 555"/>
                <a:gd name="T17" fmla="*/ 409 h 634"/>
                <a:gd name="T18" fmla="*/ 26 w 555"/>
                <a:gd name="T19" fmla="*/ 471 h 634"/>
                <a:gd name="T20" fmla="*/ 7 w 555"/>
                <a:gd name="T21" fmla="*/ 533 h 634"/>
                <a:gd name="T22" fmla="*/ 4 w 555"/>
                <a:gd name="T23" fmla="*/ 605 h 634"/>
                <a:gd name="T24" fmla="*/ 52 w 555"/>
                <a:gd name="T25" fmla="*/ 588 h 634"/>
                <a:gd name="T26" fmla="*/ 106 w 555"/>
                <a:gd name="T27" fmla="*/ 611 h 634"/>
                <a:gd name="T28" fmla="*/ 291 w 555"/>
                <a:gd name="T29" fmla="*/ 605 h 634"/>
                <a:gd name="T30" fmla="*/ 427 w 555"/>
                <a:gd name="T31" fmla="*/ 634 h 634"/>
                <a:gd name="T32" fmla="*/ 482 w 555"/>
                <a:gd name="T33" fmla="*/ 585 h 634"/>
                <a:gd name="T34" fmla="*/ 459 w 555"/>
                <a:gd name="T35" fmla="*/ 398 h 634"/>
                <a:gd name="T36" fmla="*/ 548 w 555"/>
                <a:gd name="T37" fmla="*/ 382 h 634"/>
                <a:gd name="T38" fmla="*/ 548 w 555"/>
                <a:gd name="T39" fmla="*/ 342 h 634"/>
                <a:gd name="T40" fmla="*/ 549 w 555"/>
                <a:gd name="T41" fmla="*/ 305 h 634"/>
                <a:gd name="T42" fmla="*/ 501 w 555"/>
                <a:gd name="T43" fmla="*/ 309 h 634"/>
                <a:gd name="T44" fmla="*/ 471 w 555"/>
                <a:gd name="T45" fmla="*/ 313 h 634"/>
                <a:gd name="T46" fmla="*/ 460 w 555"/>
                <a:gd name="T47" fmla="*/ 239 h 634"/>
                <a:gd name="T48" fmla="*/ 464 w 555"/>
                <a:gd name="T49" fmla="*/ 182 h 634"/>
                <a:gd name="T50" fmla="*/ 455 w 555"/>
                <a:gd name="T51" fmla="*/ 134 h 634"/>
                <a:gd name="T52" fmla="*/ 405 w 555"/>
                <a:gd name="T53" fmla="*/ 117 h 634"/>
                <a:gd name="T54" fmla="*/ 380 w 555"/>
                <a:gd name="T55" fmla="*/ 126 h 634"/>
                <a:gd name="T56" fmla="*/ 341 w 555"/>
                <a:gd name="T57" fmla="*/ 156 h 634"/>
                <a:gd name="T58" fmla="*/ 309 w 555"/>
                <a:gd name="T59" fmla="*/ 161 h 634"/>
                <a:gd name="T60" fmla="*/ 265 w 555"/>
                <a:gd name="T61" fmla="*/ 171 h 634"/>
                <a:gd name="T62" fmla="*/ 238 w 555"/>
                <a:gd name="T63" fmla="*/ 131 h 634"/>
                <a:gd name="T64" fmla="*/ 215 w 555"/>
                <a:gd name="T65" fmla="*/ 67 h 634"/>
                <a:gd name="T66" fmla="*/ 42 w 555"/>
                <a:gd name="T67" fmla="*/ 59 h 634"/>
                <a:gd name="T68" fmla="*/ 50 w 555"/>
                <a:gd name="T69" fmla="*/ 27 h 634"/>
                <a:gd name="T70" fmla="*/ 50 w 555"/>
                <a:gd name="T71" fmla="*/ 0 h 634"/>
                <a:gd name="T72" fmla="*/ 18 w 555"/>
                <a:gd name="T73" fmla="*/ 28 h 634"/>
                <a:gd name="T74" fmla="*/ 42 w 555"/>
                <a:gd name="T75" fmla="*/ 5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634">
                  <a:moveTo>
                    <a:pt x="215" y="67"/>
                  </a:moveTo>
                  <a:lnTo>
                    <a:pt x="83" y="67"/>
                  </a:lnTo>
                  <a:lnTo>
                    <a:pt x="68" y="72"/>
                  </a:lnTo>
                  <a:lnTo>
                    <a:pt x="55" y="72"/>
                  </a:lnTo>
                  <a:lnTo>
                    <a:pt x="37" y="78"/>
                  </a:lnTo>
                  <a:lnTo>
                    <a:pt x="32" y="88"/>
                  </a:lnTo>
                  <a:lnTo>
                    <a:pt x="54" y="117"/>
                  </a:lnTo>
                  <a:lnTo>
                    <a:pt x="63" y="149"/>
                  </a:lnTo>
                  <a:lnTo>
                    <a:pt x="76" y="194"/>
                  </a:lnTo>
                  <a:lnTo>
                    <a:pt x="62" y="213"/>
                  </a:lnTo>
                  <a:lnTo>
                    <a:pt x="60" y="222"/>
                  </a:lnTo>
                  <a:lnTo>
                    <a:pt x="70" y="251"/>
                  </a:lnTo>
                  <a:lnTo>
                    <a:pt x="82" y="279"/>
                  </a:lnTo>
                  <a:lnTo>
                    <a:pt x="95" y="296"/>
                  </a:lnTo>
                  <a:lnTo>
                    <a:pt x="97" y="322"/>
                  </a:lnTo>
                  <a:lnTo>
                    <a:pt x="92" y="358"/>
                  </a:lnTo>
                  <a:lnTo>
                    <a:pt x="78" y="378"/>
                  </a:lnTo>
                  <a:lnTo>
                    <a:pt x="51" y="409"/>
                  </a:lnTo>
                  <a:lnTo>
                    <a:pt x="41" y="428"/>
                  </a:lnTo>
                  <a:lnTo>
                    <a:pt x="26" y="471"/>
                  </a:lnTo>
                  <a:lnTo>
                    <a:pt x="23" y="490"/>
                  </a:lnTo>
                  <a:lnTo>
                    <a:pt x="7" y="533"/>
                  </a:lnTo>
                  <a:lnTo>
                    <a:pt x="0" y="575"/>
                  </a:lnTo>
                  <a:lnTo>
                    <a:pt x="4" y="605"/>
                  </a:lnTo>
                  <a:lnTo>
                    <a:pt x="26" y="595"/>
                  </a:lnTo>
                  <a:lnTo>
                    <a:pt x="52" y="588"/>
                  </a:lnTo>
                  <a:lnTo>
                    <a:pt x="80" y="589"/>
                  </a:lnTo>
                  <a:lnTo>
                    <a:pt x="106" y="611"/>
                  </a:lnTo>
                  <a:lnTo>
                    <a:pt x="113" y="607"/>
                  </a:lnTo>
                  <a:lnTo>
                    <a:pt x="291" y="605"/>
                  </a:lnTo>
                  <a:lnTo>
                    <a:pt x="322" y="628"/>
                  </a:lnTo>
                  <a:lnTo>
                    <a:pt x="427" y="634"/>
                  </a:lnTo>
                  <a:lnTo>
                    <a:pt x="510" y="615"/>
                  </a:lnTo>
                  <a:lnTo>
                    <a:pt x="482" y="585"/>
                  </a:lnTo>
                  <a:lnTo>
                    <a:pt x="453" y="547"/>
                  </a:lnTo>
                  <a:lnTo>
                    <a:pt x="459" y="398"/>
                  </a:lnTo>
                  <a:lnTo>
                    <a:pt x="552" y="398"/>
                  </a:lnTo>
                  <a:lnTo>
                    <a:pt x="548" y="382"/>
                  </a:lnTo>
                  <a:lnTo>
                    <a:pt x="555" y="364"/>
                  </a:lnTo>
                  <a:lnTo>
                    <a:pt x="548" y="342"/>
                  </a:lnTo>
                  <a:lnTo>
                    <a:pt x="554" y="319"/>
                  </a:lnTo>
                  <a:lnTo>
                    <a:pt x="549" y="305"/>
                  </a:lnTo>
                  <a:lnTo>
                    <a:pt x="529" y="303"/>
                  </a:lnTo>
                  <a:lnTo>
                    <a:pt x="501" y="309"/>
                  </a:lnTo>
                  <a:lnTo>
                    <a:pt x="482" y="308"/>
                  </a:lnTo>
                  <a:lnTo>
                    <a:pt x="471" y="313"/>
                  </a:lnTo>
                  <a:lnTo>
                    <a:pt x="474" y="257"/>
                  </a:lnTo>
                  <a:lnTo>
                    <a:pt x="460" y="239"/>
                  </a:lnTo>
                  <a:lnTo>
                    <a:pt x="457" y="210"/>
                  </a:lnTo>
                  <a:lnTo>
                    <a:pt x="464" y="182"/>
                  </a:lnTo>
                  <a:lnTo>
                    <a:pt x="455" y="164"/>
                  </a:lnTo>
                  <a:lnTo>
                    <a:pt x="455" y="134"/>
                  </a:lnTo>
                  <a:lnTo>
                    <a:pt x="401" y="134"/>
                  </a:lnTo>
                  <a:lnTo>
                    <a:pt x="405" y="117"/>
                  </a:lnTo>
                  <a:lnTo>
                    <a:pt x="382" y="118"/>
                  </a:lnTo>
                  <a:lnTo>
                    <a:pt x="380" y="126"/>
                  </a:lnTo>
                  <a:lnTo>
                    <a:pt x="352" y="128"/>
                  </a:lnTo>
                  <a:lnTo>
                    <a:pt x="341" y="156"/>
                  </a:lnTo>
                  <a:lnTo>
                    <a:pt x="333" y="167"/>
                  </a:lnTo>
                  <a:lnTo>
                    <a:pt x="309" y="161"/>
                  </a:lnTo>
                  <a:lnTo>
                    <a:pt x="294" y="167"/>
                  </a:lnTo>
                  <a:lnTo>
                    <a:pt x="265" y="171"/>
                  </a:lnTo>
                  <a:lnTo>
                    <a:pt x="248" y="146"/>
                  </a:lnTo>
                  <a:lnTo>
                    <a:pt x="238" y="131"/>
                  </a:lnTo>
                  <a:lnTo>
                    <a:pt x="226" y="103"/>
                  </a:lnTo>
                  <a:lnTo>
                    <a:pt x="215" y="67"/>
                  </a:lnTo>
                  <a:lnTo>
                    <a:pt x="215" y="67"/>
                  </a:lnTo>
                  <a:close/>
                  <a:moveTo>
                    <a:pt x="42" y="59"/>
                  </a:moveTo>
                  <a:lnTo>
                    <a:pt x="43" y="38"/>
                  </a:lnTo>
                  <a:lnTo>
                    <a:pt x="50" y="27"/>
                  </a:lnTo>
                  <a:lnTo>
                    <a:pt x="67" y="16"/>
                  </a:lnTo>
                  <a:lnTo>
                    <a:pt x="50" y="0"/>
                  </a:lnTo>
                  <a:lnTo>
                    <a:pt x="37" y="8"/>
                  </a:lnTo>
                  <a:lnTo>
                    <a:pt x="18" y="28"/>
                  </a:lnTo>
                  <a:lnTo>
                    <a:pt x="30" y="64"/>
                  </a:lnTo>
                  <a:lnTo>
                    <a:pt x="42" y="59"/>
                  </a:lnTo>
                  <a:lnTo>
                    <a:pt x="42" y="59"/>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0" name="Burundi">
              <a:extLst>
                <a:ext uri="{FF2B5EF4-FFF2-40B4-BE49-F238E27FC236}">
                  <a16:creationId xmlns:a16="http://schemas.microsoft.com/office/drawing/2014/main" id="{9F0C8A95-BF49-9DE8-B07B-13B5908FEA9C}"/>
                </a:ext>
              </a:extLst>
            </p:cNvPr>
            <p:cNvSpPr>
              <a:spLocks/>
            </p:cNvSpPr>
            <p:nvPr/>
          </p:nvSpPr>
          <p:spPr bwMode="auto">
            <a:xfrm>
              <a:off x="8147941" y="3739487"/>
              <a:ext cx="120650" cy="157163"/>
            </a:xfrm>
            <a:custGeom>
              <a:avLst/>
              <a:gdLst>
                <a:gd name="T0" fmla="*/ 66 w 76"/>
                <a:gd name="T1" fmla="*/ 21 h 99"/>
                <a:gd name="T2" fmla="*/ 65 w 76"/>
                <a:gd name="T3" fmla="*/ 3 h 99"/>
                <a:gd name="T4" fmla="*/ 65 w 76"/>
                <a:gd name="T5" fmla="*/ 3 h 99"/>
                <a:gd name="T6" fmla="*/ 41 w 76"/>
                <a:gd name="T7" fmla="*/ 0 h 99"/>
                <a:gd name="T8" fmla="*/ 26 w 76"/>
                <a:gd name="T9" fmla="*/ 27 h 99"/>
                <a:gd name="T10" fmla="*/ 0 w 76"/>
                <a:gd name="T11" fmla="*/ 23 h 99"/>
                <a:gd name="T12" fmla="*/ 11 w 76"/>
                <a:gd name="T13" fmla="*/ 45 h 99"/>
                <a:gd name="T14" fmla="*/ 11 w 76"/>
                <a:gd name="T15" fmla="*/ 52 h 99"/>
                <a:gd name="T16" fmla="*/ 26 w 76"/>
                <a:gd name="T17" fmla="*/ 97 h 99"/>
                <a:gd name="T18" fmla="*/ 26 w 76"/>
                <a:gd name="T19" fmla="*/ 99 h 99"/>
                <a:gd name="T20" fmla="*/ 31 w 76"/>
                <a:gd name="T21" fmla="*/ 99 h 99"/>
                <a:gd name="T22" fmla="*/ 47 w 76"/>
                <a:gd name="T23" fmla="*/ 82 h 99"/>
                <a:gd name="T24" fmla="*/ 65 w 76"/>
                <a:gd name="T25" fmla="*/ 58 h 99"/>
                <a:gd name="T26" fmla="*/ 76 w 76"/>
                <a:gd name="T27" fmla="*/ 47 h 99"/>
                <a:gd name="T28" fmla="*/ 76 w 76"/>
                <a:gd name="T29" fmla="*/ 32 h 99"/>
                <a:gd name="T30" fmla="*/ 66 w 76"/>
                <a:gd name="T31" fmla="*/ 21 h 99"/>
                <a:gd name="T32" fmla="*/ 66 w 76"/>
                <a:gd name="T33" fmla="*/ 2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99">
                  <a:moveTo>
                    <a:pt x="66" y="21"/>
                  </a:moveTo>
                  <a:lnTo>
                    <a:pt x="65" y="3"/>
                  </a:lnTo>
                  <a:lnTo>
                    <a:pt x="65" y="3"/>
                  </a:lnTo>
                  <a:lnTo>
                    <a:pt x="41" y="0"/>
                  </a:lnTo>
                  <a:lnTo>
                    <a:pt x="26" y="27"/>
                  </a:lnTo>
                  <a:lnTo>
                    <a:pt x="0" y="23"/>
                  </a:lnTo>
                  <a:lnTo>
                    <a:pt x="11" y="45"/>
                  </a:lnTo>
                  <a:lnTo>
                    <a:pt x="11" y="52"/>
                  </a:lnTo>
                  <a:lnTo>
                    <a:pt x="26" y="97"/>
                  </a:lnTo>
                  <a:lnTo>
                    <a:pt x="26" y="99"/>
                  </a:lnTo>
                  <a:lnTo>
                    <a:pt x="31" y="99"/>
                  </a:lnTo>
                  <a:lnTo>
                    <a:pt x="47" y="82"/>
                  </a:lnTo>
                  <a:lnTo>
                    <a:pt x="65" y="58"/>
                  </a:lnTo>
                  <a:lnTo>
                    <a:pt x="76" y="47"/>
                  </a:lnTo>
                  <a:lnTo>
                    <a:pt x="76" y="32"/>
                  </a:lnTo>
                  <a:lnTo>
                    <a:pt x="66" y="21"/>
                  </a:lnTo>
                  <a:lnTo>
                    <a:pt x="66" y="21"/>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1" name="Benin">
              <a:extLst>
                <a:ext uri="{FF2B5EF4-FFF2-40B4-BE49-F238E27FC236}">
                  <a16:creationId xmlns:a16="http://schemas.microsoft.com/office/drawing/2014/main" id="{A116EBDD-8AA1-8396-6E4A-2B72AF6CB9A5}"/>
                </a:ext>
              </a:extLst>
            </p:cNvPr>
            <p:cNvSpPr>
              <a:spLocks/>
            </p:cNvSpPr>
            <p:nvPr/>
          </p:nvSpPr>
          <p:spPr bwMode="auto">
            <a:xfrm>
              <a:off x="6146104" y="2652050"/>
              <a:ext cx="212725" cy="454025"/>
            </a:xfrm>
            <a:custGeom>
              <a:avLst/>
              <a:gdLst>
                <a:gd name="T0" fmla="*/ 126 w 134"/>
                <a:gd name="T1" fmla="*/ 27 h 286"/>
                <a:gd name="T2" fmla="*/ 92 w 134"/>
                <a:gd name="T3" fmla="*/ 0 h 286"/>
                <a:gd name="T4" fmla="*/ 76 w 134"/>
                <a:gd name="T5" fmla="*/ 0 h 286"/>
                <a:gd name="T6" fmla="*/ 61 w 134"/>
                <a:gd name="T7" fmla="*/ 13 h 286"/>
                <a:gd name="T8" fmla="*/ 52 w 134"/>
                <a:gd name="T9" fmla="*/ 28 h 286"/>
                <a:gd name="T10" fmla="*/ 30 w 134"/>
                <a:gd name="T11" fmla="*/ 32 h 286"/>
                <a:gd name="T12" fmla="*/ 21 w 134"/>
                <a:gd name="T13" fmla="*/ 52 h 286"/>
                <a:gd name="T14" fmla="*/ 5 w 134"/>
                <a:gd name="T15" fmla="*/ 58 h 286"/>
                <a:gd name="T16" fmla="*/ 0 w 134"/>
                <a:gd name="T17" fmla="*/ 83 h 286"/>
                <a:gd name="T18" fmla="*/ 13 w 134"/>
                <a:gd name="T19" fmla="*/ 96 h 286"/>
                <a:gd name="T20" fmla="*/ 29 w 134"/>
                <a:gd name="T21" fmla="*/ 113 h 286"/>
                <a:gd name="T22" fmla="*/ 31 w 134"/>
                <a:gd name="T23" fmla="*/ 136 h 286"/>
                <a:gd name="T24" fmla="*/ 40 w 134"/>
                <a:gd name="T25" fmla="*/ 146 h 286"/>
                <a:gd name="T26" fmla="*/ 38 w 134"/>
                <a:gd name="T27" fmla="*/ 254 h 286"/>
                <a:gd name="T28" fmla="*/ 49 w 134"/>
                <a:gd name="T29" fmla="*/ 286 h 286"/>
                <a:gd name="T30" fmla="*/ 85 w 134"/>
                <a:gd name="T31" fmla="*/ 281 h 286"/>
                <a:gd name="T32" fmla="*/ 87 w 134"/>
                <a:gd name="T33" fmla="*/ 205 h 286"/>
                <a:gd name="T34" fmla="*/ 86 w 134"/>
                <a:gd name="T35" fmla="*/ 175 h 286"/>
                <a:gd name="T36" fmla="*/ 95 w 134"/>
                <a:gd name="T37" fmla="*/ 146 h 286"/>
                <a:gd name="T38" fmla="*/ 108 w 134"/>
                <a:gd name="T39" fmla="*/ 130 h 286"/>
                <a:gd name="T40" fmla="*/ 130 w 134"/>
                <a:gd name="T41" fmla="*/ 102 h 286"/>
                <a:gd name="T42" fmla="*/ 126 w 134"/>
                <a:gd name="T43" fmla="*/ 90 h 286"/>
                <a:gd name="T44" fmla="*/ 134 w 134"/>
                <a:gd name="T45" fmla="*/ 70 h 286"/>
                <a:gd name="T46" fmla="*/ 124 w 134"/>
                <a:gd name="T47" fmla="*/ 42 h 286"/>
                <a:gd name="T48" fmla="*/ 126 w 134"/>
                <a:gd name="T49" fmla="*/ 27 h 286"/>
                <a:gd name="T50" fmla="*/ 126 w 134"/>
                <a:gd name="T51" fmla="*/ 2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 h="286">
                  <a:moveTo>
                    <a:pt x="126" y="27"/>
                  </a:moveTo>
                  <a:lnTo>
                    <a:pt x="92" y="0"/>
                  </a:lnTo>
                  <a:lnTo>
                    <a:pt x="76" y="0"/>
                  </a:lnTo>
                  <a:lnTo>
                    <a:pt x="61" y="13"/>
                  </a:lnTo>
                  <a:lnTo>
                    <a:pt x="52" y="28"/>
                  </a:lnTo>
                  <a:lnTo>
                    <a:pt x="30" y="32"/>
                  </a:lnTo>
                  <a:lnTo>
                    <a:pt x="21" y="52"/>
                  </a:lnTo>
                  <a:lnTo>
                    <a:pt x="5" y="58"/>
                  </a:lnTo>
                  <a:lnTo>
                    <a:pt x="0" y="83"/>
                  </a:lnTo>
                  <a:lnTo>
                    <a:pt x="13" y="96"/>
                  </a:lnTo>
                  <a:lnTo>
                    <a:pt x="29" y="113"/>
                  </a:lnTo>
                  <a:lnTo>
                    <a:pt x="31" y="136"/>
                  </a:lnTo>
                  <a:lnTo>
                    <a:pt x="40" y="146"/>
                  </a:lnTo>
                  <a:lnTo>
                    <a:pt x="38" y="254"/>
                  </a:lnTo>
                  <a:lnTo>
                    <a:pt x="49" y="286"/>
                  </a:lnTo>
                  <a:lnTo>
                    <a:pt x="85" y="281"/>
                  </a:lnTo>
                  <a:lnTo>
                    <a:pt x="87" y="205"/>
                  </a:lnTo>
                  <a:lnTo>
                    <a:pt x="86" y="175"/>
                  </a:lnTo>
                  <a:lnTo>
                    <a:pt x="95" y="146"/>
                  </a:lnTo>
                  <a:lnTo>
                    <a:pt x="108" y="130"/>
                  </a:lnTo>
                  <a:lnTo>
                    <a:pt x="130" y="102"/>
                  </a:lnTo>
                  <a:lnTo>
                    <a:pt x="126" y="90"/>
                  </a:lnTo>
                  <a:lnTo>
                    <a:pt x="134" y="70"/>
                  </a:lnTo>
                  <a:lnTo>
                    <a:pt x="124" y="42"/>
                  </a:lnTo>
                  <a:lnTo>
                    <a:pt x="126" y="27"/>
                  </a:lnTo>
                  <a:lnTo>
                    <a:pt x="126" y="27"/>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2" name="Burkina Faso">
              <a:extLst>
                <a:ext uri="{FF2B5EF4-FFF2-40B4-BE49-F238E27FC236}">
                  <a16:creationId xmlns:a16="http://schemas.microsoft.com/office/drawing/2014/main" id="{A8943C06-5A27-69FA-AC17-6913E6B77D83}"/>
                </a:ext>
              </a:extLst>
            </p:cNvPr>
            <p:cNvSpPr>
              <a:spLocks/>
            </p:cNvSpPr>
            <p:nvPr/>
          </p:nvSpPr>
          <p:spPr bwMode="auto">
            <a:xfrm>
              <a:off x="5704779" y="2437737"/>
              <a:ext cx="539750" cy="409575"/>
            </a:xfrm>
            <a:custGeom>
              <a:avLst/>
              <a:gdLst>
                <a:gd name="T0" fmla="*/ 260 w 340"/>
                <a:gd name="T1" fmla="*/ 8 h 258"/>
                <a:gd name="T2" fmla="*/ 232 w 340"/>
                <a:gd name="T3" fmla="*/ 8 h 258"/>
                <a:gd name="T4" fmla="*/ 221 w 340"/>
                <a:gd name="T5" fmla="*/ 0 h 258"/>
                <a:gd name="T6" fmla="*/ 196 w 340"/>
                <a:gd name="T7" fmla="*/ 6 h 258"/>
                <a:gd name="T8" fmla="*/ 155 w 340"/>
                <a:gd name="T9" fmla="*/ 26 h 258"/>
                <a:gd name="T10" fmla="*/ 146 w 340"/>
                <a:gd name="T11" fmla="*/ 40 h 258"/>
                <a:gd name="T12" fmla="*/ 112 w 340"/>
                <a:gd name="T13" fmla="*/ 62 h 258"/>
                <a:gd name="T14" fmla="*/ 106 w 340"/>
                <a:gd name="T15" fmla="*/ 74 h 258"/>
                <a:gd name="T16" fmla="*/ 88 w 340"/>
                <a:gd name="T17" fmla="*/ 83 h 258"/>
                <a:gd name="T18" fmla="*/ 66 w 340"/>
                <a:gd name="T19" fmla="*/ 77 h 258"/>
                <a:gd name="T20" fmla="*/ 54 w 340"/>
                <a:gd name="T21" fmla="*/ 88 h 258"/>
                <a:gd name="T22" fmla="*/ 47 w 340"/>
                <a:gd name="T23" fmla="*/ 120 h 258"/>
                <a:gd name="T24" fmla="*/ 12 w 340"/>
                <a:gd name="T25" fmla="*/ 159 h 258"/>
                <a:gd name="T26" fmla="*/ 13 w 340"/>
                <a:gd name="T27" fmla="*/ 175 h 258"/>
                <a:gd name="T28" fmla="*/ 0 w 340"/>
                <a:gd name="T29" fmla="*/ 195 h 258"/>
                <a:gd name="T30" fmla="*/ 4 w 340"/>
                <a:gd name="T31" fmla="*/ 222 h 258"/>
                <a:gd name="T32" fmla="*/ 24 w 340"/>
                <a:gd name="T33" fmla="*/ 232 h 258"/>
                <a:gd name="T34" fmla="*/ 31 w 340"/>
                <a:gd name="T35" fmla="*/ 248 h 258"/>
                <a:gd name="T36" fmla="*/ 51 w 340"/>
                <a:gd name="T37" fmla="*/ 258 h 258"/>
                <a:gd name="T38" fmla="*/ 67 w 340"/>
                <a:gd name="T39" fmla="*/ 247 h 258"/>
                <a:gd name="T40" fmla="*/ 88 w 340"/>
                <a:gd name="T41" fmla="*/ 244 h 258"/>
                <a:gd name="T42" fmla="*/ 118 w 340"/>
                <a:gd name="T43" fmla="*/ 257 h 258"/>
                <a:gd name="T44" fmla="*/ 111 w 340"/>
                <a:gd name="T45" fmla="*/ 221 h 258"/>
                <a:gd name="T46" fmla="*/ 113 w 340"/>
                <a:gd name="T47" fmla="*/ 194 h 258"/>
                <a:gd name="T48" fmla="*/ 190 w 340"/>
                <a:gd name="T49" fmla="*/ 192 h 258"/>
                <a:gd name="T50" fmla="*/ 210 w 340"/>
                <a:gd name="T51" fmla="*/ 196 h 258"/>
                <a:gd name="T52" fmla="*/ 224 w 340"/>
                <a:gd name="T53" fmla="*/ 188 h 258"/>
                <a:gd name="T54" fmla="*/ 245 w 340"/>
                <a:gd name="T55" fmla="*/ 192 h 258"/>
                <a:gd name="T56" fmla="*/ 283 w 340"/>
                <a:gd name="T57" fmla="*/ 193 h 258"/>
                <a:gd name="T58" fmla="*/ 299 w 340"/>
                <a:gd name="T59" fmla="*/ 187 h 258"/>
                <a:gd name="T60" fmla="*/ 308 w 340"/>
                <a:gd name="T61" fmla="*/ 167 h 258"/>
                <a:gd name="T62" fmla="*/ 330 w 340"/>
                <a:gd name="T63" fmla="*/ 163 h 258"/>
                <a:gd name="T64" fmla="*/ 339 w 340"/>
                <a:gd name="T65" fmla="*/ 148 h 258"/>
                <a:gd name="T66" fmla="*/ 340 w 340"/>
                <a:gd name="T67" fmla="*/ 116 h 258"/>
                <a:gd name="T68" fmla="*/ 288 w 340"/>
                <a:gd name="T69" fmla="*/ 106 h 258"/>
                <a:gd name="T70" fmla="*/ 288 w 340"/>
                <a:gd name="T71" fmla="*/ 83 h 258"/>
                <a:gd name="T72" fmla="*/ 262 w 340"/>
                <a:gd name="T73" fmla="*/ 52 h 258"/>
                <a:gd name="T74" fmla="*/ 257 w 340"/>
                <a:gd name="T75" fmla="*/ 31 h 258"/>
                <a:gd name="T76" fmla="*/ 260 w 340"/>
                <a:gd name="T77" fmla="*/ 8 h 258"/>
                <a:gd name="T78" fmla="*/ 260 w 340"/>
                <a:gd name="T79" fmla="*/ 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0" h="258">
                  <a:moveTo>
                    <a:pt x="260" y="8"/>
                  </a:moveTo>
                  <a:lnTo>
                    <a:pt x="232" y="8"/>
                  </a:lnTo>
                  <a:lnTo>
                    <a:pt x="221" y="0"/>
                  </a:lnTo>
                  <a:lnTo>
                    <a:pt x="196" y="6"/>
                  </a:lnTo>
                  <a:lnTo>
                    <a:pt x="155" y="26"/>
                  </a:lnTo>
                  <a:lnTo>
                    <a:pt x="146" y="40"/>
                  </a:lnTo>
                  <a:lnTo>
                    <a:pt x="112" y="62"/>
                  </a:lnTo>
                  <a:lnTo>
                    <a:pt x="106" y="74"/>
                  </a:lnTo>
                  <a:lnTo>
                    <a:pt x="88" y="83"/>
                  </a:lnTo>
                  <a:lnTo>
                    <a:pt x="66" y="77"/>
                  </a:lnTo>
                  <a:lnTo>
                    <a:pt x="54" y="88"/>
                  </a:lnTo>
                  <a:lnTo>
                    <a:pt x="47" y="120"/>
                  </a:lnTo>
                  <a:lnTo>
                    <a:pt x="12" y="159"/>
                  </a:lnTo>
                  <a:lnTo>
                    <a:pt x="13" y="175"/>
                  </a:lnTo>
                  <a:lnTo>
                    <a:pt x="0" y="195"/>
                  </a:lnTo>
                  <a:lnTo>
                    <a:pt x="4" y="222"/>
                  </a:lnTo>
                  <a:lnTo>
                    <a:pt x="24" y="232"/>
                  </a:lnTo>
                  <a:lnTo>
                    <a:pt x="31" y="248"/>
                  </a:lnTo>
                  <a:lnTo>
                    <a:pt x="51" y="258"/>
                  </a:lnTo>
                  <a:lnTo>
                    <a:pt x="67" y="247"/>
                  </a:lnTo>
                  <a:lnTo>
                    <a:pt x="88" y="244"/>
                  </a:lnTo>
                  <a:lnTo>
                    <a:pt x="118" y="257"/>
                  </a:lnTo>
                  <a:lnTo>
                    <a:pt x="111" y="221"/>
                  </a:lnTo>
                  <a:lnTo>
                    <a:pt x="113" y="194"/>
                  </a:lnTo>
                  <a:lnTo>
                    <a:pt x="190" y="192"/>
                  </a:lnTo>
                  <a:lnTo>
                    <a:pt x="210" y="196"/>
                  </a:lnTo>
                  <a:lnTo>
                    <a:pt x="224" y="188"/>
                  </a:lnTo>
                  <a:lnTo>
                    <a:pt x="245" y="192"/>
                  </a:lnTo>
                  <a:lnTo>
                    <a:pt x="283" y="193"/>
                  </a:lnTo>
                  <a:lnTo>
                    <a:pt x="299" y="187"/>
                  </a:lnTo>
                  <a:lnTo>
                    <a:pt x="308" y="167"/>
                  </a:lnTo>
                  <a:lnTo>
                    <a:pt x="330" y="163"/>
                  </a:lnTo>
                  <a:lnTo>
                    <a:pt x="339" y="148"/>
                  </a:lnTo>
                  <a:lnTo>
                    <a:pt x="340" y="116"/>
                  </a:lnTo>
                  <a:lnTo>
                    <a:pt x="288" y="106"/>
                  </a:lnTo>
                  <a:lnTo>
                    <a:pt x="288" y="83"/>
                  </a:lnTo>
                  <a:lnTo>
                    <a:pt x="262" y="52"/>
                  </a:lnTo>
                  <a:lnTo>
                    <a:pt x="257" y="31"/>
                  </a:lnTo>
                  <a:lnTo>
                    <a:pt x="260" y="8"/>
                  </a:lnTo>
                  <a:lnTo>
                    <a:pt x="260" y="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B9BD5">
                    <a:lumMod val="75000"/>
                  </a:srgbClr>
                </a:solidFill>
                <a:effectLst/>
                <a:uLnTx/>
                <a:uFillTx/>
                <a:latin typeface="Calibri" panose="020F0502020204030204"/>
                <a:ea typeface="+mn-ea"/>
                <a:cs typeface="+mn-cs"/>
              </a:endParaRPr>
            </a:p>
          </p:txBody>
        </p:sp>
        <p:sp>
          <p:nvSpPr>
            <p:cNvPr id="153" name="Botswana">
              <a:extLst>
                <a:ext uri="{FF2B5EF4-FFF2-40B4-BE49-F238E27FC236}">
                  <a16:creationId xmlns:a16="http://schemas.microsoft.com/office/drawing/2014/main" id="{A75ECB5D-627F-747A-0B44-E5341B9CEFCC}"/>
                </a:ext>
              </a:extLst>
            </p:cNvPr>
            <p:cNvSpPr>
              <a:spLocks/>
            </p:cNvSpPr>
            <p:nvPr/>
          </p:nvSpPr>
          <p:spPr bwMode="auto">
            <a:xfrm>
              <a:off x="7463729" y="4882487"/>
              <a:ext cx="668338" cy="682625"/>
            </a:xfrm>
            <a:custGeom>
              <a:avLst/>
              <a:gdLst>
                <a:gd name="T0" fmla="*/ 247 w 421"/>
                <a:gd name="T1" fmla="*/ 3 h 430"/>
                <a:gd name="T2" fmla="*/ 240 w 421"/>
                <a:gd name="T3" fmla="*/ 0 h 430"/>
                <a:gd name="T4" fmla="*/ 214 w 421"/>
                <a:gd name="T5" fmla="*/ 10 h 430"/>
                <a:gd name="T6" fmla="*/ 202 w 421"/>
                <a:gd name="T7" fmla="*/ 10 h 430"/>
                <a:gd name="T8" fmla="*/ 172 w 421"/>
                <a:gd name="T9" fmla="*/ 29 h 430"/>
                <a:gd name="T10" fmla="*/ 156 w 421"/>
                <a:gd name="T11" fmla="*/ 9 h 430"/>
                <a:gd name="T12" fmla="*/ 88 w 421"/>
                <a:gd name="T13" fmla="*/ 26 h 430"/>
                <a:gd name="T14" fmla="*/ 55 w 421"/>
                <a:gd name="T15" fmla="*/ 27 h 430"/>
                <a:gd name="T16" fmla="*/ 48 w 421"/>
                <a:gd name="T17" fmla="*/ 194 h 430"/>
                <a:gd name="T18" fmla="*/ 5 w 421"/>
                <a:gd name="T19" fmla="*/ 196 h 430"/>
                <a:gd name="T20" fmla="*/ 0 w 421"/>
                <a:gd name="T21" fmla="*/ 333 h 430"/>
                <a:gd name="T22" fmla="*/ 12 w 421"/>
                <a:gd name="T23" fmla="*/ 340 h 430"/>
                <a:gd name="T24" fmla="*/ 35 w 421"/>
                <a:gd name="T25" fmla="*/ 385 h 430"/>
                <a:gd name="T26" fmla="*/ 30 w 421"/>
                <a:gd name="T27" fmla="*/ 413 h 430"/>
                <a:gd name="T28" fmla="*/ 39 w 421"/>
                <a:gd name="T29" fmla="*/ 430 h 430"/>
                <a:gd name="T30" fmla="*/ 70 w 421"/>
                <a:gd name="T31" fmla="*/ 425 h 430"/>
                <a:gd name="T32" fmla="*/ 93 w 421"/>
                <a:gd name="T33" fmla="*/ 405 h 430"/>
                <a:gd name="T34" fmla="*/ 114 w 421"/>
                <a:gd name="T35" fmla="*/ 390 h 430"/>
                <a:gd name="T36" fmla="*/ 126 w 421"/>
                <a:gd name="T37" fmla="*/ 367 h 430"/>
                <a:gd name="T38" fmla="*/ 148 w 421"/>
                <a:gd name="T39" fmla="*/ 357 h 430"/>
                <a:gd name="T40" fmla="*/ 165 w 421"/>
                <a:gd name="T41" fmla="*/ 362 h 430"/>
                <a:gd name="T42" fmla="*/ 185 w 421"/>
                <a:gd name="T43" fmla="*/ 376 h 430"/>
                <a:gd name="T44" fmla="*/ 221 w 421"/>
                <a:gd name="T45" fmla="*/ 378 h 430"/>
                <a:gd name="T46" fmla="*/ 249 w 421"/>
                <a:gd name="T47" fmla="*/ 367 h 430"/>
                <a:gd name="T48" fmla="*/ 254 w 421"/>
                <a:gd name="T49" fmla="*/ 352 h 430"/>
                <a:gd name="T50" fmla="*/ 263 w 421"/>
                <a:gd name="T51" fmla="*/ 330 h 430"/>
                <a:gd name="T52" fmla="*/ 286 w 421"/>
                <a:gd name="T53" fmla="*/ 327 h 430"/>
                <a:gd name="T54" fmla="*/ 301 w 421"/>
                <a:gd name="T55" fmla="*/ 309 h 430"/>
                <a:gd name="T56" fmla="*/ 317 w 421"/>
                <a:gd name="T57" fmla="*/ 277 h 430"/>
                <a:gd name="T58" fmla="*/ 358 w 421"/>
                <a:gd name="T59" fmla="*/ 242 h 430"/>
                <a:gd name="T60" fmla="*/ 421 w 421"/>
                <a:gd name="T61" fmla="*/ 208 h 430"/>
                <a:gd name="T62" fmla="*/ 394 w 421"/>
                <a:gd name="T63" fmla="*/ 186 h 430"/>
                <a:gd name="T64" fmla="*/ 360 w 421"/>
                <a:gd name="T65" fmla="*/ 179 h 430"/>
                <a:gd name="T66" fmla="*/ 349 w 421"/>
                <a:gd name="T67" fmla="*/ 149 h 430"/>
                <a:gd name="T68" fmla="*/ 350 w 421"/>
                <a:gd name="T69" fmla="*/ 133 h 430"/>
                <a:gd name="T70" fmla="*/ 331 w 421"/>
                <a:gd name="T71" fmla="*/ 128 h 430"/>
                <a:gd name="T72" fmla="*/ 284 w 421"/>
                <a:gd name="T73" fmla="*/ 76 h 430"/>
                <a:gd name="T74" fmla="*/ 271 w 421"/>
                <a:gd name="T75" fmla="*/ 49 h 430"/>
                <a:gd name="T76" fmla="*/ 263 w 421"/>
                <a:gd name="T77" fmla="*/ 40 h 430"/>
                <a:gd name="T78" fmla="*/ 247 w 421"/>
                <a:gd name="T79" fmla="*/ 3 h 430"/>
                <a:gd name="T80" fmla="*/ 247 w 421"/>
                <a:gd name="T81" fmla="*/ 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30">
                  <a:moveTo>
                    <a:pt x="247" y="3"/>
                  </a:moveTo>
                  <a:lnTo>
                    <a:pt x="240" y="0"/>
                  </a:lnTo>
                  <a:lnTo>
                    <a:pt x="214" y="10"/>
                  </a:lnTo>
                  <a:lnTo>
                    <a:pt x="202" y="10"/>
                  </a:lnTo>
                  <a:lnTo>
                    <a:pt x="172" y="29"/>
                  </a:lnTo>
                  <a:lnTo>
                    <a:pt x="156" y="9"/>
                  </a:lnTo>
                  <a:lnTo>
                    <a:pt x="88" y="26"/>
                  </a:lnTo>
                  <a:lnTo>
                    <a:pt x="55" y="27"/>
                  </a:lnTo>
                  <a:lnTo>
                    <a:pt x="48" y="194"/>
                  </a:lnTo>
                  <a:lnTo>
                    <a:pt x="5" y="196"/>
                  </a:lnTo>
                  <a:lnTo>
                    <a:pt x="0" y="333"/>
                  </a:lnTo>
                  <a:lnTo>
                    <a:pt x="12" y="340"/>
                  </a:lnTo>
                  <a:lnTo>
                    <a:pt x="35" y="385"/>
                  </a:lnTo>
                  <a:lnTo>
                    <a:pt x="30" y="413"/>
                  </a:lnTo>
                  <a:lnTo>
                    <a:pt x="39" y="430"/>
                  </a:lnTo>
                  <a:lnTo>
                    <a:pt x="70" y="425"/>
                  </a:lnTo>
                  <a:lnTo>
                    <a:pt x="93" y="405"/>
                  </a:lnTo>
                  <a:lnTo>
                    <a:pt x="114" y="390"/>
                  </a:lnTo>
                  <a:lnTo>
                    <a:pt x="126" y="367"/>
                  </a:lnTo>
                  <a:lnTo>
                    <a:pt x="148" y="357"/>
                  </a:lnTo>
                  <a:lnTo>
                    <a:pt x="165" y="362"/>
                  </a:lnTo>
                  <a:lnTo>
                    <a:pt x="185" y="376"/>
                  </a:lnTo>
                  <a:lnTo>
                    <a:pt x="221" y="378"/>
                  </a:lnTo>
                  <a:lnTo>
                    <a:pt x="249" y="367"/>
                  </a:lnTo>
                  <a:lnTo>
                    <a:pt x="254" y="352"/>
                  </a:lnTo>
                  <a:lnTo>
                    <a:pt x="263" y="330"/>
                  </a:lnTo>
                  <a:lnTo>
                    <a:pt x="286" y="327"/>
                  </a:lnTo>
                  <a:lnTo>
                    <a:pt x="301" y="309"/>
                  </a:lnTo>
                  <a:lnTo>
                    <a:pt x="317" y="277"/>
                  </a:lnTo>
                  <a:lnTo>
                    <a:pt x="358" y="242"/>
                  </a:lnTo>
                  <a:lnTo>
                    <a:pt x="421" y="208"/>
                  </a:lnTo>
                  <a:lnTo>
                    <a:pt x="394" y="186"/>
                  </a:lnTo>
                  <a:lnTo>
                    <a:pt x="360" y="179"/>
                  </a:lnTo>
                  <a:lnTo>
                    <a:pt x="349" y="149"/>
                  </a:lnTo>
                  <a:lnTo>
                    <a:pt x="350" y="133"/>
                  </a:lnTo>
                  <a:lnTo>
                    <a:pt x="331" y="128"/>
                  </a:lnTo>
                  <a:lnTo>
                    <a:pt x="284" y="76"/>
                  </a:lnTo>
                  <a:lnTo>
                    <a:pt x="271" y="49"/>
                  </a:lnTo>
                  <a:lnTo>
                    <a:pt x="263" y="40"/>
                  </a:lnTo>
                  <a:lnTo>
                    <a:pt x="247" y="3"/>
                  </a:lnTo>
                  <a:lnTo>
                    <a:pt x="247" y="3"/>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4" name="Central African Rep.">
              <a:extLst>
                <a:ext uri="{FF2B5EF4-FFF2-40B4-BE49-F238E27FC236}">
                  <a16:creationId xmlns:a16="http://schemas.microsoft.com/office/drawing/2014/main" id="{C73B63E7-393E-257A-5619-570777F7C240}"/>
                </a:ext>
              </a:extLst>
            </p:cNvPr>
            <p:cNvSpPr>
              <a:spLocks/>
            </p:cNvSpPr>
            <p:nvPr/>
          </p:nvSpPr>
          <p:spPr bwMode="auto">
            <a:xfrm>
              <a:off x="7114479" y="2733012"/>
              <a:ext cx="914400" cy="661988"/>
            </a:xfrm>
            <a:custGeom>
              <a:avLst/>
              <a:gdLst>
                <a:gd name="T0" fmla="*/ 418 w 576"/>
                <a:gd name="T1" fmla="*/ 118 h 417"/>
                <a:gd name="T2" fmla="*/ 414 w 576"/>
                <a:gd name="T3" fmla="*/ 117 h 417"/>
                <a:gd name="T4" fmla="*/ 399 w 576"/>
                <a:gd name="T5" fmla="*/ 103 h 417"/>
                <a:gd name="T6" fmla="*/ 396 w 576"/>
                <a:gd name="T7" fmla="*/ 88 h 417"/>
                <a:gd name="T8" fmla="*/ 402 w 576"/>
                <a:gd name="T9" fmla="*/ 69 h 417"/>
                <a:gd name="T10" fmla="*/ 402 w 576"/>
                <a:gd name="T11" fmla="*/ 50 h 417"/>
                <a:gd name="T12" fmla="*/ 376 w 576"/>
                <a:gd name="T13" fmla="*/ 20 h 417"/>
                <a:gd name="T14" fmla="*/ 370 w 576"/>
                <a:gd name="T15" fmla="*/ 0 h 417"/>
                <a:gd name="T16" fmla="*/ 342 w 576"/>
                <a:gd name="T17" fmla="*/ 8 h 417"/>
                <a:gd name="T18" fmla="*/ 320 w 576"/>
                <a:gd name="T19" fmla="*/ 27 h 417"/>
                <a:gd name="T20" fmla="*/ 289 w 576"/>
                <a:gd name="T21" fmla="*/ 79 h 417"/>
                <a:gd name="T22" fmla="*/ 248 w 576"/>
                <a:gd name="T23" fmla="*/ 100 h 417"/>
                <a:gd name="T24" fmla="*/ 204 w 576"/>
                <a:gd name="T25" fmla="*/ 97 h 417"/>
                <a:gd name="T26" fmla="*/ 192 w 576"/>
                <a:gd name="T27" fmla="*/ 101 h 417"/>
                <a:gd name="T28" fmla="*/ 197 w 576"/>
                <a:gd name="T29" fmla="*/ 118 h 417"/>
                <a:gd name="T30" fmla="*/ 173 w 576"/>
                <a:gd name="T31" fmla="*/ 135 h 417"/>
                <a:gd name="T32" fmla="*/ 155 w 576"/>
                <a:gd name="T33" fmla="*/ 152 h 417"/>
                <a:gd name="T34" fmla="*/ 99 w 576"/>
                <a:gd name="T35" fmla="*/ 171 h 417"/>
                <a:gd name="T36" fmla="*/ 88 w 576"/>
                <a:gd name="T37" fmla="*/ 160 h 417"/>
                <a:gd name="T38" fmla="*/ 80 w 576"/>
                <a:gd name="T39" fmla="*/ 159 h 417"/>
                <a:gd name="T40" fmla="*/ 73 w 576"/>
                <a:gd name="T41" fmla="*/ 171 h 417"/>
                <a:gd name="T42" fmla="*/ 36 w 576"/>
                <a:gd name="T43" fmla="*/ 175 h 417"/>
                <a:gd name="T44" fmla="*/ 13 w 576"/>
                <a:gd name="T45" fmla="*/ 222 h 417"/>
                <a:gd name="T46" fmla="*/ 3 w 576"/>
                <a:gd name="T47" fmla="*/ 231 h 417"/>
                <a:gd name="T48" fmla="*/ 0 w 576"/>
                <a:gd name="T49" fmla="*/ 268 h 417"/>
                <a:gd name="T50" fmla="*/ 4 w 576"/>
                <a:gd name="T51" fmla="*/ 287 h 417"/>
                <a:gd name="T52" fmla="*/ 1 w 576"/>
                <a:gd name="T53" fmla="*/ 301 h 417"/>
                <a:gd name="T54" fmla="*/ 22 w 576"/>
                <a:gd name="T55" fmla="*/ 326 h 417"/>
                <a:gd name="T56" fmla="*/ 26 w 576"/>
                <a:gd name="T57" fmla="*/ 343 h 417"/>
                <a:gd name="T58" fmla="*/ 43 w 576"/>
                <a:gd name="T59" fmla="*/ 367 h 417"/>
                <a:gd name="T60" fmla="*/ 64 w 576"/>
                <a:gd name="T61" fmla="*/ 382 h 417"/>
                <a:gd name="T62" fmla="*/ 65 w 576"/>
                <a:gd name="T63" fmla="*/ 404 h 417"/>
                <a:gd name="T64" fmla="*/ 70 w 576"/>
                <a:gd name="T65" fmla="*/ 417 h 417"/>
                <a:gd name="T66" fmla="*/ 93 w 576"/>
                <a:gd name="T67" fmla="*/ 373 h 417"/>
                <a:gd name="T68" fmla="*/ 120 w 576"/>
                <a:gd name="T69" fmla="*/ 349 h 417"/>
                <a:gd name="T70" fmla="*/ 149 w 576"/>
                <a:gd name="T71" fmla="*/ 356 h 417"/>
                <a:gd name="T72" fmla="*/ 179 w 576"/>
                <a:gd name="T73" fmla="*/ 359 h 417"/>
                <a:gd name="T74" fmla="*/ 182 w 576"/>
                <a:gd name="T75" fmla="*/ 326 h 417"/>
                <a:gd name="T76" fmla="*/ 200 w 576"/>
                <a:gd name="T77" fmla="*/ 302 h 417"/>
                <a:gd name="T78" fmla="*/ 223 w 576"/>
                <a:gd name="T79" fmla="*/ 287 h 417"/>
                <a:gd name="T80" fmla="*/ 260 w 576"/>
                <a:gd name="T81" fmla="*/ 304 h 417"/>
                <a:gd name="T82" fmla="*/ 288 w 576"/>
                <a:gd name="T83" fmla="*/ 321 h 417"/>
                <a:gd name="T84" fmla="*/ 321 w 576"/>
                <a:gd name="T85" fmla="*/ 326 h 417"/>
                <a:gd name="T86" fmla="*/ 355 w 576"/>
                <a:gd name="T87" fmla="*/ 334 h 417"/>
                <a:gd name="T88" fmla="*/ 368 w 576"/>
                <a:gd name="T89" fmla="*/ 306 h 417"/>
                <a:gd name="T90" fmla="*/ 374 w 576"/>
                <a:gd name="T91" fmla="*/ 302 h 417"/>
                <a:gd name="T92" fmla="*/ 394 w 576"/>
                <a:gd name="T93" fmla="*/ 307 h 417"/>
                <a:gd name="T94" fmla="*/ 443 w 576"/>
                <a:gd name="T95" fmla="*/ 283 h 417"/>
                <a:gd name="T96" fmla="*/ 462 w 576"/>
                <a:gd name="T97" fmla="*/ 293 h 417"/>
                <a:gd name="T98" fmla="*/ 475 w 576"/>
                <a:gd name="T99" fmla="*/ 292 h 417"/>
                <a:gd name="T100" fmla="*/ 482 w 576"/>
                <a:gd name="T101" fmla="*/ 281 h 417"/>
                <a:gd name="T102" fmla="*/ 498 w 576"/>
                <a:gd name="T103" fmla="*/ 276 h 417"/>
                <a:gd name="T104" fmla="*/ 532 w 576"/>
                <a:gd name="T105" fmla="*/ 281 h 417"/>
                <a:gd name="T106" fmla="*/ 561 w 576"/>
                <a:gd name="T107" fmla="*/ 283 h 417"/>
                <a:gd name="T108" fmla="*/ 576 w 576"/>
                <a:gd name="T109" fmla="*/ 278 h 417"/>
                <a:gd name="T110" fmla="*/ 569 w 576"/>
                <a:gd name="T111" fmla="*/ 263 h 417"/>
                <a:gd name="T112" fmla="*/ 535 w 576"/>
                <a:gd name="T113" fmla="*/ 244 h 417"/>
                <a:gd name="T114" fmla="*/ 523 w 576"/>
                <a:gd name="T115" fmla="*/ 216 h 417"/>
                <a:gd name="T116" fmla="*/ 504 w 576"/>
                <a:gd name="T117" fmla="*/ 196 h 417"/>
                <a:gd name="T118" fmla="*/ 474 w 576"/>
                <a:gd name="T119" fmla="*/ 171 h 417"/>
                <a:gd name="T120" fmla="*/ 474 w 576"/>
                <a:gd name="T121" fmla="*/ 156 h 417"/>
                <a:gd name="T122" fmla="*/ 449 w 576"/>
                <a:gd name="T123" fmla="*/ 137 h 417"/>
                <a:gd name="T124" fmla="*/ 418 w 576"/>
                <a:gd name="T125" fmla="*/ 11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417">
                  <a:moveTo>
                    <a:pt x="418" y="118"/>
                  </a:moveTo>
                  <a:lnTo>
                    <a:pt x="414" y="117"/>
                  </a:lnTo>
                  <a:lnTo>
                    <a:pt x="399" y="103"/>
                  </a:lnTo>
                  <a:lnTo>
                    <a:pt x="396" y="88"/>
                  </a:lnTo>
                  <a:lnTo>
                    <a:pt x="402" y="69"/>
                  </a:lnTo>
                  <a:lnTo>
                    <a:pt x="402" y="50"/>
                  </a:lnTo>
                  <a:lnTo>
                    <a:pt x="376" y="20"/>
                  </a:lnTo>
                  <a:lnTo>
                    <a:pt x="370" y="0"/>
                  </a:lnTo>
                  <a:lnTo>
                    <a:pt x="342" y="8"/>
                  </a:lnTo>
                  <a:lnTo>
                    <a:pt x="320" y="27"/>
                  </a:lnTo>
                  <a:lnTo>
                    <a:pt x="289" y="79"/>
                  </a:lnTo>
                  <a:lnTo>
                    <a:pt x="248" y="100"/>
                  </a:lnTo>
                  <a:lnTo>
                    <a:pt x="204" y="97"/>
                  </a:lnTo>
                  <a:lnTo>
                    <a:pt x="192" y="101"/>
                  </a:lnTo>
                  <a:lnTo>
                    <a:pt x="197" y="118"/>
                  </a:lnTo>
                  <a:lnTo>
                    <a:pt x="173" y="135"/>
                  </a:lnTo>
                  <a:lnTo>
                    <a:pt x="155" y="152"/>
                  </a:lnTo>
                  <a:lnTo>
                    <a:pt x="99" y="171"/>
                  </a:lnTo>
                  <a:lnTo>
                    <a:pt x="88" y="160"/>
                  </a:lnTo>
                  <a:lnTo>
                    <a:pt x="80" y="159"/>
                  </a:lnTo>
                  <a:lnTo>
                    <a:pt x="73" y="171"/>
                  </a:lnTo>
                  <a:lnTo>
                    <a:pt x="36" y="175"/>
                  </a:lnTo>
                  <a:lnTo>
                    <a:pt x="13" y="222"/>
                  </a:lnTo>
                  <a:lnTo>
                    <a:pt x="3" y="231"/>
                  </a:lnTo>
                  <a:lnTo>
                    <a:pt x="0" y="268"/>
                  </a:lnTo>
                  <a:lnTo>
                    <a:pt x="4" y="287"/>
                  </a:lnTo>
                  <a:lnTo>
                    <a:pt x="1" y="301"/>
                  </a:lnTo>
                  <a:lnTo>
                    <a:pt x="22" y="326"/>
                  </a:lnTo>
                  <a:lnTo>
                    <a:pt x="26" y="343"/>
                  </a:lnTo>
                  <a:lnTo>
                    <a:pt x="43" y="367"/>
                  </a:lnTo>
                  <a:lnTo>
                    <a:pt x="64" y="382"/>
                  </a:lnTo>
                  <a:lnTo>
                    <a:pt x="65" y="404"/>
                  </a:lnTo>
                  <a:lnTo>
                    <a:pt x="70" y="417"/>
                  </a:lnTo>
                  <a:lnTo>
                    <a:pt x="93" y="373"/>
                  </a:lnTo>
                  <a:lnTo>
                    <a:pt x="120" y="349"/>
                  </a:lnTo>
                  <a:lnTo>
                    <a:pt x="149" y="356"/>
                  </a:lnTo>
                  <a:lnTo>
                    <a:pt x="179" y="359"/>
                  </a:lnTo>
                  <a:lnTo>
                    <a:pt x="182" y="326"/>
                  </a:lnTo>
                  <a:lnTo>
                    <a:pt x="200" y="302"/>
                  </a:lnTo>
                  <a:lnTo>
                    <a:pt x="223" y="287"/>
                  </a:lnTo>
                  <a:lnTo>
                    <a:pt x="260" y="304"/>
                  </a:lnTo>
                  <a:lnTo>
                    <a:pt x="288" y="321"/>
                  </a:lnTo>
                  <a:lnTo>
                    <a:pt x="321" y="326"/>
                  </a:lnTo>
                  <a:lnTo>
                    <a:pt x="355" y="334"/>
                  </a:lnTo>
                  <a:lnTo>
                    <a:pt x="368" y="306"/>
                  </a:lnTo>
                  <a:lnTo>
                    <a:pt x="374" y="302"/>
                  </a:lnTo>
                  <a:lnTo>
                    <a:pt x="394" y="307"/>
                  </a:lnTo>
                  <a:lnTo>
                    <a:pt x="443" y="283"/>
                  </a:lnTo>
                  <a:lnTo>
                    <a:pt x="462" y="293"/>
                  </a:lnTo>
                  <a:lnTo>
                    <a:pt x="475" y="292"/>
                  </a:lnTo>
                  <a:lnTo>
                    <a:pt x="482" y="281"/>
                  </a:lnTo>
                  <a:lnTo>
                    <a:pt x="498" y="276"/>
                  </a:lnTo>
                  <a:lnTo>
                    <a:pt x="532" y="281"/>
                  </a:lnTo>
                  <a:lnTo>
                    <a:pt x="561" y="283"/>
                  </a:lnTo>
                  <a:lnTo>
                    <a:pt x="576" y="278"/>
                  </a:lnTo>
                  <a:lnTo>
                    <a:pt x="569" y="263"/>
                  </a:lnTo>
                  <a:lnTo>
                    <a:pt x="535" y="244"/>
                  </a:lnTo>
                  <a:lnTo>
                    <a:pt x="523" y="216"/>
                  </a:lnTo>
                  <a:lnTo>
                    <a:pt x="504" y="196"/>
                  </a:lnTo>
                  <a:lnTo>
                    <a:pt x="474" y="171"/>
                  </a:lnTo>
                  <a:lnTo>
                    <a:pt x="474" y="156"/>
                  </a:lnTo>
                  <a:lnTo>
                    <a:pt x="449" y="137"/>
                  </a:lnTo>
                  <a:lnTo>
                    <a:pt x="418" y="11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5" name="Côte d'Ivoire">
              <a:extLst>
                <a:ext uri="{FF2B5EF4-FFF2-40B4-BE49-F238E27FC236}">
                  <a16:creationId xmlns:a16="http://schemas.microsoft.com/office/drawing/2014/main" id="{F4CA5C09-40DB-E737-AA2C-EF033A4BF0B4}"/>
                </a:ext>
              </a:extLst>
            </p:cNvPr>
            <p:cNvSpPr>
              <a:spLocks/>
            </p:cNvSpPr>
            <p:nvPr/>
          </p:nvSpPr>
          <p:spPr bwMode="auto">
            <a:xfrm>
              <a:off x="5482529" y="2779050"/>
              <a:ext cx="428625" cy="461963"/>
            </a:xfrm>
            <a:custGeom>
              <a:avLst/>
              <a:gdLst>
                <a:gd name="T0" fmla="*/ 144 w 270"/>
                <a:gd name="T1" fmla="*/ 7 h 291"/>
                <a:gd name="T2" fmla="*/ 125 w 270"/>
                <a:gd name="T3" fmla="*/ 15 h 291"/>
                <a:gd name="T4" fmla="*/ 114 w 270"/>
                <a:gd name="T5" fmla="*/ 20 h 291"/>
                <a:gd name="T6" fmla="*/ 108 w 270"/>
                <a:gd name="T7" fmla="*/ 0 h 291"/>
                <a:gd name="T8" fmla="*/ 95 w 270"/>
                <a:gd name="T9" fmla="*/ 5 h 291"/>
                <a:gd name="T10" fmla="*/ 87 w 270"/>
                <a:gd name="T11" fmla="*/ 5 h 291"/>
                <a:gd name="T12" fmla="*/ 79 w 270"/>
                <a:gd name="T13" fmla="*/ 18 h 291"/>
                <a:gd name="T14" fmla="*/ 45 w 270"/>
                <a:gd name="T15" fmla="*/ 18 h 291"/>
                <a:gd name="T16" fmla="*/ 32 w 270"/>
                <a:gd name="T17" fmla="*/ 11 h 291"/>
                <a:gd name="T18" fmla="*/ 27 w 270"/>
                <a:gd name="T19" fmla="*/ 15 h 291"/>
                <a:gd name="T20" fmla="*/ 18 w 270"/>
                <a:gd name="T21" fmla="*/ 19 h 291"/>
                <a:gd name="T22" fmla="*/ 14 w 270"/>
                <a:gd name="T23" fmla="*/ 35 h 291"/>
                <a:gd name="T24" fmla="*/ 24 w 270"/>
                <a:gd name="T25" fmla="*/ 54 h 291"/>
                <a:gd name="T26" fmla="*/ 35 w 270"/>
                <a:gd name="T27" fmla="*/ 92 h 291"/>
                <a:gd name="T28" fmla="*/ 18 w 270"/>
                <a:gd name="T29" fmla="*/ 97 h 291"/>
                <a:gd name="T30" fmla="*/ 14 w 270"/>
                <a:gd name="T31" fmla="*/ 104 h 291"/>
                <a:gd name="T32" fmla="*/ 18 w 270"/>
                <a:gd name="T33" fmla="*/ 113 h 291"/>
                <a:gd name="T34" fmla="*/ 15 w 270"/>
                <a:gd name="T35" fmla="*/ 134 h 291"/>
                <a:gd name="T36" fmla="*/ 7 w 270"/>
                <a:gd name="T37" fmla="*/ 134 h 291"/>
                <a:gd name="T38" fmla="*/ 6 w 270"/>
                <a:gd name="T39" fmla="*/ 147 h 291"/>
                <a:gd name="T40" fmla="*/ 10 w 270"/>
                <a:gd name="T41" fmla="*/ 170 h 291"/>
                <a:gd name="T42" fmla="*/ 0 w 270"/>
                <a:gd name="T43" fmla="*/ 191 h 291"/>
                <a:gd name="T44" fmla="*/ 13 w 270"/>
                <a:gd name="T45" fmla="*/ 203 h 291"/>
                <a:gd name="T46" fmla="*/ 27 w 270"/>
                <a:gd name="T47" fmla="*/ 207 h 291"/>
                <a:gd name="T48" fmla="*/ 46 w 270"/>
                <a:gd name="T49" fmla="*/ 226 h 291"/>
                <a:gd name="T50" fmla="*/ 47 w 270"/>
                <a:gd name="T51" fmla="*/ 245 h 291"/>
                <a:gd name="T52" fmla="*/ 43 w 270"/>
                <a:gd name="T53" fmla="*/ 251 h 291"/>
                <a:gd name="T54" fmla="*/ 39 w 270"/>
                <a:gd name="T55" fmla="*/ 290 h 291"/>
                <a:gd name="T56" fmla="*/ 48 w 270"/>
                <a:gd name="T57" fmla="*/ 291 h 291"/>
                <a:gd name="T58" fmla="*/ 92 w 270"/>
                <a:gd name="T59" fmla="*/ 274 h 291"/>
                <a:gd name="T60" fmla="*/ 123 w 270"/>
                <a:gd name="T61" fmla="*/ 260 h 291"/>
                <a:gd name="T62" fmla="*/ 176 w 270"/>
                <a:gd name="T63" fmla="*/ 252 h 291"/>
                <a:gd name="T64" fmla="*/ 205 w 270"/>
                <a:gd name="T65" fmla="*/ 251 h 291"/>
                <a:gd name="T66" fmla="*/ 236 w 270"/>
                <a:gd name="T67" fmla="*/ 260 h 291"/>
                <a:gd name="T68" fmla="*/ 256 w 270"/>
                <a:gd name="T69" fmla="*/ 260 h 291"/>
                <a:gd name="T70" fmla="*/ 258 w 270"/>
                <a:gd name="T71" fmla="*/ 241 h 291"/>
                <a:gd name="T72" fmla="*/ 239 w 270"/>
                <a:gd name="T73" fmla="*/ 201 h 291"/>
                <a:gd name="T74" fmla="*/ 250 w 270"/>
                <a:gd name="T75" fmla="*/ 148 h 291"/>
                <a:gd name="T76" fmla="*/ 270 w 270"/>
                <a:gd name="T77" fmla="*/ 108 h 291"/>
                <a:gd name="T78" fmla="*/ 258 w 270"/>
                <a:gd name="T79" fmla="*/ 42 h 291"/>
                <a:gd name="T80" fmla="*/ 228 w 270"/>
                <a:gd name="T81" fmla="*/ 29 h 291"/>
                <a:gd name="T82" fmla="*/ 207 w 270"/>
                <a:gd name="T83" fmla="*/ 32 h 291"/>
                <a:gd name="T84" fmla="*/ 191 w 270"/>
                <a:gd name="T85" fmla="*/ 43 h 291"/>
                <a:gd name="T86" fmla="*/ 171 w 270"/>
                <a:gd name="T87" fmla="*/ 33 h 291"/>
                <a:gd name="T88" fmla="*/ 164 w 270"/>
                <a:gd name="T89" fmla="*/ 17 h 291"/>
                <a:gd name="T90" fmla="*/ 144 w 270"/>
                <a:gd name="T91" fmla="*/ 7 h 291"/>
                <a:gd name="T92" fmla="*/ 144 w 270"/>
                <a:gd name="T93" fmla="*/ 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291">
                  <a:moveTo>
                    <a:pt x="144" y="7"/>
                  </a:moveTo>
                  <a:lnTo>
                    <a:pt x="125" y="15"/>
                  </a:lnTo>
                  <a:lnTo>
                    <a:pt x="114" y="20"/>
                  </a:lnTo>
                  <a:lnTo>
                    <a:pt x="108" y="0"/>
                  </a:lnTo>
                  <a:lnTo>
                    <a:pt x="95" y="5"/>
                  </a:lnTo>
                  <a:lnTo>
                    <a:pt x="87" y="5"/>
                  </a:lnTo>
                  <a:lnTo>
                    <a:pt x="79" y="18"/>
                  </a:lnTo>
                  <a:lnTo>
                    <a:pt x="45" y="18"/>
                  </a:lnTo>
                  <a:lnTo>
                    <a:pt x="32" y="11"/>
                  </a:lnTo>
                  <a:lnTo>
                    <a:pt x="27" y="15"/>
                  </a:lnTo>
                  <a:lnTo>
                    <a:pt x="18" y="19"/>
                  </a:lnTo>
                  <a:lnTo>
                    <a:pt x="14" y="35"/>
                  </a:lnTo>
                  <a:lnTo>
                    <a:pt x="24" y="54"/>
                  </a:lnTo>
                  <a:lnTo>
                    <a:pt x="35" y="92"/>
                  </a:lnTo>
                  <a:lnTo>
                    <a:pt x="18" y="97"/>
                  </a:lnTo>
                  <a:lnTo>
                    <a:pt x="14" y="104"/>
                  </a:lnTo>
                  <a:lnTo>
                    <a:pt x="18" y="113"/>
                  </a:lnTo>
                  <a:lnTo>
                    <a:pt x="15" y="134"/>
                  </a:lnTo>
                  <a:lnTo>
                    <a:pt x="7" y="134"/>
                  </a:lnTo>
                  <a:lnTo>
                    <a:pt x="6" y="147"/>
                  </a:lnTo>
                  <a:lnTo>
                    <a:pt x="10" y="170"/>
                  </a:lnTo>
                  <a:lnTo>
                    <a:pt x="0" y="191"/>
                  </a:lnTo>
                  <a:lnTo>
                    <a:pt x="13" y="203"/>
                  </a:lnTo>
                  <a:lnTo>
                    <a:pt x="27" y="207"/>
                  </a:lnTo>
                  <a:lnTo>
                    <a:pt x="46" y="226"/>
                  </a:lnTo>
                  <a:lnTo>
                    <a:pt x="47" y="245"/>
                  </a:lnTo>
                  <a:lnTo>
                    <a:pt x="43" y="251"/>
                  </a:lnTo>
                  <a:lnTo>
                    <a:pt x="39" y="290"/>
                  </a:lnTo>
                  <a:lnTo>
                    <a:pt x="48" y="291"/>
                  </a:lnTo>
                  <a:lnTo>
                    <a:pt x="92" y="274"/>
                  </a:lnTo>
                  <a:lnTo>
                    <a:pt x="123" y="260"/>
                  </a:lnTo>
                  <a:lnTo>
                    <a:pt x="176" y="252"/>
                  </a:lnTo>
                  <a:lnTo>
                    <a:pt x="205" y="251"/>
                  </a:lnTo>
                  <a:lnTo>
                    <a:pt x="236" y="260"/>
                  </a:lnTo>
                  <a:lnTo>
                    <a:pt x="256" y="260"/>
                  </a:lnTo>
                  <a:lnTo>
                    <a:pt x="258" y="241"/>
                  </a:lnTo>
                  <a:lnTo>
                    <a:pt x="239" y="201"/>
                  </a:lnTo>
                  <a:lnTo>
                    <a:pt x="250" y="148"/>
                  </a:lnTo>
                  <a:lnTo>
                    <a:pt x="270" y="108"/>
                  </a:lnTo>
                  <a:lnTo>
                    <a:pt x="258" y="42"/>
                  </a:lnTo>
                  <a:lnTo>
                    <a:pt x="228" y="29"/>
                  </a:lnTo>
                  <a:lnTo>
                    <a:pt x="207" y="32"/>
                  </a:lnTo>
                  <a:lnTo>
                    <a:pt x="191" y="43"/>
                  </a:lnTo>
                  <a:lnTo>
                    <a:pt x="171" y="33"/>
                  </a:lnTo>
                  <a:lnTo>
                    <a:pt x="164" y="17"/>
                  </a:lnTo>
                  <a:lnTo>
                    <a:pt x="144" y="7"/>
                  </a:lnTo>
                  <a:lnTo>
                    <a:pt x="144" y="7"/>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6" name="Cameroon">
              <a:extLst>
                <a:ext uri="{FF2B5EF4-FFF2-40B4-BE49-F238E27FC236}">
                  <a16:creationId xmlns:a16="http://schemas.microsoft.com/office/drawing/2014/main" id="{2FC82F42-1F18-BB5C-62F5-A158208E99C4}"/>
                </a:ext>
              </a:extLst>
            </p:cNvPr>
            <p:cNvSpPr>
              <a:spLocks/>
            </p:cNvSpPr>
            <p:nvPr/>
          </p:nvSpPr>
          <p:spPr bwMode="auto">
            <a:xfrm>
              <a:off x="6692204" y="2606012"/>
              <a:ext cx="533400" cy="830263"/>
            </a:xfrm>
            <a:custGeom>
              <a:avLst/>
              <a:gdLst>
                <a:gd name="T0" fmla="*/ 284 w 336"/>
                <a:gd name="T1" fmla="*/ 92 h 523"/>
                <a:gd name="T2" fmla="*/ 286 w 336"/>
                <a:gd name="T3" fmla="*/ 61 h 523"/>
                <a:gd name="T4" fmla="*/ 282 w 336"/>
                <a:gd name="T5" fmla="*/ 30 h 523"/>
                <a:gd name="T6" fmla="*/ 264 w 336"/>
                <a:gd name="T7" fmla="*/ 0 h 523"/>
                <a:gd name="T8" fmla="*/ 251 w 336"/>
                <a:gd name="T9" fmla="*/ 2 h 523"/>
                <a:gd name="T10" fmla="*/ 250 w 336"/>
                <a:gd name="T11" fmla="*/ 17 h 523"/>
                <a:gd name="T12" fmla="*/ 267 w 336"/>
                <a:gd name="T13" fmla="*/ 35 h 523"/>
                <a:gd name="T14" fmla="*/ 263 w 336"/>
                <a:gd name="T15" fmla="*/ 44 h 523"/>
                <a:gd name="T16" fmla="*/ 261 w 336"/>
                <a:gd name="T17" fmla="*/ 60 h 523"/>
                <a:gd name="T18" fmla="*/ 224 w 336"/>
                <a:gd name="T19" fmla="*/ 97 h 523"/>
                <a:gd name="T20" fmla="*/ 213 w 336"/>
                <a:gd name="T21" fmla="*/ 126 h 523"/>
                <a:gd name="T22" fmla="*/ 207 w 336"/>
                <a:gd name="T23" fmla="*/ 151 h 523"/>
                <a:gd name="T24" fmla="*/ 197 w 336"/>
                <a:gd name="T25" fmla="*/ 161 h 523"/>
                <a:gd name="T26" fmla="*/ 189 w 336"/>
                <a:gd name="T27" fmla="*/ 194 h 523"/>
                <a:gd name="T28" fmla="*/ 165 w 336"/>
                <a:gd name="T29" fmla="*/ 214 h 523"/>
                <a:gd name="T30" fmla="*/ 158 w 336"/>
                <a:gd name="T31" fmla="*/ 238 h 523"/>
                <a:gd name="T32" fmla="*/ 149 w 336"/>
                <a:gd name="T33" fmla="*/ 256 h 523"/>
                <a:gd name="T34" fmla="*/ 144 w 336"/>
                <a:gd name="T35" fmla="*/ 276 h 523"/>
                <a:gd name="T36" fmla="*/ 114 w 336"/>
                <a:gd name="T37" fmla="*/ 292 h 523"/>
                <a:gd name="T38" fmla="*/ 88 w 336"/>
                <a:gd name="T39" fmla="*/ 272 h 523"/>
                <a:gd name="T40" fmla="*/ 72 w 336"/>
                <a:gd name="T41" fmla="*/ 273 h 523"/>
                <a:gd name="T42" fmla="*/ 45 w 336"/>
                <a:gd name="T43" fmla="*/ 300 h 523"/>
                <a:gd name="T44" fmla="*/ 33 w 336"/>
                <a:gd name="T45" fmla="*/ 300 h 523"/>
                <a:gd name="T46" fmla="*/ 12 w 336"/>
                <a:gd name="T47" fmla="*/ 346 h 523"/>
                <a:gd name="T48" fmla="*/ 1 w 336"/>
                <a:gd name="T49" fmla="*/ 379 h 523"/>
                <a:gd name="T50" fmla="*/ 0 w 336"/>
                <a:gd name="T51" fmla="*/ 392 h 523"/>
                <a:gd name="T52" fmla="*/ 12 w 336"/>
                <a:gd name="T53" fmla="*/ 399 h 523"/>
                <a:gd name="T54" fmla="*/ 21 w 336"/>
                <a:gd name="T55" fmla="*/ 420 h 523"/>
                <a:gd name="T56" fmla="*/ 41 w 336"/>
                <a:gd name="T57" fmla="*/ 428 h 523"/>
                <a:gd name="T58" fmla="*/ 58 w 336"/>
                <a:gd name="T59" fmla="*/ 459 h 523"/>
                <a:gd name="T60" fmla="*/ 52 w 336"/>
                <a:gd name="T61" fmla="*/ 496 h 523"/>
                <a:gd name="T62" fmla="*/ 125 w 336"/>
                <a:gd name="T63" fmla="*/ 497 h 523"/>
                <a:gd name="T64" fmla="*/ 146 w 336"/>
                <a:gd name="T65" fmla="*/ 494 h 523"/>
                <a:gd name="T66" fmla="*/ 172 w 336"/>
                <a:gd name="T67" fmla="*/ 501 h 523"/>
                <a:gd name="T68" fmla="*/ 200 w 336"/>
                <a:gd name="T69" fmla="*/ 495 h 523"/>
                <a:gd name="T70" fmla="*/ 205 w 336"/>
                <a:gd name="T71" fmla="*/ 497 h 523"/>
                <a:gd name="T72" fmla="*/ 261 w 336"/>
                <a:gd name="T73" fmla="*/ 499 h 523"/>
                <a:gd name="T74" fmla="*/ 298 w 336"/>
                <a:gd name="T75" fmla="*/ 511 h 523"/>
                <a:gd name="T76" fmla="*/ 333 w 336"/>
                <a:gd name="T77" fmla="*/ 523 h 523"/>
                <a:gd name="T78" fmla="*/ 336 w 336"/>
                <a:gd name="T79" fmla="*/ 497 h 523"/>
                <a:gd name="T80" fmla="*/ 331 w 336"/>
                <a:gd name="T81" fmla="*/ 484 h 523"/>
                <a:gd name="T82" fmla="*/ 330 w 336"/>
                <a:gd name="T83" fmla="*/ 462 h 523"/>
                <a:gd name="T84" fmla="*/ 309 w 336"/>
                <a:gd name="T85" fmla="*/ 447 h 523"/>
                <a:gd name="T86" fmla="*/ 292 w 336"/>
                <a:gd name="T87" fmla="*/ 423 h 523"/>
                <a:gd name="T88" fmla="*/ 288 w 336"/>
                <a:gd name="T89" fmla="*/ 406 h 523"/>
                <a:gd name="T90" fmla="*/ 267 w 336"/>
                <a:gd name="T91" fmla="*/ 381 h 523"/>
                <a:gd name="T92" fmla="*/ 270 w 336"/>
                <a:gd name="T93" fmla="*/ 367 h 523"/>
                <a:gd name="T94" fmla="*/ 266 w 336"/>
                <a:gd name="T95" fmla="*/ 348 h 523"/>
                <a:gd name="T96" fmla="*/ 269 w 336"/>
                <a:gd name="T97" fmla="*/ 311 h 523"/>
                <a:gd name="T98" fmla="*/ 279 w 336"/>
                <a:gd name="T99" fmla="*/ 302 h 523"/>
                <a:gd name="T100" fmla="*/ 302 w 336"/>
                <a:gd name="T101" fmla="*/ 255 h 523"/>
                <a:gd name="T102" fmla="*/ 309 w 336"/>
                <a:gd name="T103" fmla="*/ 243 h 523"/>
                <a:gd name="T104" fmla="*/ 294 w 336"/>
                <a:gd name="T105" fmla="*/ 210 h 523"/>
                <a:gd name="T106" fmla="*/ 288 w 336"/>
                <a:gd name="T107" fmla="*/ 190 h 523"/>
                <a:gd name="T108" fmla="*/ 268 w 336"/>
                <a:gd name="T109" fmla="*/ 182 h 523"/>
                <a:gd name="T110" fmla="*/ 242 w 336"/>
                <a:gd name="T111" fmla="*/ 155 h 523"/>
                <a:gd name="T112" fmla="*/ 251 w 336"/>
                <a:gd name="T113" fmla="*/ 133 h 523"/>
                <a:gd name="T114" fmla="*/ 271 w 336"/>
                <a:gd name="T115" fmla="*/ 137 h 523"/>
                <a:gd name="T116" fmla="*/ 284 w 336"/>
                <a:gd name="T117" fmla="*/ 134 h 523"/>
                <a:gd name="T118" fmla="*/ 309 w 336"/>
                <a:gd name="T119" fmla="*/ 135 h 523"/>
                <a:gd name="T120" fmla="*/ 284 w 336"/>
                <a:gd name="T121" fmla="*/ 92 h 523"/>
                <a:gd name="T122" fmla="*/ 284 w 336"/>
                <a:gd name="T123"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523">
                  <a:moveTo>
                    <a:pt x="284" y="92"/>
                  </a:moveTo>
                  <a:lnTo>
                    <a:pt x="286" y="61"/>
                  </a:lnTo>
                  <a:lnTo>
                    <a:pt x="282" y="30"/>
                  </a:lnTo>
                  <a:lnTo>
                    <a:pt x="264" y="0"/>
                  </a:lnTo>
                  <a:lnTo>
                    <a:pt x="251" y="2"/>
                  </a:lnTo>
                  <a:lnTo>
                    <a:pt x="250" y="17"/>
                  </a:lnTo>
                  <a:lnTo>
                    <a:pt x="267" y="35"/>
                  </a:lnTo>
                  <a:lnTo>
                    <a:pt x="263" y="44"/>
                  </a:lnTo>
                  <a:lnTo>
                    <a:pt x="261" y="60"/>
                  </a:lnTo>
                  <a:lnTo>
                    <a:pt x="224" y="97"/>
                  </a:lnTo>
                  <a:lnTo>
                    <a:pt x="213" y="126"/>
                  </a:lnTo>
                  <a:lnTo>
                    <a:pt x="207" y="151"/>
                  </a:lnTo>
                  <a:lnTo>
                    <a:pt x="197" y="161"/>
                  </a:lnTo>
                  <a:lnTo>
                    <a:pt x="189" y="194"/>
                  </a:lnTo>
                  <a:lnTo>
                    <a:pt x="165" y="214"/>
                  </a:lnTo>
                  <a:lnTo>
                    <a:pt x="158" y="238"/>
                  </a:lnTo>
                  <a:lnTo>
                    <a:pt x="149" y="256"/>
                  </a:lnTo>
                  <a:lnTo>
                    <a:pt x="144" y="276"/>
                  </a:lnTo>
                  <a:lnTo>
                    <a:pt x="114" y="292"/>
                  </a:lnTo>
                  <a:lnTo>
                    <a:pt x="88" y="272"/>
                  </a:lnTo>
                  <a:lnTo>
                    <a:pt x="72" y="273"/>
                  </a:lnTo>
                  <a:lnTo>
                    <a:pt x="45" y="300"/>
                  </a:lnTo>
                  <a:lnTo>
                    <a:pt x="33" y="300"/>
                  </a:lnTo>
                  <a:lnTo>
                    <a:pt x="12" y="346"/>
                  </a:lnTo>
                  <a:lnTo>
                    <a:pt x="1" y="379"/>
                  </a:lnTo>
                  <a:lnTo>
                    <a:pt x="0" y="392"/>
                  </a:lnTo>
                  <a:lnTo>
                    <a:pt x="12" y="399"/>
                  </a:lnTo>
                  <a:lnTo>
                    <a:pt x="21" y="420"/>
                  </a:lnTo>
                  <a:lnTo>
                    <a:pt x="41" y="428"/>
                  </a:lnTo>
                  <a:lnTo>
                    <a:pt x="58" y="459"/>
                  </a:lnTo>
                  <a:lnTo>
                    <a:pt x="52" y="496"/>
                  </a:lnTo>
                  <a:lnTo>
                    <a:pt x="125" y="497"/>
                  </a:lnTo>
                  <a:lnTo>
                    <a:pt x="146" y="494"/>
                  </a:lnTo>
                  <a:lnTo>
                    <a:pt x="172" y="501"/>
                  </a:lnTo>
                  <a:lnTo>
                    <a:pt x="200" y="495"/>
                  </a:lnTo>
                  <a:lnTo>
                    <a:pt x="205" y="497"/>
                  </a:lnTo>
                  <a:lnTo>
                    <a:pt x="261" y="499"/>
                  </a:lnTo>
                  <a:lnTo>
                    <a:pt x="298" y="511"/>
                  </a:lnTo>
                  <a:lnTo>
                    <a:pt x="333" y="523"/>
                  </a:lnTo>
                  <a:lnTo>
                    <a:pt x="336" y="497"/>
                  </a:lnTo>
                  <a:lnTo>
                    <a:pt x="331" y="484"/>
                  </a:lnTo>
                  <a:lnTo>
                    <a:pt x="330" y="462"/>
                  </a:lnTo>
                  <a:lnTo>
                    <a:pt x="309" y="447"/>
                  </a:lnTo>
                  <a:lnTo>
                    <a:pt x="292" y="423"/>
                  </a:lnTo>
                  <a:lnTo>
                    <a:pt x="288" y="406"/>
                  </a:lnTo>
                  <a:lnTo>
                    <a:pt x="267" y="381"/>
                  </a:lnTo>
                  <a:lnTo>
                    <a:pt x="270" y="367"/>
                  </a:lnTo>
                  <a:lnTo>
                    <a:pt x="266" y="348"/>
                  </a:lnTo>
                  <a:lnTo>
                    <a:pt x="269" y="311"/>
                  </a:lnTo>
                  <a:lnTo>
                    <a:pt x="279" y="302"/>
                  </a:lnTo>
                  <a:lnTo>
                    <a:pt x="302" y="255"/>
                  </a:lnTo>
                  <a:lnTo>
                    <a:pt x="309" y="243"/>
                  </a:lnTo>
                  <a:lnTo>
                    <a:pt x="294" y="210"/>
                  </a:lnTo>
                  <a:lnTo>
                    <a:pt x="288" y="190"/>
                  </a:lnTo>
                  <a:lnTo>
                    <a:pt x="268" y="182"/>
                  </a:lnTo>
                  <a:lnTo>
                    <a:pt x="242" y="155"/>
                  </a:lnTo>
                  <a:lnTo>
                    <a:pt x="251" y="133"/>
                  </a:lnTo>
                  <a:lnTo>
                    <a:pt x="271" y="137"/>
                  </a:lnTo>
                  <a:lnTo>
                    <a:pt x="284" y="134"/>
                  </a:lnTo>
                  <a:lnTo>
                    <a:pt x="309" y="135"/>
                  </a:lnTo>
                  <a:lnTo>
                    <a:pt x="284" y="92"/>
                  </a:lnTo>
                  <a:lnTo>
                    <a:pt x="284" y="92"/>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7" name="The Democratic Republic of the Congo">
              <a:extLst>
                <a:ext uri="{FF2B5EF4-FFF2-40B4-BE49-F238E27FC236}">
                  <a16:creationId xmlns:a16="http://schemas.microsoft.com/office/drawing/2014/main" id="{1BBBD8F0-E1DB-A24D-007C-942474C23DB9}"/>
                </a:ext>
              </a:extLst>
            </p:cNvPr>
            <p:cNvSpPr>
              <a:spLocks/>
            </p:cNvSpPr>
            <p:nvPr/>
          </p:nvSpPr>
          <p:spPr bwMode="auto">
            <a:xfrm>
              <a:off x="6952554" y="3171162"/>
              <a:ext cx="1347788" cy="1382713"/>
            </a:xfrm>
            <a:custGeom>
              <a:avLst/>
              <a:gdLst>
                <a:gd name="T0" fmla="*/ 584 w 849"/>
                <a:gd name="T1" fmla="*/ 5 h 871"/>
                <a:gd name="T2" fmla="*/ 545 w 849"/>
                <a:gd name="T3" fmla="*/ 7 h 871"/>
                <a:gd name="T4" fmla="*/ 470 w 849"/>
                <a:gd name="T5" fmla="*/ 30 h 871"/>
                <a:gd name="T6" fmla="*/ 390 w 849"/>
                <a:gd name="T7" fmla="*/ 45 h 871"/>
                <a:gd name="T8" fmla="*/ 302 w 849"/>
                <a:gd name="T9" fmla="*/ 26 h 871"/>
                <a:gd name="T10" fmla="*/ 278 w 849"/>
                <a:gd name="T11" fmla="*/ 112 h 871"/>
                <a:gd name="T12" fmla="*/ 250 w 849"/>
                <a:gd name="T13" fmla="*/ 208 h 871"/>
                <a:gd name="T14" fmla="*/ 245 w 849"/>
                <a:gd name="T15" fmla="*/ 268 h 871"/>
                <a:gd name="T16" fmla="*/ 189 w 849"/>
                <a:gd name="T17" fmla="*/ 330 h 871"/>
                <a:gd name="T18" fmla="*/ 160 w 849"/>
                <a:gd name="T19" fmla="*/ 428 h 871"/>
                <a:gd name="T20" fmla="*/ 91 w 849"/>
                <a:gd name="T21" fmla="*/ 472 h 871"/>
                <a:gd name="T22" fmla="*/ 49 w 849"/>
                <a:gd name="T23" fmla="*/ 478 h 871"/>
                <a:gd name="T24" fmla="*/ 13 w 849"/>
                <a:gd name="T25" fmla="*/ 494 h 871"/>
                <a:gd name="T26" fmla="*/ 7 w 849"/>
                <a:gd name="T27" fmla="*/ 534 h 871"/>
                <a:gd name="T28" fmla="*/ 53 w 849"/>
                <a:gd name="T29" fmla="*/ 523 h 871"/>
                <a:gd name="T30" fmla="*/ 208 w 849"/>
                <a:gd name="T31" fmla="*/ 587 h 871"/>
                <a:gd name="T32" fmla="*/ 264 w 849"/>
                <a:gd name="T33" fmla="*/ 623 h 871"/>
                <a:gd name="T34" fmla="*/ 311 w 849"/>
                <a:gd name="T35" fmla="*/ 612 h 871"/>
                <a:gd name="T36" fmla="*/ 352 w 849"/>
                <a:gd name="T37" fmla="*/ 574 h 871"/>
                <a:gd name="T38" fmla="*/ 425 w 849"/>
                <a:gd name="T39" fmla="*/ 590 h 871"/>
                <a:gd name="T40" fmla="*/ 427 w 849"/>
                <a:gd name="T41" fmla="*/ 666 h 871"/>
                <a:gd name="T42" fmla="*/ 441 w 849"/>
                <a:gd name="T43" fmla="*/ 769 h 871"/>
                <a:gd name="T44" fmla="*/ 499 w 849"/>
                <a:gd name="T45" fmla="*/ 759 h 871"/>
                <a:gd name="T46" fmla="*/ 536 w 849"/>
                <a:gd name="T47" fmla="*/ 776 h 871"/>
                <a:gd name="T48" fmla="*/ 600 w 849"/>
                <a:gd name="T49" fmla="*/ 801 h 871"/>
                <a:gd name="T50" fmla="*/ 672 w 849"/>
                <a:gd name="T51" fmla="*/ 818 h 871"/>
                <a:gd name="T52" fmla="*/ 739 w 849"/>
                <a:gd name="T53" fmla="*/ 870 h 871"/>
                <a:gd name="T54" fmla="*/ 758 w 849"/>
                <a:gd name="T55" fmla="*/ 828 h 871"/>
                <a:gd name="T56" fmla="*/ 723 w 849"/>
                <a:gd name="T57" fmla="*/ 754 h 871"/>
                <a:gd name="T58" fmla="*/ 735 w 849"/>
                <a:gd name="T59" fmla="*/ 648 h 871"/>
                <a:gd name="T60" fmla="*/ 816 w 849"/>
                <a:gd name="T61" fmla="*/ 637 h 871"/>
                <a:gd name="T62" fmla="*/ 799 w 849"/>
                <a:gd name="T63" fmla="*/ 590 h 871"/>
                <a:gd name="T64" fmla="*/ 766 w 849"/>
                <a:gd name="T65" fmla="*/ 511 h 871"/>
                <a:gd name="T66" fmla="*/ 764 w 849"/>
                <a:gd name="T67" fmla="*/ 410 h 871"/>
                <a:gd name="T68" fmla="*/ 757 w 849"/>
                <a:gd name="T69" fmla="*/ 355 h 871"/>
                <a:gd name="T70" fmla="*/ 777 w 849"/>
                <a:gd name="T71" fmla="*/ 311 h 871"/>
                <a:gd name="T72" fmla="*/ 791 w 849"/>
                <a:gd name="T73" fmla="*/ 219 h 871"/>
                <a:gd name="T74" fmla="*/ 834 w 849"/>
                <a:gd name="T75" fmla="*/ 161 h 871"/>
                <a:gd name="T76" fmla="*/ 833 w 849"/>
                <a:gd name="T77" fmla="*/ 83 h 871"/>
                <a:gd name="T78" fmla="*/ 783 w 849"/>
                <a:gd name="T79" fmla="*/ 32 h 871"/>
                <a:gd name="T80" fmla="*/ 725 w 849"/>
                <a:gd name="T81" fmla="*/ 46 h 871"/>
                <a:gd name="T82" fmla="*/ 663 w 849"/>
                <a:gd name="T83" fmla="*/ 7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9" h="871">
                  <a:moveTo>
                    <a:pt x="634" y="5"/>
                  </a:moveTo>
                  <a:lnTo>
                    <a:pt x="600" y="0"/>
                  </a:lnTo>
                  <a:lnTo>
                    <a:pt x="584" y="5"/>
                  </a:lnTo>
                  <a:lnTo>
                    <a:pt x="577" y="16"/>
                  </a:lnTo>
                  <a:lnTo>
                    <a:pt x="564" y="17"/>
                  </a:lnTo>
                  <a:lnTo>
                    <a:pt x="545" y="7"/>
                  </a:lnTo>
                  <a:lnTo>
                    <a:pt x="496" y="31"/>
                  </a:lnTo>
                  <a:lnTo>
                    <a:pt x="476" y="26"/>
                  </a:lnTo>
                  <a:lnTo>
                    <a:pt x="470" y="30"/>
                  </a:lnTo>
                  <a:lnTo>
                    <a:pt x="457" y="58"/>
                  </a:lnTo>
                  <a:lnTo>
                    <a:pt x="423" y="50"/>
                  </a:lnTo>
                  <a:lnTo>
                    <a:pt x="390" y="45"/>
                  </a:lnTo>
                  <a:lnTo>
                    <a:pt x="362" y="28"/>
                  </a:lnTo>
                  <a:lnTo>
                    <a:pt x="325" y="11"/>
                  </a:lnTo>
                  <a:lnTo>
                    <a:pt x="302" y="26"/>
                  </a:lnTo>
                  <a:lnTo>
                    <a:pt x="284" y="50"/>
                  </a:lnTo>
                  <a:lnTo>
                    <a:pt x="281" y="83"/>
                  </a:lnTo>
                  <a:lnTo>
                    <a:pt x="278" y="112"/>
                  </a:lnTo>
                  <a:lnTo>
                    <a:pt x="265" y="136"/>
                  </a:lnTo>
                  <a:lnTo>
                    <a:pt x="256" y="166"/>
                  </a:lnTo>
                  <a:lnTo>
                    <a:pt x="250" y="208"/>
                  </a:lnTo>
                  <a:lnTo>
                    <a:pt x="253" y="234"/>
                  </a:lnTo>
                  <a:lnTo>
                    <a:pt x="246" y="250"/>
                  </a:lnTo>
                  <a:lnTo>
                    <a:pt x="245" y="268"/>
                  </a:lnTo>
                  <a:lnTo>
                    <a:pt x="239" y="282"/>
                  </a:lnTo>
                  <a:lnTo>
                    <a:pt x="210" y="305"/>
                  </a:lnTo>
                  <a:lnTo>
                    <a:pt x="189" y="330"/>
                  </a:lnTo>
                  <a:lnTo>
                    <a:pt x="170" y="375"/>
                  </a:lnTo>
                  <a:lnTo>
                    <a:pt x="171" y="414"/>
                  </a:lnTo>
                  <a:lnTo>
                    <a:pt x="160" y="428"/>
                  </a:lnTo>
                  <a:lnTo>
                    <a:pt x="134" y="452"/>
                  </a:lnTo>
                  <a:lnTo>
                    <a:pt x="107" y="481"/>
                  </a:lnTo>
                  <a:lnTo>
                    <a:pt x="91" y="472"/>
                  </a:lnTo>
                  <a:lnTo>
                    <a:pt x="88" y="460"/>
                  </a:lnTo>
                  <a:lnTo>
                    <a:pt x="64" y="459"/>
                  </a:lnTo>
                  <a:lnTo>
                    <a:pt x="49" y="478"/>
                  </a:lnTo>
                  <a:lnTo>
                    <a:pt x="37" y="472"/>
                  </a:lnTo>
                  <a:lnTo>
                    <a:pt x="20" y="483"/>
                  </a:lnTo>
                  <a:lnTo>
                    <a:pt x="13" y="494"/>
                  </a:lnTo>
                  <a:lnTo>
                    <a:pt x="12" y="515"/>
                  </a:lnTo>
                  <a:lnTo>
                    <a:pt x="0" y="520"/>
                  </a:lnTo>
                  <a:lnTo>
                    <a:pt x="7" y="534"/>
                  </a:lnTo>
                  <a:lnTo>
                    <a:pt x="25" y="528"/>
                  </a:lnTo>
                  <a:lnTo>
                    <a:pt x="38" y="528"/>
                  </a:lnTo>
                  <a:lnTo>
                    <a:pt x="53" y="523"/>
                  </a:lnTo>
                  <a:lnTo>
                    <a:pt x="185" y="523"/>
                  </a:lnTo>
                  <a:lnTo>
                    <a:pt x="196" y="559"/>
                  </a:lnTo>
                  <a:lnTo>
                    <a:pt x="208" y="587"/>
                  </a:lnTo>
                  <a:lnTo>
                    <a:pt x="218" y="602"/>
                  </a:lnTo>
                  <a:lnTo>
                    <a:pt x="235" y="627"/>
                  </a:lnTo>
                  <a:lnTo>
                    <a:pt x="264" y="623"/>
                  </a:lnTo>
                  <a:lnTo>
                    <a:pt x="279" y="617"/>
                  </a:lnTo>
                  <a:lnTo>
                    <a:pt x="303" y="623"/>
                  </a:lnTo>
                  <a:lnTo>
                    <a:pt x="311" y="612"/>
                  </a:lnTo>
                  <a:lnTo>
                    <a:pt x="322" y="584"/>
                  </a:lnTo>
                  <a:lnTo>
                    <a:pt x="350" y="582"/>
                  </a:lnTo>
                  <a:lnTo>
                    <a:pt x="352" y="574"/>
                  </a:lnTo>
                  <a:lnTo>
                    <a:pt x="375" y="573"/>
                  </a:lnTo>
                  <a:lnTo>
                    <a:pt x="371" y="590"/>
                  </a:lnTo>
                  <a:lnTo>
                    <a:pt x="425" y="590"/>
                  </a:lnTo>
                  <a:lnTo>
                    <a:pt x="425" y="620"/>
                  </a:lnTo>
                  <a:lnTo>
                    <a:pt x="434" y="638"/>
                  </a:lnTo>
                  <a:lnTo>
                    <a:pt x="427" y="666"/>
                  </a:lnTo>
                  <a:lnTo>
                    <a:pt x="430" y="695"/>
                  </a:lnTo>
                  <a:lnTo>
                    <a:pt x="444" y="713"/>
                  </a:lnTo>
                  <a:lnTo>
                    <a:pt x="441" y="769"/>
                  </a:lnTo>
                  <a:lnTo>
                    <a:pt x="452" y="764"/>
                  </a:lnTo>
                  <a:lnTo>
                    <a:pt x="471" y="765"/>
                  </a:lnTo>
                  <a:lnTo>
                    <a:pt x="499" y="759"/>
                  </a:lnTo>
                  <a:lnTo>
                    <a:pt x="519" y="761"/>
                  </a:lnTo>
                  <a:lnTo>
                    <a:pt x="534" y="762"/>
                  </a:lnTo>
                  <a:lnTo>
                    <a:pt x="536" y="776"/>
                  </a:lnTo>
                  <a:lnTo>
                    <a:pt x="557" y="775"/>
                  </a:lnTo>
                  <a:lnTo>
                    <a:pt x="586" y="780"/>
                  </a:lnTo>
                  <a:lnTo>
                    <a:pt x="600" y="801"/>
                  </a:lnTo>
                  <a:lnTo>
                    <a:pt x="635" y="808"/>
                  </a:lnTo>
                  <a:lnTo>
                    <a:pt x="662" y="793"/>
                  </a:lnTo>
                  <a:lnTo>
                    <a:pt x="672" y="818"/>
                  </a:lnTo>
                  <a:lnTo>
                    <a:pt x="706" y="824"/>
                  </a:lnTo>
                  <a:lnTo>
                    <a:pt x="722" y="844"/>
                  </a:lnTo>
                  <a:lnTo>
                    <a:pt x="739" y="870"/>
                  </a:lnTo>
                  <a:lnTo>
                    <a:pt x="773" y="871"/>
                  </a:lnTo>
                  <a:lnTo>
                    <a:pt x="771" y="820"/>
                  </a:lnTo>
                  <a:lnTo>
                    <a:pt x="758" y="828"/>
                  </a:lnTo>
                  <a:lnTo>
                    <a:pt x="728" y="810"/>
                  </a:lnTo>
                  <a:lnTo>
                    <a:pt x="716" y="802"/>
                  </a:lnTo>
                  <a:lnTo>
                    <a:pt x="723" y="754"/>
                  </a:lnTo>
                  <a:lnTo>
                    <a:pt x="732" y="699"/>
                  </a:lnTo>
                  <a:lnTo>
                    <a:pt x="723" y="678"/>
                  </a:lnTo>
                  <a:lnTo>
                    <a:pt x="735" y="648"/>
                  </a:lnTo>
                  <a:lnTo>
                    <a:pt x="748" y="642"/>
                  </a:lnTo>
                  <a:lnTo>
                    <a:pt x="808" y="635"/>
                  </a:lnTo>
                  <a:lnTo>
                    <a:pt x="816" y="637"/>
                  </a:lnTo>
                  <a:lnTo>
                    <a:pt x="818" y="629"/>
                  </a:lnTo>
                  <a:lnTo>
                    <a:pt x="805" y="617"/>
                  </a:lnTo>
                  <a:lnTo>
                    <a:pt x="799" y="590"/>
                  </a:lnTo>
                  <a:lnTo>
                    <a:pt x="773" y="565"/>
                  </a:lnTo>
                  <a:lnTo>
                    <a:pt x="758" y="531"/>
                  </a:lnTo>
                  <a:lnTo>
                    <a:pt x="766" y="511"/>
                  </a:lnTo>
                  <a:lnTo>
                    <a:pt x="755" y="485"/>
                  </a:lnTo>
                  <a:lnTo>
                    <a:pt x="764" y="410"/>
                  </a:lnTo>
                  <a:lnTo>
                    <a:pt x="764" y="410"/>
                  </a:lnTo>
                  <a:lnTo>
                    <a:pt x="764" y="403"/>
                  </a:lnTo>
                  <a:lnTo>
                    <a:pt x="753" y="381"/>
                  </a:lnTo>
                  <a:lnTo>
                    <a:pt x="757" y="355"/>
                  </a:lnTo>
                  <a:lnTo>
                    <a:pt x="763" y="352"/>
                  </a:lnTo>
                  <a:lnTo>
                    <a:pt x="765" y="324"/>
                  </a:lnTo>
                  <a:lnTo>
                    <a:pt x="777" y="311"/>
                  </a:lnTo>
                  <a:lnTo>
                    <a:pt x="778" y="275"/>
                  </a:lnTo>
                  <a:lnTo>
                    <a:pt x="788" y="257"/>
                  </a:lnTo>
                  <a:lnTo>
                    <a:pt x="791" y="219"/>
                  </a:lnTo>
                  <a:lnTo>
                    <a:pt x="800" y="197"/>
                  </a:lnTo>
                  <a:lnTo>
                    <a:pt x="818" y="174"/>
                  </a:lnTo>
                  <a:lnTo>
                    <a:pt x="834" y="161"/>
                  </a:lnTo>
                  <a:lnTo>
                    <a:pt x="849" y="144"/>
                  </a:lnTo>
                  <a:lnTo>
                    <a:pt x="830" y="138"/>
                  </a:lnTo>
                  <a:lnTo>
                    <a:pt x="833" y="83"/>
                  </a:lnTo>
                  <a:lnTo>
                    <a:pt x="833" y="83"/>
                  </a:lnTo>
                  <a:lnTo>
                    <a:pt x="793" y="51"/>
                  </a:lnTo>
                  <a:lnTo>
                    <a:pt x="783" y="32"/>
                  </a:lnTo>
                  <a:lnTo>
                    <a:pt x="757" y="41"/>
                  </a:lnTo>
                  <a:lnTo>
                    <a:pt x="737" y="39"/>
                  </a:lnTo>
                  <a:lnTo>
                    <a:pt x="725" y="46"/>
                  </a:lnTo>
                  <a:lnTo>
                    <a:pt x="705" y="40"/>
                  </a:lnTo>
                  <a:lnTo>
                    <a:pt x="678" y="2"/>
                  </a:lnTo>
                  <a:lnTo>
                    <a:pt x="663" y="7"/>
                  </a:lnTo>
                  <a:lnTo>
                    <a:pt x="634" y="5"/>
                  </a:lnTo>
                  <a:lnTo>
                    <a:pt x="634" y="5"/>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8" name="Congo">
              <a:extLst>
                <a:ext uri="{FF2B5EF4-FFF2-40B4-BE49-F238E27FC236}">
                  <a16:creationId xmlns:a16="http://schemas.microsoft.com/office/drawing/2014/main" id="{AB965ED0-2121-74BA-A2EB-26D87ABA7DAB}"/>
                </a:ext>
              </a:extLst>
            </p:cNvPr>
            <p:cNvSpPr>
              <a:spLocks/>
            </p:cNvSpPr>
            <p:nvPr/>
          </p:nvSpPr>
          <p:spPr bwMode="auto">
            <a:xfrm>
              <a:off x="6876354" y="3287050"/>
              <a:ext cx="522288" cy="652463"/>
            </a:xfrm>
            <a:custGeom>
              <a:avLst/>
              <a:gdLst>
                <a:gd name="T0" fmla="*/ 329 w 329"/>
                <a:gd name="T1" fmla="*/ 10 h 411"/>
                <a:gd name="T2" fmla="*/ 299 w 329"/>
                <a:gd name="T3" fmla="*/ 7 h 411"/>
                <a:gd name="T4" fmla="*/ 270 w 329"/>
                <a:gd name="T5" fmla="*/ 0 h 411"/>
                <a:gd name="T6" fmla="*/ 243 w 329"/>
                <a:gd name="T7" fmla="*/ 24 h 411"/>
                <a:gd name="T8" fmla="*/ 220 w 329"/>
                <a:gd name="T9" fmla="*/ 68 h 411"/>
                <a:gd name="T10" fmla="*/ 217 w 329"/>
                <a:gd name="T11" fmla="*/ 94 h 411"/>
                <a:gd name="T12" fmla="*/ 182 w 329"/>
                <a:gd name="T13" fmla="*/ 82 h 411"/>
                <a:gd name="T14" fmla="*/ 145 w 329"/>
                <a:gd name="T15" fmla="*/ 70 h 411"/>
                <a:gd name="T16" fmla="*/ 89 w 329"/>
                <a:gd name="T17" fmla="*/ 68 h 411"/>
                <a:gd name="T18" fmla="*/ 86 w 329"/>
                <a:gd name="T19" fmla="*/ 89 h 411"/>
                <a:gd name="T20" fmla="*/ 98 w 329"/>
                <a:gd name="T21" fmla="*/ 112 h 411"/>
                <a:gd name="T22" fmla="*/ 131 w 329"/>
                <a:gd name="T23" fmla="*/ 109 h 411"/>
                <a:gd name="T24" fmla="*/ 142 w 329"/>
                <a:gd name="T25" fmla="*/ 118 h 411"/>
                <a:gd name="T26" fmla="*/ 123 w 329"/>
                <a:gd name="T27" fmla="*/ 173 h 411"/>
                <a:gd name="T28" fmla="*/ 144 w 329"/>
                <a:gd name="T29" fmla="*/ 201 h 411"/>
                <a:gd name="T30" fmla="*/ 150 w 329"/>
                <a:gd name="T31" fmla="*/ 237 h 411"/>
                <a:gd name="T32" fmla="*/ 143 w 329"/>
                <a:gd name="T33" fmla="*/ 269 h 411"/>
                <a:gd name="T34" fmla="*/ 129 w 329"/>
                <a:gd name="T35" fmla="*/ 291 h 411"/>
                <a:gd name="T36" fmla="*/ 90 w 329"/>
                <a:gd name="T37" fmla="*/ 289 h 411"/>
                <a:gd name="T38" fmla="*/ 66 w 329"/>
                <a:gd name="T39" fmla="*/ 266 h 411"/>
                <a:gd name="T40" fmla="*/ 63 w 329"/>
                <a:gd name="T41" fmla="*/ 287 h 411"/>
                <a:gd name="T42" fmla="*/ 33 w 329"/>
                <a:gd name="T43" fmla="*/ 292 h 411"/>
                <a:gd name="T44" fmla="*/ 17 w 329"/>
                <a:gd name="T45" fmla="*/ 304 h 411"/>
                <a:gd name="T46" fmla="*/ 35 w 329"/>
                <a:gd name="T47" fmla="*/ 336 h 411"/>
                <a:gd name="T48" fmla="*/ 0 w 329"/>
                <a:gd name="T49" fmla="*/ 362 h 411"/>
                <a:gd name="T50" fmla="*/ 36 w 329"/>
                <a:gd name="T51" fmla="*/ 411 h 411"/>
                <a:gd name="T52" fmla="*/ 55 w 329"/>
                <a:gd name="T53" fmla="*/ 391 h 411"/>
                <a:gd name="T54" fmla="*/ 68 w 329"/>
                <a:gd name="T55" fmla="*/ 383 h 411"/>
                <a:gd name="T56" fmla="*/ 85 w 329"/>
                <a:gd name="T57" fmla="*/ 399 h 411"/>
                <a:gd name="T58" fmla="*/ 97 w 329"/>
                <a:gd name="T59" fmla="*/ 405 h 411"/>
                <a:gd name="T60" fmla="*/ 112 w 329"/>
                <a:gd name="T61" fmla="*/ 386 h 411"/>
                <a:gd name="T62" fmla="*/ 136 w 329"/>
                <a:gd name="T63" fmla="*/ 387 h 411"/>
                <a:gd name="T64" fmla="*/ 139 w 329"/>
                <a:gd name="T65" fmla="*/ 399 h 411"/>
                <a:gd name="T66" fmla="*/ 155 w 329"/>
                <a:gd name="T67" fmla="*/ 408 h 411"/>
                <a:gd name="T68" fmla="*/ 182 w 329"/>
                <a:gd name="T69" fmla="*/ 379 h 411"/>
                <a:gd name="T70" fmla="*/ 208 w 329"/>
                <a:gd name="T71" fmla="*/ 355 h 411"/>
                <a:gd name="T72" fmla="*/ 219 w 329"/>
                <a:gd name="T73" fmla="*/ 341 h 411"/>
                <a:gd name="T74" fmla="*/ 218 w 329"/>
                <a:gd name="T75" fmla="*/ 302 h 411"/>
                <a:gd name="T76" fmla="*/ 237 w 329"/>
                <a:gd name="T77" fmla="*/ 257 h 411"/>
                <a:gd name="T78" fmla="*/ 258 w 329"/>
                <a:gd name="T79" fmla="*/ 232 h 411"/>
                <a:gd name="T80" fmla="*/ 287 w 329"/>
                <a:gd name="T81" fmla="*/ 209 h 411"/>
                <a:gd name="T82" fmla="*/ 293 w 329"/>
                <a:gd name="T83" fmla="*/ 195 h 411"/>
                <a:gd name="T84" fmla="*/ 294 w 329"/>
                <a:gd name="T85" fmla="*/ 177 h 411"/>
                <a:gd name="T86" fmla="*/ 301 w 329"/>
                <a:gd name="T87" fmla="*/ 161 h 411"/>
                <a:gd name="T88" fmla="*/ 298 w 329"/>
                <a:gd name="T89" fmla="*/ 135 h 411"/>
                <a:gd name="T90" fmla="*/ 304 w 329"/>
                <a:gd name="T91" fmla="*/ 93 h 411"/>
                <a:gd name="T92" fmla="*/ 313 w 329"/>
                <a:gd name="T93" fmla="*/ 63 h 411"/>
                <a:gd name="T94" fmla="*/ 326 w 329"/>
                <a:gd name="T95" fmla="*/ 39 h 411"/>
                <a:gd name="T96" fmla="*/ 329 w 329"/>
                <a:gd name="T97" fmla="*/ 10 h 411"/>
                <a:gd name="T98" fmla="*/ 329 w 329"/>
                <a:gd name="T99" fmla="*/ 10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9" h="411">
                  <a:moveTo>
                    <a:pt x="329" y="10"/>
                  </a:moveTo>
                  <a:lnTo>
                    <a:pt x="299" y="7"/>
                  </a:lnTo>
                  <a:lnTo>
                    <a:pt x="270" y="0"/>
                  </a:lnTo>
                  <a:lnTo>
                    <a:pt x="243" y="24"/>
                  </a:lnTo>
                  <a:lnTo>
                    <a:pt x="220" y="68"/>
                  </a:lnTo>
                  <a:lnTo>
                    <a:pt x="217" y="94"/>
                  </a:lnTo>
                  <a:lnTo>
                    <a:pt x="182" y="82"/>
                  </a:lnTo>
                  <a:lnTo>
                    <a:pt x="145" y="70"/>
                  </a:lnTo>
                  <a:lnTo>
                    <a:pt x="89" y="68"/>
                  </a:lnTo>
                  <a:lnTo>
                    <a:pt x="86" y="89"/>
                  </a:lnTo>
                  <a:lnTo>
                    <a:pt x="98" y="112"/>
                  </a:lnTo>
                  <a:lnTo>
                    <a:pt x="131" y="109"/>
                  </a:lnTo>
                  <a:lnTo>
                    <a:pt x="142" y="118"/>
                  </a:lnTo>
                  <a:lnTo>
                    <a:pt x="123" y="173"/>
                  </a:lnTo>
                  <a:lnTo>
                    <a:pt x="144" y="201"/>
                  </a:lnTo>
                  <a:lnTo>
                    <a:pt x="150" y="237"/>
                  </a:lnTo>
                  <a:lnTo>
                    <a:pt x="143" y="269"/>
                  </a:lnTo>
                  <a:lnTo>
                    <a:pt x="129" y="291"/>
                  </a:lnTo>
                  <a:lnTo>
                    <a:pt x="90" y="289"/>
                  </a:lnTo>
                  <a:lnTo>
                    <a:pt x="66" y="266"/>
                  </a:lnTo>
                  <a:lnTo>
                    <a:pt x="63" y="287"/>
                  </a:lnTo>
                  <a:lnTo>
                    <a:pt x="33" y="292"/>
                  </a:lnTo>
                  <a:lnTo>
                    <a:pt x="17" y="304"/>
                  </a:lnTo>
                  <a:lnTo>
                    <a:pt x="35" y="336"/>
                  </a:lnTo>
                  <a:lnTo>
                    <a:pt x="0" y="362"/>
                  </a:lnTo>
                  <a:lnTo>
                    <a:pt x="36" y="411"/>
                  </a:lnTo>
                  <a:lnTo>
                    <a:pt x="55" y="391"/>
                  </a:lnTo>
                  <a:lnTo>
                    <a:pt x="68" y="383"/>
                  </a:lnTo>
                  <a:lnTo>
                    <a:pt x="85" y="399"/>
                  </a:lnTo>
                  <a:lnTo>
                    <a:pt x="97" y="405"/>
                  </a:lnTo>
                  <a:lnTo>
                    <a:pt x="112" y="386"/>
                  </a:lnTo>
                  <a:lnTo>
                    <a:pt x="136" y="387"/>
                  </a:lnTo>
                  <a:lnTo>
                    <a:pt x="139" y="399"/>
                  </a:lnTo>
                  <a:lnTo>
                    <a:pt x="155" y="408"/>
                  </a:lnTo>
                  <a:lnTo>
                    <a:pt x="182" y="379"/>
                  </a:lnTo>
                  <a:lnTo>
                    <a:pt x="208" y="355"/>
                  </a:lnTo>
                  <a:lnTo>
                    <a:pt x="219" y="341"/>
                  </a:lnTo>
                  <a:lnTo>
                    <a:pt x="218" y="302"/>
                  </a:lnTo>
                  <a:lnTo>
                    <a:pt x="237" y="257"/>
                  </a:lnTo>
                  <a:lnTo>
                    <a:pt x="258" y="232"/>
                  </a:lnTo>
                  <a:lnTo>
                    <a:pt x="287" y="209"/>
                  </a:lnTo>
                  <a:lnTo>
                    <a:pt x="293" y="195"/>
                  </a:lnTo>
                  <a:lnTo>
                    <a:pt x="294" y="177"/>
                  </a:lnTo>
                  <a:lnTo>
                    <a:pt x="301" y="161"/>
                  </a:lnTo>
                  <a:lnTo>
                    <a:pt x="298" y="135"/>
                  </a:lnTo>
                  <a:lnTo>
                    <a:pt x="304" y="93"/>
                  </a:lnTo>
                  <a:lnTo>
                    <a:pt x="313" y="63"/>
                  </a:lnTo>
                  <a:lnTo>
                    <a:pt x="326" y="39"/>
                  </a:lnTo>
                  <a:lnTo>
                    <a:pt x="329" y="10"/>
                  </a:lnTo>
                  <a:lnTo>
                    <a:pt x="329" y="1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9" name="Djibouti">
              <a:extLst>
                <a:ext uri="{FF2B5EF4-FFF2-40B4-BE49-F238E27FC236}">
                  <a16:creationId xmlns:a16="http://schemas.microsoft.com/office/drawing/2014/main" id="{C234F867-5D38-53C4-757D-7EC6F99AE5A3}"/>
                </a:ext>
              </a:extLst>
            </p:cNvPr>
            <p:cNvSpPr>
              <a:spLocks/>
            </p:cNvSpPr>
            <p:nvPr/>
          </p:nvSpPr>
          <p:spPr bwMode="auto">
            <a:xfrm>
              <a:off x="9025829" y="2617125"/>
              <a:ext cx="114300" cy="131763"/>
            </a:xfrm>
            <a:custGeom>
              <a:avLst/>
              <a:gdLst>
                <a:gd name="T0" fmla="*/ 66 w 72"/>
                <a:gd name="T1" fmla="*/ 58 h 83"/>
                <a:gd name="T2" fmla="*/ 47 w 72"/>
                <a:gd name="T3" fmla="*/ 45 h 83"/>
                <a:gd name="T4" fmla="*/ 71 w 72"/>
                <a:gd name="T5" fmla="*/ 34 h 83"/>
                <a:gd name="T6" fmla="*/ 72 w 72"/>
                <a:gd name="T7" fmla="*/ 15 h 83"/>
                <a:gd name="T8" fmla="*/ 61 w 72"/>
                <a:gd name="T9" fmla="*/ 0 h 83"/>
                <a:gd name="T10" fmla="*/ 48 w 72"/>
                <a:gd name="T11" fmla="*/ 11 h 83"/>
                <a:gd name="T12" fmla="*/ 28 w 72"/>
                <a:gd name="T13" fmla="*/ 7 h 83"/>
                <a:gd name="T14" fmla="*/ 14 w 72"/>
                <a:gd name="T15" fmla="*/ 28 h 83"/>
                <a:gd name="T16" fmla="*/ 0 w 72"/>
                <a:gd name="T17" fmla="*/ 51 h 83"/>
                <a:gd name="T18" fmla="*/ 4 w 72"/>
                <a:gd name="T19" fmla="*/ 63 h 83"/>
                <a:gd name="T20" fmla="*/ 5 w 72"/>
                <a:gd name="T21" fmla="*/ 78 h 83"/>
                <a:gd name="T22" fmla="*/ 30 w 72"/>
                <a:gd name="T23" fmla="*/ 78 h 83"/>
                <a:gd name="T24" fmla="*/ 40 w 72"/>
                <a:gd name="T25" fmla="*/ 75 h 83"/>
                <a:gd name="T26" fmla="*/ 50 w 72"/>
                <a:gd name="T27" fmla="*/ 83 h 83"/>
                <a:gd name="T28" fmla="*/ 66 w 72"/>
                <a:gd name="T29" fmla="*/ 58 h 83"/>
                <a:gd name="T30" fmla="*/ 66 w 72"/>
                <a:gd name="T31" fmla="*/ 5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83">
                  <a:moveTo>
                    <a:pt x="66" y="58"/>
                  </a:moveTo>
                  <a:lnTo>
                    <a:pt x="47" y="45"/>
                  </a:lnTo>
                  <a:lnTo>
                    <a:pt x="71" y="34"/>
                  </a:lnTo>
                  <a:lnTo>
                    <a:pt x="72" y="15"/>
                  </a:lnTo>
                  <a:lnTo>
                    <a:pt x="61" y="0"/>
                  </a:lnTo>
                  <a:lnTo>
                    <a:pt x="48" y="11"/>
                  </a:lnTo>
                  <a:lnTo>
                    <a:pt x="28" y="7"/>
                  </a:lnTo>
                  <a:lnTo>
                    <a:pt x="14" y="28"/>
                  </a:lnTo>
                  <a:lnTo>
                    <a:pt x="0" y="51"/>
                  </a:lnTo>
                  <a:lnTo>
                    <a:pt x="4" y="63"/>
                  </a:lnTo>
                  <a:lnTo>
                    <a:pt x="5" y="78"/>
                  </a:lnTo>
                  <a:lnTo>
                    <a:pt x="30" y="78"/>
                  </a:lnTo>
                  <a:lnTo>
                    <a:pt x="40" y="75"/>
                  </a:lnTo>
                  <a:lnTo>
                    <a:pt x="50" y="83"/>
                  </a:lnTo>
                  <a:lnTo>
                    <a:pt x="66" y="58"/>
                  </a:lnTo>
                  <a:lnTo>
                    <a:pt x="66" y="5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0" name="Algeria">
              <a:extLst>
                <a:ext uri="{FF2B5EF4-FFF2-40B4-BE49-F238E27FC236}">
                  <a16:creationId xmlns:a16="http://schemas.microsoft.com/office/drawing/2014/main" id="{C15C375D-CAE6-CC81-3D9C-1A7DDE8265B3}"/>
                </a:ext>
              </a:extLst>
            </p:cNvPr>
            <p:cNvSpPr>
              <a:spLocks/>
            </p:cNvSpPr>
            <p:nvPr/>
          </p:nvSpPr>
          <p:spPr bwMode="auto">
            <a:xfrm>
              <a:off x="5495229" y="793087"/>
              <a:ext cx="1425575" cy="1349375"/>
            </a:xfrm>
            <a:custGeom>
              <a:avLst/>
              <a:gdLst>
                <a:gd name="T0" fmla="*/ 727 w 898"/>
                <a:gd name="T1" fmla="*/ 8 h 850"/>
                <a:gd name="T2" fmla="*/ 698 w 898"/>
                <a:gd name="T3" fmla="*/ 11 h 850"/>
                <a:gd name="T4" fmla="*/ 681 w 898"/>
                <a:gd name="T5" fmla="*/ 0 h 850"/>
                <a:gd name="T6" fmla="*/ 636 w 898"/>
                <a:gd name="T7" fmla="*/ 1 h 850"/>
                <a:gd name="T8" fmla="*/ 598 w 898"/>
                <a:gd name="T9" fmla="*/ 19 h 850"/>
                <a:gd name="T10" fmla="*/ 577 w 898"/>
                <a:gd name="T11" fmla="*/ 12 h 850"/>
                <a:gd name="T12" fmla="*/ 507 w 898"/>
                <a:gd name="T13" fmla="*/ 16 h 850"/>
                <a:gd name="T14" fmla="*/ 437 w 898"/>
                <a:gd name="T15" fmla="*/ 25 h 850"/>
                <a:gd name="T16" fmla="*/ 397 w 898"/>
                <a:gd name="T17" fmla="*/ 39 h 850"/>
                <a:gd name="T18" fmla="*/ 370 w 898"/>
                <a:gd name="T19" fmla="*/ 59 h 850"/>
                <a:gd name="T20" fmla="*/ 325 w 898"/>
                <a:gd name="T21" fmla="*/ 67 h 850"/>
                <a:gd name="T22" fmla="*/ 284 w 898"/>
                <a:gd name="T23" fmla="*/ 93 h 850"/>
                <a:gd name="T24" fmla="*/ 300 w 898"/>
                <a:gd name="T25" fmla="*/ 124 h 850"/>
                <a:gd name="T26" fmla="*/ 302 w 898"/>
                <a:gd name="T27" fmla="*/ 152 h 850"/>
                <a:gd name="T28" fmla="*/ 316 w 898"/>
                <a:gd name="T29" fmla="*/ 202 h 850"/>
                <a:gd name="T30" fmla="*/ 327 w 898"/>
                <a:gd name="T31" fmla="*/ 212 h 850"/>
                <a:gd name="T32" fmla="*/ 320 w 898"/>
                <a:gd name="T33" fmla="*/ 230 h 850"/>
                <a:gd name="T34" fmla="*/ 264 w 898"/>
                <a:gd name="T35" fmla="*/ 239 h 850"/>
                <a:gd name="T36" fmla="*/ 244 w 898"/>
                <a:gd name="T37" fmla="*/ 255 h 850"/>
                <a:gd name="T38" fmla="*/ 220 w 898"/>
                <a:gd name="T39" fmla="*/ 260 h 850"/>
                <a:gd name="T40" fmla="*/ 218 w 898"/>
                <a:gd name="T41" fmla="*/ 295 h 850"/>
                <a:gd name="T42" fmla="*/ 168 w 898"/>
                <a:gd name="T43" fmla="*/ 312 h 850"/>
                <a:gd name="T44" fmla="*/ 150 w 898"/>
                <a:gd name="T45" fmla="*/ 336 h 850"/>
                <a:gd name="T46" fmla="*/ 115 w 898"/>
                <a:gd name="T47" fmla="*/ 349 h 850"/>
                <a:gd name="T48" fmla="*/ 73 w 898"/>
                <a:gd name="T49" fmla="*/ 356 h 850"/>
                <a:gd name="T50" fmla="*/ 2 w 898"/>
                <a:gd name="T51" fmla="*/ 390 h 850"/>
                <a:gd name="T52" fmla="*/ 1 w 898"/>
                <a:gd name="T53" fmla="*/ 446 h 850"/>
                <a:gd name="T54" fmla="*/ 1 w 898"/>
                <a:gd name="T55" fmla="*/ 449 h 850"/>
                <a:gd name="T56" fmla="*/ 0 w 898"/>
                <a:gd name="T57" fmla="*/ 458 h 850"/>
                <a:gd name="T58" fmla="*/ 161 w 898"/>
                <a:gd name="T59" fmla="*/ 572 h 850"/>
                <a:gd name="T60" fmla="*/ 307 w 898"/>
                <a:gd name="T61" fmla="*/ 675 h 850"/>
                <a:gd name="T62" fmla="*/ 455 w 898"/>
                <a:gd name="T63" fmla="*/ 778 h 850"/>
                <a:gd name="T64" fmla="*/ 466 w 898"/>
                <a:gd name="T65" fmla="*/ 799 h 850"/>
                <a:gd name="T66" fmla="*/ 494 w 898"/>
                <a:gd name="T67" fmla="*/ 812 h 850"/>
                <a:gd name="T68" fmla="*/ 514 w 898"/>
                <a:gd name="T69" fmla="*/ 820 h 850"/>
                <a:gd name="T70" fmla="*/ 514 w 898"/>
                <a:gd name="T71" fmla="*/ 850 h 850"/>
                <a:gd name="T72" fmla="*/ 563 w 898"/>
                <a:gd name="T73" fmla="*/ 846 h 850"/>
                <a:gd name="T74" fmla="*/ 624 w 898"/>
                <a:gd name="T75" fmla="*/ 824 h 850"/>
                <a:gd name="T76" fmla="*/ 750 w 898"/>
                <a:gd name="T77" fmla="*/ 733 h 850"/>
                <a:gd name="T78" fmla="*/ 898 w 898"/>
                <a:gd name="T79" fmla="*/ 643 h 850"/>
                <a:gd name="T80" fmla="*/ 879 w 898"/>
                <a:gd name="T81" fmla="*/ 614 h 850"/>
                <a:gd name="T82" fmla="*/ 843 w 898"/>
                <a:gd name="T83" fmla="*/ 592 h 850"/>
                <a:gd name="T84" fmla="*/ 823 w 898"/>
                <a:gd name="T85" fmla="*/ 600 h 850"/>
                <a:gd name="T86" fmla="*/ 808 w 898"/>
                <a:gd name="T87" fmla="*/ 574 h 850"/>
                <a:gd name="T88" fmla="*/ 806 w 898"/>
                <a:gd name="T89" fmla="*/ 554 h 850"/>
                <a:gd name="T90" fmla="*/ 779 w 898"/>
                <a:gd name="T91" fmla="*/ 520 h 850"/>
                <a:gd name="T92" fmla="*/ 796 w 898"/>
                <a:gd name="T93" fmla="*/ 500 h 850"/>
                <a:gd name="T94" fmla="*/ 791 w 898"/>
                <a:gd name="T95" fmla="*/ 470 h 850"/>
                <a:gd name="T96" fmla="*/ 797 w 898"/>
                <a:gd name="T97" fmla="*/ 445 h 850"/>
                <a:gd name="T98" fmla="*/ 793 w 898"/>
                <a:gd name="T99" fmla="*/ 424 h 850"/>
                <a:gd name="T100" fmla="*/ 799 w 898"/>
                <a:gd name="T101" fmla="*/ 385 h 850"/>
                <a:gd name="T102" fmla="*/ 797 w 898"/>
                <a:gd name="T103" fmla="*/ 363 h 850"/>
                <a:gd name="T104" fmla="*/ 781 w 898"/>
                <a:gd name="T105" fmla="*/ 322 h 850"/>
                <a:gd name="T106" fmla="*/ 760 w 898"/>
                <a:gd name="T107" fmla="*/ 238 h 850"/>
                <a:gd name="T108" fmla="*/ 734 w 898"/>
                <a:gd name="T109" fmla="*/ 219 h 850"/>
                <a:gd name="T110" fmla="*/ 733 w 898"/>
                <a:gd name="T111" fmla="*/ 208 h 850"/>
                <a:gd name="T112" fmla="*/ 698 w 898"/>
                <a:gd name="T113" fmla="*/ 179 h 850"/>
                <a:gd name="T114" fmla="*/ 693 w 898"/>
                <a:gd name="T115" fmla="*/ 144 h 850"/>
                <a:gd name="T116" fmla="*/ 718 w 898"/>
                <a:gd name="T117" fmla="*/ 118 h 850"/>
                <a:gd name="T118" fmla="*/ 727 w 898"/>
                <a:gd name="T119" fmla="*/ 78 h 850"/>
                <a:gd name="T120" fmla="*/ 719 w 898"/>
                <a:gd name="T121" fmla="*/ 33 h 850"/>
                <a:gd name="T122" fmla="*/ 727 w 898"/>
                <a:gd name="T123" fmla="*/ 8 h 850"/>
                <a:gd name="T124" fmla="*/ 727 w 898"/>
                <a:gd name="T125" fmla="*/ 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8" h="850">
                  <a:moveTo>
                    <a:pt x="727" y="8"/>
                  </a:moveTo>
                  <a:lnTo>
                    <a:pt x="698" y="11"/>
                  </a:lnTo>
                  <a:lnTo>
                    <a:pt x="681" y="0"/>
                  </a:lnTo>
                  <a:lnTo>
                    <a:pt x="636" y="1"/>
                  </a:lnTo>
                  <a:lnTo>
                    <a:pt x="598" y="19"/>
                  </a:lnTo>
                  <a:lnTo>
                    <a:pt x="577" y="12"/>
                  </a:lnTo>
                  <a:lnTo>
                    <a:pt x="507" y="16"/>
                  </a:lnTo>
                  <a:lnTo>
                    <a:pt x="437" y="25"/>
                  </a:lnTo>
                  <a:lnTo>
                    <a:pt x="397" y="39"/>
                  </a:lnTo>
                  <a:lnTo>
                    <a:pt x="370" y="59"/>
                  </a:lnTo>
                  <a:lnTo>
                    <a:pt x="325" y="67"/>
                  </a:lnTo>
                  <a:lnTo>
                    <a:pt x="284" y="93"/>
                  </a:lnTo>
                  <a:lnTo>
                    <a:pt x="300" y="124"/>
                  </a:lnTo>
                  <a:lnTo>
                    <a:pt x="302" y="152"/>
                  </a:lnTo>
                  <a:lnTo>
                    <a:pt x="316" y="202"/>
                  </a:lnTo>
                  <a:lnTo>
                    <a:pt x="327" y="212"/>
                  </a:lnTo>
                  <a:lnTo>
                    <a:pt x="320" y="230"/>
                  </a:lnTo>
                  <a:lnTo>
                    <a:pt x="264" y="239"/>
                  </a:lnTo>
                  <a:lnTo>
                    <a:pt x="244" y="255"/>
                  </a:lnTo>
                  <a:lnTo>
                    <a:pt x="220" y="260"/>
                  </a:lnTo>
                  <a:lnTo>
                    <a:pt x="218" y="295"/>
                  </a:lnTo>
                  <a:lnTo>
                    <a:pt x="168" y="312"/>
                  </a:lnTo>
                  <a:lnTo>
                    <a:pt x="150" y="336"/>
                  </a:lnTo>
                  <a:lnTo>
                    <a:pt x="115" y="349"/>
                  </a:lnTo>
                  <a:lnTo>
                    <a:pt x="73" y="356"/>
                  </a:lnTo>
                  <a:lnTo>
                    <a:pt x="2" y="390"/>
                  </a:lnTo>
                  <a:lnTo>
                    <a:pt x="1" y="446"/>
                  </a:lnTo>
                  <a:lnTo>
                    <a:pt x="1" y="449"/>
                  </a:lnTo>
                  <a:lnTo>
                    <a:pt x="0" y="458"/>
                  </a:lnTo>
                  <a:lnTo>
                    <a:pt x="161" y="572"/>
                  </a:lnTo>
                  <a:lnTo>
                    <a:pt x="307" y="675"/>
                  </a:lnTo>
                  <a:lnTo>
                    <a:pt x="455" y="778"/>
                  </a:lnTo>
                  <a:lnTo>
                    <a:pt x="466" y="799"/>
                  </a:lnTo>
                  <a:lnTo>
                    <a:pt x="494" y="812"/>
                  </a:lnTo>
                  <a:lnTo>
                    <a:pt x="514" y="820"/>
                  </a:lnTo>
                  <a:lnTo>
                    <a:pt x="514" y="850"/>
                  </a:lnTo>
                  <a:lnTo>
                    <a:pt x="563" y="846"/>
                  </a:lnTo>
                  <a:lnTo>
                    <a:pt x="624" y="824"/>
                  </a:lnTo>
                  <a:lnTo>
                    <a:pt x="750" y="733"/>
                  </a:lnTo>
                  <a:lnTo>
                    <a:pt x="898" y="643"/>
                  </a:lnTo>
                  <a:lnTo>
                    <a:pt x="879" y="614"/>
                  </a:lnTo>
                  <a:lnTo>
                    <a:pt x="843" y="592"/>
                  </a:lnTo>
                  <a:lnTo>
                    <a:pt x="823" y="600"/>
                  </a:lnTo>
                  <a:lnTo>
                    <a:pt x="808" y="574"/>
                  </a:lnTo>
                  <a:lnTo>
                    <a:pt x="806" y="554"/>
                  </a:lnTo>
                  <a:lnTo>
                    <a:pt x="779" y="520"/>
                  </a:lnTo>
                  <a:lnTo>
                    <a:pt x="796" y="500"/>
                  </a:lnTo>
                  <a:lnTo>
                    <a:pt x="791" y="470"/>
                  </a:lnTo>
                  <a:lnTo>
                    <a:pt x="797" y="445"/>
                  </a:lnTo>
                  <a:lnTo>
                    <a:pt x="793" y="424"/>
                  </a:lnTo>
                  <a:lnTo>
                    <a:pt x="799" y="385"/>
                  </a:lnTo>
                  <a:lnTo>
                    <a:pt x="797" y="363"/>
                  </a:lnTo>
                  <a:lnTo>
                    <a:pt x="781" y="322"/>
                  </a:lnTo>
                  <a:lnTo>
                    <a:pt x="760" y="238"/>
                  </a:lnTo>
                  <a:lnTo>
                    <a:pt x="734" y="219"/>
                  </a:lnTo>
                  <a:lnTo>
                    <a:pt x="733" y="208"/>
                  </a:lnTo>
                  <a:lnTo>
                    <a:pt x="698" y="179"/>
                  </a:lnTo>
                  <a:lnTo>
                    <a:pt x="693" y="144"/>
                  </a:lnTo>
                  <a:lnTo>
                    <a:pt x="718" y="118"/>
                  </a:lnTo>
                  <a:lnTo>
                    <a:pt x="727" y="78"/>
                  </a:lnTo>
                  <a:lnTo>
                    <a:pt x="719" y="33"/>
                  </a:lnTo>
                  <a:lnTo>
                    <a:pt x="727" y="8"/>
                  </a:lnTo>
                  <a:lnTo>
                    <a:pt x="727" y="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1" name="Egypt">
              <a:extLst>
                <a:ext uri="{FF2B5EF4-FFF2-40B4-BE49-F238E27FC236}">
                  <a16:creationId xmlns:a16="http://schemas.microsoft.com/office/drawing/2014/main" id="{E6D79912-F307-D2CC-0641-7D9E6FC5EBC1}"/>
                </a:ext>
              </a:extLst>
            </p:cNvPr>
            <p:cNvSpPr>
              <a:spLocks/>
            </p:cNvSpPr>
            <p:nvPr/>
          </p:nvSpPr>
          <p:spPr bwMode="auto">
            <a:xfrm>
              <a:off x="7771704" y="1209012"/>
              <a:ext cx="876300" cy="714375"/>
            </a:xfrm>
            <a:custGeom>
              <a:avLst/>
              <a:gdLst>
                <a:gd name="T0" fmla="*/ 156 w 552"/>
                <a:gd name="T1" fmla="*/ 26 h 450"/>
                <a:gd name="T2" fmla="*/ 113 w 552"/>
                <a:gd name="T3" fmla="*/ 12 h 450"/>
                <a:gd name="T4" fmla="*/ 71 w 552"/>
                <a:gd name="T5" fmla="*/ 0 h 450"/>
                <a:gd name="T6" fmla="*/ 14 w 552"/>
                <a:gd name="T7" fmla="*/ 0 h 450"/>
                <a:gd name="T8" fmla="*/ 0 w 552"/>
                <a:gd name="T9" fmla="*/ 23 h 450"/>
                <a:gd name="T10" fmla="*/ 8 w 552"/>
                <a:gd name="T11" fmla="*/ 43 h 450"/>
                <a:gd name="T12" fmla="*/ 0 w 552"/>
                <a:gd name="T13" fmla="*/ 72 h 450"/>
                <a:gd name="T14" fmla="*/ 15 w 552"/>
                <a:gd name="T15" fmla="*/ 110 h 450"/>
                <a:gd name="T16" fmla="*/ 26 w 552"/>
                <a:gd name="T17" fmla="*/ 277 h 450"/>
                <a:gd name="T18" fmla="*/ 34 w 552"/>
                <a:gd name="T19" fmla="*/ 450 h 450"/>
                <a:gd name="T20" fmla="*/ 209 w 552"/>
                <a:gd name="T21" fmla="*/ 450 h 450"/>
                <a:gd name="T22" fmla="*/ 379 w 552"/>
                <a:gd name="T23" fmla="*/ 450 h 450"/>
                <a:gd name="T24" fmla="*/ 552 w 552"/>
                <a:gd name="T25" fmla="*/ 450 h 450"/>
                <a:gd name="T26" fmla="*/ 544 w 552"/>
                <a:gd name="T27" fmla="*/ 440 h 450"/>
                <a:gd name="T28" fmla="*/ 491 w 552"/>
                <a:gd name="T29" fmla="*/ 398 h 450"/>
                <a:gd name="T30" fmla="*/ 487 w 552"/>
                <a:gd name="T31" fmla="*/ 368 h 450"/>
                <a:gd name="T32" fmla="*/ 495 w 552"/>
                <a:gd name="T33" fmla="*/ 359 h 450"/>
                <a:gd name="T34" fmla="*/ 453 w 552"/>
                <a:gd name="T35" fmla="*/ 308 h 450"/>
                <a:gd name="T36" fmla="*/ 437 w 552"/>
                <a:gd name="T37" fmla="*/ 280 h 450"/>
                <a:gd name="T38" fmla="*/ 418 w 552"/>
                <a:gd name="T39" fmla="*/ 255 h 450"/>
                <a:gd name="T40" fmla="*/ 380 w 552"/>
                <a:gd name="T41" fmla="*/ 182 h 450"/>
                <a:gd name="T42" fmla="*/ 350 w 552"/>
                <a:gd name="T43" fmla="*/ 134 h 450"/>
                <a:gd name="T44" fmla="*/ 327 w 552"/>
                <a:gd name="T45" fmla="*/ 85 h 450"/>
                <a:gd name="T46" fmla="*/ 332 w 552"/>
                <a:gd name="T47" fmla="*/ 81 h 450"/>
                <a:gd name="T48" fmla="*/ 368 w 552"/>
                <a:gd name="T49" fmla="*/ 148 h 450"/>
                <a:gd name="T50" fmla="*/ 389 w 552"/>
                <a:gd name="T51" fmla="*/ 169 h 450"/>
                <a:gd name="T52" fmla="*/ 406 w 552"/>
                <a:gd name="T53" fmla="*/ 185 h 450"/>
                <a:gd name="T54" fmla="*/ 415 w 552"/>
                <a:gd name="T55" fmla="*/ 176 h 450"/>
                <a:gd name="T56" fmla="*/ 424 w 552"/>
                <a:gd name="T57" fmla="*/ 151 h 450"/>
                <a:gd name="T58" fmla="*/ 430 w 552"/>
                <a:gd name="T59" fmla="*/ 117 h 450"/>
                <a:gd name="T60" fmla="*/ 440 w 552"/>
                <a:gd name="T61" fmla="*/ 97 h 450"/>
                <a:gd name="T62" fmla="*/ 435 w 552"/>
                <a:gd name="T63" fmla="*/ 85 h 450"/>
                <a:gd name="T64" fmla="*/ 404 w 552"/>
                <a:gd name="T65" fmla="*/ 17 h 450"/>
                <a:gd name="T66" fmla="*/ 404 w 552"/>
                <a:gd name="T67" fmla="*/ 17 h 450"/>
                <a:gd name="T68" fmla="*/ 384 w 552"/>
                <a:gd name="T69" fmla="*/ 29 h 450"/>
                <a:gd name="T70" fmla="*/ 351 w 552"/>
                <a:gd name="T71" fmla="*/ 26 h 450"/>
                <a:gd name="T72" fmla="*/ 315 w 552"/>
                <a:gd name="T73" fmla="*/ 16 h 450"/>
                <a:gd name="T74" fmla="*/ 307 w 552"/>
                <a:gd name="T75" fmla="*/ 31 h 450"/>
                <a:gd name="T76" fmla="*/ 293 w 552"/>
                <a:gd name="T77" fmla="*/ 7 h 450"/>
                <a:gd name="T78" fmla="*/ 262 w 552"/>
                <a:gd name="T79" fmla="*/ 1 h 450"/>
                <a:gd name="T80" fmla="*/ 225 w 552"/>
                <a:gd name="T81" fmla="*/ 5 h 450"/>
                <a:gd name="T82" fmla="*/ 208 w 552"/>
                <a:gd name="T83" fmla="*/ 19 h 450"/>
                <a:gd name="T84" fmla="*/ 177 w 552"/>
                <a:gd name="T85" fmla="*/ 33 h 450"/>
                <a:gd name="T86" fmla="*/ 156 w 552"/>
                <a:gd name="T87" fmla="*/ 26 h 450"/>
                <a:gd name="T88" fmla="*/ 156 w 552"/>
                <a:gd name="T89" fmla="*/ 2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2" h="450">
                  <a:moveTo>
                    <a:pt x="156" y="26"/>
                  </a:moveTo>
                  <a:lnTo>
                    <a:pt x="113" y="12"/>
                  </a:lnTo>
                  <a:lnTo>
                    <a:pt x="71" y="0"/>
                  </a:lnTo>
                  <a:lnTo>
                    <a:pt x="14" y="0"/>
                  </a:lnTo>
                  <a:lnTo>
                    <a:pt x="0" y="23"/>
                  </a:lnTo>
                  <a:lnTo>
                    <a:pt x="8" y="43"/>
                  </a:lnTo>
                  <a:lnTo>
                    <a:pt x="0" y="72"/>
                  </a:lnTo>
                  <a:lnTo>
                    <a:pt x="15" y="110"/>
                  </a:lnTo>
                  <a:lnTo>
                    <a:pt x="26" y="277"/>
                  </a:lnTo>
                  <a:lnTo>
                    <a:pt x="34" y="450"/>
                  </a:lnTo>
                  <a:lnTo>
                    <a:pt x="209" y="450"/>
                  </a:lnTo>
                  <a:lnTo>
                    <a:pt x="379" y="450"/>
                  </a:lnTo>
                  <a:lnTo>
                    <a:pt x="552" y="450"/>
                  </a:lnTo>
                  <a:lnTo>
                    <a:pt x="544" y="440"/>
                  </a:lnTo>
                  <a:lnTo>
                    <a:pt x="491" y="398"/>
                  </a:lnTo>
                  <a:lnTo>
                    <a:pt x="487" y="368"/>
                  </a:lnTo>
                  <a:lnTo>
                    <a:pt x="495" y="359"/>
                  </a:lnTo>
                  <a:lnTo>
                    <a:pt x="453" y="308"/>
                  </a:lnTo>
                  <a:lnTo>
                    <a:pt x="437" y="280"/>
                  </a:lnTo>
                  <a:lnTo>
                    <a:pt x="418" y="255"/>
                  </a:lnTo>
                  <a:lnTo>
                    <a:pt x="380" y="182"/>
                  </a:lnTo>
                  <a:lnTo>
                    <a:pt x="350" y="134"/>
                  </a:lnTo>
                  <a:lnTo>
                    <a:pt x="327" y="85"/>
                  </a:lnTo>
                  <a:lnTo>
                    <a:pt x="332" y="81"/>
                  </a:lnTo>
                  <a:lnTo>
                    <a:pt x="368" y="148"/>
                  </a:lnTo>
                  <a:lnTo>
                    <a:pt x="389" y="169"/>
                  </a:lnTo>
                  <a:lnTo>
                    <a:pt x="406" y="185"/>
                  </a:lnTo>
                  <a:lnTo>
                    <a:pt x="415" y="176"/>
                  </a:lnTo>
                  <a:lnTo>
                    <a:pt x="424" y="151"/>
                  </a:lnTo>
                  <a:lnTo>
                    <a:pt x="430" y="117"/>
                  </a:lnTo>
                  <a:lnTo>
                    <a:pt x="440" y="97"/>
                  </a:lnTo>
                  <a:lnTo>
                    <a:pt x="435" y="85"/>
                  </a:lnTo>
                  <a:lnTo>
                    <a:pt x="404" y="17"/>
                  </a:lnTo>
                  <a:lnTo>
                    <a:pt x="404" y="17"/>
                  </a:lnTo>
                  <a:lnTo>
                    <a:pt x="384" y="29"/>
                  </a:lnTo>
                  <a:lnTo>
                    <a:pt x="351" y="26"/>
                  </a:lnTo>
                  <a:lnTo>
                    <a:pt x="315" y="16"/>
                  </a:lnTo>
                  <a:lnTo>
                    <a:pt x="307" y="31"/>
                  </a:lnTo>
                  <a:lnTo>
                    <a:pt x="293" y="7"/>
                  </a:lnTo>
                  <a:lnTo>
                    <a:pt x="262" y="1"/>
                  </a:lnTo>
                  <a:lnTo>
                    <a:pt x="225" y="5"/>
                  </a:lnTo>
                  <a:lnTo>
                    <a:pt x="208" y="19"/>
                  </a:lnTo>
                  <a:lnTo>
                    <a:pt x="177" y="33"/>
                  </a:lnTo>
                  <a:lnTo>
                    <a:pt x="156" y="26"/>
                  </a:lnTo>
                  <a:lnTo>
                    <a:pt x="156" y="26"/>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2" name="Eritrea">
              <a:extLst>
                <a:ext uri="{FF2B5EF4-FFF2-40B4-BE49-F238E27FC236}">
                  <a16:creationId xmlns:a16="http://schemas.microsoft.com/office/drawing/2014/main" id="{81C4C634-2D5A-5E63-24B8-6EAEE2837C4E}"/>
                </a:ext>
              </a:extLst>
            </p:cNvPr>
            <p:cNvSpPr>
              <a:spLocks/>
            </p:cNvSpPr>
            <p:nvPr/>
          </p:nvSpPr>
          <p:spPr bwMode="auto">
            <a:xfrm>
              <a:off x="8640066" y="2221837"/>
              <a:ext cx="482600" cy="412750"/>
            </a:xfrm>
            <a:custGeom>
              <a:avLst/>
              <a:gdLst>
                <a:gd name="T0" fmla="*/ 153 w 304"/>
                <a:gd name="T1" fmla="*/ 120 h 260"/>
                <a:gd name="T2" fmla="*/ 127 w 304"/>
                <a:gd name="T3" fmla="*/ 97 h 260"/>
                <a:gd name="T4" fmla="*/ 113 w 304"/>
                <a:gd name="T5" fmla="*/ 54 h 260"/>
                <a:gd name="T6" fmla="*/ 84 w 304"/>
                <a:gd name="T7" fmla="*/ 0 h 260"/>
                <a:gd name="T8" fmla="*/ 63 w 304"/>
                <a:gd name="T9" fmla="*/ 27 h 260"/>
                <a:gd name="T10" fmla="*/ 31 w 304"/>
                <a:gd name="T11" fmla="*/ 35 h 260"/>
                <a:gd name="T12" fmla="*/ 18 w 304"/>
                <a:gd name="T13" fmla="*/ 49 h 260"/>
                <a:gd name="T14" fmla="*/ 16 w 304"/>
                <a:gd name="T15" fmla="*/ 81 h 260"/>
                <a:gd name="T16" fmla="*/ 0 w 304"/>
                <a:gd name="T17" fmla="*/ 149 h 260"/>
                <a:gd name="T18" fmla="*/ 6 w 304"/>
                <a:gd name="T19" fmla="*/ 168 h 260"/>
                <a:gd name="T20" fmla="*/ 58 w 304"/>
                <a:gd name="T21" fmla="*/ 178 h 260"/>
                <a:gd name="T22" fmla="*/ 70 w 304"/>
                <a:gd name="T23" fmla="*/ 142 h 260"/>
                <a:gd name="T24" fmla="*/ 98 w 304"/>
                <a:gd name="T25" fmla="*/ 164 h 260"/>
                <a:gd name="T26" fmla="*/ 124 w 304"/>
                <a:gd name="T27" fmla="*/ 154 h 260"/>
                <a:gd name="T28" fmla="*/ 134 w 304"/>
                <a:gd name="T29" fmla="*/ 163 h 260"/>
                <a:gd name="T30" fmla="*/ 165 w 304"/>
                <a:gd name="T31" fmla="*/ 164 h 260"/>
                <a:gd name="T32" fmla="*/ 204 w 304"/>
                <a:gd name="T33" fmla="*/ 182 h 260"/>
                <a:gd name="T34" fmla="*/ 217 w 304"/>
                <a:gd name="T35" fmla="*/ 199 h 260"/>
                <a:gd name="T36" fmla="*/ 237 w 304"/>
                <a:gd name="T37" fmla="*/ 214 h 260"/>
                <a:gd name="T38" fmla="*/ 256 w 304"/>
                <a:gd name="T39" fmla="*/ 241 h 260"/>
                <a:gd name="T40" fmla="*/ 271 w 304"/>
                <a:gd name="T41" fmla="*/ 256 h 260"/>
                <a:gd name="T42" fmla="*/ 291 w 304"/>
                <a:gd name="T43" fmla="*/ 260 h 260"/>
                <a:gd name="T44" fmla="*/ 304 w 304"/>
                <a:gd name="T45" fmla="*/ 249 h 260"/>
                <a:gd name="T46" fmla="*/ 282 w 304"/>
                <a:gd name="T47" fmla="*/ 235 h 260"/>
                <a:gd name="T48" fmla="*/ 267 w 304"/>
                <a:gd name="T49" fmla="*/ 219 h 260"/>
                <a:gd name="T50" fmla="*/ 241 w 304"/>
                <a:gd name="T51" fmla="*/ 192 h 260"/>
                <a:gd name="T52" fmla="*/ 216 w 304"/>
                <a:gd name="T53" fmla="*/ 165 h 260"/>
                <a:gd name="T54" fmla="*/ 153 w 304"/>
                <a:gd name="T55" fmla="*/ 120 h 260"/>
                <a:gd name="T56" fmla="*/ 153 w 304"/>
                <a:gd name="T57" fmla="*/ 12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4" h="260">
                  <a:moveTo>
                    <a:pt x="153" y="120"/>
                  </a:moveTo>
                  <a:lnTo>
                    <a:pt x="127" y="97"/>
                  </a:lnTo>
                  <a:lnTo>
                    <a:pt x="113" y="54"/>
                  </a:lnTo>
                  <a:lnTo>
                    <a:pt x="84" y="0"/>
                  </a:lnTo>
                  <a:lnTo>
                    <a:pt x="63" y="27"/>
                  </a:lnTo>
                  <a:lnTo>
                    <a:pt x="31" y="35"/>
                  </a:lnTo>
                  <a:lnTo>
                    <a:pt x="18" y="49"/>
                  </a:lnTo>
                  <a:lnTo>
                    <a:pt x="16" y="81"/>
                  </a:lnTo>
                  <a:lnTo>
                    <a:pt x="0" y="149"/>
                  </a:lnTo>
                  <a:lnTo>
                    <a:pt x="6" y="168"/>
                  </a:lnTo>
                  <a:lnTo>
                    <a:pt x="58" y="178"/>
                  </a:lnTo>
                  <a:lnTo>
                    <a:pt x="70" y="142"/>
                  </a:lnTo>
                  <a:lnTo>
                    <a:pt x="98" y="164"/>
                  </a:lnTo>
                  <a:lnTo>
                    <a:pt x="124" y="154"/>
                  </a:lnTo>
                  <a:lnTo>
                    <a:pt x="134" y="163"/>
                  </a:lnTo>
                  <a:lnTo>
                    <a:pt x="165" y="164"/>
                  </a:lnTo>
                  <a:lnTo>
                    <a:pt x="204" y="182"/>
                  </a:lnTo>
                  <a:lnTo>
                    <a:pt x="217" y="199"/>
                  </a:lnTo>
                  <a:lnTo>
                    <a:pt x="237" y="214"/>
                  </a:lnTo>
                  <a:lnTo>
                    <a:pt x="256" y="241"/>
                  </a:lnTo>
                  <a:lnTo>
                    <a:pt x="271" y="256"/>
                  </a:lnTo>
                  <a:lnTo>
                    <a:pt x="291" y="260"/>
                  </a:lnTo>
                  <a:lnTo>
                    <a:pt x="304" y="249"/>
                  </a:lnTo>
                  <a:lnTo>
                    <a:pt x="282" y="235"/>
                  </a:lnTo>
                  <a:lnTo>
                    <a:pt x="267" y="219"/>
                  </a:lnTo>
                  <a:lnTo>
                    <a:pt x="241" y="192"/>
                  </a:lnTo>
                  <a:lnTo>
                    <a:pt x="216" y="165"/>
                  </a:lnTo>
                  <a:lnTo>
                    <a:pt x="153" y="120"/>
                  </a:lnTo>
                  <a:lnTo>
                    <a:pt x="153" y="12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3" name="Ethiopia">
              <a:extLst>
                <a:ext uri="{FF2B5EF4-FFF2-40B4-BE49-F238E27FC236}">
                  <a16:creationId xmlns:a16="http://schemas.microsoft.com/office/drawing/2014/main" id="{E1DBABF6-3134-4464-9031-035A53CB9405}"/>
                </a:ext>
              </a:extLst>
            </p:cNvPr>
            <p:cNvSpPr>
              <a:spLocks/>
            </p:cNvSpPr>
            <p:nvPr/>
          </p:nvSpPr>
          <p:spPr bwMode="auto">
            <a:xfrm>
              <a:off x="8419746" y="2446808"/>
              <a:ext cx="1049338" cy="862013"/>
            </a:xfrm>
            <a:custGeom>
              <a:avLst/>
              <a:gdLst>
                <a:gd name="T0" fmla="*/ 209 w 661"/>
                <a:gd name="T1" fmla="*/ 0 h 543"/>
                <a:gd name="T2" fmla="*/ 197 w 661"/>
                <a:gd name="T3" fmla="*/ 36 h 543"/>
                <a:gd name="T4" fmla="*/ 145 w 661"/>
                <a:gd name="T5" fmla="*/ 26 h 543"/>
                <a:gd name="T6" fmla="*/ 139 w 661"/>
                <a:gd name="T7" fmla="*/ 67 h 543"/>
                <a:gd name="T8" fmla="*/ 123 w 661"/>
                <a:gd name="T9" fmla="*/ 113 h 543"/>
                <a:gd name="T10" fmla="*/ 97 w 661"/>
                <a:gd name="T11" fmla="*/ 135 h 543"/>
                <a:gd name="T12" fmla="*/ 80 w 661"/>
                <a:gd name="T13" fmla="*/ 172 h 543"/>
                <a:gd name="T14" fmla="*/ 75 w 661"/>
                <a:gd name="T15" fmla="*/ 192 h 543"/>
                <a:gd name="T16" fmla="*/ 55 w 661"/>
                <a:gd name="T17" fmla="*/ 204 h 543"/>
                <a:gd name="T18" fmla="*/ 43 w 661"/>
                <a:gd name="T19" fmla="*/ 253 h 543"/>
                <a:gd name="T20" fmla="*/ 43 w 661"/>
                <a:gd name="T21" fmla="*/ 259 h 543"/>
                <a:gd name="T22" fmla="*/ 45 w 661"/>
                <a:gd name="T23" fmla="*/ 296 h 543"/>
                <a:gd name="T24" fmla="*/ 38 w 661"/>
                <a:gd name="T25" fmla="*/ 310 h 543"/>
                <a:gd name="T26" fmla="*/ 15 w 661"/>
                <a:gd name="T27" fmla="*/ 311 h 543"/>
                <a:gd name="T28" fmla="*/ 0 w 661"/>
                <a:gd name="T29" fmla="*/ 338 h 543"/>
                <a:gd name="T30" fmla="*/ 28 w 661"/>
                <a:gd name="T31" fmla="*/ 341 h 543"/>
                <a:gd name="T32" fmla="*/ 51 w 661"/>
                <a:gd name="T33" fmla="*/ 364 h 543"/>
                <a:gd name="T34" fmla="*/ 59 w 661"/>
                <a:gd name="T35" fmla="*/ 383 h 543"/>
                <a:gd name="T36" fmla="*/ 80 w 661"/>
                <a:gd name="T37" fmla="*/ 394 h 543"/>
                <a:gd name="T38" fmla="*/ 106 w 661"/>
                <a:gd name="T39" fmla="*/ 445 h 543"/>
                <a:gd name="T40" fmla="*/ 130 w 661"/>
                <a:gd name="T41" fmla="*/ 453 h 543"/>
                <a:gd name="T42" fmla="*/ 130 w 661"/>
                <a:gd name="T43" fmla="*/ 479 h 543"/>
                <a:gd name="T44" fmla="*/ 146 w 661"/>
                <a:gd name="T45" fmla="*/ 495 h 543"/>
                <a:gd name="T46" fmla="*/ 177 w 661"/>
                <a:gd name="T47" fmla="*/ 495 h 543"/>
                <a:gd name="T48" fmla="*/ 234 w 661"/>
                <a:gd name="T49" fmla="*/ 534 h 543"/>
                <a:gd name="T50" fmla="*/ 248 w 661"/>
                <a:gd name="T51" fmla="*/ 535 h 543"/>
                <a:gd name="T52" fmla="*/ 259 w 661"/>
                <a:gd name="T53" fmla="*/ 534 h 543"/>
                <a:gd name="T54" fmla="*/ 268 w 661"/>
                <a:gd name="T55" fmla="*/ 540 h 543"/>
                <a:gd name="T56" fmla="*/ 298 w 661"/>
                <a:gd name="T57" fmla="*/ 543 h 543"/>
                <a:gd name="T58" fmla="*/ 311 w 661"/>
                <a:gd name="T59" fmla="*/ 523 h 543"/>
                <a:gd name="T60" fmla="*/ 352 w 661"/>
                <a:gd name="T61" fmla="*/ 504 h 543"/>
                <a:gd name="T62" fmla="*/ 369 w 661"/>
                <a:gd name="T63" fmla="*/ 519 h 543"/>
                <a:gd name="T64" fmla="*/ 400 w 661"/>
                <a:gd name="T65" fmla="*/ 519 h 543"/>
                <a:gd name="T66" fmla="*/ 412 w 661"/>
                <a:gd name="T67" fmla="*/ 505 h 543"/>
                <a:gd name="T68" fmla="*/ 441 w 661"/>
                <a:gd name="T69" fmla="*/ 504 h 543"/>
                <a:gd name="T70" fmla="*/ 480 w 661"/>
                <a:gd name="T71" fmla="*/ 471 h 543"/>
                <a:gd name="T72" fmla="*/ 538 w 661"/>
                <a:gd name="T73" fmla="*/ 468 h 543"/>
                <a:gd name="T74" fmla="*/ 661 w 661"/>
                <a:gd name="T75" fmla="*/ 327 h 543"/>
                <a:gd name="T76" fmla="*/ 622 w 661"/>
                <a:gd name="T77" fmla="*/ 328 h 543"/>
                <a:gd name="T78" fmla="*/ 475 w 661"/>
                <a:gd name="T79" fmla="*/ 272 h 543"/>
                <a:gd name="T80" fmla="*/ 458 w 661"/>
                <a:gd name="T81" fmla="*/ 255 h 543"/>
                <a:gd name="T82" fmla="*/ 442 w 661"/>
                <a:gd name="T83" fmla="*/ 233 h 543"/>
                <a:gd name="T84" fmla="*/ 423 w 661"/>
                <a:gd name="T85" fmla="*/ 207 h 543"/>
                <a:gd name="T86" fmla="*/ 432 w 661"/>
                <a:gd name="T87" fmla="*/ 190 h 543"/>
                <a:gd name="T88" fmla="*/ 422 w 661"/>
                <a:gd name="T89" fmla="*/ 182 h 543"/>
                <a:gd name="T90" fmla="*/ 412 w 661"/>
                <a:gd name="T91" fmla="*/ 185 h 543"/>
                <a:gd name="T92" fmla="*/ 387 w 661"/>
                <a:gd name="T93" fmla="*/ 185 h 543"/>
                <a:gd name="T94" fmla="*/ 386 w 661"/>
                <a:gd name="T95" fmla="*/ 170 h 543"/>
                <a:gd name="T96" fmla="*/ 382 w 661"/>
                <a:gd name="T97" fmla="*/ 158 h 543"/>
                <a:gd name="T98" fmla="*/ 396 w 661"/>
                <a:gd name="T99" fmla="*/ 135 h 543"/>
                <a:gd name="T100" fmla="*/ 410 w 661"/>
                <a:gd name="T101" fmla="*/ 114 h 543"/>
                <a:gd name="T102" fmla="*/ 395 w 661"/>
                <a:gd name="T103" fmla="*/ 99 h 543"/>
                <a:gd name="T104" fmla="*/ 376 w 661"/>
                <a:gd name="T105" fmla="*/ 72 h 543"/>
                <a:gd name="T106" fmla="*/ 356 w 661"/>
                <a:gd name="T107" fmla="*/ 57 h 543"/>
                <a:gd name="T108" fmla="*/ 343 w 661"/>
                <a:gd name="T109" fmla="*/ 40 h 543"/>
                <a:gd name="T110" fmla="*/ 304 w 661"/>
                <a:gd name="T111" fmla="*/ 22 h 543"/>
                <a:gd name="T112" fmla="*/ 273 w 661"/>
                <a:gd name="T113" fmla="*/ 21 h 543"/>
                <a:gd name="T114" fmla="*/ 263 w 661"/>
                <a:gd name="T115" fmla="*/ 12 h 543"/>
                <a:gd name="T116" fmla="*/ 237 w 661"/>
                <a:gd name="T117" fmla="*/ 22 h 543"/>
                <a:gd name="T118" fmla="*/ 209 w 661"/>
                <a:gd name="T119" fmla="*/ 0 h 543"/>
                <a:gd name="T120" fmla="*/ 209 w 661"/>
                <a:gd name="T1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1" h="543">
                  <a:moveTo>
                    <a:pt x="209" y="0"/>
                  </a:moveTo>
                  <a:lnTo>
                    <a:pt x="197" y="36"/>
                  </a:lnTo>
                  <a:lnTo>
                    <a:pt x="145" y="26"/>
                  </a:lnTo>
                  <a:lnTo>
                    <a:pt x="139" y="67"/>
                  </a:lnTo>
                  <a:lnTo>
                    <a:pt x="123" y="113"/>
                  </a:lnTo>
                  <a:lnTo>
                    <a:pt x="97" y="135"/>
                  </a:lnTo>
                  <a:lnTo>
                    <a:pt x="80" y="172"/>
                  </a:lnTo>
                  <a:lnTo>
                    <a:pt x="75" y="192"/>
                  </a:lnTo>
                  <a:lnTo>
                    <a:pt x="55" y="204"/>
                  </a:lnTo>
                  <a:lnTo>
                    <a:pt x="43" y="253"/>
                  </a:lnTo>
                  <a:lnTo>
                    <a:pt x="43" y="259"/>
                  </a:lnTo>
                  <a:lnTo>
                    <a:pt x="45" y="296"/>
                  </a:lnTo>
                  <a:lnTo>
                    <a:pt x="38" y="310"/>
                  </a:lnTo>
                  <a:lnTo>
                    <a:pt x="15" y="311"/>
                  </a:lnTo>
                  <a:lnTo>
                    <a:pt x="0" y="338"/>
                  </a:lnTo>
                  <a:lnTo>
                    <a:pt x="28" y="341"/>
                  </a:lnTo>
                  <a:lnTo>
                    <a:pt x="51" y="364"/>
                  </a:lnTo>
                  <a:lnTo>
                    <a:pt x="59" y="383"/>
                  </a:lnTo>
                  <a:lnTo>
                    <a:pt x="80" y="394"/>
                  </a:lnTo>
                  <a:lnTo>
                    <a:pt x="106" y="445"/>
                  </a:lnTo>
                  <a:lnTo>
                    <a:pt x="130" y="453"/>
                  </a:lnTo>
                  <a:lnTo>
                    <a:pt x="130" y="479"/>
                  </a:lnTo>
                  <a:lnTo>
                    <a:pt x="146" y="495"/>
                  </a:lnTo>
                  <a:lnTo>
                    <a:pt x="177" y="495"/>
                  </a:lnTo>
                  <a:lnTo>
                    <a:pt x="234" y="534"/>
                  </a:lnTo>
                  <a:lnTo>
                    <a:pt x="248" y="535"/>
                  </a:lnTo>
                  <a:lnTo>
                    <a:pt x="259" y="534"/>
                  </a:lnTo>
                  <a:lnTo>
                    <a:pt x="268" y="540"/>
                  </a:lnTo>
                  <a:lnTo>
                    <a:pt x="298" y="543"/>
                  </a:lnTo>
                  <a:lnTo>
                    <a:pt x="311" y="523"/>
                  </a:lnTo>
                  <a:lnTo>
                    <a:pt x="352" y="504"/>
                  </a:lnTo>
                  <a:lnTo>
                    <a:pt x="369" y="519"/>
                  </a:lnTo>
                  <a:lnTo>
                    <a:pt x="400" y="519"/>
                  </a:lnTo>
                  <a:lnTo>
                    <a:pt x="412" y="505"/>
                  </a:lnTo>
                  <a:lnTo>
                    <a:pt x="441" y="504"/>
                  </a:lnTo>
                  <a:lnTo>
                    <a:pt x="480" y="471"/>
                  </a:lnTo>
                  <a:lnTo>
                    <a:pt x="538" y="468"/>
                  </a:lnTo>
                  <a:lnTo>
                    <a:pt x="661" y="327"/>
                  </a:lnTo>
                  <a:lnTo>
                    <a:pt x="622" y="328"/>
                  </a:lnTo>
                  <a:lnTo>
                    <a:pt x="475" y="272"/>
                  </a:lnTo>
                  <a:lnTo>
                    <a:pt x="458" y="255"/>
                  </a:lnTo>
                  <a:lnTo>
                    <a:pt x="442" y="233"/>
                  </a:lnTo>
                  <a:lnTo>
                    <a:pt x="423" y="207"/>
                  </a:lnTo>
                  <a:lnTo>
                    <a:pt x="432" y="190"/>
                  </a:lnTo>
                  <a:lnTo>
                    <a:pt x="422" y="182"/>
                  </a:lnTo>
                  <a:lnTo>
                    <a:pt x="412" y="185"/>
                  </a:lnTo>
                  <a:lnTo>
                    <a:pt x="387" y="185"/>
                  </a:lnTo>
                  <a:lnTo>
                    <a:pt x="386" y="170"/>
                  </a:lnTo>
                  <a:lnTo>
                    <a:pt x="382" y="158"/>
                  </a:lnTo>
                  <a:lnTo>
                    <a:pt x="396" y="135"/>
                  </a:lnTo>
                  <a:lnTo>
                    <a:pt x="410" y="114"/>
                  </a:lnTo>
                  <a:lnTo>
                    <a:pt x="395" y="99"/>
                  </a:lnTo>
                  <a:lnTo>
                    <a:pt x="376" y="72"/>
                  </a:lnTo>
                  <a:lnTo>
                    <a:pt x="356" y="57"/>
                  </a:lnTo>
                  <a:lnTo>
                    <a:pt x="343" y="40"/>
                  </a:lnTo>
                  <a:lnTo>
                    <a:pt x="304" y="22"/>
                  </a:lnTo>
                  <a:lnTo>
                    <a:pt x="273" y="21"/>
                  </a:lnTo>
                  <a:lnTo>
                    <a:pt x="263" y="12"/>
                  </a:lnTo>
                  <a:lnTo>
                    <a:pt x="237" y="22"/>
                  </a:lnTo>
                  <a:lnTo>
                    <a:pt x="209" y="0"/>
                  </a:lnTo>
                  <a:lnTo>
                    <a:pt x="209" y="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4" name="Gabon">
              <a:extLst>
                <a:ext uri="{FF2B5EF4-FFF2-40B4-BE49-F238E27FC236}">
                  <a16:creationId xmlns:a16="http://schemas.microsoft.com/office/drawing/2014/main" id="{46E99CB3-215B-E379-AC3E-F7928326F298}"/>
                </a:ext>
              </a:extLst>
            </p:cNvPr>
            <p:cNvSpPr>
              <a:spLocks/>
            </p:cNvSpPr>
            <p:nvPr/>
          </p:nvSpPr>
          <p:spPr bwMode="auto">
            <a:xfrm>
              <a:off x="6714429" y="3390237"/>
              <a:ext cx="400050" cy="471488"/>
            </a:xfrm>
            <a:custGeom>
              <a:avLst/>
              <a:gdLst>
                <a:gd name="T0" fmla="*/ 191 w 252"/>
                <a:gd name="T1" fmla="*/ 3 h 297"/>
                <a:gd name="T2" fmla="*/ 186 w 252"/>
                <a:gd name="T3" fmla="*/ 1 h 297"/>
                <a:gd name="T4" fmla="*/ 158 w 252"/>
                <a:gd name="T5" fmla="*/ 7 h 297"/>
                <a:gd name="T6" fmla="*/ 132 w 252"/>
                <a:gd name="T7" fmla="*/ 0 h 297"/>
                <a:gd name="T8" fmla="*/ 111 w 252"/>
                <a:gd name="T9" fmla="*/ 3 h 297"/>
                <a:gd name="T10" fmla="*/ 111 w 252"/>
                <a:gd name="T11" fmla="*/ 60 h 297"/>
                <a:gd name="T12" fmla="*/ 46 w 252"/>
                <a:gd name="T13" fmla="*/ 59 h 297"/>
                <a:gd name="T14" fmla="*/ 31 w 252"/>
                <a:gd name="T15" fmla="*/ 62 h 297"/>
                <a:gd name="T16" fmla="*/ 22 w 252"/>
                <a:gd name="T17" fmla="*/ 97 h 297"/>
                <a:gd name="T18" fmla="*/ 11 w 252"/>
                <a:gd name="T19" fmla="*/ 132 h 297"/>
                <a:gd name="T20" fmla="*/ 1 w 252"/>
                <a:gd name="T21" fmla="*/ 146 h 297"/>
                <a:gd name="T22" fmla="*/ 0 w 252"/>
                <a:gd name="T23" fmla="*/ 162 h 297"/>
                <a:gd name="T24" fmla="*/ 27 w 252"/>
                <a:gd name="T25" fmla="*/ 210 h 297"/>
                <a:gd name="T26" fmla="*/ 56 w 252"/>
                <a:gd name="T27" fmla="*/ 250 h 297"/>
                <a:gd name="T28" fmla="*/ 102 w 252"/>
                <a:gd name="T29" fmla="*/ 297 h 297"/>
                <a:gd name="T30" fmla="*/ 137 w 252"/>
                <a:gd name="T31" fmla="*/ 271 h 297"/>
                <a:gd name="T32" fmla="*/ 119 w 252"/>
                <a:gd name="T33" fmla="*/ 239 h 297"/>
                <a:gd name="T34" fmla="*/ 135 w 252"/>
                <a:gd name="T35" fmla="*/ 227 h 297"/>
                <a:gd name="T36" fmla="*/ 165 w 252"/>
                <a:gd name="T37" fmla="*/ 222 h 297"/>
                <a:gd name="T38" fmla="*/ 168 w 252"/>
                <a:gd name="T39" fmla="*/ 201 h 297"/>
                <a:gd name="T40" fmla="*/ 192 w 252"/>
                <a:gd name="T41" fmla="*/ 224 h 297"/>
                <a:gd name="T42" fmla="*/ 231 w 252"/>
                <a:gd name="T43" fmla="*/ 226 h 297"/>
                <a:gd name="T44" fmla="*/ 245 w 252"/>
                <a:gd name="T45" fmla="*/ 204 h 297"/>
                <a:gd name="T46" fmla="*/ 252 w 252"/>
                <a:gd name="T47" fmla="*/ 172 h 297"/>
                <a:gd name="T48" fmla="*/ 246 w 252"/>
                <a:gd name="T49" fmla="*/ 136 h 297"/>
                <a:gd name="T50" fmla="*/ 225 w 252"/>
                <a:gd name="T51" fmla="*/ 108 h 297"/>
                <a:gd name="T52" fmla="*/ 244 w 252"/>
                <a:gd name="T53" fmla="*/ 53 h 297"/>
                <a:gd name="T54" fmla="*/ 233 w 252"/>
                <a:gd name="T55" fmla="*/ 44 h 297"/>
                <a:gd name="T56" fmla="*/ 200 w 252"/>
                <a:gd name="T57" fmla="*/ 47 h 297"/>
                <a:gd name="T58" fmla="*/ 188 w 252"/>
                <a:gd name="T59" fmla="*/ 24 h 297"/>
                <a:gd name="T60" fmla="*/ 191 w 252"/>
                <a:gd name="T61" fmla="*/ 3 h 297"/>
                <a:gd name="T62" fmla="*/ 191 w 252"/>
                <a:gd name="T63" fmla="*/ 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2" h="297">
                  <a:moveTo>
                    <a:pt x="191" y="3"/>
                  </a:moveTo>
                  <a:lnTo>
                    <a:pt x="186" y="1"/>
                  </a:lnTo>
                  <a:lnTo>
                    <a:pt x="158" y="7"/>
                  </a:lnTo>
                  <a:lnTo>
                    <a:pt x="132" y="0"/>
                  </a:lnTo>
                  <a:lnTo>
                    <a:pt x="111" y="3"/>
                  </a:lnTo>
                  <a:lnTo>
                    <a:pt x="111" y="60"/>
                  </a:lnTo>
                  <a:lnTo>
                    <a:pt x="46" y="59"/>
                  </a:lnTo>
                  <a:lnTo>
                    <a:pt x="31" y="62"/>
                  </a:lnTo>
                  <a:lnTo>
                    <a:pt x="22" y="97"/>
                  </a:lnTo>
                  <a:lnTo>
                    <a:pt x="11" y="132"/>
                  </a:lnTo>
                  <a:lnTo>
                    <a:pt x="1" y="146"/>
                  </a:lnTo>
                  <a:lnTo>
                    <a:pt x="0" y="162"/>
                  </a:lnTo>
                  <a:lnTo>
                    <a:pt x="27" y="210"/>
                  </a:lnTo>
                  <a:lnTo>
                    <a:pt x="56" y="250"/>
                  </a:lnTo>
                  <a:lnTo>
                    <a:pt x="102" y="297"/>
                  </a:lnTo>
                  <a:lnTo>
                    <a:pt x="137" y="271"/>
                  </a:lnTo>
                  <a:lnTo>
                    <a:pt x="119" y="239"/>
                  </a:lnTo>
                  <a:lnTo>
                    <a:pt x="135" y="227"/>
                  </a:lnTo>
                  <a:lnTo>
                    <a:pt x="165" y="222"/>
                  </a:lnTo>
                  <a:lnTo>
                    <a:pt x="168" y="201"/>
                  </a:lnTo>
                  <a:lnTo>
                    <a:pt x="192" y="224"/>
                  </a:lnTo>
                  <a:lnTo>
                    <a:pt x="231" y="226"/>
                  </a:lnTo>
                  <a:lnTo>
                    <a:pt x="245" y="204"/>
                  </a:lnTo>
                  <a:lnTo>
                    <a:pt x="252" y="172"/>
                  </a:lnTo>
                  <a:lnTo>
                    <a:pt x="246" y="136"/>
                  </a:lnTo>
                  <a:lnTo>
                    <a:pt x="225" y="108"/>
                  </a:lnTo>
                  <a:lnTo>
                    <a:pt x="244" y="53"/>
                  </a:lnTo>
                  <a:lnTo>
                    <a:pt x="233" y="44"/>
                  </a:lnTo>
                  <a:lnTo>
                    <a:pt x="200" y="47"/>
                  </a:lnTo>
                  <a:lnTo>
                    <a:pt x="188" y="24"/>
                  </a:lnTo>
                  <a:lnTo>
                    <a:pt x="191" y="3"/>
                  </a:lnTo>
                  <a:lnTo>
                    <a:pt x="191" y="3"/>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5" name="Ghana">
              <a:extLst>
                <a:ext uri="{FF2B5EF4-FFF2-40B4-BE49-F238E27FC236}">
                  <a16:creationId xmlns:a16="http://schemas.microsoft.com/office/drawing/2014/main" id="{FE6CC426-7A22-F7A5-7DE5-07206394A584}"/>
                </a:ext>
              </a:extLst>
            </p:cNvPr>
            <p:cNvSpPr>
              <a:spLocks/>
            </p:cNvSpPr>
            <p:nvPr/>
          </p:nvSpPr>
          <p:spPr bwMode="auto">
            <a:xfrm>
              <a:off x="5861941" y="2736187"/>
              <a:ext cx="303213" cy="476250"/>
            </a:xfrm>
            <a:custGeom>
              <a:avLst/>
              <a:gdLst>
                <a:gd name="T0" fmla="*/ 146 w 191"/>
                <a:gd name="T1" fmla="*/ 4 h 300"/>
                <a:gd name="T2" fmla="*/ 125 w 191"/>
                <a:gd name="T3" fmla="*/ 0 h 300"/>
                <a:gd name="T4" fmla="*/ 111 w 191"/>
                <a:gd name="T5" fmla="*/ 8 h 300"/>
                <a:gd name="T6" fmla="*/ 91 w 191"/>
                <a:gd name="T7" fmla="*/ 4 h 300"/>
                <a:gd name="T8" fmla="*/ 14 w 191"/>
                <a:gd name="T9" fmla="*/ 6 h 300"/>
                <a:gd name="T10" fmla="*/ 12 w 191"/>
                <a:gd name="T11" fmla="*/ 33 h 300"/>
                <a:gd name="T12" fmla="*/ 19 w 191"/>
                <a:gd name="T13" fmla="*/ 69 h 300"/>
                <a:gd name="T14" fmla="*/ 31 w 191"/>
                <a:gd name="T15" fmla="*/ 135 h 300"/>
                <a:gd name="T16" fmla="*/ 11 w 191"/>
                <a:gd name="T17" fmla="*/ 175 h 300"/>
                <a:gd name="T18" fmla="*/ 0 w 191"/>
                <a:gd name="T19" fmla="*/ 228 h 300"/>
                <a:gd name="T20" fmla="*/ 19 w 191"/>
                <a:gd name="T21" fmla="*/ 268 h 300"/>
                <a:gd name="T22" fmla="*/ 17 w 191"/>
                <a:gd name="T23" fmla="*/ 287 h 300"/>
                <a:gd name="T24" fmla="*/ 57 w 191"/>
                <a:gd name="T25" fmla="*/ 300 h 300"/>
                <a:gd name="T26" fmla="*/ 97 w 191"/>
                <a:gd name="T27" fmla="*/ 286 h 300"/>
                <a:gd name="T28" fmla="*/ 122 w 191"/>
                <a:gd name="T29" fmla="*/ 271 h 300"/>
                <a:gd name="T30" fmla="*/ 191 w 191"/>
                <a:gd name="T31" fmla="*/ 243 h 300"/>
                <a:gd name="T32" fmla="*/ 181 w 191"/>
                <a:gd name="T33" fmla="*/ 227 h 300"/>
                <a:gd name="T34" fmla="*/ 169 w 191"/>
                <a:gd name="T35" fmla="*/ 196 h 300"/>
                <a:gd name="T36" fmla="*/ 166 w 191"/>
                <a:gd name="T37" fmla="*/ 173 h 300"/>
                <a:gd name="T38" fmla="*/ 176 w 191"/>
                <a:gd name="T39" fmla="*/ 131 h 300"/>
                <a:gd name="T40" fmla="*/ 165 w 191"/>
                <a:gd name="T41" fmla="*/ 114 h 300"/>
                <a:gd name="T42" fmla="*/ 160 w 191"/>
                <a:gd name="T43" fmla="*/ 77 h 300"/>
                <a:gd name="T44" fmla="*/ 160 w 191"/>
                <a:gd name="T45" fmla="*/ 43 h 300"/>
                <a:gd name="T46" fmla="*/ 142 w 191"/>
                <a:gd name="T47" fmla="*/ 19 h 300"/>
                <a:gd name="T48" fmla="*/ 146 w 191"/>
                <a:gd name="T49" fmla="*/ 4 h 300"/>
                <a:gd name="T50" fmla="*/ 146 w 191"/>
                <a:gd name="T5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1" h="300">
                  <a:moveTo>
                    <a:pt x="146" y="4"/>
                  </a:moveTo>
                  <a:lnTo>
                    <a:pt x="125" y="0"/>
                  </a:lnTo>
                  <a:lnTo>
                    <a:pt x="111" y="8"/>
                  </a:lnTo>
                  <a:lnTo>
                    <a:pt x="91" y="4"/>
                  </a:lnTo>
                  <a:lnTo>
                    <a:pt x="14" y="6"/>
                  </a:lnTo>
                  <a:lnTo>
                    <a:pt x="12" y="33"/>
                  </a:lnTo>
                  <a:lnTo>
                    <a:pt x="19" y="69"/>
                  </a:lnTo>
                  <a:lnTo>
                    <a:pt x="31" y="135"/>
                  </a:lnTo>
                  <a:lnTo>
                    <a:pt x="11" y="175"/>
                  </a:lnTo>
                  <a:lnTo>
                    <a:pt x="0" y="228"/>
                  </a:lnTo>
                  <a:lnTo>
                    <a:pt x="19" y="268"/>
                  </a:lnTo>
                  <a:lnTo>
                    <a:pt x="17" y="287"/>
                  </a:lnTo>
                  <a:lnTo>
                    <a:pt x="57" y="300"/>
                  </a:lnTo>
                  <a:lnTo>
                    <a:pt x="97" y="286"/>
                  </a:lnTo>
                  <a:lnTo>
                    <a:pt x="122" y="271"/>
                  </a:lnTo>
                  <a:lnTo>
                    <a:pt x="191" y="243"/>
                  </a:lnTo>
                  <a:lnTo>
                    <a:pt x="181" y="227"/>
                  </a:lnTo>
                  <a:lnTo>
                    <a:pt x="169" y="196"/>
                  </a:lnTo>
                  <a:lnTo>
                    <a:pt x="166" y="173"/>
                  </a:lnTo>
                  <a:lnTo>
                    <a:pt x="176" y="131"/>
                  </a:lnTo>
                  <a:lnTo>
                    <a:pt x="165" y="114"/>
                  </a:lnTo>
                  <a:lnTo>
                    <a:pt x="160" y="77"/>
                  </a:lnTo>
                  <a:lnTo>
                    <a:pt x="160" y="43"/>
                  </a:lnTo>
                  <a:lnTo>
                    <a:pt x="142" y="19"/>
                  </a:lnTo>
                  <a:lnTo>
                    <a:pt x="146" y="4"/>
                  </a:lnTo>
                  <a:lnTo>
                    <a:pt x="146" y="4"/>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6" name="Guinea">
              <a:extLst>
                <a:ext uri="{FF2B5EF4-FFF2-40B4-BE49-F238E27FC236}">
                  <a16:creationId xmlns:a16="http://schemas.microsoft.com/office/drawing/2014/main" id="{88F54F43-9A5B-13F5-B9ED-33E7A79078F6}"/>
                </a:ext>
              </a:extLst>
            </p:cNvPr>
            <p:cNvSpPr>
              <a:spLocks/>
            </p:cNvSpPr>
            <p:nvPr/>
          </p:nvSpPr>
          <p:spPr bwMode="auto">
            <a:xfrm>
              <a:off x="5025329" y="2626650"/>
              <a:ext cx="512763" cy="392113"/>
            </a:xfrm>
            <a:custGeom>
              <a:avLst/>
              <a:gdLst>
                <a:gd name="T0" fmla="*/ 154 w 323"/>
                <a:gd name="T1" fmla="*/ 9 h 247"/>
                <a:gd name="T2" fmla="*/ 127 w 323"/>
                <a:gd name="T3" fmla="*/ 11 h 247"/>
                <a:gd name="T4" fmla="*/ 85 w 323"/>
                <a:gd name="T5" fmla="*/ 0 h 247"/>
                <a:gd name="T6" fmla="*/ 63 w 323"/>
                <a:gd name="T7" fmla="*/ 16 h 247"/>
                <a:gd name="T8" fmla="*/ 62 w 323"/>
                <a:gd name="T9" fmla="*/ 36 h 247"/>
                <a:gd name="T10" fmla="*/ 44 w 323"/>
                <a:gd name="T11" fmla="*/ 42 h 247"/>
                <a:gd name="T12" fmla="*/ 20 w 323"/>
                <a:gd name="T13" fmla="*/ 49 h 247"/>
                <a:gd name="T14" fmla="*/ 12 w 323"/>
                <a:gd name="T15" fmla="*/ 79 h 247"/>
                <a:gd name="T16" fmla="*/ 23 w 323"/>
                <a:gd name="T17" fmla="*/ 111 h 247"/>
                <a:gd name="T18" fmla="*/ 46 w 323"/>
                <a:gd name="T19" fmla="*/ 126 h 247"/>
                <a:gd name="T20" fmla="*/ 83 w 323"/>
                <a:gd name="T21" fmla="*/ 172 h 247"/>
                <a:gd name="T22" fmla="*/ 112 w 323"/>
                <a:gd name="T23" fmla="*/ 139 h 247"/>
                <a:gd name="T24" fmla="*/ 131 w 323"/>
                <a:gd name="T25" fmla="*/ 128 h 247"/>
                <a:gd name="T26" fmla="*/ 178 w 323"/>
                <a:gd name="T27" fmla="*/ 118 h 247"/>
                <a:gd name="T28" fmla="*/ 199 w 323"/>
                <a:gd name="T29" fmla="*/ 155 h 247"/>
                <a:gd name="T30" fmla="*/ 204 w 323"/>
                <a:gd name="T31" fmla="*/ 181 h 247"/>
                <a:gd name="T32" fmla="*/ 216 w 323"/>
                <a:gd name="T33" fmla="*/ 196 h 247"/>
                <a:gd name="T34" fmla="*/ 237 w 323"/>
                <a:gd name="T35" fmla="*/ 189 h 247"/>
                <a:gd name="T36" fmla="*/ 253 w 323"/>
                <a:gd name="T37" fmla="*/ 237 h 247"/>
                <a:gd name="T38" fmla="*/ 274 w 323"/>
                <a:gd name="T39" fmla="*/ 247 h 247"/>
                <a:gd name="T40" fmla="*/ 295 w 323"/>
                <a:gd name="T41" fmla="*/ 230 h 247"/>
                <a:gd name="T42" fmla="*/ 306 w 323"/>
                <a:gd name="T43" fmla="*/ 209 h 247"/>
                <a:gd name="T44" fmla="*/ 306 w 323"/>
                <a:gd name="T45" fmla="*/ 193 h 247"/>
                <a:gd name="T46" fmla="*/ 312 w 323"/>
                <a:gd name="T47" fmla="*/ 150 h 247"/>
                <a:gd name="T48" fmla="*/ 306 w 323"/>
                <a:gd name="T49" fmla="*/ 115 h 247"/>
                <a:gd name="T50" fmla="*/ 301 w 323"/>
                <a:gd name="T51" fmla="*/ 97 h 247"/>
                <a:gd name="T52" fmla="*/ 298 w 323"/>
                <a:gd name="T53" fmla="*/ 79 h 247"/>
                <a:gd name="T54" fmla="*/ 291 w 323"/>
                <a:gd name="T55" fmla="*/ 67 h 247"/>
                <a:gd name="T56" fmla="*/ 282 w 323"/>
                <a:gd name="T57" fmla="*/ 36 h 247"/>
                <a:gd name="T58" fmla="*/ 266 w 323"/>
                <a:gd name="T59" fmla="*/ 12 h 247"/>
                <a:gd name="T60" fmla="*/ 247 w 323"/>
                <a:gd name="T61" fmla="*/ 17 h 247"/>
                <a:gd name="T62" fmla="*/ 221 w 323"/>
                <a:gd name="T63" fmla="*/ 34 h 247"/>
                <a:gd name="T64" fmla="*/ 190 w 323"/>
                <a:gd name="T65" fmla="*/ 18 h 247"/>
                <a:gd name="T66" fmla="*/ 170 w 323"/>
                <a:gd name="T67" fmla="*/ 23 h 247"/>
                <a:gd name="T68" fmla="*/ 161 w 323"/>
                <a:gd name="T69"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47">
                  <a:moveTo>
                    <a:pt x="161" y="6"/>
                  </a:moveTo>
                  <a:lnTo>
                    <a:pt x="154" y="9"/>
                  </a:lnTo>
                  <a:lnTo>
                    <a:pt x="130" y="5"/>
                  </a:lnTo>
                  <a:lnTo>
                    <a:pt x="127" y="11"/>
                  </a:lnTo>
                  <a:lnTo>
                    <a:pt x="117" y="11"/>
                  </a:lnTo>
                  <a:lnTo>
                    <a:pt x="85" y="0"/>
                  </a:lnTo>
                  <a:lnTo>
                    <a:pt x="64" y="0"/>
                  </a:lnTo>
                  <a:lnTo>
                    <a:pt x="63" y="16"/>
                  </a:lnTo>
                  <a:lnTo>
                    <a:pt x="58" y="20"/>
                  </a:lnTo>
                  <a:lnTo>
                    <a:pt x="62" y="36"/>
                  </a:lnTo>
                  <a:lnTo>
                    <a:pt x="54" y="42"/>
                  </a:lnTo>
                  <a:lnTo>
                    <a:pt x="44" y="42"/>
                  </a:lnTo>
                  <a:lnTo>
                    <a:pt x="33" y="50"/>
                  </a:lnTo>
                  <a:lnTo>
                    <a:pt x="20" y="49"/>
                  </a:lnTo>
                  <a:lnTo>
                    <a:pt x="0" y="72"/>
                  </a:lnTo>
                  <a:lnTo>
                    <a:pt x="12" y="79"/>
                  </a:lnTo>
                  <a:lnTo>
                    <a:pt x="19" y="90"/>
                  </a:lnTo>
                  <a:lnTo>
                    <a:pt x="23" y="111"/>
                  </a:lnTo>
                  <a:lnTo>
                    <a:pt x="34" y="120"/>
                  </a:lnTo>
                  <a:lnTo>
                    <a:pt x="46" y="126"/>
                  </a:lnTo>
                  <a:lnTo>
                    <a:pt x="63" y="145"/>
                  </a:lnTo>
                  <a:lnTo>
                    <a:pt x="83" y="172"/>
                  </a:lnTo>
                  <a:lnTo>
                    <a:pt x="106" y="152"/>
                  </a:lnTo>
                  <a:lnTo>
                    <a:pt x="112" y="139"/>
                  </a:lnTo>
                  <a:lnTo>
                    <a:pt x="119" y="129"/>
                  </a:lnTo>
                  <a:lnTo>
                    <a:pt x="131" y="128"/>
                  </a:lnTo>
                  <a:lnTo>
                    <a:pt x="142" y="118"/>
                  </a:lnTo>
                  <a:lnTo>
                    <a:pt x="178" y="118"/>
                  </a:lnTo>
                  <a:lnTo>
                    <a:pt x="190" y="135"/>
                  </a:lnTo>
                  <a:lnTo>
                    <a:pt x="199" y="155"/>
                  </a:lnTo>
                  <a:lnTo>
                    <a:pt x="198" y="168"/>
                  </a:lnTo>
                  <a:lnTo>
                    <a:pt x="204" y="181"/>
                  </a:lnTo>
                  <a:lnTo>
                    <a:pt x="204" y="198"/>
                  </a:lnTo>
                  <a:lnTo>
                    <a:pt x="216" y="196"/>
                  </a:lnTo>
                  <a:lnTo>
                    <a:pt x="225" y="195"/>
                  </a:lnTo>
                  <a:lnTo>
                    <a:pt x="237" y="189"/>
                  </a:lnTo>
                  <a:lnTo>
                    <a:pt x="256" y="218"/>
                  </a:lnTo>
                  <a:lnTo>
                    <a:pt x="253" y="237"/>
                  </a:lnTo>
                  <a:lnTo>
                    <a:pt x="262" y="247"/>
                  </a:lnTo>
                  <a:lnTo>
                    <a:pt x="274" y="247"/>
                  </a:lnTo>
                  <a:lnTo>
                    <a:pt x="284" y="228"/>
                  </a:lnTo>
                  <a:lnTo>
                    <a:pt x="295" y="230"/>
                  </a:lnTo>
                  <a:lnTo>
                    <a:pt x="303" y="230"/>
                  </a:lnTo>
                  <a:lnTo>
                    <a:pt x="306" y="209"/>
                  </a:lnTo>
                  <a:lnTo>
                    <a:pt x="302" y="200"/>
                  </a:lnTo>
                  <a:lnTo>
                    <a:pt x="306" y="193"/>
                  </a:lnTo>
                  <a:lnTo>
                    <a:pt x="323" y="188"/>
                  </a:lnTo>
                  <a:lnTo>
                    <a:pt x="312" y="150"/>
                  </a:lnTo>
                  <a:lnTo>
                    <a:pt x="302" y="131"/>
                  </a:lnTo>
                  <a:lnTo>
                    <a:pt x="306" y="115"/>
                  </a:lnTo>
                  <a:lnTo>
                    <a:pt x="315" y="111"/>
                  </a:lnTo>
                  <a:lnTo>
                    <a:pt x="301" y="97"/>
                  </a:lnTo>
                  <a:lnTo>
                    <a:pt x="304" y="84"/>
                  </a:lnTo>
                  <a:lnTo>
                    <a:pt x="298" y="79"/>
                  </a:lnTo>
                  <a:lnTo>
                    <a:pt x="288" y="83"/>
                  </a:lnTo>
                  <a:lnTo>
                    <a:pt x="291" y="67"/>
                  </a:lnTo>
                  <a:lnTo>
                    <a:pt x="300" y="56"/>
                  </a:lnTo>
                  <a:lnTo>
                    <a:pt x="282" y="36"/>
                  </a:lnTo>
                  <a:lnTo>
                    <a:pt x="276" y="22"/>
                  </a:lnTo>
                  <a:lnTo>
                    <a:pt x="266" y="12"/>
                  </a:lnTo>
                  <a:lnTo>
                    <a:pt x="258" y="11"/>
                  </a:lnTo>
                  <a:lnTo>
                    <a:pt x="247" y="17"/>
                  </a:lnTo>
                  <a:lnTo>
                    <a:pt x="232" y="24"/>
                  </a:lnTo>
                  <a:lnTo>
                    <a:pt x="221" y="34"/>
                  </a:lnTo>
                  <a:lnTo>
                    <a:pt x="201" y="30"/>
                  </a:lnTo>
                  <a:lnTo>
                    <a:pt x="190" y="18"/>
                  </a:lnTo>
                  <a:lnTo>
                    <a:pt x="182" y="17"/>
                  </a:lnTo>
                  <a:lnTo>
                    <a:pt x="170" y="23"/>
                  </a:lnTo>
                  <a:lnTo>
                    <a:pt x="163" y="23"/>
                  </a:lnTo>
                  <a:lnTo>
                    <a:pt x="161" y="6"/>
                  </a:lnTo>
                  <a:lnTo>
                    <a:pt x="161" y="6"/>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7" name="Gambia">
              <a:extLst>
                <a:ext uri="{FF2B5EF4-FFF2-40B4-BE49-F238E27FC236}">
                  <a16:creationId xmlns:a16="http://schemas.microsoft.com/office/drawing/2014/main" id="{01192864-85C4-502E-9788-8E68A19C1C80}"/>
                </a:ext>
              </a:extLst>
            </p:cNvPr>
            <p:cNvSpPr>
              <a:spLocks/>
            </p:cNvSpPr>
            <p:nvPr/>
          </p:nvSpPr>
          <p:spPr bwMode="auto">
            <a:xfrm>
              <a:off x="4907854" y="2528225"/>
              <a:ext cx="209550" cy="55563"/>
            </a:xfrm>
            <a:custGeom>
              <a:avLst/>
              <a:gdLst>
                <a:gd name="T0" fmla="*/ 0 w 132"/>
                <a:gd name="T1" fmla="*/ 35 h 35"/>
                <a:gd name="T2" fmla="*/ 40 w 132"/>
                <a:gd name="T3" fmla="*/ 35 h 35"/>
                <a:gd name="T4" fmla="*/ 51 w 132"/>
                <a:gd name="T5" fmla="*/ 29 h 35"/>
                <a:gd name="T6" fmla="*/ 58 w 132"/>
                <a:gd name="T7" fmla="*/ 28 h 35"/>
                <a:gd name="T8" fmla="*/ 75 w 132"/>
                <a:gd name="T9" fmla="*/ 18 h 35"/>
                <a:gd name="T10" fmla="*/ 94 w 132"/>
                <a:gd name="T11" fmla="*/ 28 h 35"/>
                <a:gd name="T12" fmla="*/ 113 w 132"/>
                <a:gd name="T13" fmla="*/ 28 h 35"/>
                <a:gd name="T14" fmla="*/ 132 w 132"/>
                <a:gd name="T15" fmla="*/ 18 h 35"/>
                <a:gd name="T16" fmla="*/ 124 w 132"/>
                <a:gd name="T17" fmla="*/ 5 h 35"/>
                <a:gd name="T18" fmla="*/ 109 w 132"/>
                <a:gd name="T19" fmla="*/ 12 h 35"/>
                <a:gd name="T20" fmla="*/ 95 w 132"/>
                <a:gd name="T21" fmla="*/ 12 h 35"/>
                <a:gd name="T22" fmla="*/ 78 w 132"/>
                <a:gd name="T23" fmla="*/ 0 h 35"/>
                <a:gd name="T24" fmla="*/ 64 w 132"/>
                <a:gd name="T25" fmla="*/ 1 h 35"/>
                <a:gd name="T26" fmla="*/ 54 w 132"/>
                <a:gd name="T27" fmla="*/ 12 h 35"/>
                <a:gd name="T28" fmla="*/ 5 w 132"/>
                <a:gd name="T29" fmla="*/ 14 h 35"/>
                <a:gd name="T30" fmla="*/ 0 w 132"/>
                <a:gd name="T31" fmla="*/ 35 h 35"/>
                <a:gd name="T32" fmla="*/ 0 w 1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35">
                  <a:moveTo>
                    <a:pt x="0" y="35"/>
                  </a:moveTo>
                  <a:lnTo>
                    <a:pt x="40" y="35"/>
                  </a:lnTo>
                  <a:lnTo>
                    <a:pt x="51" y="29"/>
                  </a:lnTo>
                  <a:lnTo>
                    <a:pt x="58" y="28"/>
                  </a:lnTo>
                  <a:lnTo>
                    <a:pt x="75" y="18"/>
                  </a:lnTo>
                  <a:lnTo>
                    <a:pt x="94" y="28"/>
                  </a:lnTo>
                  <a:lnTo>
                    <a:pt x="113" y="28"/>
                  </a:lnTo>
                  <a:lnTo>
                    <a:pt x="132" y="18"/>
                  </a:lnTo>
                  <a:lnTo>
                    <a:pt x="124" y="5"/>
                  </a:lnTo>
                  <a:lnTo>
                    <a:pt x="109" y="12"/>
                  </a:lnTo>
                  <a:lnTo>
                    <a:pt x="95" y="12"/>
                  </a:lnTo>
                  <a:lnTo>
                    <a:pt x="78" y="0"/>
                  </a:lnTo>
                  <a:lnTo>
                    <a:pt x="64" y="1"/>
                  </a:lnTo>
                  <a:lnTo>
                    <a:pt x="54" y="12"/>
                  </a:lnTo>
                  <a:lnTo>
                    <a:pt x="5" y="14"/>
                  </a:lnTo>
                  <a:lnTo>
                    <a:pt x="0" y="35"/>
                  </a:lnTo>
                  <a:lnTo>
                    <a:pt x="0" y="35"/>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8" name="Guinea-Bissau">
              <a:extLst>
                <a:ext uri="{FF2B5EF4-FFF2-40B4-BE49-F238E27FC236}">
                  <a16:creationId xmlns:a16="http://schemas.microsoft.com/office/drawing/2014/main" id="{EC92C484-496B-C8FA-0D17-7C6EF2ACBFC5}"/>
                </a:ext>
              </a:extLst>
            </p:cNvPr>
            <p:cNvSpPr>
              <a:spLocks/>
            </p:cNvSpPr>
            <p:nvPr/>
          </p:nvSpPr>
          <p:spPr bwMode="auto">
            <a:xfrm>
              <a:off x="4917379" y="2621887"/>
              <a:ext cx="209550" cy="119063"/>
            </a:xfrm>
            <a:custGeom>
              <a:avLst/>
              <a:gdLst>
                <a:gd name="T0" fmla="*/ 132 w 132"/>
                <a:gd name="T1" fmla="*/ 3 h 75"/>
                <a:gd name="T2" fmla="*/ 50 w 132"/>
                <a:gd name="T3" fmla="*/ 0 h 75"/>
                <a:gd name="T4" fmla="*/ 38 w 132"/>
                <a:gd name="T5" fmla="*/ 6 h 75"/>
                <a:gd name="T6" fmla="*/ 24 w 132"/>
                <a:gd name="T7" fmla="*/ 4 h 75"/>
                <a:gd name="T8" fmla="*/ 0 w 132"/>
                <a:gd name="T9" fmla="*/ 12 h 75"/>
                <a:gd name="T10" fmla="*/ 3 w 132"/>
                <a:gd name="T11" fmla="*/ 22 h 75"/>
                <a:gd name="T12" fmla="*/ 16 w 132"/>
                <a:gd name="T13" fmla="*/ 32 h 75"/>
                <a:gd name="T14" fmla="*/ 16 w 132"/>
                <a:gd name="T15" fmla="*/ 39 h 75"/>
                <a:gd name="T16" fmla="*/ 26 w 132"/>
                <a:gd name="T17" fmla="*/ 53 h 75"/>
                <a:gd name="T18" fmla="*/ 44 w 132"/>
                <a:gd name="T19" fmla="*/ 55 h 75"/>
                <a:gd name="T20" fmla="*/ 68 w 132"/>
                <a:gd name="T21" fmla="*/ 75 h 75"/>
                <a:gd name="T22" fmla="*/ 88 w 132"/>
                <a:gd name="T23" fmla="*/ 52 h 75"/>
                <a:gd name="T24" fmla="*/ 101 w 132"/>
                <a:gd name="T25" fmla="*/ 53 h 75"/>
                <a:gd name="T26" fmla="*/ 112 w 132"/>
                <a:gd name="T27" fmla="*/ 45 h 75"/>
                <a:gd name="T28" fmla="*/ 122 w 132"/>
                <a:gd name="T29" fmla="*/ 45 h 75"/>
                <a:gd name="T30" fmla="*/ 130 w 132"/>
                <a:gd name="T31" fmla="*/ 39 h 75"/>
                <a:gd name="T32" fmla="*/ 126 w 132"/>
                <a:gd name="T33" fmla="*/ 23 h 75"/>
                <a:gd name="T34" fmla="*/ 131 w 132"/>
                <a:gd name="T35" fmla="*/ 19 h 75"/>
                <a:gd name="T36" fmla="*/ 132 w 132"/>
                <a:gd name="T37" fmla="*/ 3 h 75"/>
                <a:gd name="T38" fmla="*/ 132 w 132"/>
                <a:gd name="T39"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75">
                  <a:moveTo>
                    <a:pt x="132" y="3"/>
                  </a:moveTo>
                  <a:lnTo>
                    <a:pt x="50" y="0"/>
                  </a:lnTo>
                  <a:lnTo>
                    <a:pt x="38" y="6"/>
                  </a:lnTo>
                  <a:lnTo>
                    <a:pt x="24" y="4"/>
                  </a:lnTo>
                  <a:lnTo>
                    <a:pt x="0" y="12"/>
                  </a:lnTo>
                  <a:lnTo>
                    <a:pt x="3" y="22"/>
                  </a:lnTo>
                  <a:lnTo>
                    <a:pt x="16" y="32"/>
                  </a:lnTo>
                  <a:lnTo>
                    <a:pt x="16" y="39"/>
                  </a:lnTo>
                  <a:lnTo>
                    <a:pt x="26" y="53"/>
                  </a:lnTo>
                  <a:lnTo>
                    <a:pt x="44" y="55"/>
                  </a:lnTo>
                  <a:lnTo>
                    <a:pt x="68" y="75"/>
                  </a:lnTo>
                  <a:lnTo>
                    <a:pt x="88" y="52"/>
                  </a:lnTo>
                  <a:lnTo>
                    <a:pt x="101" y="53"/>
                  </a:lnTo>
                  <a:lnTo>
                    <a:pt x="112" y="45"/>
                  </a:lnTo>
                  <a:lnTo>
                    <a:pt x="122" y="45"/>
                  </a:lnTo>
                  <a:lnTo>
                    <a:pt x="130" y="39"/>
                  </a:lnTo>
                  <a:lnTo>
                    <a:pt x="126" y="23"/>
                  </a:lnTo>
                  <a:lnTo>
                    <a:pt x="131" y="19"/>
                  </a:lnTo>
                  <a:lnTo>
                    <a:pt x="132" y="3"/>
                  </a:lnTo>
                  <a:lnTo>
                    <a:pt x="132" y="3"/>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9" name="Equatorial Guinea">
              <a:extLst>
                <a:ext uri="{FF2B5EF4-FFF2-40B4-BE49-F238E27FC236}">
                  <a16:creationId xmlns:a16="http://schemas.microsoft.com/office/drawing/2014/main" id="{5295FEBA-ECED-CB89-EE62-6BA04FFDAC78}"/>
                </a:ext>
              </a:extLst>
            </p:cNvPr>
            <p:cNvSpPr>
              <a:spLocks/>
            </p:cNvSpPr>
            <p:nvPr/>
          </p:nvSpPr>
          <p:spPr bwMode="auto">
            <a:xfrm>
              <a:off x="6750941" y="3393412"/>
              <a:ext cx="139700" cy="95250"/>
            </a:xfrm>
            <a:custGeom>
              <a:avLst/>
              <a:gdLst>
                <a:gd name="T0" fmla="*/ 88 w 88"/>
                <a:gd name="T1" fmla="*/ 1 h 60"/>
                <a:gd name="T2" fmla="*/ 15 w 88"/>
                <a:gd name="T3" fmla="*/ 0 h 60"/>
                <a:gd name="T4" fmla="*/ 0 w 88"/>
                <a:gd name="T5" fmla="*/ 53 h 60"/>
                <a:gd name="T6" fmla="*/ 8 w 88"/>
                <a:gd name="T7" fmla="*/ 60 h 60"/>
                <a:gd name="T8" fmla="*/ 23 w 88"/>
                <a:gd name="T9" fmla="*/ 57 h 60"/>
                <a:gd name="T10" fmla="*/ 88 w 88"/>
                <a:gd name="T11" fmla="*/ 58 h 60"/>
                <a:gd name="T12" fmla="*/ 88 w 88"/>
                <a:gd name="T13" fmla="*/ 1 h 60"/>
                <a:gd name="T14" fmla="*/ 88 w 88"/>
                <a:gd name="T15" fmla="*/ 1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0">
                  <a:moveTo>
                    <a:pt x="88" y="1"/>
                  </a:moveTo>
                  <a:lnTo>
                    <a:pt x="15" y="0"/>
                  </a:lnTo>
                  <a:lnTo>
                    <a:pt x="0" y="53"/>
                  </a:lnTo>
                  <a:lnTo>
                    <a:pt x="8" y="60"/>
                  </a:lnTo>
                  <a:lnTo>
                    <a:pt x="23" y="57"/>
                  </a:lnTo>
                  <a:lnTo>
                    <a:pt x="88" y="58"/>
                  </a:lnTo>
                  <a:lnTo>
                    <a:pt x="88" y="1"/>
                  </a:lnTo>
                  <a:lnTo>
                    <a:pt x="88" y="1"/>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0" name="Kenya">
              <a:extLst>
                <a:ext uri="{FF2B5EF4-FFF2-40B4-BE49-F238E27FC236}">
                  <a16:creationId xmlns:a16="http://schemas.microsoft.com/office/drawing/2014/main" id="{10DFE904-78FF-A59D-7E96-300833DDC6A9}"/>
                </a:ext>
              </a:extLst>
            </p:cNvPr>
            <p:cNvSpPr>
              <a:spLocks/>
            </p:cNvSpPr>
            <p:nvPr/>
          </p:nvSpPr>
          <p:spPr bwMode="auto">
            <a:xfrm>
              <a:off x="8494016" y="3153700"/>
              <a:ext cx="560388" cy="758825"/>
            </a:xfrm>
            <a:custGeom>
              <a:avLst/>
              <a:gdLst>
                <a:gd name="T0" fmla="*/ 353 w 353"/>
                <a:gd name="T1" fmla="*/ 74 h 478"/>
                <a:gd name="T2" fmla="*/ 322 w 353"/>
                <a:gd name="T3" fmla="*/ 74 h 478"/>
                <a:gd name="T4" fmla="*/ 305 w 353"/>
                <a:gd name="T5" fmla="*/ 59 h 478"/>
                <a:gd name="T6" fmla="*/ 264 w 353"/>
                <a:gd name="T7" fmla="*/ 78 h 478"/>
                <a:gd name="T8" fmla="*/ 251 w 353"/>
                <a:gd name="T9" fmla="*/ 98 h 478"/>
                <a:gd name="T10" fmla="*/ 221 w 353"/>
                <a:gd name="T11" fmla="*/ 95 h 478"/>
                <a:gd name="T12" fmla="*/ 212 w 353"/>
                <a:gd name="T13" fmla="*/ 89 h 478"/>
                <a:gd name="T14" fmla="*/ 201 w 353"/>
                <a:gd name="T15" fmla="*/ 90 h 478"/>
                <a:gd name="T16" fmla="*/ 187 w 353"/>
                <a:gd name="T17" fmla="*/ 89 h 478"/>
                <a:gd name="T18" fmla="*/ 130 w 353"/>
                <a:gd name="T19" fmla="*/ 50 h 478"/>
                <a:gd name="T20" fmla="*/ 99 w 353"/>
                <a:gd name="T21" fmla="*/ 50 h 478"/>
                <a:gd name="T22" fmla="*/ 83 w 353"/>
                <a:gd name="T23" fmla="*/ 34 h 478"/>
                <a:gd name="T24" fmla="*/ 83 w 353"/>
                <a:gd name="T25" fmla="*/ 8 h 478"/>
                <a:gd name="T26" fmla="*/ 59 w 353"/>
                <a:gd name="T27" fmla="*/ 0 h 478"/>
                <a:gd name="T28" fmla="*/ 30 w 353"/>
                <a:gd name="T29" fmla="*/ 31 h 478"/>
                <a:gd name="T30" fmla="*/ 3 w 353"/>
                <a:gd name="T31" fmla="*/ 59 h 478"/>
                <a:gd name="T32" fmla="*/ 25 w 353"/>
                <a:gd name="T33" fmla="*/ 91 h 478"/>
                <a:gd name="T34" fmla="*/ 30 w 353"/>
                <a:gd name="T35" fmla="*/ 115 h 478"/>
                <a:gd name="T36" fmla="*/ 50 w 353"/>
                <a:gd name="T37" fmla="*/ 169 h 478"/>
                <a:gd name="T38" fmla="*/ 34 w 353"/>
                <a:gd name="T39" fmla="*/ 203 h 478"/>
                <a:gd name="T40" fmla="*/ 13 w 353"/>
                <a:gd name="T41" fmla="*/ 235 h 478"/>
                <a:gd name="T42" fmla="*/ 0 w 353"/>
                <a:gd name="T43" fmla="*/ 253 h 478"/>
                <a:gd name="T44" fmla="*/ 0 w 353"/>
                <a:gd name="T45" fmla="*/ 256 h 478"/>
                <a:gd name="T46" fmla="*/ 10 w 353"/>
                <a:gd name="T47" fmla="*/ 274 h 478"/>
                <a:gd name="T48" fmla="*/ 7 w 353"/>
                <a:gd name="T49" fmla="*/ 309 h 478"/>
                <a:gd name="T50" fmla="*/ 168 w 353"/>
                <a:gd name="T51" fmla="*/ 404 h 478"/>
                <a:gd name="T52" fmla="*/ 171 w 353"/>
                <a:gd name="T53" fmla="*/ 432 h 478"/>
                <a:gd name="T54" fmla="*/ 234 w 353"/>
                <a:gd name="T55" fmla="*/ 478 h 478"/>
                <a:gd name="T56" fmla="*/ 252 w 353"/>
                <a:gd name="T57" fmla="*/ 463 h 478"/>
                <a:gd name="T58" fmla="*/ 261 w 353"/>
                <a:gd name="T59" fmla="*/ 432 h 478"/>
                <a:gd name="T60" fmla="*/ 276 w 353"/>
                <a:gd name="T61" fmla="*/ 413 h 478"/>
                <a:gd name="T62" fmla="*/ 283 w 353"/>
                <a:gd name="T63" fmla="*/ 380 h 478"/>
                <a:gd name="T64" fmla="*/ 300 w 353"/>
                <a:gd name="T65" fmla="*/ 376 h 478"/>
                <a:gd name="T66" fmla="*/ 311 w 353"/>
                <a:gd name="T67" fmla="*/ 356 h 478"/>
                <a:gd name="T68" fmla="*/ 342 w 353"/>
                <a:gd name="T69" fmla="*/ 337 h 478"/>
                <a:gd name="T70" fmla="*/ 316 w 353"/>
                <a:gd name="T71" fmla="*/ 299 h 478"/>
                <a:gd name="T72" fmla="*/ 315 w 353"/>
                <a:gd name="T73" fmla="*/ 128 h 478"/>
                <a:gd name="T74" fmla="*/ 353 w 353"/>
                <a:gd name="T75" fmla="*/ 74 h 478"/>
                <a:gd name="T76" fmla="*/ 353 w 353"/>
                <a:gd name="T77"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3" h="478">
                  <a:moveTo>
                    <a:pt x="353" y="74"/>
                  </a:moveTo>
                  <a:lnTo>
                    <a:pt x="322" y="74"/>
                  </a:lnTo>
                  <a:lnTo>
                    <a:pt x="305" y="59"/>
                  </a:lnTo>
                  <a:lnTo>
                    <a:pt x="264" y="78"/>
                  </a:lnTo>
                  <a:lnTo>
                    <a:pt x="251" y="98"/>
                  </a:lnTo>
                  <a:lnTo>
                    <a:pt x="221" y="95"/>
                  </a:lnTo>
                  <a:lnTo>
                    <a:pt x="212" y="89"/>
                  </a:lnTo>
                  <a:lnTo>
                    <a:pt x="201" y="90"/>
                  </a:lnTo>
                  <a:lnTo>
                    <a:pt x="187" y="89"/>
                  </a:lnTo>
                  <a:lnTo>
                    <a:pt x="130" y="50"/>
                  </a:lnTo>
                  <a:lnTo>
                    <a:pt x="99" y="50"/>
                  </a:lnTo>
                  <a:lnTo>
                    <a:pt x="83" y="34"/>
                  </a:lnTo>
                  <a:lnTo>
                    <a:pt x="83" y="8"/>
                  </a:lnTo>
                  <a:lnTo>
                    <a:pt x="59" y="0"/>
                  </a:lnTo>
                  <a:lnTo>
                    <a:pt x="30" y="31"/>
                  </a:lnTo>
                  <a:lnTo>
                    <a:pt x="3" y="59"/>
                  </a:lnTo>
                  <a:lnTo>
                    <a:pt x="25" y="91"/>
                  </a:lnTo>
                  <a:lnTo>
                    <a:pt x="30" y="115"/>
                  </a:lnTo>
                  <a:lnTo>
                    <a:pt x="50" y="169"/>
                  </a:lnTo>
                  <a:lnTo>
                    <a:pt x="34" y="203"/>
                  </a:lnTo>
                  <a:lnTo>
                    <a:pt x="13" y="235"/>
                  </a:lnTo>
                  <a:lnTo>
                    <a:pt x="0" y="253"/>
                  </a:lnTo>
                  <a:lnTo>
                    <a:pt x="0" y="256"/>
                  </a:lnTo>
                  <a:lnTo>
                    <a:pt x="10" y="274"/>
                  </a:lnTo>
                  <a:lnTo>
                    <a:pt x="7" y="309"/>
                  </a:lnTo>
                  <a:lnTo>
                    <a:pt x="168" y="404"/>
                  </a:lnTo>
                  <a:lnTo>
                    <a:pt x="171" y="432"/>
                  </a:lnTo>
                  <a:lnTo>
                    <a:pt x="234" y="478"/>
                  </a:lnTo>
                  <a:lnTo>
                    <a:pt x="252" y="463"/>
                  </a:lnTo>
                  <a:lnTo>
                    <a:pt x="261" y="432"/>
                  </a:lnTo>
                  <a:lnTo>
                    <a:pt x="276" y="413"/>
                  </a:lnTo>
                  <a:lnTo>
                    <a:pt x="283" y="380"/>
                  </a:lnTo>
                  <a:lnTo>
                    <a:pt x="300" y="376"/>
                  </a:lnTo>
                  <a:lnTo>
                    <a:pt x="311" y="356"/>
                  </a:lnTo>
                  <a:lnTo>
                    <a:pt x="342" y="337"/>
                  </a:lnTo>
                  <a:lnTo>
                    <a:pt x="316" y="299"/>
                  </a:lnTo>
                  <a:lnTo>
                    <a:pt x="315" y="128"/>
                  </a:lnTo>
                  <a:lnTo>
                    <a:pt x="353" y="74"/>
                  </a:lnTo>
                  <a:lnTo>
                    <a:pt x="353" y="74"/>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1" name="Liberia">
              <a:extLst>
                <a:ext uri="{FF2B5EF4-FFF2-40B4-BE49-F238E27FC236}">
                  <a16:creationId xmlns:a16="http://schemas.microsoft.com/office/drawing/2014/main" id="{BA299BCB-EE42-68B0-554F-641830A160A9}"/>
                </a:ext>
              </a:extLst>
            </p:cNvPr>
            <p:cNvSpPr>
              <a:spLocks/>
            </p:cNvSpPr>
            <p:nvPr/>
          </p:nvSpPr>
          <p:spPr bwMode="auto">
            <a:xfrm>
              <a:off x="5282504" y="2926687"/>
              <a:ext cx="274638" cy="312738"/>
            </a:xfrm>
            <a:custGeom>
              <a:avLst/>
              <a:gdLst>
                <a:gd name="T0" fmla="*/ 133 w 173"/>
                <a:gd name="T1" fmla="*/ 41 h 197"/>
                <a:gd name="T2" fmla="*/ 122 w 173"/>
                <a:gd name="T3" fmla="*/ 39 h 197"/>
                <a:gd name="T4" fmla="*/ 112 w 173"/>
                <a:gd name="T5" fmla="*/ 58 h 197"/>
                <a:gd name="T6" fmla="*/ 100 w 173"/>
                <a:gd name="T7" fmla="*/ 58 h 197"/>
                <a:gd name="T8" fmla="*/ 91 w 173"/>
                <a:gd name="T9" fmla="*/ 48 h 197"/>
                <a:gd name="T10" fmla="*/ 94 w 173"/>
                <a:gd name="T11" fmla="*/ 29 h 197"/>
                <a:gd name="T12" fmla="*/ 75 w 173"/>
                <a:gd name="T13" fmla="*/ 0 h 197"/>
                <a:gd name="T14" fmla="*/ 63 w 173"/>
                <a:gd name="T15" fmla="*/ 6 h 197"/>
                <a:gd name="T16" fmla="*/ 54 w 173"/>
                <a:gd name="T17" fmla="*/ 7 h 197"/>
                <a:gd name="T18" fmla="*/ 33 w 173"/>
                <a:gd name="T19" fmla="*/ 29 h 197"/>
                <a:gd name="T20" fmla="*/ 13 w 173"/>
                <a:gd name="T21" fmla="*/ 54 h 197"/>
                <a:gd name="T22" fmla="*/ 10 w 173"/>
                <a:gd name="T23" fmla="*/ 68 h 197"/>
                <a:gd name="T24" fmla="*/ 0 w 173"/>
                <a:gd name="T25" fmla="*/ 83 h 197"/>
                <a:gd name="T26" fmla="*/ 29 w 173"/>
                <a:gd name="T27" fmla="*/ 113 h 197"/>
                <a:gd name="T28" fmla="*/ 68 w 173"/>
                <a:gd name="T29" fmla="*/ 139 h 197"/>
                <a:gd name="T30" fmla="*/ 108 w 173"/>
                <a:gd name="T31" fmla="*/ 175 h 197"/>
                <a:gd name="T32" fmla="*/ 154 w 173"/>
                <a:gd name="T33" fmla="*/ 197 h 197"/>
                <a:gd name="T34" fmla="*/ 165 w 173"/>
                <a:gd name="T35" fmla="*/ 197 h 197"/>
                <a:gd name="T36" fmla="*/ 169 w 173"/>
                <a:gd name="T37" fmla="*/ 158 h 197"/>
                <a:gd name="T38" fmla="*/ 173 w 173"/>
                <a:gd name="T39" fmla="*/ 152 h 197"/>
                <a:gd name="T40" fmla="*/ 172 w 173"/>
                <a:gd name="T41" fmla="*/ 133 h 197"/>
                <a:gd name="T42" fmla="*/ 153 w 173"/>
                <a:gd name="T43" fmla="*/ 114 h 197"/>
                <a:gd name="T44" fmla="*/ 139 w 173"/>
                <a:gd name="T45" fmla="*/ 110 h 197"/>
                <a:gd name="T46" fmla="*/ 126 w 173"/>
                <a:gd name="T47" fmla="*/ 98 h 197"/>
                <a:gd name="T48" fmla="*/ 136 w 173"/>
                <a:gd name="T49" fmla="*/ 77 h 197"/>
                <a:gd name="T50" fmla="*/ 132 w 173"/>
                <a:gd name="T51" fmla="*/ 54 h 197"/>
                <a:gd name="T52" fmla="*/ 133 w 173"/>
                <a:gd name="T53" fmla="*/ 41 h 197"/>
                <a:gd name="T54" fmla="*/ 133 w 173"/>
                <a:gd name="T55" fmla="*/ 4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97">
                  <a:moveTo>
                    <a:pt x="133" y="41"/>
                  </a:moveTo>
                  <a:lnTo>
                    <a:pt x="122" y="39"/>
                  </a:lnTo>
                  <a:lnTo>
                    <a:pt x="112" y="58"/>
                  </a:lnTo>
                  <a:lnTo>
                    <a:pt x="100" y="58"/>
                  </a:lnTo>
                  <a:lnTo>
                    <a:pt x="91" y="48"/>
                  </a:lnTo>
                  <a:lnTo>
                    <a:pt x="94" y="29"/>
                  </a:lnTo>
                  <a:lnTo>
                    <a:pt x="75" y="0"/>
                  </a:lnTo>
                  <a:lnTo>
                    <a:pt x="63" y="6"/>
                  </a:lnTo>
                  <a:lnTo>
                    <a:pt x="54" y="7"/>
                  </a:lnTo>
                  <a:lnTo>
                    <a:pt x="33" y="29"/>
                  </a:lnTo>
                  <a:lnTo>
                    <a:pt x="13" y="54"/>
                  </a:lnTo>
                  <a:lnTo>
                    <a:pt x="10" y="68"/>
                  </a:lnTo>
                  <a:lnTo>
                    <a:pt x="0" y="83"/>
                  </a:lnTo>
                  <a:lnTo>
                    <a:pt x="29" y="113"/>
                  </a:lnTo>
                  <a:lnTo>
                    <a:pt x="68" y="139"/>
                  </a:lnTo>
                  <a:lnTo>
                    <a:pt x="108" y="175"/>
                  </a:lnTo>
                  <a:lnTo>
                    <a:pt x="154" y="197"/>
                  </a:lnTo>
                  <a:lnTo>
                    <a:pt x="165" y="197"/>
                  </a:lnTo>
                  <a:lnTo>
                    <a:pt x="169" y="158"/>
                  </a:lnTo>
                  <a:lnTo>
                    <a:pt x="173" y="152"/>
                  </a:lnTo>
                  <a:lnTo>
                    <a:pt x="172" y="133"/>
                  </a:lnTo>
                  <a:lnTo>
                    <a:pt x="153" y="114"/>
                  </a:lnTo>
                  <a:lnTo>
                    <a:pt x="139" y="110"/>
                  </a:lnTo>
                  <a:lnTo>
                    <a:pt x="126" y="98"/>
                  </a:lnTo>
                  <a:lnTo>
                    <a:pt x="136" y="77"/>
                  </a:lnTo>
                  <a:lnTo>
                    <a:pt x="132" y="54"/>
                  </a:lnTo>
                  <a:lnTo>
                    <a:pt x="133" y="41"/>
                  </a:lnTo>
                  <a:lnTo>
                    <a:pt x="133" y="41"/>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2" name="Libya">
              <a:extLst>
                <a:ext uri="{FF2B5EF4-FFF2-40B4-BE49-F238E27FC236}">
                  <a16:creationId xmlns:a16="http://schemas.microsoft.com/office/drawing/2014/main" id="{E929E9F1-E14D-FC5D-77B5-F70DCA116830}"/>
                </a:ext>
              </a:extLst>
            </p:cNvPr>
            <p:cNvSpPr>
              <a:spLocks/>
            </p:cNvSpPr>
            <p:nvPr/>
          </p:nvSpPr>
          <p:spPr bwMode="auto">
            <a:xfrm>
              <a:off x="6731891" y="1093125"/>
              <a:ext cx="1100138" cy="1011238"/>
            </a:xfrm>
            <a:custGeom>
              <a:avLst/>
              <a:gdLst>
                <a:gd name="T0" fmla="*/ 669 w 693"/>
                <a:gd name="T1" fmla="*/ 73 h 637"/>
                <a:gd name="T2" fmla="*/ 658 w 693"/>
                <a:gd name="T3" fmla="*/ 58 h 637"/>
                <a:gd name="T4" fmla="*/ 615 w 693"/>
                <a:gd name="T5" fmla="*/ 53 h 637"/>
                <a:gd name="T6" fmla="*/ 600 w 693"/>
                <a:gd name="T7" fmla="*/ 44 h 637"/>
                <a:gd name="T8" fmla="*/ 585 w 693"/>
                <a:gd name="T9" fmla="*/ 44 h 637"/>
                <a:gd name="T10" fmla="*/ 568 w 693"/>
                <a:gd name="T11" fmla="*/ 24 h 637"/>
                <a:gd name="T12" fmla="*/ 511 w 693"/>
                <a:gd name="T13" fmla="*/ 14 h 637"/>
                <a:gd name="T14" fmla="*/ 482 w 693"/>
                <a:gd name="T15" fmla="*/ 21 h 637"/>
                <a:gd name="T16" fmla="*/ 452 w 693"/>
                <a:gd name="T17" fmla="*/ 43 h 637"/>
                <a:gd name="T18" fmla="*/ 441 w 693"/>
                <a:gd name="T19" fmla="*/ 65 h 637"/>
                <a:gd name="T20" fmla="*/ 453 w 693"/>
                <a:gd name="T21" fmla="*/ 101 h 637"/>
                <a:gd name="T22" fmla="*/ 434 w 693"/>
                <a:gd name="T23" fmla="*/ 123 h 637"/>
                <a:gd name="T24" fmla="*/ 414 w 693"/>
                <a:gd name="T25" fmla="*/ 134 h 637"/>
                <a:gd name="T26" fmla="*/ 367 w 693"/>
                <a:gd name="T27" fmla="*/ 111 h 637"/>
                <a:gd name="T28" fmla="*/ 305 w 693"/>
                <a:gd name="T29" fmla="*/ 92 h 637"/>
                <a:gd name="T30" fmla="*/ 267 w 693"/>
                <a:gd name="T31" fmla="*/ 83 h 637"/>
                <a:gd name="T32" fmla="*/ 244 w 693"/>
                <a:gd name="T33" fmla="*/ 41 h 637"/>
                <a:gd name="T34" fmla="*/ 188 w 693"/>
                <a:gd name="T35" fmla="*/ 21 h 637"/>
                <a:gd name="T36" fmla="*/ 151 w 693"/>
                <a:gd name="T37" fmla="*/ 12 h 637"/>
                <a:gd name="T38" fmla="*/ 134 w 693"/>
                <a:gd name="T39" fmla="*/ 16 h 637"/>
                <a:gd name="T40" fmla="*/ 84 w 693"/>
                <a:gd name="T41" fmla="*/ 0 h 637"/>
                <a:gd name="T42" fmla="*/ 83 w 693"/>
                <a:gd name="T43" fmla="*/ 36 h 637"/>
                <a:gd name="T44" fmla="*/ 62 w 693"/>
                <a:gd name="T45" fmla="*/ 50 h 637"/>
                <a:gd name="T46" fmla="*/ 50 w 693"/>
                <a:gd name="T47" fmla="*/ 65 h 637"/>
                <a:gd name="T48" fmla="*/ 20 w 693"/>
                <a:gd name="T49" fmla="*/ 83 h 637"/>
                <a:gd name="T50" fmla="*/ 26 w 693"/>
                <a:gd name="T51" fmla="*/ 102 h 637"/>
                <a:gd name="T52" fmla="*/ 23 w 693"/>
                <a:gd name="T53" fmla="*/ 122 h 637"/>
                <a:gd name="T54" fmla="*/ 2 w 693"/>
                <a:gd name="T55" fmla="*/ 133 h 637"/>
                <a:gd name="T56" fmla="*/ 18 w 693"/>
                <a:gd name="T57" fmla="*/ 174 h 637"/>
                <a:gd name="T58" fmla="*/ 20 w 693"/>
                <a:gd name="T59" fmla="*/ 196 h 637"/>
                <a:gd name="T60" fmla="*/ 14 w 693"/>
                <a:gd name="T61" fmla="*/ 235 h 637"/>
                <a:gd name="T62" fmla="*/ 18 w 693"/>
                <a:gd name="T63" fmla="*/ 256 h 637"/>
                <a:gd name="T64" fmla="*/ 12 w 693"/>
                <a:gd name="T65" fmla="*/ 281 h 637"/>
                <a:gd name="T66" fmla="*/ 17 w 693"/>
                <a:gd name="T67" fmla="*/ 311 h 637"/>
                <a:gd name="T68" fmla="*/ 0 w 693"/>
                <a:gd name="T69" fmla="*/ 331 h 637"/>
                <a:gd name="T70" fmla="*/ 27 w 693"/>
                <a:gd name="T71" fmla="*/ 365 h 637"/>
                <a:gd name="T72" fmla="*/ 29 w 693"/>
                <a:gd name="T73" fmla="*/ 385 h 637"/>
                <a:gd name="T74" fmla="*/ 44 w 693"/>
                <a:gd name="T75" fmla="*/ 411 h 637"/>
                <a:gd name="T76" fmla="*/ 64 w 693"/>
                <a:gd name="T77" fmla="*/ 403 h 637"/>
                <a:gd name="T78" fmla="*/ 100 w 693"/>
                <a:gd name="T79" fmla="*/ 425 h 637"/>
                <a:gd name="T80" fmla="*/ 119 w 693"/>
                <a:gd name="T81" fmla="*/ 454 h 637"/>
                <a:gd name="T82" fmla="*/ 189 w 693"/>
                <a:gd name="T83" fmla="*/ 474 h 637"/>
                <a:gd name="T84" fmla="*/ 214 w 693"/>
                <a:gd name="T85" fmla="*/ 499 h 637"/>
                <a:gd name="T86" fmla="*/ 244 w 693"/>
                <a:gd name="T87" fmla="*/ 482 h 637"/>
                <a:gd name="T88" fmla="*/ 288 w 693"/>
                <a:gd name="T89" fmla="*/ 457 h 637"/>
                <a:gd name="T90" fmla="*/ 464 w 693"/>
                <a:gd name="T91" fmla="*/ 547 h 637"/>
                <a:gd name="T92" fmla="*/ 642 w 693"/>
                <a:gd name="T93" fmla="*/ 637 h 637"/>
                <a:gd name="T94" fmla="*/ 642 w 693"/>
                <a:gd name="T95" fmla="*/ 617 h 637"/>
                <a:gd name="T96" fmla="*/ 693 w 693"/>
                <a:gd name="T97" fmla="*/ 617 h 637"/>
                <a:gd name="T98" fmla="*/ 689 w 693"/>
                <a:gd name="T99" fmla="*/ 523 h 637"/>
                <a:gd name="T100" fmla="*/ 681 w 693"/>
                <a:gd name="T101" fmla="*/ 350 h 637"/>
                <a:gd name="T102" fmla="*/ 670 w 693"/>
                <a:gd name="T103" fmla="*/ 183 h 637"/>
                <a:gd name="T104" fmla="*/ 655 w 693"/>
                <a:gd name="T105" fmla="*/ 145 h 637"/>
                <a:gd name="T106" fmla="*/ 663 w 693"/>
                <a:gd name="T107" fmla="*/ 116 h 637"/>
                <a:gd name="T108" fmla="*/ 655 w 693"/>
                <a:gd name="T109" fmla="*/ 96 h 637"/>
                <a:gd name="T110" fmla="*/ 669 w 693"/>
                <a:gd name="T111" fmla="*/ 73 h 637"/>
                <a:gd name="T112" fmla="*/ 669 w 693"/>
                <a:gd name="T113" fmla="*/ 7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 h="637">
                  <a:moveTo>
                    <a:pt x="669" y="73"/>
                  </a:moveTo>
                  <a:lnTo>
                    <a:pt x="658" y="58"/>
                  </a:lnTo>
                  <a:lnTo>
                    <a:pt x="615" y="53"/>
                  </a:lnTo>
                  <a:lnTo>
                    <a:pt x="600" y="44"/>
                  </a:lnTo>
                  <a:lnTo>
                    <a:pt x="585" y="44"/>
                  </a:lnTo>
                  <a:lnTo>
                    <a:pt x="568" y="24"/>
                  </a:lnTo>
                  <a:lnTo>
                    <a:pt x="511" y="14"/>
                  </a:lnTo>
                  <a:lnTo>
                    <a:pt x="482" y="21"/>
                  </a:lnTo>
                  <a:lnTo>
                    <a:pt x="452" y="43"/>
                  </a:lnTo>
                  <a:lnTo>
                    <a:pt x="441" y="65"/>
                  </a:lnTo>
                  <a:lnTo>
                    <a:pt x="453" y="101"/>
                  </a:lnTo>
                  <a:lnTo>
                    <a:pt x="434" y="123"/>
                  </a:lnTo>
                  <a:lnTo>
                    <a:pt x="414" y="134"/>
                  </a:lnTo>
                  <a:lnTo>
                    <a:pt x="367" y="111"/>
                  </a:lnTo>
                  <a:lnTo>
                    <a:pt x="305" y="92"/>
                  </a:lnTo>
                  <a:lnTo>
                    <a:pt x="267" y="83"/>
                  </a:lnTo>
                  <a:lnTo>
                    <a:pt x="244" y="41"/>
                  </a:lnTo>
                  <a:lnTo>
                    <a:pt x="188" y="21"/>
                  </a:lnTo>
                  <a:lnTo>
                    <a:pt x="151" y="12"/>
                  </a:lnTo>
                  <a:lnTo>
                    <a:pt x="134" y="16"/>
                  </a:lnTo>
                  <a:lnTo>
                    <a:pt x="84" y="0"/>
                  </a:lnTo>
                  <a:lnTo>
                    <a:pt x="83" y="36"/>
                  </a:lnTo>
                  <a:lnTo>
                    <a:pt x="62" y="50"/>
                  </a:lnTo>
                  <a:lnTo>
                    <a:pt x="50" y="65"/>
                  </a:lnTo>
                  <a:lnTo>
                    <a:pt x="20" y="83"/>
                  </a:lnTo>
                  <a:lnTo>
                    <a:pt x="26" y="102"/>
                  </a:lnTo>
                  <a:lnTo>
                    <a:pt x="23" y="122"/>
                  </a:lnTo>
                  <a:lnTo>
                    <a:pt x="2" y="133"/>
                  </a:lnTo>
                  <a:lnTo>
                    <a:pt x="18" y="174"/>
                  </a:lnTo>
                  <a:lnTo>
                    <a:pt x="20" y="196"/>
                  </a:lnTo>
                  <a:lnTo>
                    <a:pt x="14" y="235"/>
                  </a:lnTo>
                  <a:lnTo>
                    <a:pt x="18" y="256"/>
                  </a:lnTo>
                  <a:lnTo>
                    <a:pt x="12" y="281"/>
                  </a:lnTo>
                  <a:lnTo>
                    <a:pt x="17" y="311"/>
                  </a:lnTo>
                  <a:lnTo>
                    <a:pt x="0" y="331"/>
                  </a:lnTo>
                  <a:lnTo>
                    <a:pt x="27" y="365"/>
                  </a:lnTo>
                  <a:lnTo>
                    <a:pt x="29" y="385"/>
                  </a:lnTo>
                  <a:lnTo>
                    <a:pt x="44" y="411"/>
                  </a:lnTo>
                  <a:lnTo>
                    <a:pt x="64" y="403"/>
                  </a:lnTo>
                  <a:lnTo>
                    <a:pt x="100" y="425"/>
                  </a:lnTo>
                  <a:lnTo>
                    <a:pt x="119" y="454"/>
                  </a:lnTo>
                  <a:lnTo>
                    <a:pt x="189" y="474"/>
                  </a:lnTo>
                  <a:lnTo>
                    <a:pt x="214" y="499"/>
                  </a:lnTo>
                  <a:lnTo>
                    <a:pt x="244" y="482"/>
                  </a:lnTo>
                  <a:lnTo>
                    <a:pt x="288" y="457"/>
                  </a:lnTo>
                  <a:lnTo>
                    <a:pt x="464" y="547"/>
                  </a:lnTo>
                  <a:lnTo>
                    <a:pt x="642" y="637"/>
                  </a:lnTo>
                  <a:lnTo>
                    <a:pt x="642" y="617"/>
                  </a:lnTo>
                  <a:lnTo>
                    <a:pt x="693" y="617"/>
                  </a:lnTo>
                  <a:lnTo>
                    <a:pt x="689" y="523"/>
                  </a:lnTo>
                  <a:lnTo>
                    <a:pt x="681" y="350"/>
                  </a:lnTo>
                  <a:lnTo>
                    <a:pt x="670" y="183"/>
                  </a:lnTo>
                  <a:lnTo>
                    <a:pt x="655" y="145"/>
                  </a:lnTo>
                  <a:lnTo>
                    <a:pt x="663" y="116"/>
                  </a:lnTo>
                  <a:lnTo>
                    <a:pt x="655" y="96"/>
                  </a:lnTo>
                  <a:lnTo>
                    <a:pt x="669" y="73"/>
                  </a:lnTo>
                  <a:lnTo>
                    <a:pt x="669" y="73"/>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3" name="Lesotho">
              <a:extLst>
                <a:ext uri="{FF2B5EF4-FFF2-40B4-BE49-F238E27FC236}">
                  <a16:creationId xmlns:a16="http://schemas.microsoft.com/office/drawing/2014/main" id="{2AF102F1-4088-0041-8632-A31508B36AF6}"/>
                </a:ext>
              </a:extLst>
            </p:cNvPr>
            <p:cNvSpPr>
              <a:spLocks/>
            </p:cNvSpPr>
            <p:nvPr/>
          </p:nvSpPr>
          <p:spPr bwMode="auto">
            <a:xfrm>
              <a:off x="7928866" y="5701637"/>
              <a:ext cx="161925" cy="147638"/>
            </a:xfrm>
            <a:custGeom>
              <a:avLst/>
              <a:gdLst>
                <a:gd name="T0" fmla="*/ 45 w 102"/>
                <a:gd name="T1" fmla="*/ 89 h 93"/>
                <a:gd name="T2" fmla="*/ 54 w 102"/>
                <a:gd name="T3" fmla="*/ 74 h 93"/>
                <a:gd name="T4" fmla="*/ 78 w 102"/>
                <a:gd name="T5" fmla="*/ 66 h 93"/>
                <a:gd name="T6" fmla="*/ 87 w 102"/>
                <a:gd name="T7" fmla="*/ 51 h 93"/>
                <a:gd name="T8" fmla="*/ 102 w 102"/>
                <a:gd name="T9" fmla="*/ 28 h 93"/>
                <a:gd name="T10" fmla="*/ 88 w 102"/>
                <a:gd name="T11" fmla="*/ 14 h 93"/>
                <a:gd name="T12" fmla="*/ 71 w 102"/>
                <a:gd name="T13" fmla="*/ 0 h 93"/>
                <a:gd name="T14" fmla="*/ 50 w 102"/>
                <a:gd name="T15" fmla="*/ 9 h 93"/>
                <a:gd name="T16" fmla="*/ 25 w 102"/>
                <a:gd name="T17" fmla="*/ 28 h 93"/>
                <a:gd name="T18" fmla="*/ 0 w 102"/>
                <a:gd name="T19" fmla="*/ 57 h 93"/>
                <a:gd name="T20" fmla="*/ 29 w 102"/>
                <a:gd name="T21" fmla="*/ 93 h 93"/>
                <a:gd name="T22" fmla="*/ 45 w 102"/>
                <a:gd name="T23" fmla="*/ 89 h 93"/>
                <a:gd name="T24" fmla="*/ 45 w 102"/>
                <a:gd name="T25" fmla="*/ 8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93">
                  <a:moveTo>
                    <a:pt x="45" y="89"/>
                  </a:moveTo>
                  <a:lnTo>
                    <a:pt x="54" y="74"/>
                  </a:lnTo>
                  <a:lnTo>
                    <a:pt x="78" y="66"/>
                  </a:lnTo>
                  <a:lnTo>
                    <a:pt x="87" y="51"/>
                  </a:lnTo>
                  <a:lnTo>
                    <a:pt x="102" y="28"/>
                  </a:lnTo>
                  <a:lnTo>
                    <a:pt x="88" y="14"/>
                  </a:lnTo>
                  <a:lnTo>
                    <a:pt x="71" y="0"/>
                  </a:lnTo>
                  <a:lnTo>
                    <a:pt x="50" y="9"/>
                  </a:lnTo>
                  <a:lnTo>
                    <a:pt x="25" y="28"/>
                  </a:lnTo>
                  <a:lnTo>
                    <a:pt x="0" y="57"/>
                  </a:lnTo>
                  <a:lnTo>
                    <a:pt x="29" y="93"/>
                  </a:lnTo>
                  <a:lnTo>
                    <a:pt x="45" y="89"/>
                  </a:lnTo>
                  <a:lnTo>
                    <a:pt x="45" y="89"/>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4" name="Morocco">
              <a:extLst>
                <a:ext uri="{FF2B5EF4-FFF2-40B4-BE49-F238E27FC236}">
                  <a16:creationId xmlns:a16="http://schemas.microsoft.com/office/drawing/2014/main" id="{5EB0803C-E105-DE1E-0DC9-16948A5FBE58}"/>
                </a:ext>
              </a:extLst>
            </p:cNvPr>
            <p:cNvSpPr>
              <a:spLocks/>
            </p:cNvSpPr>
            <p:nvPr/>
          </p:nvSpPr>
          <p:spPr bwMode="auto">
            <a:xfrm>
              <a:off x="4909441" y="896275"/>
              <a:ext cx="1104900" cy="1069975"/>
            </a:xfrm>
            <a:custGeom>
              <a:avLst/>
              <a:gdLst>
                <a:gd name="T0" fmla="*/ 635 w 696"/>
                <a:gd name="T1" fmla="*/ 27 h 674"/>
                <a:gd name="T2" fmla="*/ 551 w 696"/>
                <a:gd name="T3" fmla="*/ 21 h 674"/>
                <a:gd name="T4" fmla="*/ 495 w 696"/>
                <a:gd name="T5" fmla="*/ 0 h 674"/>
                <a:gd name="T6" fmla="*/ 453 w 696"/>
                <a:gd name="T7" fmla="*/ 78 h 674"/>
                <a:gd name="T8" fmla="*/ 378 w 696"/>
                <a:gd name="T9" fmla="*/ 119 h 674"/>
                <a:gd name="T10" fmla="*/ 343 w 696"/>
                <a:gd name="T11" fmla="*/ 176 h 674"/>
                <a:gd name="T12" fmla="*/ 335 w 696"/>
                <a:gd name="T13" fmla="*/ 275 h 674"/>
                <a:gd name="T14" fmla="*/ 275 w 696"/>
                <a:gd name="T15" fmla="*/ 326 h 674"/>
                <a:gd name="T16" fmla="*/ 200 w 696"/>
                <a:gd name="T17" fmla="*/ 364 h 674"/>
                <a:gd name="T18" fmla="*/ 178 w 696"/>
                <a:gd name="T19" fmla="*/ 382 h 674"/>
                <a:gd name="T20" fmla="*/ 119 w 696"/>
                <a:gd name="T21" fmla="*/ 447 h 674"/>
                <a:gd name="T22" fmla="*/ 101 w 696"/>
                <a:gd name="T23" fmla="*/ 501 h 674"/>
                <a:gd name="T24" fmla="*/ 74 w 696"/>
                <a:gd name="T25" fmla="*/ 536 h 674"/>
                <a:gd name="T26" fmla="*/ 32 w 696"/>
                <a:gd name="T27" fmla="*/ 600 h 674"/>
                <a:gd name="T28" fmla="*/ 20 w 696"/>
                <a:gd name="T29" fmla="*/ 640 h 674"/>
                <a:gd name="T30" fmla="*/ 0 w 696"/>
                <a:gd name="T31" fmla="*/ 674 h 674"/>
                <a:gd name="T32" fmla="*/ 99 w 696"/>
                <a:gd name="T33" fmla="*/ 671 h 674"/>
                <a:gd name="T34" fmla="*/ 123 w 696"/>
                <a:gd name="T35" fmla="*/ 633 h 674"/>
                <a:gd name="T36" fmla="*/ 201 w 696"/>
                <a:gd name="T37" fmla="*/ 517 h 674"/>
                <a:gd name="T38" fmla="*/ 236 w 696"/>
                <a:gd name="T39" fmla="*/ 454 h 674"/>
                <a:gd name="T40" fmla="*/ 288 w 696"/>
                <a:gd name="T41" fmla="*/ 413 h 674"/>
                <a:gd name="T42" fmla="*/ 324 w 696"/>
                <a:gd name="T43" fmla="*/ 419 h 674"/>
                <a:gd name="T44" fmla="*/ 364 w 696"/>
                <a:gd name="T45" fmla="*/ 406 h 674"/>
                <a:gd name="T46" fmla="*/ 364 w 696"/>
                <a:gd name="T47" fmla="*/ 381 h 674"/>
                <a:gd name="T48" fmla="*/ 371 w 696"/>
                <a:gd name="T49" fmla="*/ 325 h 674"/>
                <a:gd name="T50" fmla="*/ 484 w 696"/>
                <a:gd name="T51" fmla="*/ 284 h 674"/>
                <a:gd name="T52" fmla="*/ 537 w 696"/>
                <a:gd name="T53" fmla="*/ 247 h 674"/>
                <a:gd name="T54" fmla="*/ 589 w 696"/>
                <a:gd name="T55" fmla="*/ 195 h 674"/>
                <a:gd name="T56" fmla="*/ 633 w 696"/>
                <a:gd name="T57" fmla="*/ 174 h 674"/>
                <a:gd name="T58" fmla="*/ 696 w 696"/>
                <a:gd name="T59" fmla="*/ 147 h 674"/>
                <a:gd name="T60" fmla="*/ 671 w 696"/>
                <a:gd name="T61" fmla="*/ 87 h 674"/>
                <a:gd name="T62" fmla="*/ 653 w 696"/>
                <a:gd name="T63" fmla="*/ 28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6" h="674">
                  <a:moveTo>
                    <a:pt x="653" y="28"/>
                  </a:moveTo>
                  <a:lnTo>
                    <a:pt x="635" y="27"/>
                  </a:lnTo>
                  <a:lnTo>
                    <a:pt x="591" y="17"/>
                  </a:lnTo>
                  <a:lnTo>
                    <a:pt x="551" y="21"/>
                  </a:lnTo>
                  <a:lnTo>
                    <a:pt x="526" y="0"/>
                  </a:lnTo>
                  <a:lnTo>
                    <a:pt x="495" y="0"/>
                  </a:lnTo>
                  <a:lnTo>
                    <a:pt x="482" y="29"/>
                  </a:lnTo>
                  <a:lnTo>
                    <a:pt x="453" y="78"/>
                  </a:lnTo>
                  <a:lnTo>
                    <a:pt x="421" y="98"/>
                  </a:lnTo>
                  <a:lnTo>
                    <a:pt x="378" y="119"/>
                  </a:lnTo>
                  <a:lnTo>
                    <a:pt x="349" y="151"/>
                  </a:lnTo>
                  <a:lnTo>
                    <a:pt x="343" y="176"/>
                  </a:lnTo>
                  <a:lnTo>
                    <a:pt x="326" y="216"/>
                  </a:lnTo>
                  <a:lnTo>
                    <a:pt x="335" y="275"/>
                  </a:lnTo>
                  <a:lnTo>
                    <a:pt x="297" y="314"/>
                  </a:lnTo>
                  <a:lnTo>
                    <a:pt x="275" y="326"/>
                  </a:lnTo>
                  <a:lnTo>
                    <a:pt x="241" y="358"/>
                  </a:lnTo>
                  <a:lnTo>
                    <a:pt x="200" y="364"/>
                  </a:lnTo>
                  <a:lnTo>
                    <a:pt x="178" y="382"/>
                  </a:lnTo>
                  <a:lnTo>
                    <a:pt x="178" y="382"/>
                  </a:lnTo>
                  <a:lnTo>
                    <a:pt x="148" y="430"/>
                  </a:lnTo>
                  <a:lnTo>
                    <a:pt x="119" y="447"/>
                  </a:lnTo>
                  <a:lnTo>
                    <a:pt x="103" y="476"/>
                  </a:lnTo>
                  <a:lnTo>
                    <a:pt x="101" y="501"/>
                  </a:lnTo>
                  <a:lnTo>
                    <a:pt x="88" y="528"/>
                  </a:lnTo>
                  <a:lnTo>
                    <a:pt x="74" y="536"/>
                  </a:lnTo>
                  <a:lnTo>
                    <a:pt x="48" y="566"/>
                  </a:lnTo>
                  <a:lnTo>
                    <a:pt x="32" y="600"/>
                  </a:lnTo>
                  <a:lnTo>
                    <a:pt x="35" y="615"/>
                  </a:lnTo>
                  <a:lnTo>
                    <a:pt x="20" y="640"/>
                  </a:lnTo>
                  <a:lnTo>
                    <a:pt x="2" y="652"/>
                  </a:lnTo>
                  <a:lnTo>
                    <a:pt x="0" y="674"/>
                  </a:lnTo>
                  <a:lnTo>
                    <a:pt x="0" y="674"/>
                  </a:lnTo>
                  <a:lnTo>
                    <a:pt x="99" y="671"/>
                  </a:lnTo>
                  <a:lnTo>
                    <a:pt x="105" y="654"/>
                  </a:lnTo>
                  <a:lnTo>
                    <a:pt x="123" y="633"/>
                  </a:lnTo>
                  <a:lnTo>
                    <a:pt x="139" y="567"/>
                  </a:lnTo>
                  <a:lnTo>
                    <a:pt x="201" y="517"/>
                  </a:lnTo>
                  <a:lnTo>
                    <a:pt x="223" y="458"/>
                  </a:lnTo>
                  <a:lnTo>
                    <a:pt x="236" y="454"/>
                  </a:lnTo>
                  <a:lnTo>
                    <a:pt x="252" y="417"/>
                  </a:lnTo>
                  <a:lnTo>
                    <a:pt x="288" y="413"/>
                  </a:lnTo>
                  <a:lnTo>
                    <a:pt x="304" y="419"/>
                  </a:lnTo>
                  <a:lnTo>
                    <a:pt x="324" y="419"/>
                  </a:lnTo>
                  <a:lnTo>
                    <a:pt x="337" y="408"/>
                  </a:lnTo>
                  <a:lnTo>
                    <a:pt x="364" y="406"/>
                  </a:lnTo>
                  <a:lnTo>
                    <a:pt x="364" y="381"/>
                  </a:lnTo>
                  <a:lnTo>
                    <a:pt x="364" y="381"/>
                  </a:lnTo>
                  <a:lnTo>
                    <a:pt x="370" y="381"/>
                  </a:lnTo>
                  <a:lnTo>
                    <a:pt x="371" y="325"/>
                  </a:lnTo>
                  <a:lnTo>
                    <a:pt x="442" y="291"/>
                  </a:lnTo>
                  <a:lnTo>
                    <a:pt x="484" y="284"/>
                  </a:lnTo>
                  <a:lnTo>
                    <a:pt x="519" y="271"/>
                  </a:lnTo>
                  <a:lnTo>
                    <a:pt x="537" y="247"/>
                  </a:lnTo>
                  <a:lnTo>
                    <a:pt x="587" y="230"/>
                  </a:lnTo>
                  <a:lnTo>
                    <a:pt x="589" y="195"/>
                  </a:lnTo>
                  <a:lnTo>
                    <a:pt x="613" y="190"/>
                  </a:lnTo>
                  <a:lnTo>
                    <a:pt x="633" y="174"/>
                  </a:lnTo>
                  <a:lnTo>
                    <a:pt x="689" y="165"/>
                  </a:lnTo>
                  <a:lnTo>
                    <a:pt x="696" y="147"/>
                  </a:lnTo>
                  <a:lnTo>
                    <a:pt x="685" y="137"/>
                  </a:lnTo>
                  <a:lnTo>
                    <a:pt x="671" y="87"/>
                  </a:lnTo>
                  <a:lnTo>
                    <a:pt x="669" y="59"/>
                  </a:lnTo>
                  <a:lnTo>
                    <a:pt x="653" y="28"/>
                  </a:lnTo>
                  <a:lnTo>
                    <a:pt x="653" y="2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5" name="Madagascar">
              <a:extLst>
                <a:ext uri="{FF2B5EF4-FFF2-40B4-BE49-F238E27FC236}">
                  <a16:creationId xmlns:a16="http://schemas.microsoft.com/office/drawing/2014/main" id="{9C755EFD-AE18-765E-0EDC-6AD4B83FF6C3}"/>
                </a:ext>
              </a:extLst>
            </p:cNvPr>
            <p:cNvSpPr>
              <a:spLocks/>
            </p:cNvSpPr>
            <p:nvPr/>
          </p:nvSpPr>
          <p:spPr bwMode="auto">
            <a:xfrm>
              <a:off x="9090916" y="4463387"/>
              <a:ext cx="541338" cy="1009650"/>
            </a:xfrm>
            <a:custGeom>
              <a:avLst/>
              <a:gdLst>
                <a:gd name="T0" fmla="*/ 327 w 341"/>
                <a:gd name="T1" fmla="*/ 70 h 636"/>
                <a:gd name="T2" fmla="*/ 318 w 341"/>
                <a:gd name="T3" fmla="*/ 40 h 636"/>
                <a:gd name="T4" fmla="*/ 307 w 341"/>
                <a:gd name="T5" fmla="*/ 19 h 636"/>
                <a:gd name="T6" fmla="*/ 292 w 341"/>
                <a:gd name="T7" fmla="*/ 0 h 636"/>
                <a:gd name="T8" fmla="*/ 277 w 341"/>
                <a:gd name="T9" fmla="*/ 20 h 636"/>
                <a:gd name="T10" fmla="*/ 274 w 341"/>
                <a:gd name="T11" fmla="*/ 49 h 636"/>
                <a:gd name="T12" fmla="*/ 249 w 341"/>
                <a:gd name="T13" fmla="*/ 81 h 636"/>
                <a:gd name="T14" fmla="*/ 229 w 341"/>
                <a:gd name="T15" fmla="*/ 75 h 636"/>
                <a:gd name="T16" fmla="*/ 234 w 341"/>
                <a:gd name="T17" fmla="*/ 96 h 636"/>
                <a:gd name="T18" fmla="*/ 219 w 341"/>
                <a:gd name="T19" fmla="*/ 119 h 636"/>
                <a:gd name="T20" fmla="*/ 182 w 341"/>
                <a:gd name="T21" fmla="*/ 148 h 636"/>
                <a:gd name="T22" fmla="*/ 155 w 341"/>
                <a:gd name="T23" fmla="*/ 175 h 636"/>
                <a:gd name="T24" fmla="*/ 135 w 341"/>
                <a:gd name="T25" fmla="*/ 175 h 636"/>
                <a:gd name="T26" fmla="*/ 119 w 341"/>
                <a:gd name="T27" fmla="*/ 184 h 636"/>
                <a:gd name="T28" fmla="*/ 93 w 341"/>
                <a:gd name="T29" fmla="*/ 193 h 636"/>
                <a:gd name="T30" fmla="*/ 71 w 341"/>
                <a:gd name="T31" fmla="*/ 196 h 636"/>
                <a:gd name="T32" fmla="*/ 63 w 341"/>
                <a:gd name="T33" fmla="*/ 226 h 636"/>
                <a:gd name="T34" fmla="*/ 46 w 341"/>
                <a:gd name="T35" fmla="*/ 252 h 636"/>
                <a:gd name="T36" fmla="*/ 47 w 341"/>
                <a:gd name="T37" fmla="*/ 295 h 636"/>
                <a:gd name="T38" fmla="*/ 53 w 341"/>
                <a:gd name="T39" fmla="*/ 324 h 636"/>
                <a:gd name="T40" fmla="*/ 62 w 341"/>
                <a:gd name="T41" fmla="*/ 347 h 636"/>
                <a:gd name="T42" fmla="*/ 56 w 341"/>
                <a:gd name="T43" fmla="*/ 377 h 636"/>
                <a:gd name="T44" fmla="*/ 32 w 341"/>
                <a:gd name="T45" fmla="*/ 412 h 636"/>
                <a:gd name="T46" fmla="*/ 31 w 341"/>
                <a:gd name="T47" fmla="*/ 428 h 636"/>
                <a:gd name="T48" fmla="*/ 10 w 341"/>
                <a:gd name="T49" fmla="*/ 436 h 636"/>
                <a:gd name="T50" fmla="*/ 0 w 341"/>
                <a:gd name="T51" fmla="*/ 470 h 636"/>
                <a:gd name="T52" fmla="*/ 2 w 341"/>
                <a:gd name="T53" fmla="*/ 504 h 636"/>
                <a:gd name="T54" fmla="*/ 14 w 341"/>
                <a:gd name="T55" fmla="*/ 541 h 636"/>
                <a:gd name="T56" fmla="*/ 14 w 341"/>
                <a:gd name="T57" fmla="*/ 583 h 636"/>
                <a:gd name="T58" fmla="*/ 23 w 341"/>
                <a:gd name="T59" fmla="*/ 608 h 636"/>
                <a:gd name="T60" fmla="*/ 57 w 341"/>
                <a:gd name="T61" fmla="*/ 625 h 636"/>
                <a:gd name="T62" fmla="*/ 81 w 341"/>
                <a:gd name="T63" fmla="*/ 636 h 636"/>
                <a:gd name="T64" fmla="*/ 120 w 341"/>
                <a:gd name="T65" fmla="*/ 617 h 636"/>
                <a:gd name="T66" fmla="*/ 156 w 341"/>
                <a:gd name="T67" fmla="*/ 606 h 636"/>
                <a:gd name="T68" fmla="*/ 181 w 341"/>
                <a:gd name="T69" fmla="*/ 551 h 636"/>
                <a:gd name="T70" fmla="*/ 203 w 341"/>
                <a:gd name="T71" fmla="*/ 485 h 636"/>
                <a:gd name="T72" fmla="*/ 238 w 341"/>
                <a:gd name="T73" fmla="*/ 397 h 636"/>
                <a:gd name="T74" fmla="*/ 264 w 341"/>
                <a:gd name="T75" fmla="*/ 332 h 636"/>
                <a:gd name="T76" fmla="*/ 285 w 341"/>
                <a:gd name="T77" fmla="*/ 277 h 636"/>
                <a:gd name="T78" fmla="*/ 292 w 341"/>
                <a:gd name="T79" fmla="*/ 237 h 636"/>
                <a:gd name="T80" fmla="*/ 304 w 341"/>
                <a:gd name="T81" fmla="*/ 226 h 636"/>
                <a:gd name="T82" fmla="*/ 310 w 341"/>
                <a:gd name="T83" fmla="*/ 207 h 636"/>
                <a:gd name="T84" fmla="*/ 303 w 341"/>
                <a:gd name="T85" fmla="*/ 172 h 636"/>
                <a:gd name="T86" fmla="*/ 313 w 341"/>
                <a:gd name="T87" fmla="*/ 158 h 636"/>
                <a:gd name="T88" fmla="*/ 325 w 341"/>
                <a:gd name="T89" fmla="*/ 186 h 636"/>
                <a:gd name="T90" fmla="*/ 334 w 341"/>
                <a:gd name="T91" fmla="*/ 171 h 636"/>
                <a:gd name="T92" fmla="*/ 341 w 341"/>
                <a:gd name="T93" fmla="*/ 149 h 636"/>
                <a:gd name="T94" fmla="*/ 331 w 341"/>
                <a:gd name="T95" fmla="*/ 127 h 636"/>
                <a:gd name="T96" fmla="*/ 327 w 341"/>
                <a:gd name="T97" fmla="*/ 7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1" h="636">
                  <a:moveTo>
                    <a:pt x="327" y="70"/>
                  </a:moveTo>
                  <a:lnTo>
                    <a:pt x="318" y="40"/>
                  </a:lnTo>
                  <a:lnTo>
                    <a:pt x="307" y="19"/>
                  </a:lnTo>
                  <a:lnTo>
                    <a:pt x="292" y="0"/>
                  </a:lnTo>
                  <a:lnTo>
                    <a:pt x="277" y="20"/>
                  </a:lnTo>
                  <a:lnTo>
                    <a:pt x="274" y="49"/>
                  </a:lnTo>
                  <a:lnTo>
                    <a:pt x="249" y="81"/>
                  </a:lnTo>
                  <a:lnTo>
                    <a:pt x="229" y="75"/>
                  </a:lnTo>
                  <a:lnTo>
                    <a:pt x="234" y="96"/>
                  </a:lnTo>
                  <a:lnTo>
                    <a:pt x="219" y="119"/>
                  </a:lnTo>
                  <a:lnTo>
                    <a:pt x="182" y="148"/>
                  </a:lnTo>
                  <a:lnTo>
                    <a:pt x="155" y="175"/>
                  </a:lnTo>
                  <a:lnTo>
                    <a:pt x="135" y="175"/>
                  </a:lnTo>
                  <a:lnTo>
                    <a:pt x="119" y="184"/>
                  </a:lnTo>
                  <a:lnTo>
                    <a:pt x="93" y="193"/>
                  </a:lnTo>
                  <a:lnTo>
                    <a:pt x="71" y="196"/>
                  </a:lnTo>
                  <a:lnTo>
                    <a:pt x="63" y="226"/>
                  </a:lnTo>
                  <a:lnTo>
                    <a:pt x="46" y="252"/>
                  </a:lnTo>
                  <a:lnTo>
                    <a:pt x="47" y="295"/>
                  </a:lnTo>
                  <a:lnTo>
                    <a:pt x="53" y="324"/>
                  </a:lnTo>
                  <a:lnTo>
                    <a:pt x="62" y="347"/>
                  </a:lnTo>
                  <a:lnTo>
                    <a:pt x="56" y="377"/>
                  </a:lnTo>
                  <a:lnTo>
                    <a:pt x="32" y="412"/>
                  </a:lnTo>
                  <a:lnTo>
                    <a:pt x="31" y="428"/>
                  </a:lnTo>
                  <a:lnTo>
                    <a:pt x="10" y="436"/>
                  </a:lnTo>
                  <a:lnTo>
                    <a:pt x="0" y="470"/>
                  </a:lnTo>
                  <a:lnTo>
                    <a:pt x="2" y="504"/>
                  </a:lnTo>
                  <a:lnTo>
                    <a:pt x="14" y="541"/>
                  </a:lnTo>
                  <a:lnTo>
                    <a:pt x="14" y="583"/>
                  </a:lnTo>
                  <a:lnTo>
                    <a:pt x="23" y="608"/>
                  </a:lnTo>
                  <a:lnTo>
                    <a:pt x="57" y="625"/>
                  </a:lnTo>
                  <a:lnTo>
                    <a:pt x="81" y="636"/>
                  </a:lnTo>
                  <a:lnTo>
                    <a:pt x="120" y="617"/>
                  </a:lnTo>
                  <a:lnTo>
                    <a:pt x="156" y="606"/>
                  </a:lnTo>
                  <a:lnTo>
                    <a:pt x="181" y="551"/>
                  </a:lnTo>
                  <a:lnTo>
                    <a:pt x="203" y="485"/>
                  </a:lnTo>
                  <a:lnTo>
                    <a:pt x="238" y="397"/>
                  </a:lnTo>
                  <a:lnTo>
                    <a:pt x="264" y="332"/>
                  </a:lnTo>
                  <a:lnTo>
                    <a:pt x="285" y="277"/>
                  </a:lnTo>
                  <a:lnTo>
                    <a:pt x="292" y="237"/>
                  </a:lnTo>
                  <a:lnTo>
                    <a:pt x="304" y="226"/>
                  </a:lnTo>
                  <a:lnTo>
                    <a:pt x="310" y="207"/>
                  </a:lnTo>
                  <a:lnTo>
                    <a:pt x="303" y="172"/>
                  </a:lnTo>
                  <a:lnTo>
                    <a:pt x="313" y="158"/>
                  </a:lnTo>
                  <a:lnTo>
                    <a:pt x="325" y="186"/>
                  </a:lnTo>
                  <a:lnTo>
                    <a:pt x="334" y="171"/>
                  </a:lnTo>
                  <a:lnTo>
                    <a:pt x="341" y="149"/>
                  </a:lnTo>
                  <a:lnTo>
                    <a:pt x="331" y="127"/>
                  </a:lnTo>
                  <a:lnTo>
                    <a:pt x="327" y="7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6" name="Mali">
              <a:extLst>
                <a:ext uri="{FF2B5EF4-FFF2-40B4-BE49-F238E27FC236}">
                  <a16:creationId xmlns:a16="http://schemas.microsoft.com/office/drawing/2014/main" id="{050ED523-A9F0-ADC5-0E98-E8590759F263}"/>
                </a:ext>
              </a:extLst>
            </p:cNvPr>
            <p:cNvSpPr>
              <a:spLocks/>
            </p:cNvSpPr>
            <p:nvPr/>
          </p:nvSpPr>
          <p:spPr bwMode="auto">
            <a:xfrm>
              <a:off x="5236466" y="1701137"/>
              <a:ext cx="1154113" cy="1109663"/>
            </a:xfrm>
            <a:custGeom>
              <a:avLst/>
              <a:gdLst>
                <a:gd name="T0" fmla="*/ 677 w 727"/>
                <a:gd name="T1" fmla="*/ 278 h 699"/>
                <a:gd name="T2" fmla="*/ 657 w 727"/>
                <a:gd name="T3" fmla="*/ 240 h 699"/>
                <a:gd name="T4" fmla="*/ 618 w 727"/>
                <a:gd name="T5" fmla="*/ 206 h 699"/>
                <a:gd name="T6" fmla="*/ 324 w 727"/>
                <a:gd name="T7" fmla="*/ 0 h 699"/>
                <a:gd name="T8" fmla="*/ 277 w 727"/>
                <a:gd name="T9" fmla="*/ 204 h 699"/>
                <a:gd name="T10" fmla="*/ 304 w 727"/>
                <a:gd name="T11" fmla="*/ 413 h 699"/>
                <a:gd name="T12" fmla="*/ 117 w 727"/>
                <a:gd name="T13" fmla="*/ 446 h 699"/>
                <a:gd name="T14" fmla="*/ 93 w 727"/>
                <a:gd name="T15" fmla="*/ 454 h 699"/>
                <a:gd name="T16" fmla="*/ 37 w 727"/>
                <a:gd name="T17" fmla="*/ 449 h 699"/>
                <a:gd name="T18" fmla="*/ 15 w 727"/>
                <a:gd name="T19" fmla="*/ 478 h 699"/>
                <a:gd name="T20" fmla="*/ 2 w 727"/>
                <a:gd name="T21" fmla="*/ 516 h 699"/>
                <a:gd name="T22" fmla="*/ 26 w 727"/>
                <a:gd name="T23" fmla="*/ 556 h 699"/>
                <a:gd name="T24" fmla="*/ 28 w 727"/>
                <a:gd name="T25" fmla="*/ 589 h 699"/>
                <a:gd name="T26" fmla="*/ 37 w 727"/>
                <a:gd name="T27" fmla="*/ 606 h 699"/>
                <a:gd name="T28" fmla="*/ 57 w 727"/>
                <a:gd name="T29" fmla="*/ 601 h 699"/>
                <a:gd name="T30" fmla="*/ 88 w 727"/>
                <a:gd name="T31" fmla="*/ 617 h 699"/>
                <a:gd name="T32" fmla="*/ 114 w 727"/>
                <a:gd name="T33" fmla="*/ 600 h 699"/>
                <a:gd name="T34" fmla="*/ 133 w 727"/>
                <a:gd name="T35" fmla="*/ 595 h 699"/>
                <a:gd name="T36" fmla="*/ 149 w 727"/>
                <a:gd name="T37" fmla="*/ 619 h 699"/>
                <a:gd name="T38" fmla="*/ 158 w 727"/>
                <a:gd name="T39" fmla="*/ 650 h 699"/>
                <a:gd name="T40" fmla="*/ 165 w 727"/>
                <a:gd name="T41" fmla="*/ 662 h 699"/>
                <a:gd name="T42" fmla="*/ 168 w 727"/>
                <a:gd name="T43" fmla="*/ 680 h 699"/>
                <a:gd name="T44" fmla="*/ 187 w 727"/>
                <a:gd name="T45" fmla="*/ 690 h 699"/>
                <a:gd name="T46" fmla="*/ 234 w 727"/>
                <a:gd name="T47" fmla="*/ 697 h 699"/>
                <a:gd name="T48" fmla="*/ 250 w 727"/>
                <a:gd name="T49" fmla="*/ 684 h 699"/>
                <a:gd name="T50" fmla="*/ 269 w 727"/>
                <a:gd name="T51" fmla="*/ 699 h 699"/>
                <a:gd name="T52" fmla="*/ 299 w 727"/>
                <a:gd name="T53" fmla="*/ 686 h 699"/>
                <a:gd name="T54" fmla="*/ 308 w 727"/>
                <a:gd name="T55" fmla="*/ 639 h 699"/>
                <a:gd name="T56" fmla="*/ 342 w 727"/>
                <a:gd name="T57" fmla="*/ 584 h 699"/>
                <a:gd name="T58" fmla="*/ 361 w 727"/>
                <a:gd name="T59" fmla="*/ 541 h 699"/>
                <a:gd name="T60" fmla="*/ 401 w 727"/>
                <a:gd name="T61" fmla="*/ 538 h 699"/>
                <a:gd name="T62" fmla="*/ 441 w 727"/>
                <a:gd name="T63" fmla="*/ 504 h 699"/>
                <a:gd name="T64" fmla="*/ 491 w 727"/>
                <a:gd name="T65" fmla="*/ 470 h 699"/>
                <a:gd name="T66" fmla="*/ 527 w 727"/>
                <a:gd name="T67" fmla="*/ 472 h 699"/>
                <a:gd name="T68" fmla="*/ 583 w 727"/>
                <a:gd name="T69" fmla="*/ 470 h 699"/>
                <a:gd name="T70" fmla="*/ 660 w 727"/>
                <a:gd name="T71" fmla="*/ 449 h 699"/>
                <a:gd name="T72" fmla="*/ 702 w 727"/>
                <a:gd name="T73" fmla="*/ 414 h 699"/>
                <a:gd name="T74" fmla="*/ 726 w 727"/>
                <a:gd name="T75" fmla="*/ 274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7" h="699">
                  <a:moveTo>
                    <a:pt x="726" y="274"/>
                  </a:moveTo>
                  <a:lnTo>
                    <a:pt x="677" y="278"/>
                  </a:lnTo>
                  <a:lnTo>
                    <a:pt x="677" y="248"/>
                  </a:lnTo>
                  <a:lnTo>
                    <a:pt x="657" y="240"/>
                  </a:lnTo>
                  <a:lnTo>
                    <a:pt x="629" y="227"/>
                  </a:lnTo>
                  <a:lnTo>
                    <a:pt x="618" y="206"/>
                  </a:lnTo>
                  <a:lnTo>
                    <a:pt x="470" y="103"/>
                  </a:lnTo>
                  <a:lnTo>
                    <a:pt x="324" y="0"/>
                  </a:lnTo>
                  <a:lnTo>
                    <a:pt x="258" y="1"/>
                  </a:lnTo>
                  <a:lnTo>
                    <a:pt x="277" y="204"/>
                  </a:lnTo>
                  <a:lnTo>
                    <a:pt x="297" y="407"/>
                  </a:lnTo>
                  <a:lnTo>
                    <a:pt x="304" y="413"/>
                  </a:lnTo>
                  <a:lnTo>
                    <a:pt x="294" y="445"/>
                  </a:lnTo>
                  <a:lnTo>
                    <a:pt x="117" y="446"/>
                  </a:lnTo>
                  <a:lnTo>
                    <a:pt x="110" y="456"/>
                  </a:lnTo>
                  <a:lnTo>
                    <a:pt x="93" y="454"/>
                  </a:lnTo>
                  <a:lnTo>
                    <a:pt x="68" y="463"/>
                  </a:lnTo>
                  <a:lnTo>
                    <a:pt x="37" y="449"/>
                  </a:lnTo>
                  <a:lnTo>
                    <a:pt x="23" y="451"/>
                  </a:lnTo>
                  <a:lnTo>
                    <a:pt x="15" y="478"/>
                  </a:lnTo>
                  <a:lnTo>
                    <a:pt x="0" y="487"/>
                  </a:lnTo>
                  <a:lnTo>
                    <a:pt x="2" y="516"/>
                  </a:lnTo>
                  <a:lnTo>
                    <a:pt x="10" y="543"/>
                  </a:lnTo>
                  <a:lnTo>
                    <a:pt x="26" y="556"/>
                  </a:lnTo>
                  <a:lnTo>
                    <a:pt x="30" y="574"/>
                  </a:lnTo>
                  <a:lnTo>
                    <a:pt x="28" y="589"/>
                  </a:lnTo>
                  <a:lnTo>
                    <a:pt x="30" y="606"/>
                  </a:lnTo>
                  <a:lnTo>
                    <a:pt x="37" y="606"/>
                  </a:lnTo>
                  <a:lnTo>
                    <a:pt x="49" y="600"/>
                  </a:lnTo>
                  <a:lnTo>
                    <a:pt x="57" y="601"/>
                  </a:lnTo>
                  <a:lnTo>
                    <a:pt x="68" y="613"/>
                  </a:lnTo>
                  <a:lnTo>
                    <a:pt x="88" y="617"/>
                  </a:lnTo>
                  <a:lnTo>
                    <a:pt x="99" y="607"/>
                  </a:lnTo>
                  <a:lnTo>
                    <a:pt x="114" y="600"/>
                  </a:lnTo>
                  <a:lnTo>
                    <a:pt x="125" y="594"/>
                  </a:lnTo>
                  <a:lnTo>
                    <a:pt x="133" y="595"/>
                  </a:lnTo>
                  <a:lnTo>
                    <a:pt x="143" y="605"/>
                  </a:lnTo>
                  <a:lnTo>
                    <a:pt x="149" y="619"/>
                  </a:lnTo>
                  <a:lnTo>
                    <a:pt x="167" y="639"/>
                  </a:lnTo>
                  <a:lnTo>
                    <a:pt x="158" y="650"/>
                  </a:lnTo>
                  <a:lnTo>
                    <a:pt x="155" y="666"/>
                  </a:lnTo>
                  <a:lnTo>
                    <a:pt x="165" y="662"/>
                  </a:lnTo>
                  <a:lnTo>
                    <a:pt x="171" y="667"/>
                  </a:lnTo>
                  <a:lnTo>
                    <a:pt x="168" y="680"/>
                  </a:lnTo>
                  <a:lnTo>
                    <a:pt x="182" y="694"/>
                  </a:lnTo>
                  <a:lnTo>
                    <a:pt x="187" y="690"/>
                  </a:lnTo>
                  <a:lnTo>
                    <a:pt x="200" y="697"/>
                  </a:lnTo>
                  <a:lnTo>
                    <a:pt x="234" y="697"/>
                  </a:lnTo>
                  <a:lnTo>
                    <a:pt x="242" y="684"/>
                  </a:lnTo>
                  <a:lnTo>
                    <a:pt x="250" y="684"/>
                  </a:lnTo>
                  <a:lnTo>
                    <a:pt x="263" y="679"/>
                  </a:lnTo>
                  <a:lnTo>
                    <a:pt x="269" y="699"/>
                  </a:lnTo>
                  <a:lnTo>
                    <a:pt x="280" y="694"/>
                  </a:lnTo>
                  <a:lnTo>
                    <a:pt x="299" y="686"/>
                  </a:lnTo>
                  <a:lnTo>
                    <a:pt x="295" y="659"/>
                  </a:lnTo>
                  <a:lnTo>
                    <a:pt x="308" y="639"/>
                  </a:lnTo>
                  <a:lnTo>
                    <a:pt x="307" y="623"/>
                  </a:lnTo>
                  <a:lnTo>
                    <a:pt x="342" y="584"/>
                  </a:lnTo>
                  <a:lnTo>
                    <a:pt x="349" y="552"/>
                  </a:lnTo>
                  <a:lnTo>
                    <a:pt x="361" y="541"/>
                  </a:lnTo>
                  <a:lnTo>
                    <a:pt x="383" y="547"/>
                  </a:lnTo>
                  <a:lnTo>
                    <a:pt x="401" y="538"/>
                  </a:lnTo>
                  <a:lnTo>
                    <a:pt x="407" y="526"/>
                  </a:lnTo>
                  <a:lnTo>
                    <a:pt x="441" y="504"/>
                  </a:lnTo>
                  <a:lnTo>
                    <a:pt x="450" y="490"/>
                  </a:lnTo>
                  <a:lnTo>
                    <a:pt x="491" y="470"/>
                  </a:lnTo>
                  <a:lnTo>
                    <a:pt x="516" y="464"/>
                  </a:lnTo>
                  <a:lnTo>
                    <a:pt x="527" y="472"/>
                  </a:lnTo>
                  <a:lnTo>
                    <a:pt x="555" y="472"/>
                  </a:lnTo>
                  <a:lnTo>
                    <a:pt x="583" y="470"/>
                  </a:lnTo>
                  <a:lnTo>
                    <a:pt x="600" y="454"/>
                  </a:lnTo>
                  <a:lnTo>
                    <a:pt x="660" y="449"/>
                  </a:lnTo>
                  <a:lnTo>
                    <a:pt x="699" y="442"/>
                  </a:lnTo>
                  <a:lnTo>
                    <a:pt x="702" y="414"/>
                  </a:lnTo>
                  <a:lnTo>
                    <a:pt x="727" y="382"/>
                  </a:lnTo>
                  <a:lnTo>
                    <a:pt x="726" y="274"/>
                  </a:lnTo>
                  <a:lnTo>
                    <a:pt x="726" y="274"/>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B9BD5">
                    <a:lumMod val="75000"/>
                  </a:srgbClr>
                </a:solidFill>
                <a:effectLst/>
                <a:uLnTx/>
                <a:uFillTx/>
                <a:latin typeface="Calibri" panose="020F0502020204030204"/>
                <a:ea typeface="+mn-ea"/>
                <a:cs typeface="+mn-cs"/>
              </a:endParaRPr>
            </a:p>
          </p:txBody>
        </p:sp>
        <p:sp>
          <p:nvSpPr>
            <p:cNvPr id="177" name="Mozambique">
              <a:extLst>
                <a:ext uri="{FF2B5EF4-FFF2-40B4-BE49-F238E27FC236}">
                  <a16:creationId xmlns:a16="http://schemas.microsoft.com/office/drawing/2014/main" id="{A8739C5C-E0A2-CB9A-4A08-73C19D7E4656}"/>
                </a:ext>
              </a:extLst>
            </p:cNvPr>
            <p:cNvSpPr>
              <a:spLocks/>
            </p:cNvSpPr>
            <p:nvPr/>
          </p:nvSpPr>
          <p:spPr bwMode="auto">
            <a:xfrm>
              <a:off x="8209854" y="4333212"/>
              <a:ext cx="742950" cy="1225550"/>
            </a:xfrm>
            <a:custGeom>
              <a:avLst/>
              <a:gdLst>
                <a:gd name="T0" fmla="*/ 457 w 468"/>
                <a:gd name="T1" fmla="*/ 0 h 772"/>
                <a:gd name="T2" fmla="*/ 457 w 468"/>
                <a:gd name="T3" fmla="*/ 0 h 772"/>
                <a:gd name="T4" fmla="*/ 371 w 468"/>
                <a:gd name="T5" fmla="*/ 46 h 772"/>
                <a:gd name="T6" fmla="*/ 328 w 468"/>
                <a:gd name="T7" fmla="*/ 60 h 772"/>
                <a:gd name="T8" fmla="*/ 285 w 468"/>
                <a:gd name="T9" fmla="*/ 66 h 772"/>
                <a:gd name="T10" fmla="*/ 216 w 468"/>
                <a:gd name="T11" fmla="*/ 55 h 772"/>
                <a:gd name="T12" fmla="*/ 208 w 468"/>
                <a:gd name="T13" fmla="*/ 153 h 772"/>
                <a:gd name="T14" fmla="*/ 226 w 468"/>
                <a:gd name="T15" fmla="*/ 168 h 772"/>
                <a:gd name="T16" fmla="*/ 245 w 468"/>
                <a:gd name="T17" fmla="*/ 263 h 772"/>
                <a:gd name="T18" fmla="*/ 210 w 468"/>
                <a:gd name="T19" fmla="*/ 305 h 772"/>
                <a:gd name="T20" fmla="*/ 181 w 468"/>
                <a:gd name="T21" fmla="*/ 243 h 772"/>
                <a:gd name="T22" fmla="*/ 189 w 468"/>
                <a:gd name="T23" fmla="*/ 202 h 772"/>
                <a:gd name="T24" fmla="*/ 160 w 468"/>
                <a:gd name="T25" fmla="*/ 195 h 772"/>
                <a:gd name="T26" fmla="*/ 0 w 468"/>
                <a:gd name="T27" fmla="*/ 211 h 772"/>
                <a:gd name="T28" fmla="*/ 5 w 468"/>
                <a:gd name="T29" fmla="*/ 262 h 772"/>
                <a:gd name="T30" fmla="*/ 61 w 468"/>
                <a:gd name="T31" fmla="*/ 271 h 772"/>
                <a:gd name="T32" fmla="*/ 91 w 468"/>
                <a:gd name="T33" fmla="*/ 285 h 772"/>
                <a:gd name="T34" fmla="*/ 110 w 468"/>
                <a:gd name="T35" fmla="*/ 360 h 772"/>
                <a:gd name="T36" fmla="*/ 97 w 468"/>
                <a:gd name="T37" fmla="*/ 428 h 772"/>
                <a:gd name="T38" fmla="*/ 97 w 468"/>
                <a:gd name="T39" fmla="*/ 470 h 772"/>
                <a:gd name="T40" fmla="*/ 77 w 468"/>
                <a:gd name="T41" fmla="*/ 508 h 772"/>
                <a:gd name="T42" fmla="*/ 45 w 468"/>
                <a:gd name="T43" fmla="*/ 627 h 772"/>
                <a:gd name="T44" fmla="*/ 43 w 468"/>
                <a:gd name="T45" fmla="*/ 713 h 772"/>
                <a:gd name="T46" fmla="*/ 50 w 468"/>
                <a:gd name="T47" fmla="*/ 751 h 772"/>
                <a:gd name="T48" fmla="*/ 86 w 468"/>
                <a:gd name="T49" fmla="*/ 772 h 772"/>
                <a:gd name="T50" fmla="*/ 80 w 468"/>
                <a:gd name="T51" fmla="*/ 744 h 772"/>
                <a:gd name="T52" fmla="*/ 99 w 468"/>
                <a:gd name="T53" fmla="*/ 707 h 772"/>
                <a:gd name="T54" fmla="*/ 189 w 468"/>
                <a:gd name="T55" fmla="*/ 666 h 772"/>
                <a:gd name="T56" fmla="*/ 216 w 468"/>
                <a:gd name="T57" fmla="*/ 629 h 772"/>
                <a:gd name="T58" fmla="*/ 216 w 468"/>
                <a:gd name="T59" fmla="*/ 600 h 772"/>
                <a:gd name="T60" fmla="*/ 211 w 468"/>
                <a:gd name="T61" fmla="*/ 555 h 772"/>
                <a:gd name="T62" fmla="*/ 205 w 468"/>
                <a:gd name="T63" fmla="*/ 515 h 772"/>
                <a:gd name="T64" fmla="*/ 192 w 468"/>
                <a:gd name="T65" fmla="*/ 445 h 772"/>
                <a:gd name="T66" fmla="*/ 243 w 468"/>
                <a:gd name="T67" fmla="*/ 401 h 772"/>
                <a:gd name="T68" fmla="*/ 312 w 468"/>
                <a:gd name="T69" fmla="*/ 341 h 772"/>
                <a:gd name="T70" fmla="*/ 405 w 468"/>
                <a:gd name="T71" fmla="*/ 301 h 772"/>
                <a:gd name="T72" fmla="*/ 453 w 468"/>
                <a:gd name="T73" fmla="*/ 240 h 772"/>
                <a:gd name="T74" fmla="*/ 462 w 468"/>
                <a:gd name="T75" fmla="*/ 183 h 772"/>
                <a:gd name="T76" fmla="*/ 459 w 468"/>
                <a:gd name="T77" fmla="*/ 68 h 772"/>
                <a:gd name="T78" fmla="*/ 463 w 468"/>
                <a:gd name="T79" fmla="*/ 2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8" h="772">
                  <a:moveTo>
                    <a:pt x="463" y="21"/>
                  </a:moveTo>
                  <a:lnTo>
                    <a:pt x="457" y="0"/>
                  </a:lnTo>
                  <a:lnTo>
                    <a:pt x="457" y="0"/>
                  </a:lnTo>
                  <a:lnTo>
                    <a:pt x="457" y="0"/>
                  </a:lnTo>
                  <a:lnTo>
                    <a:pt x="420" y="27"/>
                  </a:lnTo>
                  <a:lnTo>
                    <a:pt x="371" y="46"/>
                  </a:lnTo>
                  <a:lnTo>
                    <a:pt x="344" y="45"/>
                  </a:lnTo>
                  <a:lnTo>
                    <a:pt x="328" y="60"/>
                  </a:lnTo>
                  <a:lnTo>
                    <a:pt x="298" y="60"/>
                  </a:lnTo>
                  <a:lnTo>
                    <a:pt x="285" y="66"/>
                  </a:lnTo>
                  <a:lnTo>
                    <a:pt x="233" y="53"/>
                  </a:lnTo>
                  <a:lnTo>
                    <a:pt x="216" y="55"/>
                  </a:lnTo>
                  <a:lnTo>
                    <a:pt x="204" y="100"/>
                  </a:lnTo>
                  <a:lnTo>
                    <a:pt x="208" y="153"/>
                  </a:lnTo>
                  <a:lnTo>
                    <a:pt x="211" y="153"/>
                  </a:lnTo>
                  <a:lnTo>
                    <a:pt x="226" y="168"/>
                  </a:lnTo>
                  <a:lnTo>
                    <a:pt x="243" y="202"/>
                  </a:lnTo>
                  <a:lnTo>
                    <a:pt x="245" y="263"/>
                  </a:lnTo>
                  <a:lnTo>
                    <a:pt x="225" y="273"/>
                  </a:lnTo>
                  <a:lnTo>
                    <a:pt x="210" y="305"/>
                  </a:lnTo>
                  <a:lnTo>
                    <a:pt x="183" y="276"/>
                  </a:lnTo>
                  <a:lnTo>
                    <a:pt x="181" y="243"/>
                  </a:lnTo>
                  <a:lnTo>
                    <a:pt x="191" y="221"/>
                  </a:lnTo>
                  <a:lnTo>
                    <a:pt x="189" y="202"/>
                  </a:lnTo>
                  <a:lnTo>
                    <a:pt x="172" y="190"/>
                  </a:lnTo>
                  <a:lnTo>
                    <a:pt x="160" y="195"/>
                  </a:lnTo>
                  <a:lnTo>
                    <a:pt x="135" y="172"/>
                  </a:lnTo>
                  <a:lnTo>
                    <a:pt x="0" y="211"/>
                  </a:lnTo>
                  <a:lnTo>
                    <a:pt x="3" y="245"/>
                  </a:lnTo>
                  <a:lnTo>
                    <a:pt x="5" y="262"/>
                  </a:lnTo>
                  <a:lnTo>
                    <a:pt x="41" y="261"/>
                  </a:lnTo>
                  <a:lnTo>
                    <a:pt x="61" y="271"/>
                  </a:lnTo>
                  <a:lnTo>
                    <a:pt x="70" y="282"/>
                  </a:lnTo>
                  <a:lnTo>
                    <a:pt x="91" y="285"/>
                  </a:lnTo>
                  <a:lnTo>
                    <a:pt x="113" y="301"/>
                  </a:lnTo>
                  <a:lnTo>
                    <a:pt x="110" y="360"/>
                  </a:lnTo>
                  <a:lnTo>
                    <a:pt x="100" y="392"/>
                  </a:lnTo>
                  <a:lnTo>
                    <a:pt x="97" y="428"/>
                  </a:lnTo>
                  <a:lnTo>
                    <a:pt x="103" y="442"/>
                  </a:lnTo>
                  <a:lnTo>
                    <a:pt x="97" y="470"/>
                  </a:lnTo>
                  <a:lnTo>
                    <a:pt x="89" y="474"/>
                  </a:lnTo>
                  <a:lnTo>
                    <a:pt x="77" y="508"/>
                  </a:lnTo>
                  <a:lnTo>
                    <a:pt x="27" y="561"/>
                  </a:lnTo>
                  <a:lnTo>
                    <a:pt x="45" y="627"/>
                  </a:lnTo>
                  <a:lnTo>
                    <a:pt x="54" y="661"/>
                  </a:lnTo>
                  <a:lnTo>
                    <a:pt x="43" y="713"/>
                  </a:lnTo>
                  <a:lnTo>
                    <a:pt x="46" y="730"/>
                  </a:lnTo>
                  <a:lnTo>
                    <a:pt x="50" y="751"/>
                  </a:lnTo>
                  <a:lnTo>
                    <a:pt x="53" y="772"/>
                  </a:lnTo>
                  <a:lnTo>
                    <a:pt x="86" y="772"/>
                  </a:lnTo>
                  <a:lnTo>
                    <a:pt x="91" y="747"/>
                  </a:lnTo>
                  <a:lnTo>
                    <a:pt x="80" y="744"/>
                  </a:lnTo>
                  <a:lnTo>
                    <a:pt x="79" y="724"/>
                  </a:lnTo>
                  <a:lnTo>
                    <a:pt x="99" y="707"/>
                  </a:lnTo>
                  <a:lnTo>
                    <a:pt x="153" y="681"/>
                  </a:lnTo>
                  <a:lnTo>
                    <a:pt x="189" y="666"/>
                  </a:lnTo>
                  <a:lnTo>
                    <a:pt x="208" y="649"/>
                  </a:lnTo>
                  <a:lnTo>
                    <a:pt x="216" y="629"/>
                  </a:lnTo>
                  <a:lnTo>
                    <a:pt x="206" y="622"/>
                  </a:lnTo>
                  <a:lnTo>
                    <a:pt x="216" y="600"/>
                  </a:lnTo>
                  <a:lnTo>
                    <a:pt x="219" y="554"/>
                  </a:lnTo>
                  <a:lnTo>
                    <a:pt x="211" y="555"/>
                  </a:lnTo>
                  <a:lnTo>
                    <a:pt x="212" y="542"/>
                  </a:lnTo>
                  <a:lnTo>
                    <a:pt x="205" y="515"/>
                  </a:lnTo>
                  <a:lnTo>
                    <a:pt x="185" y="479"/>
                  </a:lnTo>
                  <a:lnTo>
                    <a:pt x="192" y="445"/>
                  </a:lnTo>
                  <a:lnTo>
                    <a:pt x="210" y="434"/>
                  </a:lnTo>
                  <a:lnTo>
                    <a:pt x="243" y="401"/>
                  </a:lnTo>
                  <a:lnTo>
                    <a:pt x="259" y="392"/>
                  </a:lnTo>
                  <a:lnTo>
                    <a:pt x="312" y="341"/>
                  </a:lnTo>
                  <a:lnTo>
                    <a:pt x="363" y="319"/>
                  </a:lnTo>
                  <a:lnTo>
                    <a:pt x="405" y="301"/>
                  </a:lnTo>
                  <a:lnTo>
                    <a:pt x="435" y="272"/>
                  </a:lnTo>
                  <a:lnTo>
                    <a:pt x="453" y="240"/>
                  </a:lnTo>
                  <a:lnTo>
                    <a:pt x="468" y="206"/>
                  </a:lnTo>
                  <a:lnTo>
                    <a:pt x="462" y="183"/>
                  </a:lnTo>
                  <a:lnTo>
                    <a:pt x="463" y="110"/>
                  </a:lnTo>
                  <a:lnTo>
                    <a:pt x="459" y="68"/>
                  </a:lnTo>
                  <a:lnTo>
                    <a:pt x="463" y="21"/>
                  </a:lnTo>
                  <a:lnTo>
                    <a:pt x="463" y="21"/>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8" name="Mauritania">
              <a:extLst>
                <a:ext uri="{FF2B5EF4-FFF2-40B4-BE49-F238E27FC236}">
                  <a16:creationId xmlns:a16="http://schemas.microsoft.com/office/drawing/2014/main" id="{67318D1E-02C4-79C6-6499-D77D00FA5DA6}"/>
                </a:ext>
              </a:extLst>
            </p:cNvPr>
            <p:cNvSpPr>
              <a:spLocks/>
            </p:cNvSpPr>
            <p:nvPr/>
          </p:nvSpPr>
          <p:spPr bwMode="auto">
            <a:xfrm>
              <a:off x="4906266" y="1520162"/>
              <a:ext cx="844550" cy="954088"/>
            </a:xfrm>
            <a:custGeom>
              <a:avLst/>
              <a:gdLst>
                <a:gd name="T0" fmla="*/ 532 w 532"/>
                <a:gd name="T1" fmla="*/ 114 h 601"/>
                <a:gd name="T2" fmla="*/ 371 w 532"/>
                <a:gd name="T3" fmla="*/ 0 h 601"/>
                <a:gd name="T4" fmla="*/ 370 w 532"/>
                <a:gd name="T5" fmla="*/ 72 h 601"/>
                <a:gd name="T6" fmla="*/ 227 w 532"/>
                <a:gd name="T7" fmla="*/ 69 h 601"/>
                <a:gd name="T8" fmla="*/ 226 w 532"/>
                <a:gd name="T9" fmla="*/ 190 h 601"/>
                <a:gd name="T10" fmla="*/ 185 w 532"/>
                <a:gd name="T11" fmla="*/ 194 h 601"/>
                <a:gd name="T12" fmla="*/ 174 w 532"/>
                <a:gd name="T13" fmla="*/ 218 h 601"/>
                <a:gd name="T14" fmla="*/ 181 w 532"/>
                <a:gd name="T15" fmla="*/ 286 h 601"/>
                <a:gd name="T16" fmla="*/ 10 w 532"/>
                <a:gd name="T17" fmla="*/ 286 h 601"/>
                <a:gd name="T18" fmla="*/ 0 w 532"/>
                <a:gd name="T19" fmla="*/ 301 h 601"/>
                <a:gd name="T20" fmla="*/ 22 w 532"/>
                <a:gd name="T21" fmla="*/ 321 h 601"/>
                <a:gd name="T22" fmla="*/ 33 w 532"/>
                <a:gd name="T23" fmla="*/ 343 h 601"/>
                <a:gd name="T24" fmla="*/ 28 w 532"/>
                <a:gd name="T25" fmla="*/ 367 h 601"/>
                <a:gd name="T26" fmla="*/ 33 w 532"/>
                <a:gd name="T27" fmla="*/ 390 h 601"/>
                <a:gd name="T28" fmla="*/ 36 w 532"/>
                <a:gd name="T29" fmla="*/ 437 h 601"/>
                <a:gd name="T30" fmla="*/ 30 w 532"/>
                <a:gd name="T31" fmla="*/ 481 h 601"/>
                <a:gd name="T32" fmla="*/ 17 w 532"/>
                <a:gd name="T33" fmla="*/ 504 h 601"/>
                <a:gd name="T34" fmla="*/ 20 w 532"/>
                <a:gd name="T35" fmla="*/ 529 h 601"/>
                <a:gd name="T36" fmla="*/ 35 w 532"/>
                <a:gd name="T37" fmla="*/ 514 h 601"/>
                <a:gd name="T38" fmla="*/ 57 w 532"/>
                <a:gd name="T39" fmla="*/ 518 h 601"/>
                <a:gd name="T40" fmla="*/ 79 w 532"/>
                <a:gd name="T41" fmla="*/ 508 h 601"/>
                <a:gd name="T42" fmla="*/ 104 w 532"/>
                <a:gd name="T43" fmla="*/ 508 h 601"/>
                <a:gd name="T44" fmla="*/ 125 w 532"/>
                <a:gd name="T45" fmla="*/ 522 h 601"/>
                <a:gd name="T46" fmla="*/ 153 w 532"/>
                <a:gd name="T47" fmla="*/ 534 h 601"/>
                <a:gd name="T48" fmla="*/ 180 w 532"/>
                <a:gd name="T49" fmla="*/ 568 h 601"/>
                <a:gd name="T50" fmla="*/ 208 w 532"/>
                <a:gd name="T51" fmla="*/ 601 h 601"/>
                <a:gd name="T52" fmla="*/ 223 w 532"/>
                <a:gd name="T53" fmla="*/ 592 h 601"/>
                <a:gd name="T54" fmla="*/ 231 w 532"/>
                <a:gd name="T55" fmla="*/ 565 h 601"/>
                <a:gd name="T56" fmla="*/ 245 w 532"/>
                <a:gd name="T57" fmla="*/ 563 h 601"/>
                <a:gd name="T58" fmla="*/ 276 w 532"/>
                <a:gd name="T59" fmla="*/ 577 h 601"/>
                <a:gd name="T60" fmla="*/ 301 w 532"/>
                <a:gd name="T61" fmla="*/ 568 h 601"/>
                <a:gd name="T62" fmla="*/ 318 w 532"/>
                <a:gd name="T63" fmla="*/ 570 h 601"/>
                <a:gd name="T64" fmla="*/ 325 w 532"/>
                <a:gd name="T65" fmla="*/ 560 h 601"/>
                <a:gd name="T66" fmla="*/ 502 w 532"/>
                <a:gd name="T67" fmla="*/ 559 h 601"/>
                <a:gd name="T68" fmla="*/ 512 w 532"/>
                <a:gd name="T69" fmla="*/ 527 h 601"/>
                <a:gd name="T70" fmla="*/ 505 w 532"/>
                <a:gd name="T71" fmla="*/ 521 h 601"/>
                <a:gd name="T72" fmla="*/ 485 w 532"/>
                <a:gd name="T73" fmla="*/ 318 h 601"/>
                <a:gd name="T74" fmla="*/ 466 w 532"/>
                <a:gd name="T75" fmla="*/ 115 h 601"/>
                <a:gd name="T76" fmla="*/ 532 w 532"/>
                <a:gd name="T77" fmla="*/ 114 h 601"/>
                <a:gd name="T78" fmla="*/ 532 w 532"/>
                <a:gd name="T79" fmla="*/ 114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2" h="601">
                  <a:moveTo>
                    <a:pt x="532" y="114"/>
                  </a:moveTo>
                  <a:lnTo>
                    <a:pt x="371" y="0"/>
                  </a:lnTo>
                  <a:lnTo>
                    <a:pt x="370" y="72"/>
                  </a:lnTo>
                  <a:lnTo>
                    <a:pt x="227" y="69"/>
                  </a:lnTo>
                  <a:lnTo>
                    <a:pt x="226" y="190"/>
                  </a:lnTo>
                  <a:lnTo>
                    <a:pt x="185" y="194"/>
                  </a:lnTo>
                  <a:lnTo>
                    <a:pt x="174" y="218"/>
                  </a:lnTo>
                  <a:lnTo>
                    <a:pt x="181" y="286"/>
                  </a:lnTo>
                  <a:lnTo>
                    <a:pt x="10" y="286"/>
                  </a:lnTo>
                  <a:lnTo>
                    <a:pt x="0" y="301"/>
                  </a:lnTo>
                  <a:lnTo>
                    <a:pt x="22" y="321"/>
                  </a:lnTo>
                  <a:lnTo>
                    <a:pt x="33" y="343"/>
                  </a:lnTo>
                  <a:lnTo>
                    <a:pt x="28" y="367"/>
                  </a:lnTo>
                  <a:lnTo>
                    <a:pt x="33" y="390"/>
                  </a:lnTo>
                  <a:lnTo>
                    <a:pt x="36" y="437"/>
                  </a:lnTo>
                  <a:lnTo>
                    <a:pt x="30" y="481"/>
                  </a:lnTo>
                  <a:lnTo>
                    <a:pt x="17" y="504"/>
                  </a:lnTo>
                  <a:lnTo>
                    <a:pt x="20" y="529"/>
                  </a:lnTo>
                  <a:lnTo>
                    <a:pt x="35" y="514"/>
                  </a:lnTo>
                  <a:lnTo>
                    <a:pt x="57" y="518"/>
                  </a:lnTo>
                  <a:lnTo>
                    <a:pt x="79" y="508"/>
                  </a:lnTo>
                  <a:lnTo>
                    <a:pt x="104" y="508"/>
                  </a:lnTo>
                  <a:lnTo>
                    <a:pt x="125" y="522"/>
                  </a:lnTo>
                  <a:lnTo>
                    <a:pt x="153" y="534"/>
                  </a:lnTo>
                  <a:lnTo>
                    <a:pt x="180" y="568"/>
                  </a:lnTo>
                  <a:lnTo>
                    <a:pt x="208" y="601"/>
                  </a:lnTo>
                  <a:lnTo>
                    <a:pt x="223" y="592"/>
                  </a:lnTo>
                  <a:lnTo>
                    <a:pt x="231" y="565"/>
                  </a:lnTo>
                  <a:lnTo>
                    <a:pt x="245" y="563"/>
                  </a:lnTo>
                  <a:lnTo>
                    <a:pt x="276" y="577"/>
                  </a:lnTo>
                  <a:lnTo>
                    <a:pt x="301" y="568"/>
                  </a:lnTo>
                  <a:lnTo>
                    <a:pt x="318" y="570"/>
                  </a:lnTo>
                  <a:lnTo>
                    <a:pt x="325" y="560"/>
                  </a:lnTo>
                  <a:lnTo>
                    <a:pt x="502" y="559"/>
                  </a:lnTo>
                  <a:lnTo>
                    <a:pt x="512" y="527"/>
                  </a:lnTo>
                  <a:lnTo>
                    <a:pt x="505" y="521"/>
                  </a:lnTo>
                  <a:lnTo>
                    <a:pt x="485" y="318"/>
                  </a:lnTo>
                  <a:lnTo>
                    <a:pt x="466" y="115"/>
                  </a:lnTo>
                  <a:lnTo>
                    <a:pt x="532" y="114"/>
                  </a:lnTo>
                  <a:lnTo>
                    <a:pt x="532" y="114"/>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9" name="Malawi">
              <a:extLst>
                <a:ext uri="{FF2B5EF4-FFF2-40B4-BE49-F238E27FC236}">
                  <a16:creationId xmlns:a16="http://schemas.microsoft.com/office/drawing/2014/main" id="{3FD1E75D-3A24-0837-D26E-EFFB9C74582C}"/>
                </a:ext>
              </a:extLst>
            </p:cNvPr>
            <p:cNvSpPr>
              <a:spLocks/>
            </p:cNvSpPr>
            <p:nvPr/>
          </p:nvSpPr>
          <p:spPr bwMode="auto">
            <a:xfrm>
              <a:off x="8387654" y="4252250"/>
              <a:ext cx="211138" cy="565150"/>
            </a:xfrm>
            <a:custGeom>
              <a:avLst/>
              <a:gdLst>
                <a:gd name="T0" fmla="*/ 82 w 133"/>
                <a:gd name="T1" fmla="*/ 227 h 356"/>
                <a:gd name="T2" fmla="*/ 83 w 133"/>
                <a:gd name="T3" fmla="*/ 209 h 356"/>
                <a:gd name="T4" fmla="*/ 73 w 133"/>
                <a:gd name="T5" fmla="*/ 196 h 356"/>
                <a:gd name="T6" fmla="*/ 74 w 133"/>
                <a:gd name="T7" fmla="*/ 175 h 356"/>
                <a:gd name="T8" fmla="*/ 62 w 133"/>
                <a:gd name="T9" fmla="*/ 140 h 356"/>
                <a:gd name="T10" fmla="*/ 76 w 133"/>
                <a:gd name="T11" fmla="*/ 114 h 356"/>
                <a:gd name="T12" fmla="*/ 75 w 133"/>
                <a:gd name="T13" fmla="*/ 57 h 356"/>
                <a:gd name="T14" fmla="*/ 61 w 133"/>
                <a:gd name="T15" fmla="*/ 27 h 356"/>
                <a:gd name="T16" fmla="*/ 62 w 133"/>
                <a:gd name="T17" fmla="*/ 22 h 356"/>
                <a:gd name="T18" fmla="*/ 62 w 133"/>
                <a:gd name="T19" fmla="*/ 22 h 356"/>
                <a:gd name="T20" fmla="*/ 53 w 133"/>
                <a:gd name="T21" fmla="*/ 9 h 356"/>
                <a:gd name="T22" fmla="*/ 10 w 133"/>
                <a:gd name="T23" fmla="*/ 0 h 356"/>
                <a:gd name="T24" fmla="*/ 30 w 133"/>
                <a:gd name="T25" fmla="*/ 21 h 356"/>
                <a:gd name="T26" fmla="*/ 41 w 133"/>
                <a:gd name="T27" fmla="*/ 61 h 356"/>
                <a:gd name="T28" fmla="*/ 32 w 133"/>
                <a:gd name="T29" fmla="*/ 74 h 356"/>
                <a:gd name="T30" fmla="*/ 23 w 133"/>
                <a:gd name="T31" fmla="*/ 112 h 356"/>
                <a:gd name="T32" fmla="*/ 30 w 133"/>
                <a:gd name="T33" fmla="*/ 151 h 356"/>
                <a:gd name="T34" fmla="*/ 16 w 133"/>
                <a:gd name="T35" fmla="*/ 168 h 356"/>
                <a:gd name="T36" fmla="*/ 0 w 133"/>
                <a:gd name="T37" fmla="*/ 211 h 356"/>
                <a:gd name="T38" fmla="*/ 23 w 133"/>
                <a:gd name="T39" fmla="*/ 223 h 356"/>
                <a:gd name="T40" fmla="*/ 48 w 133"/>
                <a:gd name="T41" fmla="*/ 246 h 356"/>
                <a:gd name="T42" fmla="*/ 60 w 133"/>
                <a:gd name="T43" fmla="*/ 241 h 356"/>
                <a:gd name="T44" fmla="*/ 77 w 133"/>
                <a:gd name="T45" fmla="*/ 253 h 356"/>
                <a:gd name="T46" fmla="*/ 79 w 133"/>
                <a:gd name="T47" fmla="*/ 272 h 356"/>
                <a:gd name="T48" fmla="*/ 69 w 133"/>
                <a:gd name="T49" fmla="*/ 294 h 356"/>
                <a:gd name="T50" fmla="*/ 71 w 133"/>
                <a:gd name="T51" fmla="*/ 327 h 356"/>
                <a:gd name="T52" fmla="*/ 98 w 133"/>
                <a:gd name="T53" fmla="*/ 356 h 356"/>
                <a:gd name="T54" fmla="*/ 113 w 133"/>
                <a:gd name="T55" fmla="*/ 324 h 356"/>
                <a:gd name="T56" fmla="*/ 133 w 133"/>
                <a:gd name="T57" fmla="*/ 314 h 356"/>
                <a:gd name="T58" fmla="*/ 131 w 133"/>
                <a:gd name="T59" fmla="*/ 253 h 356"/>
                <a:gd name="T60" fmla="*/ 114 w 133"/>
                <a:gd name="T61" fmla="*/ 219 h 356"/>
                <a:gd name="T62" fmla="*/ 99 w 133"/>
                <a:gd name="T63" fmla="*/ 204 h 356"/>
                <a:gd name="T64" fmla="*/ 96 w 133"/>
                <a:gd name="T65" fmla="*/ 204 h 356"/>
                <a:gd name="T66" fmla="*/ 97 w 133"/>
                <a:gd name="T67" fmla="*/ 211 h 356"/>
                <a:gd name="T68" fmla="*/ 105 w 133"/>
                <a:gd name="T69" fmla="*/ 212 h 356"/>
                <a:gd name="T70" fmla="*/ 114 w 133"/>
                <a:gd name="T71" fmla="*/ 237 h 356"/>
                <a:gd name="T72" fmla="*/ 112 w 133"/>
                <a:gd name="T73" fmla="*/ 243 h 356"/>
                <a:gd name="T74" fmla="*/ 97 w 133"/>
                <a:gd name="T75" fmla="*/ 225 h 356"/>
                <a:gd name="T76" fmla="*/ 89 w 133"/>
                <a:gd name="T77" fmla="*/ 236 h 356"/>
                <a:gd name="T78" fmla="*/ 82 w 133"/>
                <a:gd name="T79" fmla="*/ 227 h 356"/>
                <a:gd name="T80" fmla="*/ 82 w 133"/>
                <a:gd name="T81" fmla="*/ 22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356">
                  <a:moveTo>
                    <a:pt x="82" y="227"/>
                  </a:moveTo>
                  <a:lnTo>
                    <a:pt x="83" y="209"/>
                  </a:lnTo>
                  <a:lnTo>
                    <a:pt x="73" y="196"/>
                  </a:lnTo>
                  <a:lnTo>
                    <a:pt x="74" y="175"/>
                  </a:lnTo>
                  <a:lnTo>
                    <a:pt x="62" y="140"/>
                  </a:lnTo>
                  <a:lnTo>
                    <a:pt x="76" y="114"/>
                  </a:lnTo>
                  <a:lnTo>
                    <a:pt x="75" y="57"/>
                  </a:lnTo>
                  <a:lnTo>
                    <a:pt x="61" y="27"/>
                  </a:lnTo>
                  <a:lnTo>
                    <a:pt x="62" y="22"/>
                  </a:lnTo>
                  <a:lnTo>
                    <a:pt x="62" y="22"/>
                  </a:lnTo>
                  <a:lnTo>
                    <a:pt x="53" y="9"/>
                  </a:lnTo>
                  <a:lnTo>
                    <a:pt x="10" y="0"/>
                  </a:lnTo>
                  <a:lnTo>
                    <a:pt x="30" y="21"/>
                  </a:lnTo>
                  <a:lnTo>
                    <a:pt x="41" y="61"/>
                  </a:lnTo>
                  <a:lnTo>
                    <a:pt x="32" y="74"/>
                  </a:lnTo>
                  <a:lnTo>
                    <a:pt x="23" y="112"/>
                  </a:lnTo>
                  <a:lnTo>
                    <a:pt x="30" y="151"/>
                  </a:lnTo>
                  <a:lnTo>
                    <a:pt x="16" y="168"/>
                  </a:lnTo>
                  <a:lnTo>
                    <a:pt x="0" y="211"/>
                  </a:lnTo>
                  <a:lnTo>
                    <a:pt x="23" y="223"/>
                  </a:lnTo>
                  <a:lnTo>
                    <a:pt x="48" y="246"/>
                  </a:lnTo>
                  <a:lnTo>
                    <a:pt x="60" y="241"/>
                  </a:lnTo>
                  <a:lnTo>
                    <a:pt x="77" y="253"/>
                  </a:lnTo>
                  <a:lnTo>
                    <a:pt x="79" y="272"/>
                  </a:lnTo>
                  <a:lnTo>
                    <a:pt x="69" y="294"/>
                  </a:lnTo>
                  <a:lnTo>
                    <a:pt x="71" y="327"/>
                  </a:lnTo>
                  <a:lnTo>
                    <a:pt x="98" y="356"/>
                  </a:lnTo>
                  <a:lnTo>
                    <a:pt x="113" y="324"/>
                  </a:lnTo>
                  <a:lnTo>
                    <a:pt x="133" y="314"/>
                  </a:lnTo>
                  <a:lnTo>
                    <a:pt x="131" y="253"/>
                  </a:lnTo>
                  <a:lnTo>
                    <a:pt x="114" y="219"/>
                  </a:lnTo>
                  <a:lnTo>
                    <a:pt x="99" y="204"/>
                  </a:lnTo>
                  <a:lnTo>
                    <a:pt x="96" y="204"/>
                  </a:lnTo>
                  <a:lnTo>
                    <a:pt x="97" y="211"/>
                  </a:lnTo>
                  <a:lnTo>
                    <a:pt x="105" y="212"/>
                  </a:lnTo>
                  <a:lnTo>
                    <a:pt x="114" y="237"/>
                  </a:lnTo>
                  <a:lnTo>
                    <a:pt x="112" y="243"/>
                  </a:lnTo>
                  <a:lnTo>
                    <a:pt x="97" y="225"/>
                  </a:lnTo>
                  <a:lnTo>
                    <a:pt x="89" y="236"/>
                  </a:lnTo>
                  <a:lnTo>
                    <a:pt x="82" y="227"/>
                  </a:lnTo>
                  <a:lnTo>
                    <a:pt x="82" y="227"/>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0" name="Namibia">
              <a:extLst>
                <a:ext uri="{FF2B5EF4-FFF2-40B4-BE49-F238E27FC236}">
                  <a16:creationId xmlns:a16="http://schemas.microsoft.com/office/drawing/2014/main" id="{41F8400F-82EA-1350-B4AE-D413E675E35C}"/>
                </a:ext>
              </a:extLst>
            </p:cNvPr>
            <p:cNvSpPr>
              <a:spLocks/>
            </p:cNvSpPr>
            <p:nvPr/>
          </p:nvSpPr>
          <p:spPr bwMode="auto">
            <a:xfrm>
              <a:off x="6911279" y="4828512"/>
              <a:ext cx="933450" cy="903288"/>
            </a:xfrm>
            <a:custGeom>
              <a:avLst/>
              <a:gdLst>
                <a:gd name="T0" fmla="*/ 506 w 588"/>
                <a:gd name="T1" fmla="*/ 27 h 569"/>
                <a:gd name="T2" fmla="*/ 423 w 588"/>
                <a:gd name="T3" fmla="*/ 46 h 569"/>
                <a:gd name="T4" fmla="*/ 318 w 588"/>
                <a:gd name="T5" fmla="*/ 40 h 569"/>
                <a:gd name="T6" fmla="*/ 287 w 588"/>
                <a:gd name="T7" fmla="*/ 17 h 569"/>
                <a:gd name="T8" fmla="*/ 109 w 588"/>
                <a:gd name="T9" fmla="*/ 19 h 569"/>
                <a:gd name="T10" fmla="*/ 102 w 588"/>
                <a:gd name="T11" fmla="*/ 23 h 569"/>
                <a:gd name="T12" fmla="*/ 76 w 588"/>
                <a:gd name="T13" fmla="*/ 1 h 569"/>
                <a:gd name="T14" fmla="*/ 48 w 588"/>
                <a:gd name="T15" fmla="*/ 0 h 569"/>
                <a:gd name="T16" fmla="*/ 22 w 588"/>
                <a:gd name="T17" fmla="*/ 7 h 569"/>
                <a:gd name="T18" fmla="*/ 0 w 588"/>
                <a:gd name="T19" fmla="*/ 17 h 569"/>
                <a:gd name="T20" fmla="*/ 2 w 588"/>
                <a:gd name="T21" fmla="*/ 52 h 569"/>
                <a:gd name="T22" fmla="*/ 37 w 588"/>
                <a:gd name="T23" fmla="*/ 98 h 569"/>
                <a:gd name="T24" fmla="*/ 46 w 588"/>
                <a:gd name="T25" fmla="*/ 128 h 569"/>
                <a:gd name="T26" fmla="*/ 68 w 588"/>
                <a:gd name="T27" fmla="*/ 184 h 569"/>
                <a:gd name="T28" fmla="*/ 89 w 588"/>
                <a:gd name="T29" fmla="*/ 223 h 569"/>
                <a:gd name="T30" fmla="*/ 107 w 588"/>
                <a:gd name="T31" fmla="*/ 243 h 569"/>
                <a:gd name="T32" fmla="*/ 111 w 588"/>
                <a:gd name="T33" fmla="*/ 268 h 569"/>
                <a:gd name="T34" fmla="*/ 111 w 588"/>
                <a:gd name="T35" fmla="*/ 324 h 569"/>
                <a:gd name="T36" fmla="*/ 123 w 588"/>
                <a:gd name="T37" fmla="*/ 396 h 569"/>
                <a:gd name="T38" fmla="*/ 133 w 588"/>
                <a:gd name="T39" fmla="*/ 431 h 569"/>
                <a:gd name="T40" fmla="*/ 140 w 588"/>
                <a:gd name="T41" fmla="*/ 476 h 569"/>
                <a:gd name="T42" fmla="*/ 157 w 588"/>
                <a:gd name="T43" fmla="*/ 511 h 569"/>
                <a:gd name="T44" fmla="*/ 187 w 588"/>
                <a:gd name="T45" fmla="*/ 547 h 569"/>
                <a:gd name="T46" fmla="*/ 209 w 588"/>
                <a:gd name="T47" fmla="*/ 524 h 569"/>
                <a:gd name="T48" fmla="*/ 225 w 588"/>
                <a:gd name="T49" fmla="*/ 535 h 569"/>
                <a:gd name="T50" fmla="*/ 232 w 588"/>
                <a:gd name="T51" fmla="*/ 556 h 569"/>
                <a:gd name="T52" fmla="*/ 250 w 588"/>
                <a:gd name="T53" fmla="*/ 559 h 569"/>
                <a:gd name="T54" fmla="*/ 277 w 588"/>
                <a:gd name="T55" fmla="*/ 569 h 569"/>
                <a:gd name="T56" fmla="*/ 300 w 588"/>
                <a:gd name="T57" fmla="*/ 565 h 569"/>
                <a:gd name="T58" fmla="*/ 339 w 588"/>
                <a:gd name="T59" fmla="*/ 541 h 569"/>
                <a:gd name="T60" fmla="*/ 348 w 588"/>
                <a:gd name="T61" fmla="*/ 367 h 569"/>
                <a:gd name="T62" fmla="*/ 353 w 588"/>
                <a:gd name="T63" fmla="*/ 230 h 569"/>
                <a:gd name="T64" fmla="*/ 396 w 588"/>
                <a:gd name="T65" fmla="*/ 228 h 569"/>
                <a:gd name="T66" fmla="*/ 403 w 588"/>
                <a:gd name="T67" fmla="*/ 61 h 569"/>
                <a:gd name="T68" fmla="*/ 436 w 588"/>
                <a:gd name="T69" fmla="*/ 60 h 569"/>
                <a:gd name="T70" fmla="*/ 504 w 588"/>
                <a:gd name="T71" fmla="*/ 43 h 569"/>
                <a:gd name="T72" fmla="*/ 520 w 588"/>
                <a:gd name="T73" fmla="*/ 63 h 569"/>
                <a:gd name="T74" fmla="*/ 550 w 588"/>
                <a:gd name="T75" fmla="*/ 44 h 569"/>
                <a:gd name="T76" fmla="*/ 562 w 588"/>
                <a:gd name="T77" fmla="*/ 44 h 569"/>
                <a:gd name="T78" fmla="*/ 588 w 588"/>
                <a:gd name="T79" fmla="*/ 34 h 569"/>
                <a:gd name="T80" fmla="*/ 588 w 588"/>
                <a:gd name="T81" fmla="*/ 29 h 569"/>
                <a:gd name="T82" fmla="*/ 571 w 588"/>
                <a:gd name="T83" fmla="*/ 19 h 569"/>
                <a:gd name="T84" fmla="*/ 542 w 588"/>
                <a:gd name="T85" fmla="*/ 16 h 569"/>
                <a:gd name="T86" fmla="*/ 506 w 588"/>
                <a:gd name="T87" fmla="*/ 27 h 569"/>
                <a:gd name="T88" fmla="*/ 506 w 588"/>
                <a:gd name="T89" fmla="*/ 27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8" h="569">
                  <a:moveTo>
                    <a:pt x="506" y="27"/>
                  </a:moveTo>
                  <a:lnTo>
                    <a:pt x="423" y="46"/>
                  </a:lnTo>
                  <a:lnTo>
                    <a:pt x="318" y="40"/>
                  </a:lnTo>
                  <a:lnTo>
                    <a:pt x="287" y="17"/>
                  </a:lnTo>
                  <a:lnTo>
                    <a:pt x="109" y="19"/>
                  </a:lnTo>
                  <a:lnTo>
                    <a:pt x="102" y="23"/>
                  </a:lnTo>
                  <a:lnTo>
                    <a:pt x="76" y="1"/>
                  </a:lnTo>
                  <a:lnTo>
                    <a:pt x="48" y="0"/>
                  </a:lnTo>
                  <a:lnTo>
                    <a:pt x="22" y="7"/>
                  </a:lnTo>
                  <a:lnTo>
                    <a:pt x="0" y="17"/>
                  </a:lnTo>
                  <a:lnTo>
                    <a:pt x="2" y="52"/>
                  </a:lnTo>
                  <a:lnTo>
                    <a:pt x="37" y="98"/>
                  </a:lnTo>
                  <a:lnTo>
                    <a:pt x="46" y="128"/>
                  </a:lnTo>
                  <a:lnTo>
                    <a:pt x="68" y="184"/>
                  </a:lnTo>
                  <a:lnTo>
                    <a:pt x="89" y="223"/>
                  </a:lnTo>
                  <a:lnTo>
                    <a:pt x="107" y="243"/>
                  </a:lnTo>
                  <a:lnTo>
                    <a:pt x="111" y="268"/>
                  </a:lnTo>
                  <a:lnTo>
                    <a:pt x="111" y="324"/>
                  </a:lnTo>
                  <a:lnTo>
                    <a:pt x="123" y="396"/>
                  </a:lnTo>
                  <a:lnTo>
                    <a:pt x="133" y="431"/>
                  </a:lnTo>
                  <a:lnTo>
                    <a:pt x="140" y="476"/>
                  </a:lnTo>
                  <a:lnTo>
                    <a:pt x="157" y="511"/>
                  </a:lnTo>
                  <a:lnTo>
                    <a:pt x="187" y="547"/>
                  </a:lnTo>
                  <a:lnTo>
                    <a:pt x="209" y="524"/>
                  </a:lnTo>
                  <a:lnTo>
                    <a:pt x="225" y="535"/>
                  </a:lnTo>
                  <a:lnTo>
                    <a:pt x="232" y="556"/>
                  </a:lnTo>
                  <a:lnTo>
                    <a:pt x="250" y="559"/>
                  </a:lnTo>
                  <a:lnTo>
                    <a:pt x="277" y="569"/>
                  </a:lnTo>
                  <a:lnTo>
                    <a:pt x="300" y="565"/>
                  </a:lnTo>
                  <a:lnTo>
                    <a:pt x="339" y="541"/>
                  </a:lnTo>
                  <a:lnTo>
                    <a:pt x="348" y="367"/>
                  </a:lnTo>
                  <a:lnTo>
                    <a:pt x="353" y="230"/>
                  </a:lnTo>
                  <a:lnTo>
                    <a:pt x="396" y="228"/>
                  </a:lnTo>
                  <a:lnTo>
                    <a:pt x="403" y="61"/>
                  </a:lnTo>
                  <a:lnTo>
                    <a:pt x="436" y="60"/>
                  </a:lnTo>
                  <a:lnTo>
                    <a:pt x="504" y="43"/>
                  </a:lnTo>
                  <a:lnTo>
                    <a:pt x="520" y="63"/>
                  </a:lnTo>
                  <a:lnTo>
                    <a:pt x="550" y="44"/>
                  </a:lnTo>
                  <a:lnTo>
                    <a:pt x="562" y="44"/>
                  </a:lnTo>
                  <a:lnTo>
                    <a:pt x="588" y="34"/>
                  </a:lnTo>
                  <a:lnTo>
                    <a:pt x="588" y="29"/>
                  </a:lnTo>
                  <a:lnTo>
                    <a:pt x="571" y="19"/>
                  </a:lnTo>
                  <a:lnTo>
                    <a:pt x="542" y="16"/>
                  </a:lnTo>
                  <a:lnTo>
                    <a:pt x="506" y="27"/>
                  </a:lnTo>
                  <a:lnTo>
                    <a:pt x="506" y="27"/>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1" name="Niger">
              <a:extLst>
                <a:ext uri="{FF2B5EF4-FFF2-40B4-BE49-F238E27FC236}">
                  <a16:creationId xmlns:a16="http://schemas.microsoft.com/office/drawing/2014/main" id="{B7E94A56-23F4-20FF-4235-282A547AED46}"/>
                </a:ext>
              </a:extLst>
            </p:cNvPr>
            <p:cNvSpPr>
              <a:spLocks/>
            </p:cNvSpPr>
            <p:nvPr/>
          </p:nvSpPr>
          <p:spPr bwMode="auto">
            <a:xfrm>
              <a:off x="6112766" y="1813850"/>
              <a:ext cx="1085850" cy="881063"/>
            </a:xfrm>
            <a:custGeom>
              <a:avLst/>
              <a:gdLst>
                <a:gd name="T0" fmla="*/ 579 w 684"/>
                <a:gd name="T1" fmla="*/ 20 h 555"/>
                <a:gd name="T2" fmla="*/ 509 w 684"/>
                <a:gd name="T3" fmla="*/ 0 h 555"/>
                <a:gd name="T4" fmla="*/ 361 w 684"/>
                <a:gd name="T5" fmla="*/ 90 h 555"/>
                <a:gd name="T6" fmla="*/ 235 w 684"/>
                <a:gd name="T7" fmla="*/ 181 h 555"/>
                <a:gd name="T8" fmla="*/ 174 w 684"/>
                <a:gd name="T9" fmla="*/ 203 h 555"/>
                <a:gd name="T10" fmla="*/ 175 w 684"/>
                <a:gd name="T11" fmla="*/ 311 h 555"/>
                <a:gd name="T12" fmla="*/ 150 w 684"/>
                <a:gd name="T13" fmla="*/ 343 h 555"/>
                <a:gd name="T14" fmla="*/ 147 w 684"/>
                <a:gd name="T15" fmla="*/ 371 h 555"/>
                <a:gd name="T16" fmla="*/ 108 w 684"/>
                <a:gd name="T17" fmla="*/ 378 h 555"/>
                <a:gd name="T18" fmla="*/ 48 w 684"/>
                <a:gd name="T19" fmla="*/ 383 h 555"/>
                <a:gd name="T20" fmla="*/ 31 w 684"/>
                <a:gd name="T21" fmla="*/ 399 h 555"/>
                <a:gd name="T22" fmla="*/ 3 w 684"/>
                <a:gd name="T23" fmla="*/ 401 h 555"/>
                <a:gd name="T24" fmla="*/ 0 w 684"/>
                <a:gd name="T25" fmla="*/ 424 h 555"/>
                <a:gd name="T26" fmla="*/ 5 w 684"/>
                <a:gd name="T27" fmla="*/ 445 h 555"/>
                <a:gd name="T28" fmla="*/ 31 w 684"/>
                <a:gd name="T29" fmla="*/ 476 h 555"/>
                <a:gd name="T30" fmla="*/ 31 w 684"/>
                <a:gd name="T31" fmla="*/ 499 h 555"/>
                <a:gd name="T32" fmla="*/ 83 w 684"/>
                <a:gd name="T33" fmla="*/ 509 h 555"/>
                <a:gd name="T34" fmla="*/ 82 w 684"/>
                <a:gd name="T35" fmla="*/ 541 h 555"/>
                <a:gd name="T36" fmla="*/ 97 w 684"/>
                <a:gd name="T37" fmla="*/ 528 h 555"/>
                <a:gd name="T38" fmla="*/ 113 w 684"/>
                <a:gd name="T39" fmla="*/ 528 h 555"/>
                <a:gd name="T40" fmla="*/ 147 w 684"/>
                <a:gd name="T41" fmla="*/ 555 h 555"/>
                <a:gd name="T42" fmla="*/ 149 w 684"/>
                <a:gd name="T43" fmla="*/ 512 h 555"/>
                <a:gd name="T44" fmla="*/ 162 w 684"/>
                <a:gd name="T45" fmla="*/ 494 h 555"/>
                <a:gd name="T46" fmla="*/ 168 w 684"/>
                <a:gd name="T47" fmla="*/ 467 h 555"/>
                <a:gd name="T48" fmla="*/ 179 w 684"/>
                <a:gd name="T49" fmla="*/ 456 h 555"/>
                <a:gd name="T50" fmla="*/ 227 w 684"/>
                <a:gd name="T51" fmla="*/ 451 h 555"/>
                <a:gd name="T52" fmla="*/ 272 w 684"/>
                <a:gd name="T53" fmla="*/ 468 h 555"/>
                <a:gd name="T54" fmla="*/ 289 w 684"/>
                <a:gd name="T55" fmla="*/ 487 h 555"/>
                <a:gd name="T56" fmla="*/ 311 w 684"/>
                <a:gd name="T57" fmla="*/ 487 h 555"/>
                <a:gd name="T58" fmla="*/ 332 w 684"/>
                <a:gd name="T59" fmla="*/ 476 h 555"/>
                <a:gd name="T60" fmla="*/ 386 w 684"/>
                <a:gd name="T61" fmla="*/ 500 h 555"/>
                <a:gd name="T62" fmla="*/ 409 w 684"/>
                <a:gd name="T63" fmla="*/ 499 h 555"/>
                <a:gd name="T64" fmla="*/ 434 w 684"/>
                <a:gd name="T65" fmla="*/ 478 h 555"/>
                <a:gd name="T66" fmla="*/ 461 w 684"/>
                <a:gd name="T67" fmla="*/ 480 h 555"/>
                <a:gd name="T68" fmla="*/ 474 w 684"/>
                <a:gd name="T69" fmla="*/ 473 h 555"/>
                <a:gd name="T70" fmla="*/ 497 w 684"/>
                <a:gd name="T71" fmla="*/ 477 h 555"/>
                <a:gd name="T72" fmla="*/ 531 w 684"/>
                <a:gd name="T73" fmla="*/ 490 h 555"/>
                <a:gd name="T74" fmla="*/ 566 w 684"/>
                <a:gd name="T75" fmla="*/ 464 h 555"/>
                <a:gd name="T76" fmla="*/ 576 w 684"/>
                <a:gd name="T77" fmla="*/ 466 h 555"/>
                <a:gd name="T78" fmla="*/ 607 w 684"/>
                <a:gd name="T79" fmla="*/ 517 h 555"/>
                <a:gd name="T80" fmla="*/ 615 w 684"/>
                <a:gd name="T81" fmla="*/ 516 h 555"/>
                <a:gd name="T82" fmla="*/ 616 w 684"/>
                <a:gd name="T83" fmla="*/ 501 h 555"/>
                <a:gd name="T84" fmla="*/ 629 w 684"/>
                <a:gd name="T85" fmla="*/ 499 h 555"/>
                <a:gd name="T86" fmla="*/ 632 w 684"/>
                <a:gd name="T87" fmla="*/ 477 h 555"/>
                <a:gd name="T88" fmla="*/ 604 w 684"/>
                <a:gd name="T89" fmla="*/ 475 h 555"/>
                <a:gd name="T90" fmla="*/ 604 w 684"/>
                <a:gd name="T91" fmla="*/ 445 h 555"/>
                <a:gd name="T92" fmla="*/ 585 w 684"/>
                <a:gd name="T93" fmla="*/ 428 h 555"/>
                <a:gd name="T94" fmla="*/ 603 w 684"/>
                <a:gd name="T95" fmla="*/ 366 h 555"/>
                <a:gd name="T96" fmla="*/ 659 w 684"/>
                <a:gd name="T97" fmla="*/ 321 h 555"/>
                <a:gd name="T98" fmla="*/ 660 w 684"/>
                <a:gd name="T99" fmla="*/ 260 h 555"/>
                <a:gd name="T100" fmla="*/ 674 w 684"/>
                <a:gd name="T101" fmla="*/ 165 h 555"/>
                <a:gd name="T102" fmla="*/ 684 w 684"/>
                <a:gd name="T103" fmla="*/ 145 h 555"/>
                <a:gd name="T104" fmla="*/ 664 w 684"/>
                <a:gd name="T105" fmla="*/ 129 h 555"/>
                <a:gd name="T106" fmla="*/ 663 w 684"/>
                <a:gd name="T107" fmla="*/ 113 h 555"/>
                <a:gd name="T108" fmla="*/ 647 w 684"/>
                <a:gd name="T109" fmla="*/ 102 h 555"/>
                <a:gd name="T110" fmla="*/ 634 w 684"/>
                <a:gd name="T111" fmla="*/ 28 h 555"/>
                <a:gd name="T112" fmla="*/ 604 w 684"/>
                <a:gd name="T113" fmla="*/ 45 h 555"/>
                <a:gd name="T114" fmla="*/ 579 w 684"/>
                <a:gd name="T115" fmla="*/ 20 h 555"/>
                <a:gd name="T116" fmla="*/ 579 w 684"/>
                <a:gd name="T117" fmla="*/ 2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555">
                  <a:moveTo>
                    <a:pt x="579" y="20"/>
                  </a:moveTo>
                  <a:lnTo>
                    <a:pt x="509" y="0"/>
                  </a:lnTo>
                  <a:lnTo>
                    <a:pt x="361" y="90"/>
                  </a:lnTo>
                  <a:lnTo>
                    <a:pt x="235" y="181"/>
                  </a:lnTo>
                  <a:lnTo>
                    <a:pt x="174" y="203"/>
                  </a:lnTo>
                  <a:lnTo>
                    <a:pt x="175" y="311"/>
                  </a:lnTo>
                  <a:lnTo>
                    <a:pt x="150" y="343"/>
                  </a:lnTo>
                  <a:lnTo>
                    <a:pt x="147" y="371"/>
                  </a:lnTo>
                  <a:lnTo>
                    <a:pt x="108" y="378"/>
                  </a:lnTo>
                  <a:lnTo>
                    <a:pt x="48" y="383"/>
                  </a:lnTo>
                  <a:lnTo>
                    <a:pt x="31" y="399"/>
                  </a:lnTo>
                  <a:lnTo>
                    <a:pt x="3" y="401"/>
                  </a:lnTo>
                  <a:lnTo>
                    <a:pt x="0" y="424"/>
                  </a:lnTo>
                  <a:lnTo>
                    <a:pt x="5" y="445"/>
                  </a:lnTo>
                  <a:lnTo>
                    <a:pt x="31" y="476"/>
                  </a:lnTo>
                  <a:lnTo>
                    <a:pt x="31" y="499"/>
                  </a:lnTo>
                  <a:lnTo>
                    <a:pt x="83" y="509"/>
                  </a:lnTo>
                  <a:lnTo>
                    <a:pt x="82" y="541"/>
                  </a:lnTo>
                  <a:lnTo>
                    <a:pt x="97" y="528"/>
                  </a:lnTo>
                  <a:lnTo>
                    <a:pt x="113" y="528"/>
                  </a:lnTo>
                  <a:lnTo>
                    <a:pt x="147" y="555"/>
                  </a:lnTo>
                  <a:lnTo>
                    <a:pt x="149" y="512"/>
                  </a:lnTo>
                  <a:lnTo>
                    <a:pt x="162" y="494"/>
                  </a:lnTo>
                  <a:lnTo>
                    <a:pt x="168" y="467"/>
                  </a:lnTo>
                  <a:lnTo>
                    <a:pt x="179" y="456"/>
                  </a:lnTo>
                  <a:lnTo>
                    <a:pt x="227" y="451"/>
                  </a:lnTo>
                  <a:lnTo>
                    <a:pt x="272" y="468"/>
                  </a:lnTo>
                  <a:lnTo>
                    <a:pt x="289" y="487"/>
                  </a:lnTo>
                  <a:lnTo>
                    <a:pt x="311" y="487"/>
                  </a:lnTo>
                  <a:lnTo>
                    <a:pt x="332" y="476"/>
                  </a:lnTo>
                  <a:lnTo>
                    <a:pt x="386" y="500"/>
                  </a:lnTo>
                  <a:lnTo>
                    <a:pt x="409" y="499"/>
                  </a:lnTo>
                  <a:lnTo>
                    <a:pt x="434" y="478"/>
                  </a:lnTo>
                  <a:lnTo>
                    <a:pt x="461" y="480"/>
                  </a:lnTo>
                  <a:lnTo>
                    <a:pt x="474" y="473"/>
                  </a:lnTo>
                  <a:lnTo>
                    <a:pt x="497" y="477"/>
                  </a:lnTo>
                  <a:lnTo>
                    <a:pt x="531" y="490"/>
                  </a:lnTo>
                  <a:lnTo>
                    <a:pt x="566" y="464"/>
                  </a:lnTo>
                  <a:lnTo>
                    <a:pt x="576" y="466"/>
                  </a:lnTo>
                  <a:lnTo>
                    <a:pt x="607" y="517"/>
                  </a:lnTo>
                  <a:lnTo>
                    <a:pt x="615" y="516"/>
                  </a:lnTo>
                  <a:lnTo>
                    <a:pt x="616" y="501"/>
                  </a:lnTo>
                  <a:lnTo>
                    <a:pt x="629" y="499"/>
                  </a:lnTo>
                  <a:lnTo>
                    <a:pt x="632" y="477"/>
                  </a:lnTo>
                  <a:lnTo>
                    <a:pt x="604" y="475"/>
                  </a:lnTo>
                  <a:lnTo>
                    <a:pt x="604" y="445"/>
                  </a:lnTo>
                  <a:lnTo>
                    <a:pt x="585" y="428"/>
                  </a:lnTo>
                  <a:lnTo>
                    <a:pt x="603" y="366"/>
                  </a:lnTo>
                  <a:lnTo>
                    <a:pt x="659" y="321"/>
                  </a:lnTo>
                  <a:lnTo>
                    <a:pt x="660" y="260"/>
                  </a:lnTo>
                  <a:lnTo>
                    <a:pt x="674" y="165"/>
                  </a:lnTo>
                  <a:lnTo>
                    <a:pt x="684" y="145"/>
                  </a:lnTo>
                  <a:lnTo>
                    <a:pt x="664" y="129"/>
                  </a:lnTo>
                  <a:lnTo>
                    <a:pt x="663" y="113"/>
                  </a:lnTo>
                  <a:lnTo>
                    <a:pt x="647" y="102"/>
                  </a:lnTo>
                  <a:lnTo>
                    <a:pt x="634" y="28"/>
                  </a:lnTo>
                  <a:lnTo>
                    <a:pt x="604" y="45"/>
                  </a:lnTo>
                  <a:lnTo>
                    <a:pt x="579" y="20"/>
                  </a:lnTo>
                  <a:lnTo>
                    <a:pt x="579" y="2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2" name="Nigeria">
              <a:extLst>
                <a:ext uri="{FF2B5EF4-FFF2-40B4-BE49-F238E27FC236}">
                  <a16:creationId xmlns:a16="http://schemas.microsoft.com/office/drawing/2014/main" id="{B64EAFD3-16FA-13B1-871E-64BD49B1A99C}"/>
                </a:ext>
              </a:extLst>
            </p:cNvPr>
            <p:cNvSpPr>
              <a:spLocks/>
            </p:cNvSpPr>
            <p:nvPr/>
          </p:nvSpPr>
          <p:spPr bwMode="auto">
            <a:xfrm>
              <a:off x="6281041" y="2529812"/>
              <a:ext cx="835025" cy="717550"/>
            </a:xfrm>
            <a:custGeom>
              <a:avLst/>
              <a:gdLst>
                <a:gd name="T0" fmla="*/ 509 w 526"/>
                <a:gd name="T1" fmla="*/ 65 h 452"/>
                <a:gd name="T2" fmla="*/ 501 w 526"/>
                <a:gd name="T3" fmla="*/ 66 h 452"/>
                <a:gd name="T4" fmla="*/ 470 w 526"/>
                <a:gd name="T5" fmla="*/ 15 h 452"/>
                <a:gd name="T6" fmla="*/ 460 w 526"/>
                <a:gd name="T7" fmla="*/ 13 h 452"/>
                <a:gd name="T8" fmla="*/ 425 w 526"/>
                <a:gd name="T9" fmla="*/ 39 h 452"/>
                <a:gd name="T10" fmla="*/ 391 w 526"/>
                <a:gd name="T11" fmla="*/ 26 h 452"/>
                <a:gd name="T12" fmla="*/ 368 w 526"/>
                <a:gd name="T13" fmla="*/ 22 h 452"/>
                <a:gd name="T14" fmla="*/ 355 w 526"/>
                <a:gd name="T15" fmla="*/ 29 h 452"/>
                <a:gd name="T16" fmla="*/ 328 w 526"/>
                <a:gd name="T17" fmla="*/ 27 h 452"/>
                <a:gd name="T18" fmla="*/ 303 w 526"/>
                <a:gd name="T19" fmla="*/ 48 h 452"/>
                <a:gd name="T20" fmla="*/ 280 w 526"/>
                <a:gd name="T21" fmla="*/ 49 h 452"/>
                <a:gd name="T22" fmla="*/ 226 w 526"/>
                <a:gd name="T23" fmla="*/ 25 h 452"/>
                <a:gd name="T24" fmla="*/ 205 w 526"/>
                <a:gd name="T25" fmla="*/ 36 h 452"/>
                <a:gd name="T26" fmla="*/ 183 w 526"/>
                <a:gd name="T27" fmla="*/ 36 h 452"/>
                <a:gd name="T28" fmla="*/ 166 w 526"/>
                <a:gd name="T29" fmla="*/ 17 h 452"/>
                <a:gd name="T30" fmla="*/ 121 w 526"/>
                <a:gd name="T31" fmla="*/ 0 h 452"/>
                <a:gd name="T32" fmla="*/ 73 w 526"/>
                <a:gd name="T33" fmla="*/ 5 h 452"/>
                <a:gd name="T34" fmla="*/ 62 w 526"/>
                <a:gd name="T35" fmla="*/ 16 h 452"/>
                <a:gd name="T36" fmla="*/ 56 w 526"/>
                <a:gd name="T37" fmla="*/ 43 h 452"/>
                <a:gd name="T38" fmla="*/ 43 w 526"/>
                <a:gd name="T39" fmla="*/ 61 h 452"/>
                <a:gd name="T40" fmla="*/ 41 w 526"/>
                <a:gd name="T41" fmla="*/ 104 h 452"/>
                <a:gd name="T42" fmla="*/ 39 w 526"/>
                <a:gd name="T43" fmla="*/ 119 h 452"/>
                <a:gd name="T44" fmla="*/ 49 w 526"/>
                <a:gd name="T45" fmla="*/ 147 h 452"/>
                <a:gd name="T46" fmla="*/ 41 w 526"/>
                <a:gd name="T47" fmla="*/ 167 h 452"/>
                <a:gd name="T48" fmla="*/ 45 w 526"/>
                <a:gd name="T49" fmla="*/ 179 h 452"/>
                <a:gd name="T50" fmla="*/ 23 w 526"/>
                <a:gd name="T51" fmla="*/ 207 h 452"/>
                <a:gd name="T52" fmla="*/ 10 w 526"/>
                <a:gd name="T53" fmla="*/ 223 h 452"/>
                <a:gd name="T54" fmla="*/ 1 w 526"/>
                <a:gd name="T55" fmla="*/ 252 h 452"/>
                <a:gd name="T56" fmla="*/ 2 w 526"/>
                <a:gd name="T57" fmla="*/ 282 h 452"/>
                <a:gd name="T58" fmla="*/ 0 w 526"/>
                <a:gd name="T59" fmla="*/ 358 h 452"/>
                <a:gd name="T60" fmla="*/ 40 w 526"/>
                <a:gd name="T61" fmla="*/ 358 h 452"/>
                <a:gd name="T62" fmla="*/ 73 w 526"/>
                <a:gd name="T63" fmla="*/ 357 h 452"/>
                <a:gd name="T64" fmla="*/ 104 w 526"/>
                <a:gd name="T65" fmla="*/ 388 h 452"/>
                <a:gd name="T66" fmla="*/ 119 w 526"/>
                <a:gd name="T67" fmla="*/ 422 h 452"/>
                <a:gd name="T68" fmla="*/ 143 w 526"/>
                <a:gd name="T69" fmla="*/ 451 h 452"/>
                <a:gd name="T70" fmla="*/ 179 w 526"/>
                <a:gd name="T71" fmla="*/ 452 h 452"/>
                <a:gd name="T72" fmla="*/ 196 w 526"/>
                <a:gd name="T73" fmla="*/ 442 h 452"/>
                <a:gd name="T74" fmla="*/ 213 w 526"/>
                <a:gd name="T75" fmla="*/ 444 h 452"/>
                <a:gd name="T76" fmla="*/ 260 w 526"/>
                <a:gd name="T77" fmla="*/ 427 h 452"/>
                <a:gd name="T78" fmla="*/ 271 w 526"/>
                <a:gd name="T79" fmla="*/ 394 h 452"/>
                <a:gd name="T80" fmla="*/ 292 w 526"/>
                <a:gd name="T81" fmla="*/ 348 h 452"/>
                <a:gd name="T82" fmla="*/ 304 w 526"/>
                <a:gd name="T83" fmla="*/ 348 h 452"/>
                <a:gd name="T84" fmla="*/ 331 w 526"/>
                <a:gd name="T85" fmla="*/ 321 h 452"/>
                <a:gd name="T86" fmla="*/ 347 w 526"/>
                <a:gd name="T87" fmla="*/ 320 h 452"/>
                <a:gd name="T88" fmla="*/ 373 w 526"/>
                <a:gd name="T89" fmla="*/ 340 h 452"/>
                <a:gd name="T90" fmla="*/ 403 w 526"/>
                <a:gd name="T91" fmla="*/ 324 h 452"/>
                <a:gd name="T92" fmla="*/ 408 w 526"/>
                <a:gd name="T93" fmla="*/ 304 h 452"/>
                <a:gd name="T94" fmla="*/ 417 w 526"/>
                <a:gd name="T95" fmla="*/ 286 h 452"/>
                <a:gd name="T96" fmla="*/ 424 w 526"/>
                <a:gd name="T97" fmla="*/ 262 h 452"/>
                <a:gd name="T98" fmla="*/ 448 w 526"/>
                <a:gd name="T99" fmla="*/ 242 h 452"/>
                <a:gd name="T100" fmla="*/ 456 w 526"/>
                <a:gd name="T101" fmla="*/ 209 h 452"/>
                <a:gd name="T102" fmla="*/ 466 w 526"/>
                <a:gd name="T103" fmla="*/ 199 h 452"/>
                <a:gd name="T104" fmla="*/ 472 w 526"/>
                <a:gd name="T105" fmla="*/ 174 h 452"/>
                <a:gd name="T106" fmla="*/ 483 w 526"/>
                <a:gd name="T107" fmla="*/ 145 h 452"/>
                <a:gd name="T108" fmla="*/ 520 w 526"/>
                <a:gd name="T109" fmla="*/ 108 h 452"/>
                <a:gd name="T110" fmla="*/ 522 w 526"/>
                <a:gd name="T111" fmla="*/ 92 h 452"/>
                <a:gd name="T112" fmla="*/ 526 w 526"/>
                <a:gd name="T113" fmla="*/ 83 h 452"/>
                <a:gd name="T114" fmla="*/ 509 w 526"/>
                <a:gd name="T115" fmla="*/ 65 h 452"/>
                <a:gd name="T116" fmla="*/ 509 w 526"/>
                <a:gd name="T117" fmla="*/ 6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6" h="452">
                  <a:moveTo>
                    <a:pt x="509" y="65"/>
                  </a:moveTo>
                  <a:lnTo>
                    <a:pt x="501" y="66"/>
                  </a:lnTo>
                  <a:lnTo>
                    <a:pt x="470" y="15"/>
                  </a:lnTo>
                  <a:lnTo>
                    <a:pt x="460" y="13"/>
                  </a:lnTo>
                  <a:lnTo>
                    <a:pt x="425" y="39"/>
                  </a:lnTo>
                  <a:lnTo>
                    <a:pt x="391" y="26"/>
                  </a:lnTo>
                  <a:lnTo>
                    <a:pt x="368" y="22"/>
                  </a:lnTo>
                  <a:lnTo>
                    <a:pt x="355" y="29"/>
                  </a:lnTo>
                  <a:lnTo>
                    <a:pt x="328" y="27"/>
                  </a:lnTo>
                  <a:lnTo>
                    <a:pt x="303" y="48"/>
                  </a:lnTo>
                  <a:lnTo>
                    <a:pt x="280" y="49"/>
                  </a:lnTo>
                  <a:lnTo>
                    <a:pt x="226" y="25"/>
                  </a:lnTo>
                  <a:lnTo>
                    <a:pt x="205" y="36"/>
                  </a:lnTo>
                  <a:lnTo>
                    <a:pt x="183" y="36"/>
                  </a:lnTo>
                  <a:lnTo>
                    <a:pt x="166" y="17"/>
                  </a:lnTo>
                  <a:lnTo>
                    <a:pt x="121" y="0"/>
                  </a:lnTo>
                  <a:lnTo>
                    <a:pt x="73" y="5"/>
                  </a:lnTo>
                  <a:lnTo>
                    <a:pt x="62" y="16"/>
                  </a:lnTo>
                  <a:lnTo>
                    <a:pt x="56" y="43"/>
                  </a:lnTo>
                  <a:lnTo>
                    <a:pt x="43" y="61"/>
                  </a:lnTo>
                  <a:lnTo>
                    <a:pt x="41" y="104"/>
                  </a:lnTo>
                  <a:lnTo>
                    <a:pt x="39" y="119"/>
                  </a:lnTo>
                  <a:lnTo>
                    <a:pt x="49" y="147"/>
                  </a:lnTo>
                  <a:lnTo>
                    <a:pt x="41" y="167"/>
                  </a:lnTo>
                  <a:lnTo>
                    <a:pt x="45" y="179"/>
                  </a:lnTo>
                  <a:lnTo>
                    <a:pt x="23" y="207"/>
                  </a:lnTo>
                  <a:lnTo>
                    <a:pt x="10" y="223"/>
                  </a:lnTo>
                  <a:lnTo>
                    <a:pt x="1" y="252"/>
                  </a:lnTo>
                  <a:lnTo>
                    <a:pt x="2" y="282"/>
                  </a:lnTo>
                  <a:lnTo>
                    <a:pt x="0" y="358"/>
                  </a:lnTo>
                  <a:lnTo>
                    <a:pt x="40" y="358"/>
                  </a:lnTo>
                  <a:lnTo>
                    <a:pt x="73" y="357"/>
                  </a:lnTo>
                  <a:lnTo>
                    <a:pt x="104" y="388"/>
                  </a:lnTo>
                  <a:lnTo>
                    <a:pt x="119" y="422"/>
                  </a:lnTo>
                  <a:lnTo>
                    <a:pt x="143" y="451"/>
                  </a:lnTo>
                  <a:lnTo>
                    <a:pt x="179" y="452"/>
                  </a:lnTo>
                  <a:lnTo>
                    <a:pt x="196" y="442"/>
                  </a:lnTo>
                  <a:lnTo>
                    <a:pt x="213" y="444"/>
                  </a:lnTo>
                  <a:lnTo>
                    <a:pt x="260" y="427"/>
                  </a:lnTo>
                  <a:lnTo>
                    <a:pt x="271" y="394"/>
                  </a:lnTo>
                  <a:lnTo>
                    <a:pt x="292" y="348"/>
                  </a:lnTo>
                  <a:lnTo>
                    <a:pt x="304" y="348"/>
                  </a:lnTo>
                  <a:lnTo>
                    <a:pt x="331" y="321"/>
                  </a:lnTo>
                  <a:lnTo>
                    <a:pt x="347" y="320"/>
                  </a:lnTo>
                  <a:lnTo>
                    <a:pt x="373" y="340"/>
                  </a:lnTo>
                  <a:lnTo>
                    <a:pt x="403" y="324"/>
                  </a:lnTo>
                  <a:lnTo>
                    <a:pt x="408" y="304"/>
                  </a:lnTo>
                  <a:lnTo>
                    <a:pt x="417" y="286"/>
                  </a:lnTo>
                  <a:lnTo>
                    <a:pt x="424" y="262"/>
                  </a:lnTo>
                  <a:lnTo>
                    <a:pt x="448" y="242"/>
                  </a:lnTo>
                  <a:lnTo>
                    <a:pt x="456" y="209"/>
                  </a:lnTo>
                  <a:lnTo>
                    <a:pt x="466" y="199"/>
                  </a:lnTo>
                  <a:lnTo>
                    <a:pt x="472" y="174"/>
                  </a:lnTo>
                  <a:lnTo>
                    <a:pt x="483" y="145"/>
                  </a:lnTo>
                  <a:lnTo>
                    <a:pt x="520" y="108"/>
                  </a:lnTo>
                  <a:lnTo>
                    <a:pt x="522" y="92"/>
                  </a:lnTo>
                  <a:lnTo>
                    <a:pt x="526" y="83"/>
                  </a:lnTo>
                  <a:lnTo>
                    <a:pt x="509" y="65"/>
                  </a:lnTo>
                  <a:lnTo>
                    <a:pt x="509" y="65"/>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3" name="Rwanda">
              <a:extLst>
                <a:ext uri="{FF2B5EF4-FFF2-40B4-BE49-F238E27FC236}">
                  <a16:creationId xmlns:a16="http://schemas.microsoft.com/office/drawing/2014/main" id="{7D44BF23-5A12-D01E-2DC0-B3BBE29A0C96}"/>
                </a:ext>
              </a:extLst>
            </p:cNvPr>
            <p:cNvSpPr>
              <a:spLocks/>
            </p:cNvSpPr>
            <p:nvPr/>
          </p:nvSpPr>
          <p:spPr bwMode="auto">
            <a:xfrm>
              <a:off x="8147941" y="3649000"/>
              <a:ext cx="127000" cy="133350"/>
            </a:xfrm>
            <a:custGeom>
              <a:avLst/>
              <a:gdLst>
                <a:gd name="T0" fmla="*/ 63 w 80"/>
                <a:gd name="T1" fmla="*/ 0 h 84"/>
                <a:gd name="T2" fmla="*/ 35 w 80"/>
                <a:gd name="T3" fmla="*/ 14 h 84"/>
                <a:gd name="T4" fmla="*/ 24 w 80"/>
                <a:gd name="T5" fmla="*/ 10 h 84"/>
                <a:gd name="T6" fmla="*/ 12 w 80"/>
                <a:gd name="T7" fmla="*/ 23 h 84"/>
                <a:gd name="T8" fmla="*/ 10 w 80"/>
                <a:gd name="T9" fmla="*/ 51 h 84"/>
                <a:gd name="T10" fmla="*/ 4 w 80"/>
                <a:gd name="T11" fmla="*/ 54 h 84"/>
                <a:gd name="T12" fmla="*/ 0 w 80"/>
                <a:gd name="T13" fmla="*/ 80 h 84"/>
                <a:gd name="T14" fmla="*/ 26 w 80"/>
                <a:gd name="T15" fmla="*/ 84 h 84"/>
                <a:gd name="T16" fmla="*/ 41 w 80"/>
                <a:gd name="T17" fmla="*/ 57 h 84"/>
                <a:gd name="T18" fmla="*/ 65 w 80"/>
                <a:gd name="T19" fmla="*/ 60 h 84"/>
                <a:gd name="T20" fmla="*/ 65 w 80"/>
                <a:gd name="T21" fmla="*/ 60 h 84"/>
                <a:gd name="T22" fmla="*/ 77 w 80"/>
                <a:gd name="T23" fmla="*/ 54 h 84"/>
                <a:gd name="T24" fmla="*/ 80 w 80"/>
                <a:gd name="T25" fmla="*/ 26 h 84"/>
                <a:gd name="T26" fmla="*/ 63 w 80"/>
                <a:gd name="T27" fmla="*/ 0 h 84"/>
                <a:gd name="T28" fmla="*/ 63 w 80"/>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4">
                  <a:moveTo>
                    <a:pt x="63" y="0"/>
                  </a:moveTo>
                  <a:lnTo>
                    <a:pt x="35" y="14"/>
                  </a:lnTo>
                  <a:lnTo>
                    <a:pt x="24" y="10"/>
                  </a:lnTo>
                  <a:lnTo>
                    <a:pt x="12" y="23"/>
                  </a:lnTo>
                  <a:lnTo>
                    <a:pt x="10" y="51"/>
                  </a:lnTo>
                  <a:lnTo>
                    <a:pt x="4" y="54"/>
                  </a:lnTo>
                  <a:lnTo>
                    <a:pt x="0" y="80"/>
                  </a:lnTo>
                  <a:lnTo>
                    <a:pt x="26" y="84"/>
                  </a:lnTo>
                  <a:lnTo>
                    <a:pt x="41" y="57"/>
                  </a:lnTo>
                  <a:lnTo>
                    <a:pt x="65" y="60"/>
                  </a:lnTo>
                  <a:lnTo>
                    <a:pt x="65" y="60"/>
                  </a:lnTo>
                  <a:lnTo>
                    <a:pt x="77" y="54"/>
                  </a:lnTo>
                  <a:lnTo>
                    <a:pt x="80" y="26"/>
                  </a:lnTo>
                  <a:lnTo>
                    <a:pt x="63" y="0"/>
                  </a:lnTo>
                  <a:lnTo>
                    <a:pt x="63" y="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4" name="Western Sahara">
              <a:extLst>
                <a:ext uri="{FF2B5EF4-FFF2-40B4-BE49-F238E27FC236}">
                  <a16:creationId xmlns:a16="http://schemas.microsoft.com/office/drawing/2014/main" id="{DF457269-E7F2-C672-7843-3D1F1830EC53}"/>
                </a:ext>
              </a:extLst>
            </p:cNvPr>
            <p:cNvSpPr>
              <a:spLocks/>
            </p:cNvSpPr>
            <p:nvPr/>
          </p:nvSpPr>
          <p:spPr bwMode="auto">
            <a:xfrm>
              <a:off x="4906266" y="1501111"/>
              <a:ext cx="590550" cy="496888"/>
            </a:xfrm>
            <a:custGeom>
              <a:avLst/>
              <a:gdLst>
                <a:gd name="T0" fmla="*/ 372 w 372"/>
                <a:gd name="T1" fmla="*/ 0 h 313"/>
                <a:gd name="T2" fmla="*/ 366 w 372"/>
                <a:gd name="T3" fmla="*/ 0 h 313"/>
                <a:gd name="T4" fmla="*/ 366 w 372"/>
                <a:gd name="T5" fmla="*/ 0 h 313"/>
                <a:gd name="T6" fmla="*/ 366 w 372"/>
                <a:gd name="T7" fmla="*/ 25 h 313"/>
                <a:gd name="T8" fmla="*/ 339 w 372"/>
                <a:gd name="T9" fmla="*/ 27 h 313"/>
                <a:gd name="T10" fmla="*/ 326 w 372"/>
                <a:gd name="T11" fmla="*/ 38 h 313"/>
                <a:gd name="T12" fmla="*/ 306 w 372"/>
                <a:gd name="T13" fmla="*/ 38 h 313"/>
                <a:gd name="T14" fmla="*/ 290 w 372"/>
                <a:gd name="T15" fmla="*/ 32 h 313"/>
                <a:gd name="T16" fmla="*/ 254 w 372"/>
                <a:gd name="T17" fmla="*/ 36 h 313"/>
                <a:gd name="T18" fmla="*/ 238 w 372"/>
                <a:gd name="T19" fmla="*/ 73 h 313"/>
                <a:gd name="T20" fmla="*/ 225 w 372"/>
                <a:gd name="T21" fmla="*/ 77 h 313"/>
                <a:gd name="T22" fmla="*/ 203 w 372"/>
                <a:gd name="T23" fmla="*/ 136 h 313"/>
                <a:gd name="T24" fmla="*/ 141 w 372"/>
                <a:gd name="T25" fmla="*/ 186 h 313"/>
                <a:gd name="T26" fmla="*/ 125 w 372"/>
                <a:gd name="T27" fmla="*/ 252 h 313"/>
                <a:gd name="T28" fmla="*/ 107 w 372"/>
                <a:gd name="T29" fmla="*/ 273 h 313"/>
                <a:gd name="T30" fmla="*/ 101 w 372"/>
                <a:gd name="T31" fmla="*/ 290 h 313"/>
                <a:gd name="T32" fmla="*/ 2 w 372"/>
                <a:gd name="T33" fmla="*/ 293 h 313"/>
                <a:gd name="T34" fmla="*/ 2 w 372"/>
                <a:gd name="T35" fmla="*/ 293 h 313"/>
                <a:gd name="T36" fmla="*/ 0 w 372"/>
                <a:gd name="T37" fmla="*/ 313 h 313"/>
                <a:gd name="T38" fmla="*/ 10 w 372"/>
                <a:gd name="T39" fmla="*/ 298 h 313"/>
                <a:gd name="T40" fmla="*/ 181 w 372"/>
                <a:gd name="T41" fmla="*/ 298 h 313"/>
                <a:gd name="T42" fmla="*/ 174 w 372"/>
                <a:gd name="T43" fmla="*/ 230 h 313"/>
                <a:gd name="T44" fmla="*/ 185 w 372"/>
                <a:gd name="T45" fmla="*/ 206 h 313"/>
                <a:gd name="T46" fmla="*/ 226 w 372"/>
                <a:gd name="T47" fmla="*/ 202 h 313"/>
                <a:gd name="T48" fmla="*/ 227 w 372"/>
                <a:gd name="T49" fmla="*/ 81 h 313"/>
                <a:gd name="T50" fmla="*/ 370 w 372"/>
                <a:gd name="T51" fmla="*/ 84 h 313"/>
                <a:gd name="T52" fmla="*/ 371 w 372"/>
                <a:gd name="T53" fmla="*/ 12 h 313"/>
                <a:gd name="T54" fmla="*/ 372 w 372"/>
                <a:gd name="T55" fmla="*/ 3 h 313"/>
                <a:gd name="T56" fmla="*/ 372 w 372"/>
                <a:gd name="T57" fmla="*/ 0 h 313"/>
                <a:gd name="T58" fmla="*/ 372 w 372"/>
                <a:gd name="T5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313">
                  <a:moveTo>
                    <a:pt x="372" y="0"/>
                  </a:moveTo>
                  <a:lnTo>
                    <a:pt x="366" y="0"/>
                  </a:lnTo>
                  <a:lnTo>
                    <a:pt x="366" y="0"/>
                  </a:lnTo>
                  <a:lnTo>
                    <a:pt x="366" y="25"/>
                  </a:lnTo>
                  <a:lnTo>
                    <a:pt x="339" y="27"/>
                  </a:lnTo>
                  <a:lnTo>
                    <a:pt x="326" y="38"/>
                  </a:lnTo>
                  <a:lnTo>
                    <a:pt x="306" y="38"/>
                  </a:lnTo>
                  <a:lnTo>
                    <a:pt x="290" y="32"/>
                  </a:lnTo>
                  <a:lnTo>
                    <a:pt x="254" y="36"/>
                  </a:lnTo>
                  <a:lnTo>
                    <a:pt x="238" y="73"/>
                  </a:lnTo>
                  <a:lnTo>
                    <a:pt x="225" y="77"/>
                  </a:lnTo>
                  <a:lnTo>
                    <a:pt x="203" y="136"/>
                  </a:lnTo>
                  <a:lnTo>
                    <a:pt x="141" y="186"/>
                  </a:lnTo>
                  <a:lnTo>
                    <a:pt x="125" y="252"/>
                  </a:lnTo>
                  <a:lnTo>
                    <a:pt x="107" y="273"/>
                  </a:lnTo>
                  <a:lnTo>
                    <a:pt x="101" y="290"/>
                  </a:lnTo>
                  <a:lnTo>
                    <a:pt x="2" y="293"/>
                  </a:lnTo>
                  <a:lnTo>
                    <a:pt x="2" y="293"/>
                  </a:lnTo>
                  <a:lnTo>
                    <a:pt x="0" y="313"/>
                  </a:lnTo>
                  <a:lnTo>
                    <a:pt x="10" y="298"/>
                  </a:lnTo>
                  <a:lnTo>
                    <a:pt x="181" y="298"/>
                  </a:lnTo>
                  <a:lnTo>
                    <a:pt x="174" y="230"/>
                  </a:lnTo>
                  <a:lnTo>
                    <a:pt x="185" y="206"/>
                  </a:lnTo>
                  <a:lnTo>
                    <a:pt x="226" y="202"/>
                  </a:lnTo>
                  <a:lnTo>
                    <a:pt x="227" y="81"/>
                  </a:lnTo>
                  <a:lnTo>
                    <a:pt x="370" y="84"/>
                  </a:lnTo>
                  <a:lnTo>
                    <a:pt x="371" y="12"/>
                  </a:lnTo>
                  <a:lnTo>
                    <a:pt x="372" y="3"/>
                  </a:lnTo>
                  <a:lnTo>
                    <a:pt x="372" y="0"/>
                  </a:lnTo>
                  <a:lnTo>
                    <a:pt x="372" y="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5" name="Sudan">
              <a:extLst>
                <a:ext uri="{FF2B5EF4-FFF2-40B4-BE49-F238E27FC236}">
                  <a16:creationId xmlns:a16="http://schemas.microsoft.com/office/drawing/2014/main" id="{22D74B99-2BCB-4DC0-FA29-7A9B42308E67}"/>
                </a:ext>
              </a:extLst>
            </p:cNvPr>
            <p:cNvSpPr>
              <a:spLocks/>
            </p:cNvSpPr>
            <p:nvPr/>
          </p:nvSpPr>
          <p:spPr bwMode="auto">
            <a:xfrm>
              <a:off x="7633591" y="1923387"/>
              <a:ext cx="1139825" cy="996950"/>
            </a:xfrm>
            <a:custGeom>
              <a:avLst/>
              <a:gdLst>
                <a:gd name="T0" fmla="*/ 652 w 718"/>
                <a:gd name="T1" fmla="*/ 237 h 628"/>
                <a:gd name="T2" fmla="*/ 697 w 718"/>
                <a:gd name="T3" fmla="*/ 215 h 628"/>
                <a:gd name="T4" fmla="*/ 694 w 718"/>
                <a:gd name="T5" fmla="*/ 171 h 628"/>
                <a:gd name="T6" fmla="*/ 656 w 718"/>
                <a:gd name="T7" fmla="*/ 103 h 628"/>
                <a:gd name="T8" fmla="*/ 656 w 718"/>
                <a:gd name="T9" fmla="*/ 46 h 628"/>
                <a:gd name="T10" fmla="*/ 466 w 718"/>
                <a:gd name="T11" fmla="*/ 0 h 628"/>
                <a:gd name="T12" fmla="*/ 121 w 718"/>
                <a:gd name="T13" fmla="*/ 0 h 628"/>
                <a:gd name="T14" fmla="*/ 74 w 718"/>
                <a:gd name="T15" fmla="*/ 94 h 628"/>
                <a:gd name="T16" fmla="*/ 84 w 718"/>
                <a:gd name="T17" fmla="*/ 300 h 628"/>
                <a:gd name="T18" fmla="*/ 26 w 718"/>
                <a:gd name="T19" fmla="*/ 331 h 628"/>
                <a:gd name="T20" fmla="*/ 24 w 718"/>
                <a:gd name="T21" fmla="*/ 371 h 628"/>
                <a:gd name="T22" fmla="*/ 16 w 718"/>
                <a:gd name="T23" fmla="*/ 405 h 628"/>
                <a:gd name="T24" fmla="*/ 0 w 718"/>
                <a:gd name="T25" fmla="*/ 442 h 628"/>
                <a:gd name="T26" fmla="*/ 26 w 718"/>
                <a:gd name="T27" fmla="*/ 458 h 628"/>
                <a:gd name="T28" fmla="*/ 43 w 718"/>
                <a:gd name="T29" fmla="*/ 499 h 628"/>
                <a:gd name="T30" fmla="*/ 49 w 718"/>
                <a:gd name="T31" fmla="*/ 530 h 628"/>
                <a:gd name="T32" fmla="*/ 75 w 718"/>
                <a:gd name="T33" fmla="*/ 579 h 628"/>
                <a:gd name="T34" fmla="*/ 72 w 718"/>
                <a:gd name="T35" fmla="*/ 613 h 628"/>
                <a:gd name="T36" fmla="*/ 91 w 718"/>
                <a:gd name="T37" fmla="*/ 628 h 628"/>
                <a:gd name="T38" fmla="*/ 120 w 718"/>
                <a:gd name="T39" fmla="*/ 615 h 628"/>
                <a:gd name="T40" fmla="*/ 142 w 718"/>
                <a:gd name="T41" fmla="*/ 551 h 628"/>
                <a:gd name="T42" fmla="*/ 182 w 718"/>
                <a:gd name="T43" fmla="*/ 557 h 628"/>
                <a:gd name="T44" fmla="*/ 218 w 718"/>
                <a:gd name="T45" fmla="*/ 589 h 628"/>
                <a:gd name="T46" fmla="*/ 265 w 718"/>
                <a:gd name="T47" fmla="*/ 583 h 628"/>
                <a:gd name="T48" fmla="*/ 316 w 718"/>
                <a:gd name="T49" fmla="*/ 592 h 628"/>
                <a:gd name="T50" fmla="*/ 340 w 718"/>
                <a:gd name="T51" fmla="*/ 573 h 628"/>
                <a:gd name="T52" fmla="*/ 361 w 718"/>
                <a:gd name="T53" fmla="*/ 550 h 628"/>
                <a:gd name="T54" fmla="*/ 421 w 718"/>
                <a:gd name="T55" fmla="*/ 572 h 628"/>
                <a:gd name="T56" fmla="*/ 467 w 718"/>
                <a:gd name="T57" fmla="*/ 513 h 628"/>
                <a:gd name="T58" fmla="*/ 451 w 718"/>
                <a:gd name="T59" fmla="*/ 471 h 628"/>
                <a:gd name="T60" fmla="*/ 480 w 718"/>
                <a:gd name="T61" fmla="*/ 459 h 628"/>
                <a:gd name="T62" fmla="*/ 496 w 718"/>
                <a:gd name="T63" fmla="*/ 496 h 628"/>
                <a:gd name="T64" fmla="*/ 526 w 718"/>
                <a:gd name="T65" fmla="*/ 549 h 628"/>
                <a:gd name="T66" fmla="*/ 532 w 718"/>
                <a:gd name="T67" fmla="*/ 588 h 628"/>
                <a:gd name="T68" fmla="*/ 538 w 718"/>
                <a:gd name="T69" fmla="*/ 583 h 628"/>
                <a:gd name="T70" fmla="*/ 570 w 718"/>
                <a:gd name="T71" fmla="*/ 522 h 628"/>
                <a:gd name="T72" fmla="*/ 592 w 718"/>
                <a:gd name="T73" fmla="*/ 465 h 628"/>
                <a:gd name="T74" fmla="*/ 634 w 718"/>
                <a:gd name="T75" fmla="*/ 397 h 628"/>
                <a:gd name="T76" fmla="*/ 634 w 718"/>
                <a:gd name="T77" fmla="*/ 337 h 628"/>
                <a:gd name="T78" fmla="*/ 650 w 718"/>
                <a:gd name="T79" fmla="*/ 26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8" h="628">
                  <a:moveTo>
                    <a:pt x="650" y="269"/>
                  </a:moveTo>
                  <a:lnTo>
                    <a:pt x="652" y="237"/>
                  </a:lnTo>
                  <a:lnTo>
                    <a:pt x="665" y="223"/>
                  </a:lnTo>
                  <a:lnTo>
                    <a:pt x="697" y="215"/>
                  </a:lnTo>
                  <a:lnTo>
                    <a:pt x="718" y="188"/>
                  </a:lnTo>
                  <a:lnTo>
                    <a:pt x="694" y="171"/>
                  </a:lnTo>
                  <a:lnTo>
                    <a:pt x="675" y="159"/>
                  </a:lnTo>
                  <a:lnTo>
                    <a:pt x="656" y="103"/>
                  </a:lnTo>
                  <a:lnTo>
                    <a:pt x="647" y="55"/>
                  </a:lnTo>
                  <a:lnTo>
                    <a:pt x="656" y="46"/>
                  </a:lnTo>
                  <a:lnTo>
                    <a:pt x="639" y="0"/>
                  </a:lnTo>
                  <a:lnTo>
                    <a:pt x="466" y="0"/>
                  </a:lnTo>
                  <a:lnTo>
                    <a:pt x="296" y="0"/>
                  </a:lnTo>
                  <a:lnTo>
                    <a:pt x="121" y="0"/>
                  </a:lnTo>
                  <a:lnTo>
                    <a:pt x="125" y="94"/>
                  </a:lnTo>
                  <a:lnTo>
                    <a:pt x="74" y="94"/>
                  </a:lnTo>
                  <a:lnTo>
                    <a:pt x="74" y="114"/>
                  </a:lnTo>
                  <a:lnTo>
                    <a:pt x="84" y="300"/>
                  </a:lnTo>
                  <a:lnTo>
                    <a:pt x="45" y="297"/>
                  </a:lnTo>
                  <a:lnTo>
                    <a:pt x="26" y="331"/>
                  </a:lnTo>
                  <a:lnTo>
                    <a:pt x="15" y="360"/>
                  </a:lnTo>
                  <a:lnTo>
                    <a:pt x="24" y="371"/>
                  </a:lnTo>
                  <a:lnTo>
                    <a:pt x="10" y="386"/>
                  </a:lnTo>
                  <a:lnTo>
                    <a:pt x="16" y="405"/>
                  </a:lnTo>
                  <a:lnTo>
                    <a:pt x="5" y="425"/>
                  </a:lnTo>
                  <a:lnTo>
                    <a:pt x="0" y="442"/>
                  </a:lnTo>
                  <a:lnTo>
                    <a:pt x="16" y="439"/>
                  </a:lnTo>
                  <a:lnTo>
                    <a:pt x="26" y="458"/>
                  </a:lnTo>
                  <a:lnTo>
                    <a:pt x="27" y="485"/>
                  </a:lnTo>
                  <a:lnTo>
                    <a:pt x="43" y="499"/>
                  </a:lnTo>
                  <a:lnTo>
                    <a:pt x="43" y="510"/>
                  </a:lnTo>
                  <a:lnTo>
                    <a:pt x="49" y="530"/>
                  </a:lnTo>
                  <a:lnTo>
                    <a:pt x="75" y="560"/>
                  </a:lnTo>
                  <a:lnTo>
                    <a:pt x="75" y="579"/>
                  </a:lnTo>
                  <a:lnTo>
                    <a:pt x="69" y="598"/>
                  </a:lnTo>
                  <a:lnTo>
                    <a:pt x="72" y="613"/>
                  </a:lnTo>
                  <a:lnTo>
                    <a:pt x="87" y="627"/>
                  </a:lnTo>
                  <a:lnTo>
                    <a:pt x="91" y="628"/>
                  </a:lnTo>
                  <a:lnTo>
                    <a:pt x="105" y="623"/>
                  </a:lnTo>
                  <a:lnTo>
                    <a:pt x="120" y="615"/>
                  </a:lnTo>
                  <a:lnTo>
                    <a:pt x="130" y="572"/>
                  </a:lnTo>
                  <a:lnTo>
                    <a:pt x="142" y="551"/>
                  </a:lnTo>
                  <a:lnTo>
                    <a:pt x="174" y="544"/>
                  </a:lnTo>
                  <a:lnTo>
                    <a:pt x="182" y="557"/>
                  </a:lnTo>
                  <a:lnTo>
                    <a:pt x="206" y="584"/>
                  </a:lnTo>
                  <a:lnTo>
                    <a:pt x="218" y="589"/>
                  </a:lnTo>
                  <a:lnTo>
                    <a:pt x="233" y="581"/>
                  </a:lnTo>
                  <a:lnTo>
                    <a:pt x="265" y="583"/>
                  </a:lnTo>
                  <a:lnTo>
                    <a:pt x="272" y="592"/>
                  </a:lnTo>
                  <a:lnTo>
                    <a:pt x="316" y="592"/>
                  </a:lnTo>
                  <a:lnTo>
                    <a:pt x="317" y="583"/>
                  </a:lnTo>
                  <a:lnTo>
                    <a:pt x="340" y="573"/>
                  </a:lnTo>
                  <a:lnTo>
                    <a:pt x="345" y="560"/>
                  </a:lnTo>
                  <a:lnTo>
                    <a:pt x="361" y="550"/>
                  </a:lnTo>
                  <a:lnTo>
                    <a:pt x="400" y="578"/>
                  </a:lnTo>
                  <a:lnTo>
                    <a:pt x="421" y="572"/>
                  </a:lnTo>
                  <a:lnTo>
                    <a:pt x="443" y="538"/>
                  </a:lnTo>
                  <a:lnTo>
                    <a:pt x="467" y="513"/>
                  </a:lnTo>
                  <a:lnTo>
                    <a:pt x="462" y="485"/>
                  </a:lnTo>
                  <a:lnTo>
                    <a:pt x="451" y="471"/>
                  </a:lnTo>
                  <a:lnTo>
                    <a:pt x="478" y="469"/>
                  </a:lnTo>
                  <a:lnTo>
                    <a:pt x="480" y="459"/>
                  </a:lnTo>
                  <a:lnTo>
                    <a:pt x="501" y="461"/>
                  </a:lnTo>
                  <a:lnTo>
                    <a:pt x="496" y="496"/>
                  </a:lnTo>
                  <a:lnTo>
                    <a:pt x="503" y="530"/>
                  </a:lnTo>
                  <a:lnTo>
                    <a:pt x="526" y="549"/>
                  </a:lnTo>
                  <a:lnTo>
                    <a:pt x="532" y="565"/>
                  </a:lnTo>
                  <a:lnTo>
                    <a:pt x="532" y="588"/>
                  </a:lnTo>
                  <a:lnTo>
                    <a:pt x="538" y="589"/>
                  </a:lnTo>
                  <a:lnTo>
                    <a:pt x="538" y="583"/>
                  </a:lnTo>
                  <a:lnTo>
                    <a:pt x="550" y="534"/>
                  </a:lnTo>
                  <a:lnTo>
                    <a:pt x="570" y="522"/>
                  </a:lnTo>
                  <a:lnTo>
                    <a:pt x="575" y="502"/>
                  </a:lnTo>
                  <a:lnTo>
                    <a:pt x="592" y="465"/>
                  </a:lnTo>
                  <a:lnTo>
                    <a:pt x="618" y="443"/>
                  </a:lnTo>
                  <a:lnTo>
                    <a:pt x="634" y="397"/>
                  </a:lnTo>
                  <a:lnTo>
                    <a:pt x="640" y="356"/>
                  </a:lnTo>
                  <a:lnTo>
                    <a:pt x="634" y="337"/>
                  </a:lnTo>
                  <a:lnTo>
                    <a:pt x="650" y="269"/>
                  </a:lnTo>
                  <a:lnTo>
                    <a:pt x="650" y="269"/>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6" name="South Sudan">
              <a:extLst>
                <a:ext uri="{FF2B5EF4-FFF2-40B4-BE49-F238E27FC236}">
                  <a16:creationId xmlns:a16="http://schemas.microsoft.com/office/drawing/2014/main" id="{1983FFF5-19EC-FE20-7422-E15FD381FEA5}"/>
                </a:ext>
              </a:extLst>
            </p:cNvPr>
            <p:cNvSpPr>
              <a:spLocks/>
            </p:cNvSpPr>
            <p:nvPr/>
          </p:nvSpPr>
          <p:spPr bwMode="auto">
            <a:xfrm>
              <a:off x="7778054" y="2652050"/>
              <a:ext cx="809625" cy="650875"/>
            </a:xfrm>
            <a:custGeom>
              <a:avLst/>
              <a:gdLst>
                <a:gd name="T0" fmla="*/ 435 w 510"/>
                <a:gd name="T1" fmla="*/ 90 h 410"/>
                <a:gd name="T2" fmla="*/ 405 w 510"/>
                <a:gd name="T3" fmla="*/ 37 h 410"/>
                <a:gd name="T4" fmla="*/ 389 w 510"/>
                <a:gd name="T5" fmla="*/ 0 h 410"/>
                <a:gd name="T6" fmla="*/ 360 w 510"/>
                <a:gd name="T7" fmla="*/ 12 h 410"/>
                <a:gd name="T8" fmla="*/ 376 w 510"/>
                <a:gd name="T9" fmla="*/ 54 h 410"/>
                <a:gd name="T10" fmla="*/ 330 w 510"/>
                <a:gd name="T11" fmla="*/ 113 h 410"/>
                <a:gd name="T12" fmla="*/ 270 w 510"/>
                <a:gd name="T13" fmla="*/ 91 h 410"/>
                <a:gd name="T14" fmla="*/ 249 w 510"/>
                <a:gd name="T15" fmla="*/ 114 h 410"/>
                <a:gd name="T16" fmla="*/ 225 w 510"/>
                <a:gd name="T17" fmla="*/ 133 h 410"/>
                <a:gd name="T18" fmla="*/ 174 w 510"/>
                <a:gd name="T19" fmla="*/ 124 h 410"/>
                <a:gd name="T20" fmla="*/ 127 w 510"/>
                <a:gd name="T21" fmla="*/ 130 h 410"/>
                <a:gd name="T22" fmla="*/ 91 w 510"/>
                <a:gd name="T23" fmla="*/ 98 h 410"/>
                <a:gd name="T24" fmla="*/ 51 w 510"/>
                <a:gd name="T25" fmla="*/ 92 h 410"/>
                <a:gd name="T26" fmla="*/ 29 w 510"/>
                <a:gd name="T27" fmla="*/ 156 h 410"/>
                <a:gd name="T28" fmla="*/ 0 w 510"/>
                <a:gd name="T29" fmla="*/ 169 h 410"/>
                <a:gd name="T30" fmla="*/ 56 w 510"/>
                <a:gd name="T31" fmla="*/ 207 h 410"/>
                <a:gd name="T32" fmla="*/ 86 w 510"/>
                <a:gd name="T33" fmla="*/ 247 h 410"/>
                <a:gd name="T34" fmla="*/ 117 w 510"/>
                <a:gd name="T35" fmla="*/ 295 h 410"/>
                <a:gd name="T36" fmla="*/ 158 w 510"/>
                <a:gd name="T37" fmla="*/ 329 h 410"/>
                <a:gd name="T38" fmla="*/ 205 w 510"/>
                <a:gd name="T39" fmla="*/ 373 h 410"/>
                <a:gd name="T40" fmla="*/ 237 w 510"/>
                <a:gd name="T41" fmla="*/ 368 h 410"/>
                <a:gd name="T42" fmla="*/ 273 w 510"/>
                <a:gd name="T43" fmla="*/ 378 h 410"/>
                <a:gd name="T44" fmla="*/ 313 w 510"/>
                <a:gd name="T45" fmla="*/ 410 h 410"/>
                <a:gd name="T46" fmla="*/ 360 w 510"/>
                <a:gd name="T47" fmla="*/ 407 h 410"/>
                <a:gd name="T48" fmla="*/ 427 w 510"/>
                <a:gd name="T49" fmla="*/ 397 h 410"/>
                <a:gd name="T50" fmla="*/ 481 w 510"/>
                <a:gd name="T51" fmla="*/ 347 h 410"/>
                <a:gd name="T52" fmla="*/ 484 w 510"/>
                <a:gd name="T53" fmla="*/ 265 h 410"/>
                <a:gd name="T54" fmla="*/ 455 w 510"/>
                <a:gd name="T55" fmla="*/ 235 h 410"/>
                <a:gd name="T56" fmla="*/ 404 w 510"/>
                <a:gd name="T57" fmla="*/ 209 h 410"/>
                <a:gd name="T58" fmla="*/ 442 w 510"/>
                <a:gd name="T59" fmla="*/ 181 h 410"/>
                <a:gd name="T60" fmla="*/ 447 w 510"/>
                <a:gd name="T61" fmla="*/ 130 h 410"/>
                <a:gd name="T62" fmla="*/ 441 w 510"/>
                <a:gd name="T63" fmla="*/ 1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410">
                  <a:moveTo>
                    <a:pt x="441" y="106"/>
                  </a:moveTo>
                  <a:lnTo>
                    <a:pt x="435" y="90"/>
                  </a:lnTo>
                  <a:lnTo>
                    <a:pt x="412" y="71"/>
                  </a:lnTo>
                  <a:lnTo>
                    <a:pt x="405" y="37"/>
                  </a:lnTo>
                  <a:lnTo>
                    <a:pt x="410" y="2"/>
                  </a:lnTo>
                  <a:lnTo>
                    <a:pt x="389" y="0"/>
                  </a:lnTo>
                  <a:lnTo>
                    <a:pt x="387" y="10"/>
                  </a:lnTo>
                  <a:lnTo>
                    <a:pt x="360" y="12"/>
                  </a:lnTo>
                  <a:lnTo>
                    <a:pt x="371" y="26"/>
                  </a:lnTo>
                  <a:lnTo>
                    <a:pt x="376" y="54"/>
                  </a:lnTo>
                  <a:lnTo>
                    <a:pt x="352" y="79"/>
                  </a:lnTo>
                  <a:lnTo>
                    <a:pt x="330" y="113"/>
                  </a:lnTo>
                  <a:lnTo>
                    <a:pt x="309" y="119"/>
                  </a:lnTo>
                  <a:lnTo>
                    <a:pt x="270" y="91"/>
                  </a:lnTo>
                  <a:lnTo>
                    <a:pt x="254" y="101"/>
                  </a:lnTo>
                  <a:lnTo>
                    <a:pt x="249" y="114"/>
                  </a:lnTo>
                  <a:lnTo>
                    <a:pt x="226" y="124"/>
                  </a:lnTo>
                  <a:lnTo>
                    <a:pt x="225" y="133"/>
                  </a:lnTo>
                  <a:lnTo>
                    <a:pt x="181" y="133"/>
                  </a:lnTo>
                  <a:lnTo>
                    <a:pt x="174" y="124"/>
                  </a:lnTo>
                  <a:lnTo>
                    <a:pt x="142" y="122"/>
                  </a:lnTo>
                  <a:lnTo>
                    <a:pt x="127" y="130"/>
                  </a:lnTo>
                  <a:lnTo>
                    <a:pt x="115" y="125"/>
                  </a:lnTo>
                  <a:lnTo>
                    <a:pt x="91" y="98"/>
                  </a:lnTo>
                  <a:lnTo>
                    <a:pt x="83" y="85"/>
                  </a:lnTo>
                  <a:lnTo>
                    <a:pt x="51" y="92"/>
                  </a:lnTo>
                  <a:lnTo>
                    <a:pt x="39" y="113"/>
                  </a:lnTo>
                  <a:lnTo>
                    <a:pt x="29" y="156"/>
                  </a:lnTo>
                  <a:lnTo>
                    <a:pt x="14" y="164"/>
                  </a:lnTo>
                  <a:lnTo>
                    <a:pt x="0" y="169"/>
                  </a:lnTo>
                  <a:lnTo>
                    <a:pt x="31" y="188"/>
                  </a:lnTo>
                  <a:lnTo>
                    <a:pt x="56" y="207"/>
                  </a:lnTo>
                  <a:lnTo>
                    <a:pt x="56" y="222"/>
                  </a:lnTo>
                  <a:lnTo>
                    <a:pt x="86" y="247"/>
                  </a:lnTo>
                  <a:lnTo>
                    <a:pt x="105" y="267"/>
                  </a:lnTo>
                  <a:lnTo>
                    <a:pt x="117" y="295"/>
                  </a:lnTo>
                  <a:lnTo>
                    <a:pt x="151" y="314"/>
                  </a:lnTo>
                  <a:lnTo>
                    <a:pt x="158" y="329"/>
                  </a:lnTo>
                  <a:lnTo>
                    <a:pt x="185" y="367"/>
                  </a:lnTo>
                  <a:lnTo>
                    <a:pt x="205" y="373"/>
                  </a:lnTo>
                  <a:lnTo>
                    <a:pt x="217" y="366"/>
                  </a:lnTo>
                  <a:lnTo>
                    <a:pt x="237" y="368"/>
                  </a:lnTo>
                  <a:lnTo>
                    <a:pt x="263" y="359"/>
                  </a:lnTo>
                  <a:lnTo>
                    <a:pt x="273" y="378"/>
                  </a:lnTo>
                  <a:lnTo>
                    <a:pt x="313" y="410"/>
                  </a:lnTo>
                  <a:lnTo>
                    <a:pt x="313" y="410"/>
                  </a:lnTo>
                  <a:lnTo>
                    <a:pt x="331" y="397"/>
                  </a:lnTo>
                  <a:lnTo>
                    <a:pt x="360" y="407"/>
                  </a:lnTo>
                  <a:lnTo>
                    <a:pt x="395" y="396"/>
                  </a:lnTo>
                  <a:lnTo>
                    <a:pt x="427" y="397"/>
                  </a:lnTo>
                  <a:lnTo>
                    <a:pt x="454" y="375"/>
                  </a:lnTo>
                  <a:lnTo>
                    <a:pt x="481" y="347"/>
                  </a:lnTo>
                  <a:lnTo>
                    <a:pt x="510" y="316"/>
                  </a:lnTo>
                  <a:lnTo>
                    <a:pt x="484" y="265"/>
                  </a:lnTo>
                  <a:lnTo>
                    <a:pt x="463" y="254"/>
                  </a:lnTo>
                  <a:lnTo>
                    <a:pt x="455" y="235"/>
                  </a:lnTo>
                  <a:lnTo>
                    <a:pt x="432" y="212"/>
                  </a:lnTo>
                  <a:lnTo>
                    <a:pt x="404" y="209"/>
                  </a:lnTo>
                  <a:lnTo>
                    <a:pt x="419" y="182"/>
                  </a:lnTo>
                  <a:lnTo>
                    <a:pt x="442" y="181"/>
                  </a:lnTo>
                  <a:lnTo>
                    <a:pt x="449" y="167"/>
                  </a:lnTo>
                  <a:lnTo>
                    <a:pt x="447" y="130"/>
                  </a:lnTo>
                  <a:lnTo>
                    <a:pt x="441" y="129"/>
                  </a:lnTo>
                  <a:lnTo>
                    <a:pt x="441" y="106"/>
                  </a:lnTo>
                  <a:lnTo>
                    <a:pt x="441" y="106"/>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7" name="Senegal">
              <a:extLst>
                <a:ext uri="{FF2B5EF4-FFF2-40B4-BE49-F238E27FC236}">
                  <a16:creationId xmlns:a16="http://schemas.microsoft.com/office/drawing/2014/main" id="{8E85C504-2B24-1DB1-962A-CC3E4C55340C}"/>
                </a:ext>
              </a:extLst>
            </p:cNvPr>
            <p:cNvSpPr>
              <a:spLocks/>
            </p:cNvSpPr>
            <p:nvPr/>
          </p:nvSpPr>
          <p:spPr bwMode="auto">
            <a:xfrm>
              <a:off x="4858807" y="2321525"/>
              <a:ext cx="430213" cy="317500"/>
            </a:xfrm>
            <a:custGeom>
              <a:avLst/>
              <a:gdLst>
                <a:gd name="T0" fmla="*/ 241 w 271"/>
                <a:gd name="T1" fmla="*/ 93 h 200"/>
                <a:gd name="T2" fmla="*/ 213 w 271"/>
                <a:gd name="T3" fmla="*/ 60 h 200"/>
                <a:gd name="T4" fmla="*/ 186 w 271"/>
                <a:gd name="T5" fmla="*/ 26 h 200"/>
                <a:gd name="T6" fmla="*/ 158 w 271"/>
                <a:gd name="T7" fmla="*/ 14 h 200"/>
                <a:gd name="T8" fmla="*/ 137 w 271"/>
                <a:gd name="T9" fmla="*/ 0 h 200"/>
                <a:gd name="T10" fmla="*/ 112 w 271"/>
                <a:gd name="T11" fmla="*/ 0 h 200"/>
                <a:gd name="T12" fmla="*/ 90 w 271"/>
                <a:gd name="T13" fmla="*/ 10 h 200"/>
                <a:gd name="T14" fmla="*/ 68 w 271"/>
                <a:gd name="T15" fmla="*/ 6 h 200"/>
                <a:gd name="T16" fmla="*/ 53 w 271"/>
                <a:gd name="T17" fmla="*/ 21 h 200"/>
                <a:gd name="T18" fmla="*/ 42 w 271"/>
                <a:gd name="T19" fmla="*/ 46 h 200"/>
                <a:gd name="T20" fmla="*/ 20 w 271"/>
                <a:gd name="T21" fmla="*/ 79 h 200"/>
                <a:gd name="T22" fmla="*/ 0 w 271"/>
                <a:gd name="T23" fmla="*/ 88 h 200"/>
                <a:gd name="T24" fmla="*/ 22 w 271"/>
                <a:gd name="T25" fmla="*/ 105 h 200"/>
                <a:gd name="T26" fmla="*/ 39 w 271"/>
                <a:gd name="T27" fmla="*/ 141 h 200"/>
                <a:gd name="T28" fmla="*/ 88 w 271"/>
                <a:gd name="T29" fmla="*/ 139 h 200"/>
                <a:gd name="T30" fmla="*/ 98 w 271"/>
                <a:gd name="T31" fmla="*/ 128 h 200"/>
                <a:gd name="T32" fmla="*/ 112 w 271"/>
                <a:gd name="T33" fmla="*/ 127 h 200"/>
                <a:gd name="T34" fmla="*/ 129 w 271"/>
                <a:gd name="T35" fmla="*/ 139 h 200"/>
                <a:gd name="T36" fmla="*/ 143 w 271"/>
                <a:gd name="T37" fmla="*/ 139 h 200"/>
                <a:gd name="T38" fmla="*/ 158 w 271"/>
                <a:gd name="T39" fmla="*/ 132 h 200"/>
                <a:gd name="T40" fmla="*/ 166 w 271"/>
                <a:gd name="T41" fmla="*/ 145 h 200"/>
                <a:gd name="T42" fmla="*/ 147 w 271"/>
                <a:gd name="T43" fmla="*/ 155 h 200"/>
                <a:gd name="T44" fmla="*/ 128 w 271"/>
                <a:gd name="T45" fmla="*/ 155 h 200"/>
                <a:gd name="T46" fmla="*/ 109 w 271"/>
                <a:gd name="T47" fmla="*/ 145 h 200"/>
                <a:gd name="T48" fmla="*/ 92 w 271"/>
                <a:gd name="T49" fmla="*/ 155 h 200"/>
                <a:gd name="T50" fmla="*/ 85 w 271"/>
                <a:gd name="T51" fmla="*/ 156 h 200"/>
                <a:gd name="T52" fmla="*/ 74 w 271"/>
                <a:gd name="T53" fmla="*/ 162 h 200"/>
                <a:gd name="T54" fmla="*/ 34 w 271"/>
                <a:gd name="T55" fmla="*/ 162 h 200"/>
                <a:gd name="T56" fmla="*/ 40 w 271"/>
                <a:gd name="T57" fmla="*/ 198 h 200"/>
                <a:gd name="T58" fmla="*/ 64 w 271"/>
                <a:gd name="T59" fmla="*/ 190 h 200"/>
                <a:gd name="T60" fmla="*/ 78 w 271"/>
                <a:gd name="T61" fmla="*/ 192 h 200"/>
                <a:gd name="T62" fmla="*/ 90 w 271"/>
                <a:gd name="T63" fmla="*/ 186 h 200"/>
                <a:gd name="T64" fmla="*/ 172 w 271"/>
                <a:gd name="T65" fmla="*/ 189 h 200"/>
                <a:gd name="T66" fmla="*/ 193 w 271"/>
                <a:gd name="T67" fmla="*/ 189 h 200"/>
                <a:gd name="T68" fmla="*/ 225 w 271"/>
                <a:gd name="T69" fmla="*/ 200 h 200"/>
                <a:gd name="T70" fmla="*/ 235 w 271"/>
                <a:gd name="T71" fmla="*/ 200 h 200"/>
                <a:gd name="T72" fmla="*/ 238 w 271"/>
                <a:gd name="T73" fmla="*/ 194 h 200"/>
                <a:gd name="T74" fmla="*/ 262 w 271"/>
                <a:gd name="T75" fmla="*/ 198 h 200"/>
                <a:gd name="T76" fmla="*/ 269 w 271"/>
                <a:gd name="T77" fmla="*/ 195 h 200"/>
                <a:gd name="T78" fmla="*/ 271 w 271"/>
                <a:gd name="T79" fmla="*/ 180 h 200"/>
                <a:gd name="T80" fmla="*/ 267 w 271"/>
                <a:gd name="T81" fmla="*/ 162 h 200"/>
                <a:gd name="T82" fmla="*/ 251 w 271"/>
                <a:gd name="T83" fmla="*/ 149 h 200"/>
                <a:gd name="T84" fmla="*/ 243 w 271"/>
                <a:gd name="T85" fmla="*/ 122 h 200"/>
                <a:gd name="T86" fmla="*/ 241 w 271"/>
                <a:gd name="T87" fmla="*/ 93 h 200"/>
                <a:gd name="T88" fmla="*/ 241 w 271"/>
                <a:gd name="T89" fmla="*/ 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1" h="200">
                  <a:moveTo>
                    <a:pt x="241" y="93"/>
                  </a:moveTo>
                  <a:lnTo>
                    <a:pt x="213" y="60"/>
                  </a:lnTo>
                  <a:lnTo>
                    <a:pt x="186" y="26"/>
                  </a:lnTo>
                  <a:lnTo>
                    <a:pt x="158" y="14"/>
                  </a:lnTo>
                  <a:lnTo>
                    <a:pt x="137" y="0"/>
                  </a:lnTo>
                  <a:lnTo>
                    <a:pt x="112" y="0"/>
                  </a:lnTo>
                  <a:lnTo>
                    <a:pt x="90" y="10"/>
                  </a:lnTo>
                  <a:lnTo>
                    <a:pt x="68" y="6"/>
                  </a:lnTo>
                  <a:lnTo>
                    <a:pt x="53" y="21"/>
                  </a:lnTo>
                  <a:lnTo>
                    <a:pt x="42" y="46"/>
                  </a:lnTo>
                  <a:lnTo>
                    <a:pt x="20" y="79"/>
                  </a:lnTo>
                  <a:lnTo>
                    <a:pt x="0" y="88"/>
                  </a:lnTo>
                  <a:lnTo>
                    <a:pt x="22" y="105"/>
                  </a:lnTo>
                  <a:lnTo>
                    <a:pt x="39" y="141"/>
                  </a:lnTo>
                  <a:lnTo>
                    <a:pt x="88" y="139"/>
                  </a:lnTo>
                  <a:lnTo>
                    <a:pt x="98" y="128"/>
                  </a:lnTo>
                  <a:lnTo>
                    <a:pt x="112" y="127"/>
                  </a:lnTo>
                  <a:lnTo>
                    <a:pt x="129" y="139"/>
                  </a:lnTo>
                  <a:lnTo>
                    <a:pt x="143" y="139"/>
                  </a:lnTo>
                  <a:lnTo>
                    <a:pt x="158" y="132"/>
                  </a:lnTo>
                  <a:lnTo>
                    <a:pt x="166" y="145"/>
                  </a:lnTo>
                  <a:lnTo>
                    <a:pt x="147" y="155"/>
                  </a:lnTo>
                  <a:lnTo>
                    <a:pt x="128" y="155"/>
                  </a:lnTo>
                  <a:lnTo>
                    <a:pt x="109" y="145"/>
                  </a:lnTo>
                  <a:lnTo>
                    <a:pt x="92" y="155"/>
                  </a:lnTo>
                  <a:lnTo>
                    <a:pt x="85" y="156"/>
                  </a:lnTo>
                  <a:lnTo>
                    <a:pt x="74" y="162"/>
                  </a:lnTo>
                  <a:lnTo>
                    <a:pt x="34" y="162"/>
                  </a:lnTo>
                  <a:lnTo>
                    <a:pt x="40" y="198"/>
                  </a:lnTo>
                  <a:lnTo>
                    <a:pt x="64" y="190"/>
                  </a:lnTo>
                  <a:lnTo>
                    <a:pt x="78" y="192"/>
                  </a:lnTo>
                  <a:lnTo>
                    <a:pt x="90" y="186"/>
                  </a:lnTo>
                  <a:lnTo>
                    <a:pt x="172" y="189"/>
                  </a:lnTo>
                  <a:lnTo>
                    <a:pt x="193" y="189"/>
                  </a:lnTo>
                  <a:lnTo>
                    <a:pt x="225" y="200"/>
                  </a:lnTo>
                  <a:lnTo>
                    <a:pt x="235" y="200"/>
                  </a:lnTo>
                  <a:lnTo>
                    <a:pt x="238" y="194"/>
                  </a:lnTo>
                  <a:lnTo>
                    <a:pt x="262" y="198"/>
                  </a:lnTo>
                  <a:lnTo>
                    <a:pt x="269" y="195"/>
                  </a:lnTo>
                  <a:lnTo>
                    <a:pt x="271" y="180"/>
                  </a:lnTo>
                  <a:lnTo>
                    <a:pt x="267" y="162"/>
                  </a:lnTo>
                  <a:lnTo>
                    <a:pt x="251" y="149"/>
                  </a:lnTo>
                  <a:lnTo>
                    <a:pt x="243" y="122"/>
                  </a:lnTo>
                  <a:lnTo>
                    <a:pt x="241" y="93"/>
                  </a:lnTo>
                  <a:lnTo>
                    <a:pt x="241" y="93"/>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8" name="Sierra Leone">
              <a:extLst>
                <a:ext uri="{FF2B5EF4-FFF2-40B4-BE49-F238E27FC236}">
                  <a16:creationId xmlns:a16="http://schemas.microsoft.com/office/drawing/2014/main" id="{C6C525A9-5580-2B02-8A88-053A29CE18A2}"/>
                </a:ext>
              </a:extLst>
            </p:cNvPr>
            <p:cNvSpPr>
              <a:spLocks/>
            </p:cNvSpPr>
            <p:nvPr/>
          </p:nvSpPr>
          <p:spPr bwMode="auto">
            <a:xfrm>
              <a:off x="5157091" y="2813975"/>
              <a:ext cx="211138" cy="244475"/>
            </a:xfrm>
            <a:custGeom>
              <a:avLst/>
              <a:gdLst>
                <a:gd name="T0" fmla="*/ 133 w 133"/>
                <a:gd name="T1" fmla="*/ 78 h 154"/>
                <a:gd name="T2" fmla="*/ 121 w 133"/>
                <a:gd name="T3" fmla="*/ 80 h 154"/>
                <a:gd name="T4" fmla="*/ 121 w 133"/>
                <a:gd name="T5" fmla="*/ 63 h 154"/>
                <a:gd name="T6" fmla="*/ 115 w 133"/>
                <a:gd name="T7" fmla="*/ 50 h 154"/>
                <a:gd name="T8" fmla="*/ 116 w 133"/>
                <a:gd name="T9" fmla="*/ 37 h 154"/>
                <a:gd name="T10" fmla="*/ 107 w 133"/>
                <a:gd name="T11" fmla="*/ 17 h 154"/>
                <a:gd name="T12" fmla="*/ 95 w 133"/>
                <a:gd name="T13" fmla="*/ 0 h 154"/>
                <a:gd name="T14" fmla="*/ 59 w 133"/>
                <a:gd name="T15" fmla="*/ 0 h 154"/>
                <a:gd name="T16" fmla="*/ 48 w 133"/>
                <a:gd name="T17" fmla="*/ 10 h 154"/>
                <a:gd name="T18" fmla="*/ 36 w 133"/>
                <a:gd name="T19" fmla="*/ 11 h 154"/>
                <a:gd name="T20" fmla="*/ 29 w 133"/>
                <a:gd name="T21" fmla="*/ 21 h 154"/>
                <a:gd name="T22" fmla="*/ 23 w 133"/>
                <a:gd name="T23" fmla="*/ 34 h 154"/>
                <a:gd name="T24" fmla="*/ 0 w 133"/>
                <a:gd name="T25" fmla="*/ 54 h 154"/>
                <a:gd name="T26" fmla="*/ 4 w 133"/>
                <a:gd name="T27" fmla="*/ 90 h 154"/>
                <a:gd name="T28" fmla="*/ 12 w 133"/>
                <a:gd name="T29" fmla="*/ 107 h 154"/>
                <a:gd name="T30" fmla="*/ 35 w 133"/>
                <a:gd name="T31" fmla="*/ 131 h 154"/>
                <a:gd name="T32" fmla="*/ 67 w 133"/>
                <a:gd name="T33" fmla="*/ 151 h 154"/>
                <a:gd name="T34" fmla="*/ 79 w 133"/>
                <a:gd name="T35" fmla="*/ 154 h 154"/>
                <a:gd name="T36" fmla="*/ 89 w 133"/>
                <a:gd name="T37" fmla="*/ 139 h 154"/>
                <a:gd name="T38" fmla="*/ 92 w 133"/>
                <a:gd name="T39" fmla="*/ 125 h 154"/>
                <a:gd name="T40" fmla="*/ 112 w 133"/>
                <a:gd name="T41" fmla="*/ 100 h 154"/>
                <a:gd name="T42" fmla="*/ 133 w 133"/>
                <a:gd name="T43" fmla="*/ 78 h 154"/>
                <a:gd name="T44" fmla="*/ 133 w 133"/>
                <a:gd name="T45" fmla="*/ 7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54">
                  <a:moveTo>
                    <a:pt x="133" y="78"/>
                  </a:moveTo>
                  <a:lnTo>
                    <a:pt x="121" y="80"/>
                  </a:lnTo>
                  <a:lnTo>
                    <a:pt x="121" y="63"/>
                  </a:lnTo>
                  <a:lnTo>
                    <a:pt x="115" y="50"/>
                  </a:lnTo>
                  <a:lnTo>
                    <a:pt x="116" y="37"/>
                  </a:lnTo>
                  <a:lnTo>
                    <a:pt x="107" y="17"/>
                  </a:lnTo>
                  <a:lnTo>
                    <a:pt x="95" y="0"/>
                  </a:lnTo>
                  <a:lnTo>
                    <a:pt x="59" y="0"/>
                  </a:lnTo>
                  <a:lnTo>
                    <a:pt x="48" y="10"/>
                  </a:lnTo>
                  <a:lnTo>
                    <a:pt x="36" y="11"/>
                  </a:lnTo>
                  <a:lnTo>
                    <a:pt x="29" y="21"/>
                  </a:lnTo>
                  <a:lnTo>
                    <a:pt x="23" y="34"/>
                  </a:lnTo>
                  <a:lnTo>
                    <a:pt x="0" y="54"/>
                  </a:lnTo>
                  <a:lnTo>
                    <a:pt x="4" y="90"/>
                  </a:lnTo>
                  <a:lnTo>
                    <a:pt x="12" y="107"/>
                  </a:lnTo>
                  <a:lnTo>
                    <a:pt x="35" y="131"/>
                  </a:lnTo>
                  <a:lnTo>
                    <a:pt x="67" y="151"/>
                  </a:lnTo>
                  <a:lnTo>
                    <a:pt x="79" y="154"/>
                  </a:lnTo>
                  <a:lnTo>
                    <a:pt x="89" y="139"/>
                  </a:lnTo>
                  <a:lnTo>
                    <a:pt x="92" y="125"/>
                  </a:lnTo>
                  <a:lnTo>
                    <a:pt x="112" y="100"/>
                  </a:lnTo>
                  <a:lnTo>
                    <a:pt x="133" y="78"/>
                  </a:lnTo>
                  <a:lnTo>
                    <a:pt x="133" y="78"/>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89" name="Swaziland">
              <a:extLst>
                <a:ext uri="{FF2B5EF4-FFF2-40B4-BE49-F238E27FC236}">
                  <a16:creationId xmlns:a16="http://schemas.microsoft.com/office/drawing/2014/main" id="{D866B6D7-4AAE-8C51-695F-1ECB6DA5FB66}"/>
                </a:ext>
              </a:extLst>
            </p:cNvPr>
            <p:cNvSpPr>
              <a:spLocks/>
            </p:cNvSpPr>
            <p:nvPr/>
          </p:nvSpPr>
          <p:spPr bwMode="auto">
            <a:xfrm>
              <a:off x="8198741" y="5462821"/>
              <a:ext cx="95250" cy="120650"/>
            </a:xfrm>
            <a:custGeom>
              <a:avLst/>
              <a:gdLst>
                <a:gd name="T0" fmla="*/ 53 w 60"/>
                <a:gd name="T1" fmla="*/ 9 h 76"/>
                <a:gd name="T2" fmla="*/ 32 w 60"/>
                <a:gd name="T3" fmla="*/ 0 h 76"/>
                <a:gd name="T4" fmla="*/ 19 w 60"/>
                <a:gd name="T5" fmla="*/ 3 h 76"/>
                <a:gd name="T6" fmla="*/ 13 w 60"/>
                <a:gd name="T7" fmla="*/ 17 h 76"/>
                <a:gd name="T8" fmla="*/ 1 w 60"/>
                <a:gd name="T9" fmla="*/ 35 h 76"/>
                <a:gd name="T10" fmla="*/ 0 w 60"/>
                <a:gd name="T11" fmla="*/ 51 h 76"/>
                <a:gd name="T12" fmla="*/ 23 w 60"/>
                <a:gd name="T13" fmla="*/ 76 h 76"/>
                <a:gd name="T14" fmla="*/ 49 w 60"/>
                <a:gd name="T15" fmla="*/ 71 h 76"/>
                <a:gd name="T16" fmla="*/ 60 w 60"/>
                <a:gd name="T17" fmla="*/ 51 h 76"/>
                <a:gd name="T18" fmla="*/ 57 w 60"/>
                <a:gd name="T19" fmla="*/ 30 h 76"/>
                <a:gd name="T20" fmla="*/ 53 w 60"/>
                <a:gd name="T21" fmla="*/ 9 h 76"/>
                <a:gd name="T22" fmla="*/ 53 w 60"/>
                <a:gd name="T2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76">
                  <a:moveTo>
                    <a:pt x="53" y="9"/>
                  </a:moveTo>
                  <a:lnTo>
                    <a:pt x="32" y="0"/>
                  </a:lnTo>
                  <a:lnTo>
                    <a:pt x="19" y="3"/>
                  </a:lnTo>
                  <a:lnTo>
                    <a:pt x="13" y="17"/>
                  </a:lnTo>
                  <a:lnTo>
                    <a:pt x="1" y="35"/>
                  </a:lnTo>
                  <a:lnTo>
                    <a:pt x="0" y="51"/>
                  </a:lnTo>
                  <a:lnTo>
                    <a:pt x="23" y="76"/>
                  </a:lnTo>
                  <a:lnTo>
                    <a:pt x="49" y="71"/>
                  </a:lnTo>
                  <a:lnTo>
                    <a:pt x="60" y="51"/>
                  </a:lnTo>
                  <a:lnTo>
                    <a:pt x="57" y="30"/>
                  </a:lnTo>
                  <a:lnTo>
                    <a:pt x="53" y="9"/>
                  </a:lnTo>
                  <a:lnTo>
                    <a:pt x="53" y="9"/>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0" name="Chad">
              <a:extLst>
                <a:ext uri="{FF2B5EF4-FFF2-40B4-BE49-F238E27FC236}">
                  <a16:creationId xmlns:a16="http://schemas.microsoft.com/office/drawing/2014/main" id="{03D708E7-A736-7752-0A1D-ADB0264A8653}"/>
                </a:ext>
              </a:extLst>
            </p:cNvPr>
            <p:cNvSpPr>
              <a:spLocks/>
            </p:cNvSpPr>
            <p:nvPr/>
          </p:nvSpPr>
          <p:spPr bwMode="auto">
            <a:xfrm>
              <a:off x="7041454" y="1818612"/>
              <a:ext cx="725488" cy="1192213"/>
            </a:xfrm>
            <a:custGeom>
              <a:avLst/>
              <a:gdLst>
                <a:gd name="T0" fmla="*/ 447 w 457"/>
                <a:gd name="T1" fmla="*/ 180 h 751"/>
                <a:gd name="T2" fmla="*/ 269 w 457"/>
                <a:gd name="T3" fmla="*/ 90 h 751"/>
                <a:gd name="T4" fmla="*/ 93 w 457"/>
                <a:gd name="T5" fmla="*/ 0 h 751"/>
                <a:gd name="T6" fmla="*/ 49 w 457"/>
                <a:gd name="T7" fmla="*/ 25 h 751"/>
                <a:gd name="T8" fmla="*/ 62 w 457"/>
                <a:gd name="T9" fmla="*/ 99 h 751"/>
                <a:gd name="T10" fmla="*/ 78 w 457"/>
                <a:gd name="T11" fmla="*/ 110 h 751"/>
                <a:gd name="T12" fmla="*/ 79 w 457"/>
                <a:gd name="T13" fmla="*/ 126 h 751"/>
                <a:gd name="T14" fmla="*/ 99 w 457"/>
                <a:gd name="T15" fmla="*/ 142 h 751"/>
                <a:gd name="T16" fmla="*/ 89 w 457"/>
                <a:gd name="T17" fmla="*/ 162 h 751"/>
                <a:gd name="T18" fmla="*/ 75 w 457"/>
                <a:gd name="T19" fmla="*/ 257 h 751"/>
                <a:gd name="T20" fmla="*/ 74 w 457"/>
                <a:gd name="T21" fmla="*/ 318 h 751"/>
                <a:gd name="T22" fmla="*/ 18 w 457"/>
                <a:gd name="T23" fmla="*/ 363 h 751"/>
                <a:gd name="T24" fmla="*/ 0 w 457"/>
                <a:gd name="T25" fmla="*/ 425 h 751"/>
                <a:gd name="T26" fmla="*/ 19 w 457"/>
                <a:gd name="T27" fmla="*/ 442 h 751"/>
                <a:gd name="T28" fmla="*/ 19 w 457"/>
                <a:gd name="T29" fmla="*/ 472 h 751"/>
                <a:gd name="T30" fmla="*/ 47 w 457"/>
                <a:gd name="T31" fmla="*/ 474 h 751"/>
                <a:gd name="T32" fmla="*/ 44 w 457"/>
                <a:gd name="T33" fmla="*/ 496 h 751"/>
                <a:gd name="T34" fmla="*/ 62 w 457"/>
                <a:gd name="T35" fmla="*/ 526 h 751"/>
                <a:gd name="T36" fmla="*/ 66 w 457"/>
                <a:gd name="T37" fmla="*/ 557 h 751"/>
                <a:gd name="T38" fmla="*/ 64 w 457"/>
                <a:gd name="T39" fmla="*/ 588 h 751"/>
                <a:gd name="T40" fmla="*/ 89 w 457"/>
                <a:gd name="T41" fmla="*/ 631 h 751"/>
                <a:gd name="T42" fmla="*/ 64 w 457"/>
                <a:gd name="T43" fmla="*/ 630 h 751"/>
                <a:gd name="T44" fmla="*/ 51 w 457"/>
                <a:gd name="T45" fmla="*/ 633 h 751"/>
                <a:gd name="T46" fmla="*/ 31 w 457"/>
                <a:gd name="T47" fmla="*/ 629 h 751"/>
                <a:gd name="T48" fmla="*/ 22 w 457"/>
                <a:gd name="T49" fmla="*/ 651 h 751"/>
                <a:gd name="T50" fmla="*/ 48 w 457"/>
                <a:gd name="T51" fmla="*/ 678 h 751"/>
                <a:gd name="T52" fmla="*/ 68 w 457"/>
                <a:gd name="T53" fmla="*/ 686 h 751"/>
                <a:gd name="T54" fmla="*/ 74 w 457"/>
                <a:gd name="T55" fmla="*/ 706 h 751"/>
                <a:gd name="T56" fmla="*/ 89 w 457"/>
                <a:gd name="T57" fmla="*/ 739 h 751"/>
                <a:gd name="T58" fmla="*/ 82 w 457"/>
                <a:gd name="T59" fmla="*/ 751 h 751"/>
                <a:gd name="T60" fmla="*/ 119 w 457"/>
                <a:gd name="T61" fmla="*/ 747 h 751"/>
                <a:gd name="T62" fmla="*/ 126 w 457"/>
                <a:gd name="T63" fmla="*/ 735 h 751"/>
                <a:gd name="T64" fmla="*/ 134 w 457"/>
                <a:gd name="T65" fmla="*/ 736 h 751"/>
                <a:gd name="T66" fmla="*/ 145 w 457"/>
                <a:gd name="T67" fmla="*/ 747 h 751"/>
                <a:gd name="T68" fmla="*/ 201 w 457"/>
                <a:gd name="T69" fmla="*/ 728 h 751"/>
                <a:gd name="T70" fmla="*/ 219 w 457"/>
                <a:gd name="T71" fmla="*/ 711 h 751"/>
                <a:gd name="T72" fmla="*/ 243 w 457"/>
                <a:gd name="T73" fmla="*/ 694 h 751"/>
                <a:gd name="T74" fmla="*/ 238 w 457"/>
                <a:gd name="T75" fmla="*/ 677 h 751"/>
                <a:gd name="T76" fmla="*/ 250 w 457"/>
                <a:gd name="T77" fmla="*/ 673 h 751"/>
                <a:gd name="T78" fmla="*/ 294 w 457"/>
                <a:gd name="T79" fmla="*/ 676 h 751"/>
                <a:gd name="T80" fmla="*/ 335 w 457"/>
                <a:gd name="T81" fmla="*/ 655 h 751"/>
                <a:gd name="T82" fmla="*/ 366 w 457"/>
                <a:gd name="T83" fmla="*/ 603 h 751"/>
                <a:gd name="T84" fmla="*/ 388 w 457"/>
                <a:gd name="T85" fmla="*/ 584 h 751"/>
                <a:gd name="T86" fmla="*/ 416 w 457"/>
                <a:gd name="T87" fmla="*/ 576 h 751"/>
                <a:gd name="T88" fmla="*/ 416 w 457"/>
                <a:gd name="T89" fmla="*/ 565 h 751"/>
                <a:gd name="T90" fmla="*/ 400 w 457"/>
                <a:gd name="T91" fmla="*/ 551 h 751"/>
                <a:gd name="T92" fmla="*/ 399 w 457"/>
                <a:gd name="T93" fmla="*/ 524 h 751"/>
                <a:gd name="T94" fmla="*/ 389 w 457"/>
                <a:gd name="T95" fmla="*/ 505 h 751"/>
                <a:gd name="T96" fmla="*/ 373 w 457"/>
                <a:gd name="T97" fmla="*/ 508 h 751"/>
                <a:gd name="T98" fmla="*/ 378 w 457"/>
                <a:gd name="T99" fmla="*/ 491 h 751"/>
                <a:gd name="T100" fmla="*/ 389 w 457"/>
                <a:gd name="T101" fmla="*/ 471 h 751"/>
                <a:gd name="T102" fmla="*/ 383 w 457"/>
                <a:gd name="T103" fmla="*/ 452 h 751"/>
                <a:gd name="T104" fmla="*/ 397 w 457"/>
                <a:gd name="T105" fmla="*/ 437 h 751"/>
                <a:gd name="T106" fmla="*/ 388 w 457"/>
                <a:gd name="T107" fmla="*/ 426 h 751"/>
                <a:gd name="T108" fmla="*/ 399 w 457"/>
                <a:gd name="T109" fmla="*/ 397 h 751"/>
                <a:gd name="T110" fmla="*/ 418 w 457"/>
                <a:gd name="T111" fmla="*/ 363 h 751"/>
                <a:gd name="T112" fmla="*/ 457 w 457"/>
                <a:gd name="T113" fmla="*/ 366 h 751"/>
                <a:gd name="T114" fmla="*/ 447 w 457"/>
                <a:gd name="T115" fmla="*/ 180 h 751"/>
                <a:gd name="T116" fmla="*/ 447 w 457"/>
                <a:gd name="T117" fmla="*/ 18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7" h="751">
                  <a:moveTo>
                    <a:pt x="447" y="180"/>
                  </a:moveTo>
                  <a:lnTo>
                    <a:pt x="269" y="90"/>
                  </a:lnTo>
                  <a:lnTo>
                    <a:pt x="93" y="0"/>
                  </a:lnTo>
                  <a:lnTo>
                    <a:pt x="49" y="25"/>
                  </a:lnTo>
                  <a:lnTo>
                    <a:pt x="62" y="99"/>
                  </a:lnTo>
                  <a:lnTo>
                    <a:pt x="78" y="110"/>
                  </a:lnTo>
                  <a:lnTo>
                    <a:pt x="79" y="126"/>
                  </a:lnTo>
                  <a:lnTo>
                    <a:pt x="99" y="142"/>
                  </a:lnTo>
                  <a:lnTo>
                    <a:pt x="89" y="162"/>
                  </a:lnTo>
                  <a:lnTo>
                    <a:pt x="75" y="257"/>
                  </a:lnTo>
                  <a:lnTo>
                    <a:pt x="74" y="318"/>
                  </a:lnTo>
                  <a:lnTo>
                    <a:pt x="18" y="363"/>
                  </a:lnTo>
                  <a:lnTo>
                    <a:pt x="0" y="425"/>
                  </a:lnTo>
                  <a:lnTo>
                    <a:pt x="19" y="442"/>
                  </a:lnTo>
                  <a:lnTo>
                    <a:pt x="19" y="472"/>
                  </a:lnTo>
                  <a:lnTo>
                    <a:pt x="47" y="474"/>
                  </a:lnTo>
                  <a:lnTo>
                    <a:pt x="44" y="496"/>
                  </a:lnTo>
                  <a:lnTo>
                    <a:pt x="62" y="526"/>
                  </a:lnTo>
                  <a:lnTo>
                    <a:pt x="66" y="557"/>
                  </a:lnTo>
                  <a:lnTo>
                    <a:pt x="64" y="588"/>
                  </a:lnTo>
                  <a:lnTo>
                    <a:pt x="89" y="631"/>
                  </a:lnTo>
                  <a:lnTo>
                    <a:pt x="64" y="630"/>
                  </a:lnTo>
                  <a:lnTo>
                    <a:pt x="51" y="633"/>
                  </a:lnTo>
                  <a:lnTo>
                    <a:pt x="31" y="629"/>
                  </a:lnTo>
                  <a:lnTo>
                    <a:pt x="22" y="651"/>
                  </a:lnTo>
                  <a:lnTo>
                    <a:pt x="48" y="678"/>
                  </a:lnTo>
                  <a:lnTo>
                    <a:pt x="68" y="686"/>
                  </a:lnTo>
                  <a:lnTo>
                    <a:pt x="74" y="706"/>
                  </a:lnTo>
                  <a:lnTo>
                    <a:pt x="89" y="739"/>
                  </a:lnTo>
                  <a:lnTo>
                    <a:pt x="82" y="751"/>
                  </a:lnTo>
                  <a:lnTo>
                    <a:pt x="119" y="747"/>
                  </a:lnTo>
                  <a:lnTo>
                    <a:pt x="126" y="735"/>
                  </a:lnTo>
                  <a:lnTo>
                    <a:pt x="134" y="736"/>
                  </a:lnTo>
                  <a:lnTo>
                    <a:pt x="145" y="747"/>
                  </a:lnTo>
                  <a:lnTo>
                    <a:pt x="201" y="728"/>
                  </a:lnTo>
                  <a:lnTo>
                    <a:pt x="219" y="711"/>
                  </a:lnTo>
                  <a:lnTo>
                    <a:pt x="243" y="694"/>
                  </a:lnTo>
                  <a:lnTo>
                    <a:pt x="238" y="677"/>
                  </a:lnTo>
                  <a:lnTo>
                    <a:pt x="250" y="673"/>
                  </a:lnTo>
                  <a:lnTo>
                    <a:pt x="294" y="676"/>
                  </a:lnTo>
                  <a:lnTo>
                    <a:pt x="335" y="655"/>
                  </a:lnTo>
                  <a:lnTo>
                    <a:pt x="366" y="603"/>
                  </a:lnTo>
                  <a:lnTo>
                    <a:pt x="388" y="584"/>
                  </a:lnTo>
                  <a:lnTo>
                    <a:pt x="416" y="576"/>
                  </a:lnTo>
                  <a:lnTo>
                    <a:pt x="416" y="565"/>
                  </a:lnTo>
                  <a:lnTo>
                    <a:pt x="400" y="551"/>
                  </a:lnTo>
                  <a:lnTo>
                    <a:pt x="399" y="524"/>
                  </a:lnTo>
                  <a:lnTo>
                    <a:pt x="389" y="505"/>
                  </a:lnTo>
                  <a:lnTo>
                    <a:pt x="373" y="508"/>
                  </a:lnTo>
                  <a:lnTo>
                    <a:pt x="378" y="491"/>
                  </a:lnTo>
                  <a:lnTo>
                    <a:pt x="389" y="471"/>
                  </a:lnTo>
                  <a:lnTo>
                    <a:pt x="383" y="452"/>
                  </a:lnTo>
                  <a:lnTo>
                    <a:pt x="397" y="437"/>
                  </a:lnTo>
                  <a:lnTo>
                    <a:pt x="388" y="426"/>
                  </a:lnTo>
                  <a:lnTo>
                    <a:pt x="399" y="397"/>
                  </a:lnTo>
                  <a:lnTo>
                    <a:pt x="418" y="363"/>
                  </a:lnTo>
                  <a:lnTo>
                    <a:pt x="457" y="366"/>
                  </a:lnTo>
                  <a:lnTo>
                    <a:pt x="447" y="180"/>
                  </a:lnTo>
                  <a:lnTo>
                    <a:pt x="447" y="18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1" name="Togo">
              <a:extLst>
                <a:ext uri="{FF2B5EF4-FFF2-40B4-BE49-F238E27FC236}">
                  <a16:creationId xmlns:a16="http://schemas.microsoft.com/office/drawing/2014/main" id="{8CDDF9D3-B762-31BB-8933-AC0E4F5EC07E}"/>
                </a:ext>
              </a:extLst>
            </p:cNvPr>
            <p:cNvSpPr>
              <a:spLocks/>
            </p:cNvSpPr>
            <p:nvPr/>
          </p:nvSpPr>
          <p:spPr bwMode="auto">
            <a:xfrm>
              <a:off x="6087366" y="2742537"/>
              <a:ext cx="136525" cy="379413"/>
            </a:xfrm>
            <a:custGeom>
              <a:avLst/>
              <a:gdLst>
                <a:gd name="T0" fmla="*/ 42 w 86"/>
                <a:gd name="T1" fmla="*/ 1 h 239"/>
                <a:gd name="T2" fmla="*/ 4 w 86"/>
                <a:gd name="T3" fmla="*/ 0 h 239"/>
                <a:gd name="T4" fmla="*/ 0 w 86"/>
                <a:gd name="T5" fmla="*/ 15 h 239"/>
                <a:gd name="T6" fmla="*/ 18 w 86"/>
                <a:gd name="T7" fmla="*/ 39 h 239"/>
                <a:gd name="T8" fmla="*/ 18 w 86"/>
                <a:gd name="T9" fmla="*/ 73 h 239"/>
                <a:gd name="T10" fmla="*/ 23 w 86"/>
                <a:gd name="T11" fmla="*/ 110 h 239"/>
                <a:gd name="T12" fmla="*/ 34 w 86"/>
                <a:gd name="T13" fmla="*/ 127 h 239"/>
                <a:gd name="T14" fmla="*/ 24 w 86"/>
                <a:gd name="T15" fmla="*/ 169 h 239"/>
                <a:gd name="T16" fmla="*/ 27 w 86"/>
                <a:gd name="T17" fmla="*/ 192 h 239"/>
                <a:gd name="T18" fmla="*/ 39 w 86"/>
                <a:gd name="T19" fmla="*/ 223 h 239"/>
                <a:gd name="T20" fmla="*/ 49 w 86"/>
                <a:gd name="T21" fmla="*/ 239 h 239"/>
                <a:gd name="T22" fmla="*/ 86 w 86"/>
                <a:gd name="T23" fmla="*/ 229 h 239"/>
                <a:gd name="T24" fmla="*/ 75 w 86"/>
                <a:gd name="T25" fmla="*/ 197 h 239"/>
                <a:gd name="T26" fmla="*/ 77 w 86"/>
                <a:gd name="T27" fmla="*/ 89 h 239"/>
                <a:gd name="T28" fmla="*/ 68 w 86"/>
                <a:gd name="T29" fmla="*/ 79 h 239"/>
                <a:gd name="T30" fmla="*/ 66 w 86"/>
                <a:gd name="T31" fmla="*/ 56 h 239"/>
                <a:gd name="T32" fmla="*/ 50 w 86"/>
                <a:gd name="T33" fmla="*/ 39 h 239"/>
                <a:gd name="T34" fmla="*/ 37 w 86"/>
                <a:gd name="T35" fmla="*/ 26 h 239"/>
                <a:gd name="T36" fmla="*/ 42 w 86"/>
                <a:gd name="T37"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239">
                  <a:moveTo>
                    <a:pt x="42" y="1"/>
                  </a:moveTo>
                  <a:lnTo>
                    <a:pt x="4" y="0"/>
                  </a:lnTo>
                  <a:lnTo>
                    <a:pt x="0" y="15"/>
                  </a:lnTo>
                  <a:lnTo>
                    <a:pt x="18" y="39"/>
                  </a:lnTo>
                  <a:lnTo>
                    <a:pt x="18" y="73"/>
                  </a:lnTo>
                  <a:lnTo>
                    <a:pt x="23" y="110"/>
                  </a:lnTo>
                  <a:lnTo>
                    <a:pt x="34" y="127"/>
                  </a:lnTo>
                  <a:lnTo>
                    <a:pt x="24" y="169"/>
                  </a:lnTo>
                  <a:lnTo>
                    <a:pt x="27" y="192"/>
                  </a:lnTo>
                  <a:lnTo>
                    <a:pt x="39" y="223"/>
                  </a:lnTo>
                  <a:lnTo>
                    <a:pt x="49" y="239"/>
                  </a:lnTo>
                  <a:lnTo>
                    <a:pt x="86" y="229"/>
                  </a:lnTo>
                  <a:lnTo>
                    <a:pt x="75" y="197"/>
                  </a:lnTo>
                  <a:lnTo>
                    <a:pt x="77" y="89"/>
                  </a:lnTo>
                  <a:lnTo>
                    <a:pt x="68" y="79"/>
                  </a:lnTo>
                  <a:lnTo>
                    <a:pt x="66" y="56"/>
                  </a:lnTo>
                  <a:lnTo>
                    <a:pt x="50" y="39"/>
                  </a:lnTo>
                  <a:lnTo>
                    <a:pt x="37" y="26"/>
                  </a:lnTo>
                  <a:lnTo>
                    <a:pt x="42" y="1"/>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2" name="Tunisia">
              <a:extLst>
                <a:ext uri="{FF2B5EF4-FFF2-40B4-BE49-F238E27FC236}">
                  <a16:creationId xmlns:a16="http://schemas.microsoft.com/office/drawing/2014/main" id="{D2996E6E-D414-6161-5CF3-08BF50BD7FE6}"/>
                </a:ext>
              </a:extLst>
            </p:cNvPr>
            <p:cNvSpPr>
              <a:spLocks/>
            </p:cNvSpPr>
            <p:nvPr/>
          </p:nvSpPr>
          <p:spPr bwMode="auto">
            <a:xfrm>
              <a:off x="6595366" y="775625"/>
              <a:ext cx="269875" cy="528638"/>
            </a:xfrm>
            <a:custGeom>
              <a:avLst/>
              <a:gdLst>
                <a:gd name="T0" fmla="*/ 170 w 170"/>
                <a:gd name="T1" fmla="*/ 200 h 333"/>
                <a:gd name="T2" fmla="*/ 153 w 170"/>
                <a:gd name="T3" fmla="*/ 193 h 333"/>
                <a:gd name="T4" fmla="*/ 141 w 170"/>
                <a:gd name="T5" fmla="*/ 171 h 333"/>
                <a:gd name="T6" fmla="*/ 119 w 170"/>
                <a:gd name="T7" fmla="*/ 170 h 333"/>
                <a:gd name="T8" fmla="*/ 111 w 170"/>
                <a:gd name="T9" fmla="*/ 144 h 333"/>
                <a:gd name="T10" fmla="*/ 138 w 170"/>
                <a:gd name="T11" fmla="*/ 120 h 333"/>
                <a:gd name="T12" fmla="*/ 141 w 170"/>
                <a:gd name="T13" fmla="*/ 79 h 333"/>
                <a:gd name="T14" fmla="*/ 127 w 170"/>
                <a:gd name="T15" fmla="*/ 67 h 333"/>
                <a:gd name="T16" fmla="*/ 126 w 170"/>
                <a:gd name="T17" fmla="*/ 45 h 333"/>
                <a:gd name="T18" fmla="*/ 146 w 170"/>
                <a:gd name="T19" fmla="*/ 21 h 333"/>
                <a:gd name="T20" fmla="*/ 142 w 170"/>
                <a:gd name="T21" fmla="*/ 12 h 333"/>
                <a:gd name="T22" fmla="*/ 107 w 170"/>
                <a:gd name="T23" fmla="*/ 30 h 333"/>
                <a:gd name="T24" fmla="*/ 108 w 170"/>
                <a:gd name="T25" fmla="*/ 6 h 333"/>
                <a:gd name="T26" fmla="*/ 78 w 170"/>
                <a:gd name="T27" fmla="*/ 0 h 333"/>
                <a:gd name="T28" fmla="*/ 34 w 170"/>
                <a:gd name="T29" fmla="*/ 19 h 333"/>
                <a:gd name="T30" fmla="*/ 26 w 170"/>
                <a:gd name="T31" fmla="*/ 44 h 333"/>
                <a:gd name="T32" fmla="*/ 34 w 170"/>
                <a:gd name="T33" fmla="*/ 89 h 333"/>
                <a:gd name="T34" fmla="*/ 25 w 170"/>
                <a:gd name="T35" fmla="*/ 129 h 333"/>
                <a:gd name="T36" fmla="*/ 0 w 170"/>
                <a:gd name="T37" fmla="*/ 155 h 333"/>
                <a:gd name="T38" fmla="*/ 5 w 170"/>
                <a:gd name="T39" fmla="*/ 190 h 333"/>
                <a:gd name="T40" fmla="*/ 40 w 170"/>
                <a:gd name="T41" fmla="*/ 219 h 333"/>
                <a:gd name="T42" fmla="*/ 41 w 170"/>
                <a:gd name="T43" fmla="*/ 230 h 333"/>
                <a:gd name="T44" fmla="*/ 67 w 170"/>
                <a:gd name="T45" fmla="*/ 249 h 333"/>
                <a:gd name="T46" fmla="*/ 88 w 170"/>
                <a:gd name="T47" fmla="*/ 333 h 333"/>
                <a:gd name="T48" fmla="*/ 109 w 170"/>
                <a:gd name="T49" fmla="*/ 322 h 333"/>
                <a:gd name="T50" fmla="*/ 112 w 170"/>
                <a:gd name="T51" fmla="*/ 302 h 333"/>
                <a:gd name="T52" fmla="*/ 106 w 170"/>
                <a:gd name="T53" fmla="*/ 283 h 333"/>
                <a:gd name="T54" fmla="*/ 136 w 170"/>
                <a:gd name="T55" fmla="*/ 265 h 333"/>
                <a:gd name="T56" fmla="*/ 148 w 170"/>
                <a:gd name="T57" fmla="*/ 250 h 333"/>
                <a:gd name="T58" fmla="*/ 169 w 170"/>
                <a:gd name="T59" fmla="*/ 236 h 333"/>
                <a:gd name="T60" fmla="*/ 170 w 170"/>
                <a:gd name="T61" fmla="*/ 200 h 333"/>
                <a:gd name="T62" fmla="*/ 170 w 170"/>
                <a:gd name="T63" fmla="*/ 20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0" h="333">
                  <a:moveTo>
                    <a:pt x="170" y="200"/>
                  </a:moveTo>
                  <a:lnTo>
                    <a:pt x="153" y="193"/>
                  </a:lnTo>
                  <a:lnTo>
                    <a:pt x="141" y="171"/>
                  </a:lnTo>
                  <a:lnTo>
                    <a:pt x="119" y="170"/>
                  </a:lnTo>
                  <a:lnTo>
                    <a:pt x="111" y="144"/>
                  </a:lnTo>
                  <a:lnTo>
                    <a:pt x="138" y="120"/>
                  </a:lnTo>
                  <a:lnTo>
                    <a:pt x="141" y="79"/>
                  </a:lnTo>
                  <a:lnTo>
                    <a:pt x="127" y="67"/>
                  </a:lnTo>
                  <a:lnTo>
                    <a:pt x="126" y="45"/>
                  </a:lnTo>
                  <a:lnTo>
                    <a:pt x="146" y="21"/>
                  </a:lnTo>
                  <a:lnTo>
                    <a:pt x="142" y="12"/>
                  </a:lnTo>
                  <a:lnTo>
                    <a:pt x="107" y="30"/>
                  </a:lnTo>
                  <a:lnTo>
                    <a:pt x="108" y="6"/>
                  </a:lnTo>
                  <a:lnTo>
                    <a:pt x="78" y="0"/>
                  </a:lnTo>
                  <a:lnTo>
                    <a:pt x="34" y="19"/>
                  </a:lnTo>
                  <a:lnTo>
                    <a:pt x="26" y="44"/>
                  </a:lnTo>
                  <a:lnTo>
                    <a:pt x="34" y="89"/>
                  </a:lnTo>
                  <a:lnTo>
                    <a:pt x="25" y="129"/>
                  </a:lnTo>
                  <a:lnTo>
                    <a:pt x="0" y="155"/>
                  </a:lnTo>
                  <a:lnTo>
                    <a:pt x="5" y="190"/>
                  </a:lnTo>
                  <a:lnTo>
                    <a:pt x="40" y="219"/>
                  </a:lnTo>
                  <a:lnTo>
                    <a:pt x="41" y="230"/>
                  </a:lnTo>
                  <a:lnTo>
                    <a:pt x="67" y="249"/>
                  </a:lnTo>
                  <a:lnTo>
                    <a:pt x="88" y="333"/>
                  </a:lnTo>
                  <a:lnTo>
                    <a:pt x="109" y="322"/>
                  </a:lnTo>
                  <a:lnTo>
                    <a:pt x="112" y="302"/>
                  </a:lnTo>
                  <a:lnTo>
                    <a:pt x="106" y="283"/>
                  </a:lnTo>
                  <a:lnTo>
                    <a:pt x="136" y="265"/>
                  </a:lnTo>
                  <a:lnTo>
                    <a:pt x="148" y="250"/>
                  </a:lnTo>
                  <a:lnTo>
                    <a:pt x="169" y="236"/>
                  </a:lnTo>
                  <a:lnTo>
                    <a:pt x="170" y="200"/>
                  </a:lnTo>
                  <a:lnTo>
                    <a:pt x="170" y="20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3" name="United Republic of Tanzania">
              <a:extLst>
                <a:ext uri="{FF2B5EF4-FFF2-40B4-BE49-F238E27FC236}">
                  <a16:creationId xmlns:a16="http://schemas.microsoft.com/office/drawing/2014/main" id="{B9051DD3-3C7D-8DD5-BCC5-C5F0A5E15106}"/>
                </a:ext>
              </a:extLst>
            </p:cNvPr>
            <p:cNvSpPr>
              <a:spLocks/>
            </p:cNvSpPr>
            <p:nvPr/>
          </p:nvSpPr>
          <p:spPr bwMode="auto">
            <a:xfrm>
              <a:off x="8186041" y="3639475"/>
              <a:ext cx="749300" cy="798513"/>
            </a:xfrm>
            <a:custGeom>
              <a:avLst/>
              <a:gdLst>
                <a:gd name="T0" fmla="*/ 39 w 472"/>
                <a:gd name="T1" fmla="*/ 6 h 503"/>
                <a:gd name="T2" fmla="*/ 53 w 472"/>
                <a:gd name="T3" fmla="*/ 60 h 503"/>
                <a:gd name="T4" fmla="*/ 41 w 472"/>
                <a:gd name="T5" fmla="*/ 66 h 503"/>
                <a:gd name="T6" fmla="*/ 52 w 472"/>
                <a:gd name="T7" fmla="*/ 95 h 503"/>
                <a:gd name="T8" fmla="*/ 41 w 472"/>
                <a:gd name="T9" fmla="*/ 121 h 503"/>
                <a:gd name="T10" fmla="*/ 7 w 472"/>
                <a:gd name="T11" fmla="*/ 162 h 503"/>
                <a:gd name="T12" fmla="*/ 0 w 472"/>
                <a:gd name="T13" fmla="*/ 183 h 503"/>
                <a:gd name="T14" fmla="*/ 7 w 472"/>
                <a:gd name="T15" fmla="*/ 210 h 503"/>
                <a:gd name="T16" fmla="*/ 4 w 472"/>
                <a:gd name="T17" fmla="*/ 246 h 503"/>
                <a:gd name="T18" fmla="*/ 42 w 472"/>
                <a:gd name="T19" fmla="*/ 306 h 503"/>
                <a:gd name="T20" fmla="*/ 64 w 472"/>
                <a:gd name="T21" fmla="*/ 355 h 503"/>
                <a:gd name="T22" fmla="*/ 84 w 472"/>
                <a:gd name="T23" fmla="*/ 364 h 503"/>
                <a:gd name="T24" fmla="*/ 137 w 472"/>
                <a:gd name="T25" fmla="*/ 386 h 503"/>
                <a:gd name="T26" fmla="*/ 189 w 472"/>
                <a:gd name="T27" fmla="*/ 408 h 503"/>
                <a:gd name="T28" fmla="*/ 192 w 472"/>
                <a:gd name="T29" fmla="*/ 399 h 503"/>
                <a:gd name="T30" fmla="*/ 217 w 472"/>
                <a:gd name="T31" fmla="*/ 473 h 503"/>
                <a:gd name="T32" fmla="*/ 231 w 472"/>
                <a:gd name="T33" fmla="*/ 492 h 503"/>
                <a:gd name="T34" fmla="*/ 300 w 472"/>
                <a:gd name="T35" fmla="*/ 503 h 503"/>
                <a:gd name="T36" fmla="*/ 343 w 472"/>
                <a:gd name="T37" fmla="*/ 497 h 503"/>
                <a:gd name="T38" fmla="*/ 386 w 472"/>
                <a:gd name="T39" fmla="*/ 483 h 503"/>
                <a:gd name="T40" fmla="*/ 472 w 472"/>
                <a:gd name="T41" fmla="*/ 437 h 503"/>
                <a:gd name="T42" fmla="*/ 455 w 472"/>
                <a:gd name="T43" fmla="*/ 427 h 503"/>
                <a:gd name="T44" fmla="*/ 424 w 472"/>
                <a:gd name="T45" fmla="*/ 351 h 503"/>
                <a:gd name="T46" fmla="*/ 425 w 472"/>
                <a:gd name="T47" fmla="*/ 315 h 503"/>
                <a:gd name="T48" fmla="*/ 437 w 472"/>
                <a:gd name="T49" fmla="*/ 274 h 503"/>
                <a:gd name="T50" fmla="*/ 407 w 472"/>
                <a:gd name="T51" fmla="*/ 230 h 503"/>
                <a:gd name="T52" fmla="*/ 365 w 472"/>
                <a:gd name="T53" fmla="*/ 126 h 503"/>
                <a:gd name="T54" fmla="*/ 201 w 472"/>
                <a:gd name="T55" fmla="*/ 3 h 503"/>
                <a:gd name="T56" fmla="*/ 179 w 472"/>
                <a:gd name="T57" fmla="*/ 23 h 503"/>
                <a:gd name="T58" fmla="*/ 182 w 472"/>
                <a:gd name="T59" fmla="*/ 60 h 503"/>
                <a:gd name="T60" fmla="*/ 151 w 472"/>
                <a:gd name="T61" fmla="*/ 67 h 503"/>
                <a:gd name="T62" fmla="*/ 104 w 472"/>
                <a:gd name="T63" fmla="*/ 81 h 503"/>
                <a:gd name="T64" fmla="*/ 101 w 472"/>
                <a:gd name="T65" fmla="*/ 29 h 503"/>
                <a:gd name="T66" fmla="*/ 103 w 472"/>
                <a:gd name="T67" fmla="*/ 1 h 503"/>
                <a:gd name="T68" fmla="*/ 54 w 472"/>
                <a:gd name="T69" fmla="*/ 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2" h="503">
                  <a:moveTo>
                    <a:pt x="54" y="0"/>
                  </a:moveTo>
                  <a:lnTo>
                    <a:pt x="39" y="6"/>
                  </a:lnTo>
                  <a:lnTo>
                    <a:pt x="56" y="32"/>
                  </a:lnTo>
                  <a:lnTo>
                    <a:pt x="53" y="60"/>
                  </a:lnTo>
                  <a:lnTo>
                    <a:pt x="41" y="66"/>
                  </a:lnTo>
                  <a:lnTo>
                    <a:pt x="41" y="66"/>
                  </a:lnTo>
                  <a:lnTo>
                    <a:pt x="42" y="84"/>
                  </a:lnTo>
                  <a:lnTo>
                    <a:pt x="52" y="95"/>
                  </a:lnTo>
                  <a:lnTo>
                    <a:pt x="52" y="110"/>
                  </a:lnTo>
                  <a:lnTo>
                    <a:pt x="41" y="121"/>
                  </a:lnTo>
                  <a:lnTo>
                    <a:pt x="23" y="145"/>
                  </a:lnTo>
                  <a:lnTo>
                    <a:pt x="7" y="162"/>
                  </a:lnTo>
                  <a:lnTo>
                    <a:pt x="2" y="162"/>
                  </a:lnTo>
                  <a:lnTo>
                    <a:pt x="0" y="183"/>
                  </a:lnTo>
                  <a:lnTo>
                    <a:pt x="9" y="189"/>
                  </a:lnTo>
                  <a:lnTo>
                    <a:pt x="7" y="210"/>
                  </a:lnTo>
                  <a:lnTo>
                    <a:pt x="15" y="228"/>
                  </a:lnTo>
                  <a:lnTo>
                    <a:pt x="4" y="246"/>
                  </a:lnTo>
                  <a:lnTo>
                    <a:pt x="40" y="278"/>
                  </a:lnTo>
                  <a:lnTo>
                    <a:pt x="42" y="306"/>
                  </a:lnTo>
                  <a:lnTo>
                    <a:pt x="64" y="355"/>
                  </a:lnTo>
                  <a:lnTo>
                    <a:pt x="64" y="355"/>
                  </a:lnTo>
                  <a:lnTo>
                    <a:pt x="66" y="357"/>
                  </a:lnTo>
                  <a:lnTo>
                    <a:pt x="84" y="364"/>
                  </a:lnTo>
                  <a:lnTo>
                    <a:pt x="112" y="373"/>
                  </a:lnTo>
                  <a:lnTo>
                    <a:pt x="137" y="386"/>
                  </a:lnTo>
                  <a:lnTo>
                    <a:pt x="180" y="395"/>
                  </a:lnTo>
                  <a:lnTo>
                    <a:pt x="189" y="408"/>
                  </a:lnTo>
                  <a:lnTo>
                    <a:pt x="189" y="408"/>
                  </a:lnTo>
                  <a:lnTo>
                    <a:pt x="192" y="399"/>
                  </a:lnTo>
                  <a:lnTo>
                    <a:pt x="214" y="424"/>
                  </a:lnTo>
                  <a:lnTo>
                    <a:pt x="217" y="473"/>
                  </a:lnTo>
                  <a:lnTo>
                    <a:pt x="231" y="492"/>
                  </a:lnTo>
                  <a:lnTo>
                    <a:pt x="231" y="492"/>
                  </a:lnTo>
                  <a:lnTo>
                    <a:pt x="248" y="490"/>
                  </a:lnTo>
                  <a:lnTo>
                    <a:pt x="300" y="503"/>
                  </a:lnTo>
                  <a:lnTo>
                    <a:pt x="313" y="497"/>
                  </a:lnTo>
                  <a:lnTo>
                    <a:pt x="343" y="497"/>
                  </a:lnTo>
                  <a:lnTo>
                    <a:pt x="359" y="482"/>
                  </a:lnTo>
                  <a:lnTo>
                    <a:pt x="386" y="483"/>
                  </a:lnTo>
                  <a:lnTo>
                    <a:pt x="435" y="464"/>
                  </a:lnTo>
                  <a:lnTo>
                    <a:pt x="472" y="437"/>
                  </a:lnTo>
                  <a:lnTo>
                    <a:pt x="472" y="437"/>
                  </a:lnTo>
                  <a:lnTo>
                    <a:pt x="455" y="427"/>
                  </a:lnTo>
                  <a:lnTo>
                    <a:pt x="439" y="381"/>
                  </a:lnTo>
                  <a:lnTo>
                    <a:pt x="424" y="351"/>
                  </a:lnTo>
                  <a:lnTo>
                    <a:pt x="428" y="329"/>
                  </a:lnTo>
                  <a:lnTo>
                    <a:pt x="425" y="315"/>
                  </a:lnTo>
                  <a:lnTo>
                    <a:pt x="438" y="286"/>
                  </a:lnTo>
                  <a:lnTo>
                    <a:pt x="437" y="274"/>
                  </a:lnTo>
                  <a:lnTo>
                    <a:pt x="409" y="257"/>
                  </a:lnTo>
                  <a:lnTo>
                    <a:pt x="407" y="230"/>
                  </a:lnTo>
                  <a:lnTo>
                    <a:pt x="428" y="172"/>
                  </a:lnTo>
                  <a:lnTo>
                    <a:pt x="365" y="126"/>
                  </a:lnTo>
                  <a:lnTo>
                    <a:pt x="362" y="98"/>
                  </a:lnTo>
                  <a:lnTo>
                    <a:pt x="201" y="3"/>
                  </a:lnTo>
                  <a:lnTo>
                    <a:pt x="201" y="3"/>
                  </a:lnTo>
                  <a:lnTo>
                    <a:pt x="179" y="23"/>
                  </a:lnTo>
                  <a:lnTo>
                    <a:pt x="165" y="45"/>
                  </a:lnTo>
                  <a:lnTo>
                    <a:pt x="182" y="60"/>
                  </a:lnTo>
                  <a:lnTo>
                    <a:pt x="157" y="72"/>
                  </a:lnTo>
                  <a:lnTo>
                    <a:pt x="151" y="67"/>
                  </a:lnTo>
                  <a:lnTo>
                    <a:pt x="125" y="70"/>
                  </a:lnTo>
                  <a:lnTo>
                    <a:pt x="104" y="81"/>
                  </a:lnTo>
                  <a:lnTo>
                    <a:pt x="93" y="62"/>
                  </a:lnTo>
                  <a:lnTo>
                    <a:pt x="101" y="29"/>
                  </a:lnTo>
                  <a:lnTo>
                    <a:pt x="103" y="1"/>
                  </a:lnTo>
                  <a:lnTo>
                    <a:pt x="103" y="1"/>
                  </a:lnTo>
                  <a:lnTo>
                    <a:pt x="103" y="1"/>
                  </a:lnTo>
                  <a:lnTo>
                    <a:pt x="54" y="0"/>
                  </a:lnTo>
                  <a:lnTo>
                    <a:pt x="54" y="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4" name="Uganda">
              <a:extLst>
                <a:ext uri="{FF2B5EF4-FFF2-40B4-BE49-F238E27FC236}">
                  <a16:creationId xmlns:a16="http://schemas.microsoft.com/office/drawing/2014/main" id="{B6E63B88-EE1B-35D3-F641-811FB8308370}"/>
                </a:ext>
              </a:extLst>
            </p:cNvPr>
            <p:cNvSpPr>
              <a:spLocks/>
            </p:cNvSpPr>
            <p:nvPr/>
          </p:nvSpPr>
          <p:spPr bwMode="auto">
            <a:xfrm>
              <a:off x="8186041" y="3247362"/>
              <a:ext cx="387350" cy="423863"/>
            </a:xfrm>
            <a:custGeom>
              <a:avLst/>
              <a:gdLst>
                <a:gd name="T0" fmla="*/ 197 w 244"/>
                <a:gd name="T1" fmla="*/ 0 h 267"/>
                <a:gd name="T2" fmla="*/ 170 w 244"/>
                <a:gd name="T3" fmla="*/ 22 h 267"/>
                <a:gd name="T4" fmla="*/ 138 w 244"/>
                <a:gd name="T5" fmla="*/ 21 h 267"/>
                <a:gd name="T6" fmla="*/ 103 w 244"/>
                <a:gd name="T7" fmla="*/ 32 h 267"/>
                <a:gd name="T8" fmla="*/ 74 w 244"/>
                <a:gd name="T9" fmla="*/ 22 h 267"/>
                <a:gd name="T10" fmla="*/ 56 w 244"/>
                <a:gd name="T11" fmla="*/ 35 h 267"/>
                <a:gd name="T12" fmla="*/ 56 w 244"/>
                <a:gd name="T13" fmla="*/ 35 h 267"/>
                <a:gd name="T14" fmla="*/ 53 w 244"/>
                <a:gd name="T15" fmla="*/ 90 h 267"/>
                <a:gd name="T16" fmla="*/ 72 w 244"/>
                <a:gd name="T17" fmla="*/ 96 h 267"/>
                <a:gd name="T18" fmla="*/ 57 w 244"/>
                <a:gd name="T19" fmla="*/ 113 h 267"/>
                <a:gd name="T20" fmla="*/ 41 w 244"/>
                <a:gd name="T21" fmla="*/ 126 h 267"/>
                <a:gd name="T22" fmla="*/ 23 w 244"/>
                <a:gd name="T23" fmla="*/ 149 h 267"/>
                <a:gd name="T24" fmla="*/ 14 w 244"/>
                <a:gd name="T25" fmla="*/ 171 h 267"/>
                <a:gd name="T26" fmla="*/ 11 w 244"/>
                <a:gd name="T27" fmla="*/ 209 h 267"/>
                <a:gd name="T28" fmla="*/ 1 w 244"/>
                <a:gd name="T29" fmla="*/ 227 h 267"/>
                <a:gd name="T30" fmla="*/ 0 w 244"/>
                <a:gd name="T31" fmla="*/ 263 h 267"/>
                <a:gd name="T32" fmla="*/ 11 w 244"/>
                <a:gd name="T33" fmla="*/ 267 h 267"/>
                <a:gd name="T34" fmla="*/ 39 w 244"/>
                <a:gd name="T35" fmla="*/ 253 h 267"/>
                <a:gd name="T36" fmla="*/ 54 w 244"/>
                <a:gd name="T37" fmla="*/ 247 h 267"/>
                <a:gd name="T38" fmla="*/ 103 w 244"/>
                <a:gd name="T39" fmla="*/ 248 h 267"/>
                <a:gd name="T40" fmla="*/ 103 w 244"/>
                <a:gd name="T41" fmla="*/ 248 h 267"/>
                <a:gd name="T42" fmla="*/ 101 w 244"/>
                <a:gd name="T43" fmla="*/ 230 h 267"/>
                <a:gd name="T44" fmla="*/ 121 w 244"/>
                <a:gd name="T45" fmla="*/ 202 h 267"/>
                <a:gd name="T46" fmla="*/ 149 w 244"/>
                <a:gd name="T47" fmla="*/ 195 h 267"/>
                <a:gd name="T48" fmla="*/ 168 w 244"/>
                <a:gd name="T49" fmla="*/ 184 h 267"/>
                <a:gd name="T50" fmla="*/ 191 w 244"/>
                <a:gd name="T51" fmla="*/ 193 h 267"/>
                <a:gd name="T52" fmla="*/ 194 w 244"/>
                <a:gd name="T53" fmla="*/ 197 h 267"/>
                <a:gd name="T54" fmla="*/ 194 w 244"/>
                <a:gd name="T55" fmla="*/ 194 h 267"/>
                <a:gd name="T56" fmla="*/ 207 w 244"/>
                <a:gd name="T57" fmla="*/ 176 h 267"/>
                <a:gd name="T58" fmla="*/ 228 w 244"/>
                <a:gd name="T59" fmla="*/ 144 h 267"/>
                <a:gd name="T60" fmla="*/ 244 w 244"/>
                <a:gd name="T61" fmla="*/ 110 h 267"/>
                <a:gd name="T62" fmla="*/ 224 w 244"/>
                <a:gd name="T63" fmla="*/ 56 h 267"/>
                <a:gd name="T64" fmla="*/ 219 w 244"/>
                <a:gd name="T65" fmla="*/ 32 h 267"/>
                <a:gd name="T66" fmla="*/ 197 w 244"/>
                <a:gd name="T67" fmla="*/ 0 h 267"/>
                <a:gd name="T68" fmla="*/ 197 w 244"/>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67">
                  <a:moveTo>
                    <a:pt x="197" y="0"/>
                  </a:moveTo>
                  <a:lnTo>
                    <a:pt x="170" y="22"/>
                  </a:lnTo>
                  <a:lnTo>
                    <a:pt x="138" y="21"/>
                  </a:lnTo>
                  <a:lnTo>
                    <a:pt x="103" y="32"/>
                  </a:lnTo>
                  <a:lnTo>
                    <a:pt x="74" y="22"/>
                  </a:lnTo>
                  <a:lnTo>
                    <a:pt x="56" y="35"/>
                  </a:lnTo>
                  <a:lnTo>
                    <a:pt x="56" y="35"/>
                  </a:lnTo>
                  <a:lnTo>
                    <a:pt x="53" y="90"/>
                  </a:lnTo>
                  <a:lnTo>
                    <a:pt x="72" y="96"/>
                  </a:lnTo>
                  <a:lnTo>
                    <a:pt x="57" y="113"/>
                  </a:lnTo>
                  <a:lnTo>
                    <a:pt x="41" y="126"/>
                  </a:lnTo>
                  <a:lnTo>
                    <a:pt x="23" y="149"/>
                  </a:lnTo>
                  <a:lnTo>
                    <a:pt x="14" y="171"/>
                  </a:lnTo>
                  <a:lnTo>
                    <a:pt x="11" y="209"/>
                  </a:lnTo>
                  <a:lnTo>
                    <a:pt x="1" y="227"/>
                  </a:lnTo>
                  <a:lnTo>
                    <a:pt x="0" y="263"/>
                  </a:lnTo>
                  <a:lnTo>
                    <a:pt x="11" y="267"/>
                  </a:lnTo>
                  <a:lnTo>
                    <a:pt x="39" y="253"/>
                  </a:lnTo>
                  <a:lnTo>
                    <a:pt x="54" y="247"/>
                  </a:lnTo>
                  <a:lnTo>
                    <a:pt x="103" y="248"/>
                  </a:lnTo>
                  <a:lnTo>
                    <a:pt x="103" y="248"/>
                  </a:lnTo>
                  <a:lnTo>
                    <a:pt x="101" y="230"/>
                  </a:lnTo>
                  <a:lnTo>
                    <a:pt x="121" y="202"/>
                  </a:lnTo>
                  <a:lnTo>
                    <a:pt x="149" y="195"/>
                  </a:lnTo>
                  <a:lnTo>
                    <a:pt x="168" y="184"/>
                  </a:lnTo>
                  <a:lnTo>
                    <a:pt x="191" y="193"/>
                  </a:lnTo>
                  <a:lnTo>
                    <a:pt x="194" y="197"/>
                  </a:lnTo>
                  <a:lnTo>
                    <a:pt x="194" y="194"/>
                  </a:lnTo>
                  <a:lnTo>
                    <a:pt x="207" y="176"/>
                  </a:lnTo>
                  <a:lnTo>
                    <a:pt x="228" y="144"/>
                  </a:lnTo>
                  <a:lnTo>
                    <a:pt x="244" y="110"/>
                  </a:lnTo>
                  <a:lnTo>
                    <a:pt x="224" y="56"/>
                  </a:lnTo>
                  <a:lnTo>
                    <a:pt x="219" y="32"/>
                  </a:lnTo>
                  <a:lnTo>
                    <a:pt x="197" y="0"/>
                  </a:lnTo>
                  <a:lnTo>
                    <a:pt x="197" y="0"/>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5" name="South Africa">
              <a:extLst>
                <a:ext uri="{FF2B5EF4-FFF2-40B4-BE49-F238E27FC236}">
                  <a16:creationId xmlns:a16="http://schemas.microsoft.com/office/drawing/2014/main" id="{7B5D8970-F948-AE57-945B-62168AADF2C9}"/>
                </a:ext>
              </a:extLst>
            </p:cNvPr>
            <p:cNvSpPr>
              <a:spLocks noEditPoints="1"/>
            </p:cNvSpPr>
            <p:nvPr/>
          </p:nvSpPr>
          <p:spPr bwMode="auto">
            <a:xfrm>
              <a:off x="7208141" y="5212687"/>
              <a:ext cx="1138238" cy="947738"/>
            </a:xfrm>
            <a:custGeom>
              <a:avLst/>
              <a:gdLst>
                <a:gd name="T0" fmla="*/ 141 w 717"/>
                <a:gd name="T1" fmla="*/ 597 h 597"/>
                <a:gd name="T2" fmla="*/ 205 w 717"/>
                <a:gd name="T3" fmla="*/ 571 h 597"/>
                <a:gd name="T4" fmla="*/ 268 w 717"/>
                <a:gd name="T5" fmla="*/ 555 h 597"/>
                <a:gd name="T6" fmla="*/ 339 w 717"/>
                <a:gd name="T7" fmla="*/ 558 h 597"/>
                <a:gd name="T8" fmla="*/ 386 w 717"/>
                <a:gd name="T9" fmla="*/ 556 h 597"/>
                <a:gd name="T10" fmla="*/ 415 w 717"/>
                <a:gd name="T11" fmla="*/ 541 h 597"/>
                <a:gd name="T12" fmla="*/ 494 w 717"/>
                <a:gd name="T13" fmla="*/ 501 h 597"/>
                <a:gd name="T14" fmla="*/ 580 w 717"/>
                <a:gd name="T15" fmla="*/ 424 h 597"/>
                <a:gd name="T16" fmla="*/ 621 w 717"/>
                <a:gd name="T17" fmla="*/ 366 h 597"/>
                <a:gd name="T18" fmla="*/ 650 w 717"/>
                <a:gd name="T19" fmla="*/ 336 h 597"/>
                <a:gd name="T20" fmla="*/ 695 w 717"/>
                <a:gd name="T21" fmla="*/ 292 h 597"/>
                <a:gd name="T22" fmla="*/ 717 w 717"/>
                <a:gd name="T23" fmla="*/ 218 h 597"/>
                <a:gd name="T24" fmla="*/ 673 w 717"/>
                <a:gd name="T25" fmla="*/ 238 h 597"/>
                <a:gd name="T26" fmla="*/ 624 w 717"/>
                <a:gd name="T27" fmla="*/ 218 h 597"/>
                <a:gd name="T28" fmla="*/ 637 w 717"/>
                <a:gd name="T29" fmla="*/ 184 h 597"/>
                <a:gd name="T30" fmla="*/ 656 w 717"/>
                <a:gd name="T31" fmla="*/ 167 h 597"/>
                <a:gd name="T32" fmla="*/ 674 w 717"/>
                <a:gd name="T33" fmla="*/ 159 h 597"/>
                <a:gd name="T34" fmla="*/ 676 w 717"/>
                <a:gd name="T35" fmla="*/ 73 h 597"/>
                <a:gd name="T36" fmla="*/ 636 w 717"/>
                <a:gd name="T37" fmla="*/ 2 h 597"/>
                <a:gd name="T38" fmla="*/ 600 w 717"/>
                <a:gd name="T39" fmla="*/ 0 h 597"/>
                <a:gd name="T40" fmla="*/ 519 w 717"/>
                <a:gd name="T41" fmla="*/ 34 h 597"/>
                <a:gd name="T42" fmla="*/ 462 w 717"/>
                <a:gd name="T43" fmla="*/ 101 h 597"/>
                <a:gd name="T44" fmla="*/ 424 w 717"/>
                <a:gd name="T45" fmla="*/ 122 h 597"/>
                <a:gd name="T46" fmla="*/ 410 w 717"/>
                <a:gd name="T47" fmla="*/ 159 h 597"/>
                <a:gd name="T48" fmla="*/ 346 w 717"/>
                <a:gd name="T49" fmla="*/ 168 h 597"/>
                <a:gd name="T50" fmla="*/ 309 w 717"/>
                <a:gd name="T51" fmla="*/ 149 h 597"/>
                <a:gd name="T52" fmla="*/ 275 w 717"/>
                <a:gd name="T53" fmla="*/ 182 h 597"/>
                <a:gd name="T54" fmla="*/ 231 w 717"/>
                <a:gd name="T55" fmla="*/ 217 h 597"/>
                <a:gd name="T56" fmla="*/ 191 w 717"/>
                <a:gd name="T57" fmla="*/ 205 h 597"/>
                <a:gd name="T58" fmla="*/ 173 w 717"/>
                <a:gd name="T59" fmla="*/ 132 h 597"/>
                <a:gd name="T60" fmla="*/ 152 w 717"/>
                <a:gd name="T61" fmla="*/ 299 h 597"/>
                <a:gd name="T62" fmla="*/ 90 w 717"/>
                <a:gd name="T63" fmla="*/ 327 h 597"/>
                <a:gd name="T64" fmla="*/ 45 w 717"/>
                <a:gd name="T65" fmla="*/ 314 h 597"/>
                <a:gd name="T66" fmla="*/ 22 w 717"/>
                <a:gd name="T67" fmla="*/ 282 h 597"/>
                <a:gd name="T68" fmla="*/ 28 w 717"/>
                <a:gd name="T69" fmla="*/ 365 h 597"/>
                <a:gd name="T70" fmla="*/ 47 w 717"/>
                <a:gd name="T71" fmla="*/ 406 h 597"/>
                <a:gd name="T72" fmla="*/ 72 w 717"/>
                <a:gd name="T73" fmla="*/ 484 h 597"/>
                <a:gd name="T74" fmla="*/ 69 w 717"/>
                <a:gd name="T75" fmla="*/ 524 h 597"/>
                <a:gd name="T76" fmla="*/ 72 w 717"/>
                <a:gd name="T77" fmla="*/ 565 h 597"/>
                <a:gd name="T78" fmla="*/ 92 w 717"/>
                <a:gd name="T79" fmla="*/ 580 h 597"/>
                <a:gd name="T80" fmla="*/ 122 w 717"/>
                <a:gd name="T81" fmla="*/ 597 h 597"/>
                <a:gd name="T82" fmla="*/ 499 w 717"/>
                <a:gd name="T83" fmla="*/ 397 h 597"/>
                <a:gd name="T84" fmla="*/ 454 w 717"/>
                <a:gd name="T85" fmla="*/ 365 h 597"/>
                <a:gd name="T86" fmla="*/ 504 w 717"/>
                <a:gd name="T87" fmla="*/ 317 h 597"/>
                <a:gd name="T88" fmla="*/ 542 w 717"/>
                <a:gd name="T89" fmla="*/ 322 h 597"/>
                <a:gd name="T90" fmla="*/ 541 w 717"/>
                <a:gd name="T91" fmla="*/ 359 h 597"/>
                <a:gd name="T92" fmla="*/ 508 w 717"/>
                <a:gd name="T93" fmla="*/ 382 h 597"/>
                <a:gd name="T94" fmla="*/ 499 w 717"/>
                <a:gd name="T95" fmla="*/ 3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7" h="597">
                  <a:moveTo>
                    <a:pt x="122" y="597"/>
                  </a:moveTo>
                  <a:lnTo>
                    <a:pt x="141" y="597"/>
                  </a:lnTo>
                  <a:lnTo>
                    <a:pt x="169" y="579"/>
                  </a:lnTo>
                  <a:lnTo>
                    <a:pt x="205" y="571"/>
                  </a:lnTo>
                  <a:lnTo>
                    <a:pt x="251" y="552"/>
                  </a:lnTo>
                  <a:lnTo>
                    <a:pt x="268" y="555"/>
                  </a:lnTo>
                  <a:lnTo>
                    <a:pt x="294" y="549"/>
                  </a:lnTo>
                  <a:lnTo>
                    <a:pt x="339" y="558"/>
                  </a:lnTo>
                  <a:lnTo>
                    <a:pt x="361" y="549"/>
                  </a:lnTo>
                  <a:lnTo>
                    <a:pt x="386" y="556"/>
                  </a:lnTo>
                  <a:lnTo>
                    <a:pt x="393" y="543"/>
                  </a:lnTo>
                  <a:lnTo>
                    <a:pt x="415" y="541"/>
                  </a:lnTo>
                  <a:lnTo>
                    <a:pt x="460" y="523"/>
                  </a:lnTo>
                  <a:lnTo>
                    <a:pt x="494" y="501"/>
                  </a:lnTo>
                  <a:lnTo>
                    <a:pt x="527" y="473"/>
                  </a:lnTo>
                  <a:lnTo>
                    <a:pt x="580" y="424"/>
                  </a:lnTo>
                  <a:lnTo>
                    <a:pt x="607" y="391"/>
                  </a:lnTo>
                  <a:lnTo>
                    <a:pt x="621" y="366"/>
                  </a:lnTo>
                  <a:lnTo>
                    <a:pt x="641" y="343"/>
                  </a:lnTo>
                  <a:lnTo>
                    <a:pt x="650" y="336"/>
                  </a:lnTo>
                  <a:lnTo>
                    <a:pt x="682" y="312"/>
                  </a:lnTo>
                  <a:lnTo>
                    <a:pt x="695" y="292"/>
                  </a:lnTo>
                  <a:lnTo>
                    <a:pt x="703" y="253"/>
                  </a:lnTo>
                  <a:lnTo>
                    <a:pt x="717" y="218"/>
                  </a:lnTo>
                  <a:lnTo>
                    <a:pt x="684" y="218"/>
                  </a:lnTo>
                  <a:lnTo>
                    <a:pt x="673" y="238"/>
                  </a:lnTo>
                  <a:lnTo>
                    <a:pt x="647" y="243"/>
                  </a:lnTo>
                  <a:lnTo>
                    <a:pt x="624" y="218"/>
                  </a:lnTo>
                  <a:lnTo>
                    <a:pt x="625" y="202"/>
                  </a:lnTo>
                  <a:lnTo>
                    <a:pt x="637" y="184"/>
                  </a:lnTo>
                  <a:lnTo>
                    <a:pt x="643" y="170"/>
                  </a:lnTo>
                  <a:lnTo>
                    <a:pt x="656" y="167"/>
                  </a:lnTo>
                  <a:lnTo>
                    <a:pt x="677" y="176"/>
                  </a:lnTo>
                  <a:lnTo>
                    <a:pt x="674" y="159"/>
                  </a:lnTo>
                  <a:lnTo>
                    <a:pt x="685" y="107"/>
                  </a:lnTo>
                  <a:lnTo>
                    <a:pt x="676" y="73"/>
                  </a:lnTo>
                  <a:lnTo>
                    <a:pt x="658" y="7"/>
                  </a:lnTo>
                  <a:lnTo>
                    <a:pt x="636" y="2"/>
                  </a:lnTo>
                  <a:lnTo>
                    <a:pt x="621" y="8"/>
                  </a:lnTo>
                  <a:lnTo>
                    <a:pt x="600" y="0"/>
                  </a:lnTo>
                  <a:lnTo>
                    <a:pt x="582" y="0"/>
                  </a:lnTo>
                  <a:lnTo>
                    <a:pt x="519" y="34"/>
                  </a:lnTo>
                  <a:lnTo>
                    <a:pt x="478" y="69"/>
                  </a:lnTo>
                  <a:lnTo>
                    <a:pt x="462" y="101"/>
                  </a:lnTo>
                  <a:lnTo>
                    <a:pt x="447" y="119"/>
                  </a:lnTo>
                  <a:lnTo>
                    <a:pt x="424" y="122"/>
                  </a:lnTo>
                  <a:lnTo>
                    <a:pt x="415" y="144"/>
                  </a:lnTo>
                  <a:lnTo>
                    <a:pt x="410" y="159"/>
                  </a:lnTo>
                  <a:lnTo>
                    <a:pt x="382" y="170"/>
                  </a:lnTo>
                  <a:lnTo>
                    <a:pt x="346" y="168"/>
                  </a:lnTo>
                  <a:lnTo>
                    <a:pt x="326" y="154"/>
                  </a:lnTo>
                  <a:lnTo>
                    <a:pt x="309" y="149"/>
                  </a:lnTo>
                  <a:lnTo>
                    <a:pt x="287" y="159"/>
                  </a:lnTo>
                  <a:lnTo>
                    <a:pt x="275" y="182"/>
                  </a:lnTo>
                  <a:lnTo>
                    <a:pt x="254" y="197"/>
                  </a:lnTo>
                  <a:lnTo>
                    <a:pt x="231" y="217"/>
                  </a:lnTo>
                  <a:lnTo>
                    <a:pt x="200" y="222"/>
                  </a:lnTo>
                  <a:lnTo>
                    <a:pt x="191" y="205"/>
                  </a:lnTo>
                  <a:lnTo>
                    <a:pt x="196" y="177"/>
                  </a:lnTo>
                  <a:lnTo>
                    <a:pt x="173" y="132"/>
                  </a:lnTo>
                  <a:lnTo>
                    <a:pt x="161" y="125"/>
                  </a:lnTo>
                  <a:lnTo>
                    <a:pt x="152" y="299"/>
                  </a:lnTo>
                  <a:lnTo>
                    <a:pt x="113" y="323"/>
                  </a:lnTo>
                  <a:lnTo>
                    <a:pt x="90" y="327"/>
                  </a:lnTo>
                  <a:lnTo>
                    <a:pt x="63" y="317"/>
                  </a:lnTo>
                  <a:lnTo>
                    <a:pt x="45" y="314"/>
                  </a:lnTo>
                  <a:lnTo>
                    <a:pt x="38" y="293"/>
                  </a:lnTo>
                  <a:lnTo>
                    <a:pt x="22" y="282"/>
                  </a:lnTo>
                  <a:lnTo>
                    <a:pt x="0" y="305"/>
                  </a:lnTo>
                  <a:lnTo>
                    <a:pt x="28" y="365"/>
                  </a:lnTo>
                  <a:lnTo>
                    <a:pt x="28" y="366"/>
                  </a:lnTo>
                  <a:lnTo>
                    <a:pt x="47" y="406"/>
                  </a:lnTo>
                  <a:lnTo>
                    <a:pt x="73" y="449"/>
                  </a:lnTo>
                  <a:lnTo>
                    <a:pt x="72" y="484"/>
                  </a:lnTo>
                  <a:lnTo>
                    <a:pt x="57" y="493"/>
                  </a:lnTo>
                  <a:lnTo>
                    <a:pt x="69" y="524"/>
                  </a:lnTo>
                  <a:lnTo>
                    <a:pt x="68" y="552"/>
                  </a:lnTo>
                  <a:lnTo>
                    <a:pt x="72" y="565"/>
                  </a:lnTo>
                  <a:lnTo>
                    <a:pt x="75" y="558"/>
                  </a:lnTo>
                  <a:lnTo>
                    <a:pt x="92" y="580"/>
                  </a:lnTo>
                  <a:lnTo>
                    <a:pt x="106" y="580"/>
                  </a:lnTo>
                  <a:lnTo>
                    <a:pt x="122" y="597"/>
                  </a:lnTo>
                  <a:lnTo>
                    <a:pt x="122" y="597"/>
                  </a:lnTo>
                  <a:close/>
                  <a:moveTo>
                    <a:pt x="499" y="397"/>
                  </a:moveTo>
                  <a:lnTo>
                    <a:pt x="483" y="401"/>
                  </a:lnTo>
                  <a:lnTo>
                    <a:pt x="454" y="365"/>
                  </a:lnTo>
                  <a:lnTo>
                    <a:pt x="479" y="336"/>
                  </a:lnTo>
                  <a:lnTo>
                    <a:pt x="504" y="317"/>
                  </a:lnTo>
                  <a:lnTo>
                    <a:pt x="525" y="308"/>
                  </a:lnTo>
                  <a:lnTo>
                    <a:pt x="542" y="322"/>
                  </a:lnTo>
                  <a:lnTo>
                    <a:pt x="556" y="336"/>
                  </a:lnTo>
                  <a:lnTo>
                    <a:pt x="541" y="359"/>
                  </a:lnTo>
                  <a:lnTo>
                    <a:pt x="532" y="374"/>
                  </a:lnTo>
                  <a:lnTo>
                    <a:pt x="508" y="382"/>
                  </a:lnTo>
                  <a:lnTo>
                    <a:pt x="499" y="397"/>
                  </a:lnTo>
                  <a:lnTo>
                    <a:pt x="499" y="397"/>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6" name="Zambia">
              <a:extLst>
                <a:ext uri="{FF2B5EF4-FFF2-40B4-BE49-F238E27FC236}">
                  <a16:creationId xmlns:a16="http://schemas.microsoft.com/office/drawing/2014/main" id="{A45D494F-87A1-3CF9-BD91-A1F8A45A0D4E}"/>
                </a:ext>
              </a:extLst>
            </p:cNvPr>
            <p:cNvSpPr>
              <a:spLocks/>
            </p:cNvSpPr>
            <p:nvPr/>
          </p:nvSpPr>
          <p:spPr bwMode="auto">
            <a:xfrm>
              <a:off x="7624066" y="4179225"/>
              <a:ext cx="828675" cy="723900"/>
            </a:xfrm>
            <a:custGeom>
              <a:avLst/>
              <a:gdLst>
                <a:gd name="T0" fmla="*/ 390 w 522"/>
                <a:gd name="T1" fmla="*/ 12 h 456"/>
                <a:gd name="T2" fmla="*/ 385 w 522"/>
                <a:gd name="T3" fmla="*/ 0 h 456"/>
                <a:gd name="T4" fmla="*/ 312 w 522"/>
                <a:gd name="T5" fmla="*/ 13 h 456"/>
                <a:gd name="T6" fmla="*/ 309 w 522"/>
                <a:gd name="T7" fmla="*/ 64 h 456"/>
                <a:gd name="T8" fmla="*/ 293 w 522"/>
                <a:gd name="T9" fmla="*/ 167 h 456"/>
                <a:gd name="T10" fmla="*/ 335 w 522"/>
                <a:gd name="T11" fmla="*/ 193 h 456"/>
                <a:gd name="T12" fmla="*/ 350 w 522"/>
                <a:gd name="T13" fmla="*/ 236 h 456"/>
                <a:gd name="T14" fmla="*/ 299 w 522"/>
                <a:gd name="T15" fmla="*/ 209 h 456"/>
                <a:gd name="T16" fmla="*/ 249 w 522"/>
                <a:gd name="T17" fmla="*/ 183 h 456"/>
                <a:gd name="T18" fmla="*/ 212 w 522"/>
                <a:gd name="T19" fmla="*/ 173 h 456"/>
                <a:gd name="T20" fmla="*/ 163 w 522"/>
                <a:gd name="T21" fmla="*/ 145 h 456"/>
                <a:gd name="T22" fmla="*/ 113 w 522"/>
                <a:gd name="T23" fmla="*/ 141 h 456"/>
                <a:gd name="T24" fmla="*/ 96 w 522"/>
                <a:gd name="T25" fmla="*/ 126 h 456"/>
                <a:gd name="T26" fmla="*/ 95 w 522"/>
                <a:gd name="T27" fmla="*/ 163 h 456"/>
                <a:gd name="T28" fmla="*/ 95 w 522"/>
                <a:gd name="T29" fmla="*/ 203 h 456"/>
                <a:gd name="T30" fmla="*/ 6 w 522"/>
                <a:gd name="T31" fmla="*/ 219 h 456"/>
                <a:gd name="T32" fmla="*/ 29 w 522"/>
                <a:gd name="T33" fmla="*/ 406 h 456"/>
                <a:gd name="T34" fmla="*/ 93 w 522"/>
                <a:gd name="T35" fmla="*/ 425 h 456"/>
                <a:gd name="T36" fmla="*/ 139 w 522"/>
                <a:gd name="T37" fmla="*/ 438 h 456"/>
                <a:gd name="T38" fmla="*/ 146 w 522"/>
                <a:gd name="T39" fmla="*/ 446 h 456"/>
                <a:gd name="T40" fmla="*/ 209 w 522"/>
                <a:gd name="T41" fmla="*/ 456 h 456"/>
                <a:gd name="T42" fmla="*/ 250 w 522"/>
                <a:gd name="T43" fmla="*/ 425 h 456"/>
                <a:gd name="T44" fmla="*/ 306 w 522"/>
                <a:gd name="T45" fmla="*/ 382 h 456"/>
                <a:gd name="T46" fmla="*/ 338 w 522"/>
                <a:gd name="T47" fmla="*/ 348 h 456"/>
                <a:gd name="T48" fmla="*/ 369 w 522"/>
                <a:gd name="T49" fmla="*/ 308 h 456"/>
                <a:gd name="T50" fmla="*/ 481 w 522"/>
                <a:gd name="T51" fmla="*/ 257 h 456"/>
                <a:gd name="T52" fmla="*/ 511 w 522"/>
                <a:gd name="T53" fmla="*/ 197 h 456"/>
                <a:gd name="T54" fmla="*/ 513 w 522"/>
                <a:gd name="T55" fmla="*/ 120 h 456"/>
                <a:gd name="T56" fmla="*/ 511 w 522"/>
                <a:gd name="T57" fmla="*/ 67 h 456"/>
                <a:gd name="T58" fmla="*/ 466 w 522"/>
                <a:gd name="T59" fmla="*/ 33 h 456"/>
                <a:gd name="T60" fmla="*/ 420 w 522"/>
                <a:gd name="T61" fmla="*/ 17 h 456"/>
                <a:gd name="T62" fmla="*/ 418 w 522"/>
                <a:gd name="T63" fmla="*/ 15 h 456"/>
                <a:gd name="T64" fmla="*/ 415 w 522"/>
                <a:gd name="T65" fmla="*/ 26 h 456"/>
                <a:gd name="T66" fmla="*/ 405 w 522"/>
                <a:gd name="T67" fmla="*/ 1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56">
                  <a:moveTo>
                    <a:pt x="405" y="16"/>
                  </a:moveTo>
                  <a:lnTo>
                    <a:pt x="390" y="12"/>
                  </a:lnTo>
                  <a:lnTo>
                    <a:pt x="393" y="2"/>
                  </a:lnTo>
                  <a:lnTo>
                    <a:pt x="385" y="0"/>
                  </a:lnTo>
                  <a:lnTo>
                    <a:pt x="325" y="7"/>
                  </a:lnTo>
                  <a:lnTo>
                    <a:pt x="312" y="13"/>
                  </a:lnTo>
                  <a:lnTo>
                    <a:pt x="300" y="43"/>
                  </a:lnTo>
                  <a:lnTo>
                    <a:pt x="309" y="64"/>
                  </a:lnTo>
                  <a:lnTo>
                    <a:pt x="300" y="119"/>
                  </a:lnTo>
                  <a:lnTo>
                    <a:pt x="293" y="167"/>
                  </a:lnTo>
                  <a:lnTo>
                    <a:pt x="305" y="175"/>
                  </a:lnTo>
                  <a:lnTo>
                    <a:pt x="335" y="193"/>
                  </a:lnTo>
                  <a:lnTo>
                    <a:pt x="348" y="185"/>
                  </a:lnTo>
                  <a:lnTo>
                    <a:pt x="350" y="236"/>
                  </a:lnTo>
                  <a:lnTo>
                    <a:pt x="316" y="235"/>
                  </a:lnTo>
                  <a:lnTo>
                    <a:pt x="299" y="209"/>
                  </a:lnTo>
                  <a:lnTo>
                    <a:pt x="283" y="189"/>
                  </a:lnTo>
                  <a:lnTo>
                    <a:pt x="249" y="183"/>
                  </a:lnTo>
                  <a:lnTo>
                    <a:pt x="239" y="158"/>
                  </a:lnTo>
                  <a:lnTo>
                    <a:pt x="212" y="173"/>
                  </a:lnTo>
                  <a:lnTo>
                    <a:pt x="177" y="166"/>
                  </a:lnTo>
                  <a:lnTo>
                    <a:pt x="163" y="145"/>
                  </a:lnTo>
                  <a:lnTo>
                    <a:pt x="134" y="140"/>
                  </a:lnTo>
                  <a:lnTo>
                    <a:pt x="113" y="141"/>
                  </a:lnTo>
                  <a:lnTo>
                    <a:pt x="111" y="127"/>
                  </a:lnTo>
                  <a:lnTo>
                    <a:pt x="96" y="126"/>
                  </a:lnTo>
                  <a:lnTo>
                    <a:pt x="101" y="140"/>
                  </a:lnTo>
                  <a:lnTo>
                    <a:pt x="95" y="163"/>
                  </a:lnTo>
                  <a:lnTo>
                    <a:pt x="102" y="185"/>
                  </a:lnTo>
                  <a:lnTo>
                    <a:pt x="95" y="203"/>
                  </a:lnTo>
                  <a:lnTo>
                    <a:pt x="99" y="219"/>
                  </a:lnTo>
                  <a:lnTo>
                    <a:pt x="6" y="219"/>
                  </a:lnTo>
                  <a:lnTo>
                    <a:pt x="0" y="368"/>
                  </a:lnTo>
                  <a:lnTo>
                    <a:pt x="29" y="406"/>
                  </a:lnTo>
                  <a:lnTo>
                    <a:pt x="57" y="436"/>
                  </a:lnTo>
                  <a:lnTo>
                    <a:pt x="93" y="425"/>
                  </a:lnTo>
                  <a:lnTo>
                    <a:pt x="122" y="428"/>
                  </a:lnTo>
                  <a:lnTo>
                    <a:pt x="139" y="438"/>
                  </a:lnTo>
                  <a:lnTo>
                    <a:pt x="139" y="443"/>
                  </a:lnTo>
                  <a:lnTo>
                    <a:pt x="146" y="446"/>
                  </a:lnTo>
                  <a:lnTo>
                    <a:pt x="195" y="451"/>
                  </a:lnTo>
                  <a:lnTo>
                    <a:pt x="209" y="456"/>
                  </a:lnTo>
                  <a:lnTo>
                    <a:pt x="225" y="455"/>
                  </a:lnTo>
                  <a:lnTo>
                    <a:pt x="250" y="425"/>
                  </a:lnTo>
                  <a:lnTo>
                    <a:pt x="290" y="386"/>
                  </a:lnTo>
                  <a:lnTo>
                    <a:pt x="306" y="382"/>
                  </a:lnTo>
                  <a:lnTo>
                    <a:pt x="312" y="366"/>
                  </a:lnTo>
                  <a:lnTo>
                    <a:pt x="338" y="348"/>
                  </a:lnTo>
                  <a:lnTo>
                    <a:pt x="372" y="342"/>
                  </a:lnTo>
                  <a:lnTo>
                    <a:pt x="369" y="308"/>
                  </a:lnTo>
                  <a:lnTo>
                    <a:pt x="504" y="269"/>
                  </a:lnTo>
                  <a:lnTo>
                    <a:pt x="481" y="257"/>
                  </a:lnTo>
                  <a:lnTo>
                    <a:pt x="497" y="214"/>
                  </a:lnTo>
                  <a:lnTo>
                    <a:pt x="511" y="197"/>
                  </a:lnTo>
                  <a:lnTo>
                    <a:pt x="504" y="158"/>
                  </a:lnTo>
                  <a:lnTo>
                    <a:pt x="513" y="120"/>
                  </a:lnTo>
                  <a:lnTo>
                    <a:pt x="522" y="107"/>
                  </a:lnTo>
                  <a:lnTo>
                    <a:pt x="511" y="67"/>
                  </a:lnTo>
                  <a:lnTo>
                    <a:pt x="491" y="46"/>
                  </a:lnTo>
                  <a:lnTo>
                    <a:pt x="466" y="33"/>
                  </a:lnTo>
                  <a:lnTo>
                    <a:pt x="438" y="24"/>
                  </a:lnTo>
                  <a:lnTo>
                    <a:pt x="420" y="17"/>
                  </a:lnTo>
                  <a:lnTo>
                    <a:pt x="418" y="15"/>
                  </a:lnTo>
                  <a:lnTo>
                    <a:pt x="418" y="15"/>
                  </a:lnTo>
                  <a:lnTo>
                    <a:pt x="422" y="22"/>
                  </a:lnTo>
                  <a:lnTo>
                    <a:pt x="415" y="26"/>
                  </a:lnTo>
                  <a:lnTo>
                    <a:pt x="405" y="16"/>
                  </a:lnTo>
                  <a:lnTo>
                    <a:pt x="405" y="16"/>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7" name="Zimbabwe">
              <a:extLst>
                <a:ext uri="{FF2B5EF4-FFF2-40B4-BE49-F238E27FC236}">
                  <a16:creationId xmlns:a16="http://schemas.microsoft.com/office/drawing/2014/main" id="{118CA326-1840-F987-477A-37634CCAB4C2}"/>
                </a:ext>
              </a:extLst>
            </p:cNvPr>
            <p:cNvSpPr>
              <a:spLocks/>
            </p:cNvSpPr>
            <p:nvPr/>
          </p:nvSpPr>
          <p:spPr bwMode="auto">
            <a:xfrm>
              <a:off x="7855841" y="4722150"/>
              <a:ext cx="533400" cy="503238"/>
            </a:xfrm>
            <a:custGeom>
              <a:avLst/>
              <a:gdLst>
                <a:gd name="T0" fmla="*/ 250 w 336"/>
                <a:gd name="T1" fmla="*/ 316 h 317"/>
                <a:gd name="T2" fmla="*/ 300 w 336"/>
                <a:gd name="T3" fmla="*/ 263 h 317"/>
                <a:gd name="T4" fmla="*/ 312 w 336"/>
                <a:gd name="T5" fmla="*/ 229 h 317"/>
                <a:gd name="T6" fmla="*/ 320 w 336"/>
                <a:gd name="T7" fmla="*/ 225 h 317"/>
                <a:gd name="T8" fmla="*/ 326 w 336"/>
                <a:gd name="T9" fmla="*/ 197 h 317"/>
                <a:gd name="T10" fmla="*/ 320 w 336"/>
                <a:gd name="T11" fmla="*/ 183 h 317"/>
                <a:gd name="T12" fmla="*/ 323 w 336"/>
                <a:gd name="T13" fmla="*/ 147 h 317"/>
                <a:gd name="T14" fmla="*/ 333 w 336"/>
                <a:gd name="T15" fmla="*/ 115 h 317"/>
                <a:gd name="T16" fmla="*/ 336 w 336"/>
                <a:gd name="T17" fmla="*/ 56 h 317"/>
                <a:gd name="T18" fmla="*/ 314 w 336"/>
                <a:gd name="T19" fmla="*/ 40 h 317"/>
                <a:gd name="T20" fmla="*/ 293 w 336"/>
                <a:gd name="T21" fmla="*/ 37 h 317"/>
                <a:gd name="T22" fmla="*/ 284 w 336"/>
                <a:gd name="T23" fmla="*/ 26 h 317"/>
                <a:gd name="T24" fmla="*/ 264 w 336"/>
                <a:gd name="T25" fmla="*/ 16 h 317"/>
                <a:gd name="T26" fmla="*/ 228 w 336"/>
                <a:gd name="T27" fmla="*/ 17 h 317"/>
                <a:gd name="T28" fmla="*/ 226 w 336"/>
                <a:gd name="T29" fmla="*/ 0 h 317"/>
                <a:gd name="T30" fmla="*/ 192 w 336"/>
                <a:gd name="T31" fmla="*/ 6 h 317"/>
                <a:gd name="T32" fmla="*/ 166 w 336"/>
                <a:gd name="T33" fmla="*/ 24 h 317"/>
                <a:gd name="T34" fmla="*/ 160 w 336"/>
                <a:gd name="T35" fmla="*/ 40 h 317"/>
                <a:gd name="T36" fmla="*/ 144 w 336"/>
                <a:gd name="T37" fmla="*/ 44 h 317"/>
                <a:gd name="T38" fmla="*/ 104 w 336"/>
                <a:gd name="T39" fmla="*/ 83 h 317"/>
                <a:gd name="T40" fmla="*/ 79 w 336"/>
                <a:gd name="T41" fmla="*/ 113 h 317"/>
                <a:gd name="T42" fmla="*/ 63 w 336"/>
                <a:gd name="T43" fmla="*/ 114 h 317"/>
                <a:gd name="T44" fmla="*/ 49 w 336"/>
                <a:gd name="T45" fmla="*/ 109 h 317"/>
                <a:gd name="T46" fmla="*/ 0 w 336"/>
                <a:gd name="T47" fmla="*/ 104 h 317"/>
                <a:gd name="T48" fmla="*/ 16 w 336"/>
                <a:gd name="T49" fmla="*/ 141 h 317"/>
                <a:gd name="T50" fmla="*/ 24 w 336"/>
                <a:gd name="T51" fmla="*/ 150 h 317"/>
                <a:gd name="T52" fmla="*/ 37 w 336"/>
                <a:gd name="T53" fmla="*/ 177 h 317"/>
                <a:gd name="T54" fmla="*/ 84 w 336"/>
                <a:gd name="T55" fmla="*/ 229 h 317"/>
                <a:gd name="T56" fmla="*/ 103 w 336"/>
                <a:gd name="T57" fmla="*/ 234 h 317"/>
                <a:gd name="T58" fmla="*/ 102 w 336"/>
                <a:gd name="T59" fmla="*/ 250 h 317"/>
                <a:gd name="T60" fmla="*/ 113 w 336"/>
                <a:gd name="T61" fmla="*/ 280 h 317"/>
                <a:gd name="T62" fmla="*/ 147 w 336"/>
                <a:gd name="T63" fmla="*/ 287 h 317"/>
                <a:gd name="T64" fmla="*/ 174 w 336"/>
                <a:gd name="T65" fmla="*/ 309 h 317"/>
                <a:gd name="T66" fmla="*/ 192 w 336"/>
                <a:gd name="T67" fmla="*/ 309 h 317"/>
                <a:gd name="T68" fmla="*/ 213 w 336"/>
                <a:gd name="T69" fmla="*/ 317 h 317"/>
                <a:gd name="T70" fmla="*/ 228 w 336"/>
                <a:gd name="T71" fmla="*/ 311 h 317"/>
                <a:gd name="T72" fmla="*/ 250 w 336"/>
                <a:gd name="T73" fmla="*/ 316 h 317"/>
                <a:gd name="T74" fmla="*/ 250 w 336"/>
                <a:gd name="T75"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7">
                  <a:moveTo>
                    <a:pt x="250" y="316"/>
                  </a:moveTo>
                  <a:lnTo>
                    <a:pt x="300" y="263"/>
                  </a:lnTo>
                  <a:lnTo>
                    <a:pt x="312" y="229"/>
                  </a:lnTo>
                  <a:lnTo>
                    <a:pt x="320" y="225"/>
                  </a:lnTo>
                  <a:lnTo>
                    <a:pt x="326" y="197"/>
                  </a:lnTo>
                  <a:lnTo>
                    <a:pt x="320" y="183"/>
                  </a:lnTo>
                  <a:lnTo>
                    <a:pt x="323" y="147"/>
                  </a:lnTo>
                  <a:lnTo>
                    <a:pt x="333" y="115"/>
                  </a:lnTo>
                  <a:lnTo>
                    <a:pt x="336" y="56"/>
                  </a:lnTo>
                  <a:lnTo>
                    <a:pt x="314" y="40"/>
                  </a:lnTo>
                  <a:lnTo>
                    <a:pt x="293" y="37"/>
                  </a:lnTo>
                  <a:lnTo>
                    <a:pt x="284" y="26"/>
                  </a:lnTo>
                  <a:lnTo>
                    <a:pt x="264" y="16"/>
                  </a:lnTo>
                  <a:lnTo>
                    <a:pt x="228" y="17"/>
                  </a:lnTo>
                  <a:lnTo>
                    <a:pt x="226" y="0"/>
                  </a:lnTo>
                  <a:lnTo>
                    <a:pt x="192" y="6"/>
                  </a:lnTo>
                  <a:lnTo>
                    <a:pt x="166" y="24"/>
                  </a:lnTo>
                  <a:lnTo>
                    <a:pt x="160" y="40"/>
                  </a:lnTo>
                  <a:lnTo>
                    <a:pt x="144" y="44"/>
                  </a:lnTo>
                  <a:lnTo>
                    <a:pt x="104" y="83"/>
                  </a:lnTo>
                  <a:lnTo>
                    <a:pt x="79" y="113"/>
                  </a:lnTo>
                  <a:lnTo>
                    <a:pt x="63" y="114"/>
                  </a:lnTo>
                  <a:lnTo>
                    <a:pt x="49" y="109"/>
                  </a:lnTo>
                  <a:lnTo>
                    <a:pt x="0" y="104"/>
                  </a:lnTo>
                  <a:lnTo>
                    <a:pt x="16" y="141"/>
                  </a:lnTo>
                  <a:lnTo>
                    <a:pt x="24" y="150"/>
                  </a:lnTo>
                  <a:lnTo>
                    <a:pt x="37" y="177"/>
                  </a:lnTo>
                  <a:lnTo>
                    <a:pt x="84" y="229"/>
                  </a:lnTo>
                  <a:lnTo>
                    <a:pt x="103" y="234"/>
                  </a:lnTo>
                  <a:lnTo>
                    <a:pt x="102" y="250"/>
                  </a:lnTo>
                  <a:lnTo>
                    <a:pt x="113" y="280"/>
                  </a:lnTo>
                  <a:lnTo>
                    <a:pt x="147" y="287"/>
                  </a:lnTo>
                  <a:lnTo>
                    <a:pt x="174" y="309"/>
                  </a:lnTo>
                  <a:lnTo>
                    <a:pt x="192" y="309"/>
                  </a:lnTo>
                  <a:lnTo>
                    <a:pt x="213" y="317"/>
                  </a:lnTo>
                  <a:lnTo>
                    <a:pt x="228" y="311"/>
                  </a:lnTo>
                  <a:lnTo>
                    <a:pt x="250" y="316"/>
                  </a:lnTo>
                  <a:lnTo>
                    <a:pt x="250" y="316"/>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8" name="Somalia">
              <a:extLst>
                <a:ext uri="{FF2B5EF4-FFF2-40B4-BE49-F238E27FC236}">
                  <a16:creationId xmlns:a16="http://schemas.microsoft.com/office/drawing/2014/main" id="{AE699B35-7AD6-7778-A92E-CE6C14623989}"/>
                </a:ext>
              </a:extLst>
            </p:cNvPr>
            <p:cNvSpPr>
              <a:spLocks/>
            </p:cNvSpPr>
            <p:nvPr/>
          </p:nvSpPr>
          <p:spPr bwMode="auto">
            <a:xfrm>
              <a:off x="8994079" y="2667925"/>
              <a:ext cx="698500" cy="1020763"/>
            </a:xfrm>
            <a:custGeom>
              <a:avLst/>
              <a:gdLst>
                <a:gd name="T0" fmla="*/ 131 w 440"/>
                <a:gd name="T1" fmla="*/ 74 h 643"/>
                <a:gd name="T2" fmla="*/ 111 w 440"/>
                <a:gd name="T3" fmla="*/ 54 h 643"/>
                <a:gd name="T4" fmla="*/ 101 w 440"/>
                <a:gd name="T5" fmla="*/ 35 h 643"/>
                <a:gd name="T6" fmla="*/ 86 w 440"/>
                <a:gd name="T7" fmla="*/ 26 h 643"/>
                <a:gd name="T8" fmla="*/ 70 w 440"/>
                <a:gd name="T9" fmla="*/ 51 h 643"/>
                <a:gd name="T10" fmla="*/ 61 w 440"/>
                <a:gd name="T11" fmla="*/ 68 h 643"/>
                <a:gd name="T12" fmla="*/ 80 w 440"/>
                <a:gd name="T13" fmla="*/ 94 h 643"/>
                <a:gd name="T14" fmla="*/ 96 w 440"/>
                <a:gd name="T15" fmla="*/ 116 h 643"/>
                <a:gd name="T16" fmla="*/ 113 w 440"/>
                <a:gd name="T17" fmla="*/ 133 h 643"/>
                <a:gd name="T18" fmla="*/ 260 w 440"/>
                <a:gd name="T19" fmla="*/ 189 h 643"/>
                <a:gd name="T20" fmla="*/ 299 w 440"/>
                <a:gd name="T21" fmla="*/ 188 h 643"/>
                <a:gd name="T22" fmla="*/ 176 w 440"/>
                <a:gd name="T23" fmla="*/ 329 h 643"/>
                <a:gd name="T24" fmla="*/ 118 w 440"/>
                <a:gd name="T25" fmla="*/ 332 h 643"/>
                <a:gd name="T26" fmla="*/ 79 w 440"/>
                <a:gd name="T27" fmla="*/ 365 h 643"/>
                <a:gd name="T28" fmla="*/ 50 w 440"/>
                <a:gd name="T29" fmla="*/ 366 h 643"/>
                <a:gd name="T30" fmla="*/ 38 w 440"/>
                <a:gd name="T31" fmla="*/ 380 h 643"/>
                <a:gd name="T32" fmla="*/ 0 w 440"/>
                <a:gd name="T33" fmla="*/ 434 h 643"/>
                <a:gd name="T34" fmla="*/ 1 w 440"/>
                <a:gd name="T35" fmla="*/ 605 h 643"/>
                <a:gd name="T36" fmla="*/ 27 w 440"/>
                <a:gd name="T37" fmla="*/ 643 h 643"/>
                <a:gd name="T38" fmla="*/ 37 w 440"/>
                <a:gd name="T39" fmla="*/ 632 h 643"/>
                <a:gd name="T40" fmla="*/ 48 w 440"/>
                <a:gd name="T41" fmla="*/ 608 h 643"/>
                <a:gd name="T42" fmla="*/ 97 w 440"/>
                <a:gd name="T43" fmla="*/ 551 h 643"/>
                <a:gd name="T44" fmla="*/ 139 w 440"/>
                <a:gd name="T45" fmla="*/ 515 h 643"/>
                <a:gd name="T46" fmla="*/ 205 w 440"/>
                <a:gd name="T47" fmla="*/ 469 h 643"/>
                <a:gd name="T48" fmla="*/ 249 w 440"/>
                <a:gd name="T49" fmla="*/ 430 h 643"/>
                <a:gd name="T50" fmla="*/ 301 w 440"/>
                <a:gd name="T51" fmla="*/ 367 h 643"/>
                <a:gd name="T52" fmla="*/ 337 w 440"/>
                <a:gd name="T53" fmla="*/ 314 h 643"/>
                <a:gd name="T54" fmla="*/ 374 w 440"/>
                <a:gd name="T55" fmla="*/ 245 h 643"/>
                <a:gd name="T56" fmla="*/ 399 w 440"/>
                <a:gd name="T57" fmla="*/ 185 h 643"/>
                <a:gd name="T58" fmla="*/ 419 w 440"/>
                <a:gd name="T59" fmla="*/ 132 h 643"/>
                <a:gd name="T60" fmla="*/ 430 w 440"/>
                <a:gd name="T61" fmla="*/ 81 h 643"/>
                <a:gd name="T62" fmla="*/ 438 w 440"/>
                <a:gd name="T63" fmla="*/ 64 h 643"/>
                <a:gd name="T64" fmla="*/ 437 w 440"/>
                <a:gd name="T65" fmla="*/ 40 h 643"/>
                <a:gd name="T66" fmla="*/ 440 w 440"/>
                <a:gd name="T67" fmla="*/ 13 h 643"/>
                <a:gd name="T68" fmla="*/ 438 w 440"/>
                <a:gd name="T69" fmla="*/ 0 h 643"/>
                <a:gd name="T70" fmla="*/ 421 w 440"/>
                <a:gd name="T71" fmla="*/ 0 h 643"/>
                <a:gd name="T72" fmla="*/ 401 w 440"/>
                <a:gd name="T73" fmla="*/ 16 h 643"/>
                <a:gd name="T74" fmla="*/ 378 w 440"/>
                <a:gd name="T75" fmla="*/ 20 h 643"/>
                <a:gd name="T76" fmla="*/ 358 w 440"/>
                <a:gd name="T77" fmla="*/ 28 h 643"/>
                <a:gd name="T78" fmla="*/ 343 w 440"/>
                <a:gd name="T79" fmla="*/ 29 h 643"/>
                <a:gd name="T80" fmla="*/ 343 w 440"/>
                <a:gd name="T81" fmla="*/ 29 h 643"/>
                <a:gd name="T82" fmla="*/ 319 w 440"/>
                <a:gd name="T83" fmla="*/ 30 h 643"/>
                <a:gd name="T84" fmla="*/ 303 w 440"/>
                <a:gd name="T85" fmla="*/ 39 h 643"/>
                <a:gd name="T86" fmla="*/ 281 w 440"/>
                <a:gd name="T87" fmla="*/ 42 h 643"/>
                <a:gd name="T88" fmla="*/ 243 w 440"/>
                <a:gd name="T89" fmla="*/ 57 h 643"/>
                <a:gd name="T90" fmla="*/ 195 w 440"/>
                <a:gd name="T91" fmla="*/ 62 h 643"/>
                <a:gd name="T92" fmla="*/ 153 w 440"/>
                <a:gd name="T93" fmla="*/ 74 h 643"/>
                <a:gd name="T94" fmla="*/ 131 w 440"/>
                <a:gd name="T95" fmla="*/ 74 h 643"/>
                <a:gd name="T96" fmla="*/ 131 w 440"/>
                <a:gd name="T97" fmla="*/ 7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0" h="643">
                  <a:moveTo>
                    <a:pt x="131" y="74"/>
                  </a:moveTo>
                  <a:lnTo>
                    <a:pt x="111" y="54"/>
                  </a:lnTo>
                  <a:lnTo>
                    <a:pt x="101" y="35"/>
                  </a:lnTo>
                  <a:lnTo>
                    <a:pt x="86" y="26"/>
                  </a:lnTo>
                  <a:lnTo>
                    <a:pt x="70" y="51"/>
                  </a:lnTo>
                  <a:lnTo>
                    <a:pt x="61" y="68"/>
                  </a:lnTo>
                  <a:lnTo>
                    <a:pt x="80" y="94"/>
                  </a:lnTo>
                  <a:lnTo>
                    <a:pt x="96" y="116"/>
                  </a:lnTo>
                  <a:lnTo>
                    <a:pt x="113" y="133"/>
                  </a:lnTo>
                  <a:lnTo>
                    <a:pt x="260" y="189"/>
                  </a:lnTo>
                  <a:lnTo>
                    <a:pt x="299" y="188"/>
                  </a:lnTo>
                  <a:lnTo>
                    <a:pt x="176" y="329"/>
                  </a:lnTo>
                  <a:lnTo>
                    <a:pt x="118" y="332"/>
                  </a:lnTo>
                  <a:lnTo>
                    <a:pt x="79" y="365"/>
                  </a:lnTo>
                  <a:lnTo>
                    <a:pt x="50" y="366"/>
                  </a:lnTo>
                  <a:lnTo>
                    <a:pt x="38" y="380"/>
                  </a:lnTo>
                  <a:lnTo>
                    <a:pt x="0" y="434"/>
                  </a:lnTo>
                  <a:lnTo>
                    <a:pt x="1" y="605"/>
                  </a:lnTo>
                  <a:lnTo>
                    <a:pt x="27" y="643"/>
                  </a:lnTo>
                  <a:lnTo>
                    <a:pt x="37" y="632"/>
                  </a:lnTo>
                  <a:lnTo>
                    <a:pt x="48" y="608"/>
                  </a:lnTo>
                  <a:lnTo>
                    <a:pt x="97" y="551"/>
                  </a:lnTo>
                  <a:lnTo>
                    <a:pt x="139" y="515"/>
                  </a:lnTo>
                  <a:lnTo>
                    <a:pt x="205" y="469"/>
                  </a:lnTo>
                  <a:lnTo>
                    <a:pt x="249" y="430"/>
                  </a:lnTo>
                  <a:lnTo>
                    <a:pt x="301" y="367"/>
                  </a:lnTo>
                  <a:lnTo>
                    <a:pt x="337" y="314"/>
                  </a:lnTo>
                  <a:lnTo>
                    <a:pt x="374" y="245"/>
                  </a:lnTo>
                  <a:lnTo>
                    <a:pt x="399" y="185"/>
                  </a:lnTo>
                  <a:lnTo>
                    <a:pt x="419" y="132"/>
                  </a:lnTo>
                  <a:lnTo>
                    <a:pt x="430" y="81"/>
                  </a:lnTo>
                  <a:lnTo>
                    <a:pt x="438" y="64"/>
                  </a:lnTo>
                  <a:lnTo>
                    <a:pt x="437" y="40"/>
                  </a:lnTo>
                  <a:lnTo>
                    <a:pt x="440" y="13"/>
                  </a:lnTo>
                  <a:lnTo>
                    <a:pt x="438" y="0"/>
                  </a:lnTo>
                  <a:lnTo>
                    <a:pt x="421" y="0"/>
                  </a:lnTo>
                  <a:lnTo>
                    <a:pt x="401" y="16"/>
                  </a:lnTo>
                  <a:lnTo>
                    <a:pt x="378" y="20"/>
                  </a:lnTo>
                  <a:lnTo>
                    <a:pt x="358" y="28"/>
                  </a:lnTo>
                  <a:lnTo>
                    <a:pt x="343" y="29"/>
                  </a:lnTo>
                  <a:lnTo>
                    <a:pt x="343" y="29"/>
                  </a:lnTo>
                  <a:lnTo>
                    <a:pt x="319" y="30"/>
                  </a:lnTo>
                  <a:lnTo>
                    <a:pt x="303" y="39"/>
                  </a:lnTo>
                  <a:lnTo>
                    <a:pt x="281" y="42"/>
                  </a:lnTo>
                  <a:lnTo>
                    <a:pt x="243" y="57"/>
                  </a:lnTo>
                  <a:lnTo>
                    <a:pt x="195" y="62"/>
                  </a:lnTo>
                  <a:lnTo>
                    <a:pt x="153" y="74"/>
                  </a:lnTo>
                  <a:lnTo>
                    <a:pt x="131" y="74"/>
                  </a:lnTo>
                  <a:lnTo>
                    <a:pt x="131" y="74"/>
                  </a:lnTo>
                  <a:close/>
                </a:path>
              </a:pathLst>
            </a:custGeom>
            <a:grpFill/>
            <a:ln w="1270" cap="rnd">
              <a:solidFill>
                <a:srgbClr val="0F142A">
                  <a:alpha val="92000"/>
                </a:srgbClr>
              </a:solid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pic>
        <p:nvPicPr>
          <p:cNvPr id="201" name="Imagen 200" descr="La luz del sol&#10;&#10;Descripción generada automáticamente con confianza media">
            <a:extLst>
              <a:ext uri="{FF2B5EF4-FFF2-40B4-BE49-F238E27FC236}">
                <a16:creationId xmlns:a16="http://schemas.microsoft.com/office/drawing/2014/main" id="{A0D631A9-8229-8470-CCB0-41FE8C73A6D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51448" y="1109904"/>
            <a:ext cx="1104910" cy="1094824"/>
          </a:xfrm>
          <a:prstGeom prst="rect">
            <a:avLst/>
          </a:prstGeom>
        </p:spPr>
      </p:pic>
      <p:pic>
        <p:nvPicPr>
          <p:cNvPr id="202" name="Imagen 201" descr="La luz del sol&#10;&#10;Descripción generada automáticamente con confianza media">
            <a:extLst>
              <a:ext uri="{FF2B5EF4-FFF2-40B4-BE49-F238E27FC236}">
                <a16:creationId xmlns:a16="http://schemas.microsoft.com/office/drawing/2014/main" id="{6DE0B5C9-71C9-2F12-616E-8F41898240C8}"/>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rot="4287178">
            <a:off x="3017340" y="3431974"/>
            <a:ext cx="1104910" cy="1094824"/>
          </a:xfrm>
          <a:prstGeom prst="rect">
            <a:avLst/>
          </a:prstGeom>
        </p:spPr>
      </p:pic>
      <p:pic>
        <p:nvPicPr>
          <p:cNvPr id="203" name="Imagen 202" descr="La luz del sol&#10;&#10;Descripción generada automáticamente con confianza media">
            <a:extLst>
              <a:ext uri="{FF2B5EF4-FFF2-40B4-BE49-F238E27FC236}">
                <a16:creationId xmlns:a16="http://schemas.microsoft.com/office/drawing/2014/main" id="{DC144C5A-CB4B-69BD-D0C1-E5884636EABB}"/>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1927" y="3329590"/>
            <a:ext cx="403508" cy="399824"/>
          </a:xfrm>
          <a:prstGeom prst="rect">
            <a:avLst/>
          </a:prstGeom>
        </p:spPr>
      </p:pic>
      <p:sp>
        <p:nvSpPr>
          <p:cNvPr id="39" name="CuadroTexto 38">
            <a:hlinkClick r:id="rId6"/>
            <a:extLst>
              <a:ext uri="{FF2B5EF4-FFF2-40B4-BE49-F238E27FC236}">
                <a16:creationId xmlns:a16="http://schemas.microsoft.com/office/drawing/2014/main" id="{AA5171B4-6FAD-670B-5D79-BB9E1C555602}"/>
              </a:ext>
            </a:extLst>
          </p:cNvPr>
          <p:cNvSpPr txBox="1"/>
          <p:nvPr/>
        </p:nvSpPr>
        <p:spPr>
          <a:xfrm>
            <a:off x="0" y="6611779"/>
            <a:ext cx="179578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t>www.healthicon.co</a:t>
            </a:r>
          </a:p>
        </p:txBody>
      </p:sp>
      <p:sp>
        <p:nvSpPr>
          <p:cNvPr id="75" name="Marcador de número de diapositiva 274">
            <a:extLst>
              <a:ext uri="{FF2B5EF4-FFF2-40B4-BE49-F238E27FC236}">
                <a16:creationId xmlns:a16="http://schemas.microsoft.com/office/drawing/2014/main" id="{8F4DC01F-C7AF-8338-64DC-76A7992284AC}"/>
              </a:ext>
            </a:extLst>
          </p:cNvPr>
          <p:cNvSpPr>
            <a:spLocks noGrp="1"/>
          </p:cNvSpPr>
          <p:nvPr>
            <p:ph type="sldNum" sz="quarter" idx="12"/>
          </p:nvPr>
        </p:nvSpPr>
        <p:spPr>
          <a:xfrm>
            <a:off x="11497838" y="6609952"/>
            <a:ext cx="421122" cy="215444"/>
          </a:xfr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5E0FDB2-BF60-4A95-BDD7-07D1A9BAFA4E}" type="slidenum">
              <a:rPr kumimoji="0" lang="en-US" sz="800" b="0" i="0" u="none" strike="noStrike" kern="1200" cap="none" spc="300" normalizeH="0" baseline="0" noProof="0" smtClean="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300" normalizeH="0" baseline="0" noProof="0" dirty="0">
              <a:ln>
                <a:noFill/>
              </a:ln>
              <a:solidFill>
                <a:prstClr val="white">
                  <a:lumMod val="65000"/>
                </a:prstClr>
              </a:solidFill>
              <a:effectLst/>
              <a:uLnTx/>
              <a:uFillTx/>
              <a:latin typeface="Poppins Light" panose="00000400000000000000" pitchFamily="2" charset="0"/>
              <a:ea typeface="+mn-ea"/>
              <a:cs typeface="Poppins Light" panose="00000400000000000000" pitchFamily="2" charset="0"/>
            </a:endParaRPr>
          </a:p>
        </p:txBody>
      </p:sp>
      <p:cxnSp>
        <p:nvCxnSpPr>
          <p:cNvPr id="76" name="Conector recto 75">
            <a:extLst>
              <a:ext uri="{FF2B5EF4-FFF2-40B4-BE49-F238E27FC236}">
                <a16:creationId xmlns:a16="http://schemas.microsoft.com/office/drawing/2014/main" id="{B7F06CEB-5DDE-2D94-C30D-4C471F5423A0}"/>
              </a:ext>
            </a:extLst>
          </p:cNvPr>
          <p:cNvCxnSpPr>
            <a:cxnSpLocks/>
          </p:cNvCxnSpPr>
          <p:nvPr/>
        </p:nvCxnSpPr>
        <p:spPr>
          <a:xfrm>
            <a:off x="11875008" y="6717674"/>
            <a:ext cx="316992" cy="0"/>
          </a:xfrm>
          <a:prstGeom prst="line">
            <a:avLst/>
          </a:prstGeom>
          <a:ln cap="rnd">
            <a:gradFill flip="none" rotWithShape="1">
              <a:gsLst>
                <a:gs pos="28000">
                  <a:srgbClr val="EC2129">
                    <a:alpha val="0"/>
                  </a:srgbClr>
                </a:gs>
                <a:gs pos="100000">
                  <a:srgbClr val="EC2129"/>
                </a:gs>
              </a:gsLst>
              <a:lin ang="10800000" scaled="1"/>
              <a:tileRect/>
            </a:gradFill>
            <a:round/>
          </a:ln>
        </p:spPr>
        <p:style>
          <a:lnRef idx="1">
            <a:schemeClr val="accent1"/>
          </a:lnRef>
          <a:fillRef idx="0">
            <a:schemeClr val="accent1"/>
          </a:fillRef>
          <a:effectRef idx="0">
            <a:schemeClr val="accent1"/>
          </a:effectRef>
          <a:fontRef idx="minor">
            <a:schemeClr val="tx1"/>
          </a:fontRef>
        </p:style>
      </p:cxnSp>
      <p:grpSp>
        <p:nvGrpSpPr>
          <p:cNvPr id="4" name="Grupo 3">
            <a:extLst>
              <a:ext uri="{FF2B5EF4-FFF2-40B4-BE49-F238E27FC236}">
                <a16:creationId xmlns:a16="http://schemas.microsoft.com/office/drawing/2014/main" id="{DA7C4BBE-EA2C-C5E0-B561-ECF85AB1FC50}"/>
              </a:ext>
            </a:extLst>
          </p:cNvPr>
          <p:cNvGrpSpPr/>
          <p:nvPr/>
        </p:nvGrpSpPr>
        <p:grpSpPr>
          <a:xfrm>
            <a:off x="2029282" y="82631"/>
            <a:ext cx="354651" cy="850738"/>
            <a:chOff x="-683062" y="-16463286"/>
            <a:chExt cx="14194073" cy="34048790"/>
          </a:xfrm>
          <a:solidFill>
            <a:schemeClr val="bg1"/>
          </a:solidFill>
        </p:grpSpPr>
        <p:sp>
          <p:nvSpPr>
            <p:cNvPr id="6" name="Elipse 5">
              <a:extLst>
                <a:ext uri="{FF2B5EF4-FFF2-40B4-BE49-F238E27FC236}">
                  <a16:creationId xmlns:a16="http://schemas.microsoft.com/office/drawing/2014/main" id="{5095E563-82CD-123B-3278-33A20CD3734F}"/>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ipse 6">
              <a:extLst>
                <a:ext uri="{FF2B5EF4-FFF2-40B4-BE49-F238E27FC236}">
                  <a16:creationId xmlns:a16="http://schemas.microsoft.com/office/drawing/2014/main" id="{F8EE5738-4EEC-7E60-4155-282E86A1CD0C}"/>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ipse 7">
              <a:extLst>
                <a:ext uri="{FF2B5EF4-FFF2-40B4-BE49-F238E27FC236}">
                  <a16:creationId xmlns:a16="http://schemas.microsoft.com/office/drawing/2014/main" id="{A5995797-D0FD-B5AC-698F-760A6C009E99}"/>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ipse 8">
              <a:extLst>
                <a:ext uri="{FF2B5EF4-FFF2-40B4-BE49-F238E27FC236}">
                  <a16:creationId xmlns:a16="http://schemas.microsoft.com/office/drawing/2014/main" id="{BEBD9566-3701-FCBE-B7D1-FD881E290E23}"/>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ipse 9">
              <a:extLst>
                <a:ext uri="{FF2B5EF4-FFF2-40B4-BE49-F238E27FC236}">
                  <a16:creationId xmlns:a16="http://schemas.microsoft.com/office/drawing/2014/main" id="{074E62E2-7EC2-A51C-837B-32CD4344D494}"/>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ipse 10">
              <a:extLst>
                <a:ext uri="{FF2B5EF4-FFF2-40B4-BE49-F238E27FC236}">
                  <a16:creationId xmlns:a16="http://schemas.microsoft.com/office/drawing/2014/main" id="{6CCF1C8E-E701-0BEA-EA57-05D0535C52F2}"/>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ipse 11">
              <a:extLst>
                <a:ext uri="{FF2B5EF4-FFF2-40B4-BE49-F238E27FC236}">
                  <a16:creationId xmlns:a16="http://schemas.microsoft.com/office/drawing/2014/main" id="{8FE076F8-445B-4CF4-0EF9-5CD40C2B7251}"/>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ipse 12">
              <a:extLst>
                <a:ext uri="{FF2B5EF4-FFF2-40B4-BE49-F238E27FC236}">
                  <a16:creationId xmlns:a16="http://schemas.microsoft.com/office/drawing/2014/main" id="{AC359004-04C9-9D6B-6375-FB14025E4B2E}"/>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ipse 13">
              <a:extLst>
                <a:ext uri="{FF2B5EF4-FFF2-40B4-BE49-F238E27FC236}">
                  <a16:creationId xmlns:a16="http://schemas.microsoft.com/office/drawing/2014/main" id="{B9EB1FC1-74DF-B8FE-27CF-774120D2D0D6}"/>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ipse 14">
              <a:extLst>
                <a:ext uri="{FF2B5EF4-FFF2-40B4-BE49-F238E27FC236}">
                  <a16:creationId xmlns:a16="http://schemas.microsoft.com/office/drawing/2014/main" id="{11400A7E-FA60-9704-3F51-9D461831D51C}"/>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ipse 15">
              <a:extLst>
                <a:ext uri="{FF2B5EF4-FFF2-40B4-BE49-F238E27FC236}">
                  <a16:creationId xmlns:a16="http://schemas.microsoft.com/office/drawing/2014/main" id="{E5D3C97F-EC50-DBF3-A9F9-6B681DE82197}"/>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Elipse 16">
              <a:extLst>
                <a:ext uri="{FF2B5EF4-FFF2-40B4-BE49-F238E27FC236}">
                  <a16:creationId xmlns:a16="http://schemas.microsoft.com/office/drawing/2014/main" id="{B224DB9A-26E1-2CF6-39C6-79B8345269ED}"/>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ipse 17">
              <a:extLst>
                <a:ext uri="{FF2B5EF4-FFF2-40B4-BE49-F238E27FC236}">
                  <a16:creationId xmlns:a16="http://schemas.microsoft.com/office/drawing/2014/main" id="{536AC758-FA35-D2A1-0CDB-DEABDF048B08}"/>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Elipse 18">
              <a:extLst>
                <a:ext uri="{FF2B5EF4-FFF2-40B4-BE49-F238E27FC236}">
                  <a16:creationId xmlns:a16="http://schemas.microsoft.com/office/drawing/2014/main" id="{685A8822-40E9-3799-4ED5-F6891E2005C6}"/>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lipse 19">
              <a:extLst>
                <a:ext uri="{FF2B5EF4-FFF2-40B4-BE49-F238E27FC236}">
                  <a16:creationId xmlns:a16="http://schemas.microsoft.com/office/drawing/2014/main" id="{5C3B03EB-BCCB-6F49-0AC8-C3D5F25CAE95}"/>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1" name="Grupo 20">
            <a:extLst>
              <a:ext uri="{FF2B5EF4-FFF2-40B4-BE49-F238E27FC236}">
                <a16:creationId xmlns:a16="http://schemas.microsoft.com/office/drawing/2014/main" id="{B6A3FF90-A7D3-D281-8A4C-E805704FF6C7}"/>
              </a:ext>
            </a:extLst>
          </p:cNvPr>
          <p:cNvGrpSpPr/>
          <p:nvPr/>
        </p:nvGrpSpPr>
        <p:grpSpPr>
          <a:xfrm flipH="1" flipV="1">
            <a:off x="9712626" y="5924631"/>
            <a:ext cx="354651" cy="850738"/>
            <a:chOff x="-683062" y="-16463286"/>
            <a:chExt cx="14194073" cy="34048790"/>
          </a:xfrm>
          <a:solidFill>
            <a:schemeClr val="bg1"/>
          </a:solidFill>
        </p:grpSpPr>
        <p:sp>
          <p:nvSpPr>
            <p:cNvPr id="22" name="Elipse 21">
              <a:extLst>
                <a:ext uri="{FF2B5EF4-FFF2-40B4-BE49-F238E27FC236}">
                  <a16:creationId xmlns:a16="http://schemas.microsoft.com/office/drawing/2014/main" id="{7957D1CA-D952-9448-E2B8-72B426EBD52A}"/>
                </a:ext>
              </a:extLst>
            </p:cNvPr>
            <p:cNvSpPr/>
            <p:nvPr/>
          </p:nvSpPr>
          <p:spPr>
            <a:xfrm>
              <a:off x="-683062"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ipse 22">
              <a:extLst>
                <a:ext uri="{FF2B5EF4-FFF2-40B4-BE49-F238E27FC236}">
                  <a16:creationId xmlns:a16="http://schemas.microsoft.com/office/drawing/2014/main" id="{5A023FCF-E7F7-6BD1-036C-204E2F1188AD}"/>
                </a:ext>
              </a:extLst>
            </p:cNvPr>
            <p:cNvSpPr/>
            <p:nvPr/>
          </p:nvSpPr>
          <p:spPr>
            <a:xfrm>
              <a:off x="-683062"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Elipse 23">
              <a:extLst>
                <a:ext uri="{FF2B5EF4-FFF2-40B4-BE49-F238E27FC236}">
                  <a16:creationId xmlns:a16="http://schemas.microsoft.com/office/drawing/2014/main" id="{8A1430C7-2F00-C52B-CD67-AD005801C36C}"/>
                </a:ext>
              </a:extLst>
            </p:cNvPr>
            <p:cNvSpPr/>
            <p:nvPr/>
          </p:nvSpPr>
          <p:spPr>
            <a:xfrm>
              <a:off x="-683062"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Elipse 24">
              <a:extLst>
                <a:ext uri="{FF2B5EF4-FFF2-40B4-BE49-F238E27FC236}">
                  <a16:creationId xmlns:a16="http://schemas.microsoft.com/office/drawing/2014/main" id="{37F1BDC7-BD0C-8E07-ED49-EC39972FEBD2}"/>
                </a:ext>
              </a:extLst>
            </p:cNvPr>
            <p:cNvSpPr/>
            <p:nvPr/>
          </p:nvSpPr>
          <p:spPr>
            <a:xfrm>
              <a:off x="-683062"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Elipse 25">
              <a:extLst>
                <a:ext uri="{FF2B5EF4-FFF2-40B4-BE49-F238E27FC236}">
                  <a16:creationId xmlns:a16="http://schemas.microsoft.com/office/drawing/2014/main" id="{9978122E-C902-20E4-E69D-46C017BFD40A}"/>
                </a:ext>
              </a:extLst>
            </p:cNvPr>
            <p:cNvSpPr/>
            <p:nvPr/>
          </p:nvSpPr>
          <p:spPr>
            <a:xfrm>
              <a:off x="-683062"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a:extLst>
                <a:ext uri="{FF2B5EF4-FFF2-40B4-BE49-F238E27FC236}">
                  <a16:creationId xmlns:a16="http://schemas.microsoft.com/office/drawing/2014/main" id="{C2AB7061-72F3-1313-8585-DF49004D4004}"/>
                </a:ext>
              </a:extLst>
            </p:cNvPr>
            <p:cNvSpPr/>
            <p:nvPr/>
          </p:nvSpPr>
          <p:spPr>
            <a:xfrm>
              <a:off x="-683062" y="1663894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a:extLst>
                <a:ext uri="{FF2B5EF4-FFF2-40B4-BE49-F238E27FC236}">
                  <a16:creationId xmlns:a16="http://schemas.microsoft.com/office/drawing/2014/main" id="{CB990BB3-92A7-F287-FD6B-4C68F3DFBF2F}"/>
                </a:ext>
              </a:extLst>
            </p:cNvPr>
            <p:cNvSpPr/>
            <p:nvPr/>
          </p:nvSpPr>
          <p:spPr>
            <a:xfrm>
              <a:off x="5940670"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a:extLst>
                <a:ext uri="{FF2B5EF4-FFF2-40B4-BE49-F238E27FC236}">
                  <a16:creationId xmlns:a16="http://schemas.microsoft.com/office/drawing/2014/main" id="{3632051E-FE0E-0629-6616-E0CD5AEA2D84}"/>
                </a:ext>
              </a:extLst>
            </p:cNvPr>
            <p:cNvSpPr/>
            <p:nvPr/>
          </p:nvSpPr>
          <p:spPr>
            <a:xfrm>
              <a:off x="5940670"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46CA2007-BEC0-00CC-2296-46F74DF6E0B8}"/>
                </a:ext>
              </a:extLst>
            </p:cNvPr>
            <p:cNvSpPr/>
            <p:nvPr/>
          </p:nvSpPr>
          <p:spPr>
            <a:xfrm>
              <a:off x="5940670"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Elipse 30">
              <a:extLst>
                <a:ext uri="{FF2B5EF4-FFF2-40B4-BE49-F238E27FC236}">
                  <a16:creationId xmlns:a16="http://schemas.microsoft.com/office/drawing/2014/main" id="{C7C74388-148B-768A-6804-F30600FA22F6}"/>
                </a:ext>
              </a:extLst>
            </p:cNvPr>
            <p:cNvSpPr/>
            <p:nvPr/>
          </p:nvSpPr>
          <p:spPr>
            <a:xfrm>
              <a:off x="5940670"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Elipse 31">
              <a:extLst>
                <a:ext uri="{FF2B5EF4-FFF2-40B4-BE49-F238E27FC236}">
                  <a16:creationId xmlns:a16="http://schemas.microsoft.com/office/drawing/2014/main" id="{3DBC0216-5B95-3DD7-4B5A-4187326B5FE1}"/>
                </a:ext>
              </a:extLst>
            </p:cNvPr>
            <p:cNvSpPr/>
            <p:nvPr/>
          </p:nvSpPr>
          <p:spPr>
            <a:xfrm>
              <a:off x="5940670" y="1001848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Elipse 32">
              <a:extLst>
                <a:ext uri="{FF2B5EF4-FFF2-40B4-BE49-F238E27FC236}">
                  <a16:creationId xmlns:a16="http://schemas.microsoft.com/office/drawing/2014/main" id="{E8461C74-9FC4-01FD-77AF-04651DEF0EC7}"/>
                </a:ext>
              </a:extLst>
            </p:cNvPr>
            <p:cNvSpPr/>
            <p:nvPr/>
          </p:nvSpPr>
          <p:spPr>
            <a:xfrm>
              <a:off x="12564401" y="-1646328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Elipse 33">
              <a:extLst>
                <a:ext uri="{FF2B5EF4-FFF2-40B4-BE49-F238E27FC236}">
                  <a16:creationId xmlns:a16="http://schemas.microsoft.com/office/drawing/2014/main" id="{E6A65DBE-6C3B-1DB4-9135-2FA70F41A78B}"/>
                </a:ext>
              </a:extLst>
            </p:cNvPr>
            <p:cNvSpPr/>
            <p:nvPr/>
          </p:nvSpPr>
          <p:spPr>
            <a:xfrm>
              <a:off x="12564401" y="-9842826"/>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Elipse 34">
              <a:extLst>
                <a:ext uri="{FF2B5EF4-FFF2-40B4-BE49-F238E27FC236}">
                  <a16:creationId xmlns:a16="http://schemas.microsoft.com/office/drawing/2014/main" id="{234A4226-935B-E879-3C70-D69422A35517}"/>
                </a:ext>
              </a:extLst>
            </p:cNvPr>
            <p:cNvSpPr/>
            <p:nvPr/>
          </p:nvSpPr>
          <p:spPr>
            <a:xfrm>
              <a:off x="12564401" y="-3222402"/>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lipse 35">
              <a:extLst>
                <a:ext uri="{FF2B5EF4-FFF2-40B4-BE49-F238E27FC236}">
                  <a16:creationId xmlns:a16="http://schemas.microsoft.com/office/drawing/2014/main" id="{12951F9E-61D7-8356-B740-C23D157CB05C}"/>
                </a:ext>
              </a:extLst>
            </p:cNvPr>
            <p:cNvSpPr/>
            <p:nvPr/>
          </p:nvSpPr>
          <p:spPr>
            <a:xfrm>
              <a:off x="12564401" y="3398058"/>
              <a:ext cx="946610" cy="9465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99" name="Imagen 198" descr="Imagen que contiene objeto, reloj, dibujo, señal&#10;&#10;Descripción generada automáticamente">
            <a:extLst>
              <a:ext uri="{FF2B5EF4-FFF2-40B4-BE49-F238E27FC236}">
                <a16:creationId xmlns:a16="http://schemas.microsoft.com/office/drawing/2014/main" id="{9F0559FD-B7E3-B55A-DE13-7B6AEF00E2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48194" y="125601"/>
            <a:ext cx="1203158" cy="217300"/>
          </a:xfrm>
          <a:prstGeom prst="rect">
            <a:avLst/>
          </a:prstGeom>
        </p:spPr>
      </p:pic>
      <p:pic>
        <p:nvPicPr>
          <p:cNvPr id="100" name="Imagen 99" descr="Un dibujo animado con letras&#10;&#10;Descripción generada automáticamente con confianza baja">
            <a:extLst>
              <a:ext uri="{FF2B5EF4-FFF2-40B4-BE49-F238E27FC236}">
                <a16:creationId xmlns:a16="http://schemas.microsoft.com/office/drawing/2014/main" id="{9DB287D8-F043-96C0-95AD-5EF187E8392D}"/>
              </a:ext>
            </a:extLst>
          </p:cNvPr>
          <p:cNvPicPr>
            <a:picLocks noChangeAspect="1"/>
          </p:cNvPicPr>
          <p:nvPr/>
        </p:nvPicPr>
        <p:blipFill>
          <a:blip r:embed="rId8">
            <a:grayscl/>
            <a:alphaModFix amt="3000"/>
            <a:extLst>
              <a:ext uri="{28A0092B-C50C-407E-A947-70E740481C1C}">
                <a14:useLocalDpi xmlns:a14="http://schemas.microsoft.com/office/drawing/2010/main" val="0"/>
              </a:ext>
            </a:extLst>
          </a:blip>
          <a:stretch>
            <a:fillRect/>
          </a:stretch>
        </p:blipFill>
        <p:spPr>
          <a:xfrm>
            <a:off x="9624098" y="936515"/>
            <a:ext cx="3278067" cy="2780503"/>
          </a:xfrm>
          <a:prstGeom prst="rect">
            <a:avLst/>
          </a:prstGeom>
        </p:spPr>
      </p:pic>
      <p:grpSp>
        <p:nvGrpSpPr>
          <p:cNvPr id="52" name="Grupo 51">
            <a:extLst>
              <a:ext uri="{FF2B5EF4-FFF2-40B4-BE49-F238E27FC236}">
                <a16:creationId xmlns:a16="http://schemas.microsoft.com/office/drawing/2014/main" id="{0C7021C6-138A-99F3-B68B-B8D504739AD0}"/>
              </a:ext>
            </a:extLst>
          </p:cNvPr>
          <p:cNvGrpSpPr/>
          <p:nvPr/>
        </p:nvGrpSpPr>
        <p:grpSpPr>
          <a:xfrm>
            <a:off x="5211340" y="2668874"/>
            <a:ext cx="2009183" cy="596292"/>
            <a:chOff x="5811161" y="2153609"/>
            <a:chExt cx="2009183" cy="596292"/>
          </a:xfrm>
        </p:grpSpPr>
        <p:sp>
          <p:nvSpPr>
            <p:cNvPr id="49" name="Rectángulo: esquinas redondeadas 48">
              <a:extLst>
                <a:ext uri="{FF2B5EF4-FFF2-40B4-BE49-F238E27FC236}">
                  <a16:creationId xmlns:a16="http://schemas.microsoft.com/office/drawing/2014/main" id="{6299D8AD-AE4E-FD6A-8E31-CF53BCD6F033}"/>
                </a:ext>
              </a:extLst>
            </p:cNvPr>
            <p:cNvSpPr/>
            <p:nvPr/>
          </p:nvSpPr>
          <p:spPr>
            <a:xfrm>
              <a:off x="5811161" y="2153609"/>
              <a:ext cx="2009183" cy="596292"/>
            </a:xfrm>
            <a:prstGeom prst="roundRect">
              <a:avLst/>
            </a:prstGeom>
            <a:solidFill>
              <a:srgbClr val="EC21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1017713D-0228-8D28-37CE-DDCD0C4D116A}"/>
                </a:ext>
              </a:extLst>
            </p:cNvPr>
            <p:cNvSpPr txBox="1"/>
            <p:nvPr/>
          </p:nvSpPr>
          <p:spPr>
            <a:xfrm>
              <a:off x="5870536" y="2159368"/>
              <a:ext cx="189043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600" normalizeH="0" baseline="0" noProof="0" dirty="0">
                  <a:ln>
                    <a:noFill/>
                  </a:ln>
                  <a:solidFill>
                    <a:prstClr val="white"/>
                  </a:solidFill>
                  <a:effectLst/>
                  <a:uLnTx/>
                  <a:uFillTx/>
                  <a:latin typeface="Oswald SemiBold" pitchFamily="2" charset="0"/>
                  <a:ea typeface="+mn-ea"/>
                  <a:cs typeface="Poppins Light" panose="00000400000000000000" pitchFamily="2" charset="0"/>
                </a:rPr>
                <a:t>AFRICA</a:t>
              </a:r>
            </a:p>
          </p:txBody>
        </p:sp>
      </p:grpSp>
      <p:sp>
        <p:nvSpPr>
          <p:cNvPr id="3" name="CuadroTexto 2">
            <a:extLst>
              <a:ext uri="{FF2B5EF4-FFF2-40B4-BE49-F238E27FC236}">
                <a16:creationId xmlns:a16="http://schemas.microsoft.com/office/drawing/2014/main" id="{E3EB22BE-9F05-419A-681F-3A6B36DDF6D6}"/>
              </a:ext>
            </a:extLst>
          </p:cNvPr>
          <p:cNvSpPr txBox="1"/>
          <p:nvPr/>
        </p:nvSpPr>
        <p:spPr>
          <a:xfrm>
            <a:off x="5217010" y="3367388"/>
            <a:ext cx="528495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Oswald SemiBold" pitchFamily="2" charset="0"/>
                <a:ea typeface="+mn-ea"/>
                <a:cs typeface="Poppins Light" panose="00000400000000000000" pitchFamily="2" charset="0"/>
              </a:rPr>
              <a:t>The Continent of Hidden Gems</a:t>
            </a:r>
          </a:p>
        </p:txBody>
      </p:sp>
    </p:spTree>
    <p:extLst>
      <p:ext uri="{BB962C8B-B14F-4D97-AF65-F5344CB8AC3E}">
        <p14:creationId xmlns:p14="http://schemas.microsoft.com/office/powerpoint/2010/main" val="26677666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ZpeYQyOb0WldUch1nuhc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ZpeYQyOb0WldUch1nuh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CHakXqjkUWdTPoBXPAa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1ac_Dzz60yBki5FcBML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smMCrxKPUOX3Jqlohu3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kkz391aWkmUOhd0MCVW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ZpeYQyOb0WldUch1nuh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1ac_Dzz60yBki5FcBML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3wfla.YNkekrZVXVl8V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smMCrxKPUOX3Jqlohu3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kkz391aWkmUOhd0MCVW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ZpeYQyOb0WldUch1nuh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1ac_Dzz60yBki5FcBML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smMCrxKPUOX3Jqlohu3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kkz391aWkmUOhd0MCV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CHakXqjkUWdTPoBXPAa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PAOYGQQbk2FvaOzxAHJ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ozRwupd0quzdgSEBWDmA"/>
</p:tagLst>
</file>

<file path=ppt/theme/theme1.xml><?xml version="1.0" encoding="utf-8"?>
<a:theme xmlns:a="http://schemas.openxmlformats.org/drawingml/2006/main" name="1_Office Theme">
  <a:themeElements>
    <a:clrScheme name="HEALTHICON">
      <a:dk1>
        <a:sysClr val="windowText" lastClr="000000"/>
      </a:dk1>
      <a:lt1>
        <a:sysClr val="window" lastClr="FFFFFF"/>
      </a:lt1>
      <a:dk2>
        <a:srgbClr val="44546A"/>
      </a:dk2>
      <a:lt2>
        <a:srgbClr val="E7E6E6"/>
      </a:lt2>
      <a:accent1>
        <a:srgbClr val="EC2129"/>
      </a:accent1>
      <a:accent2>
        <a:srgbClr val="232323"/>
      </a:accent2>
      <a:accent3>
        <a:srgbClr val="02AEF1"/>
      </a:accent3>
      <a:accent4>
        <a:srgbClr val="595959"/>
      </a:accent4>
      <a:accent5>
        <a:srgbClr val="C5111A"/>
      </a:accent5>
      <a:accent6>
        <a:srgbClr val="0288BE"/>
      </a:accent6>
      <a:hlink>
        <a:srgbClr val="0C0C0C"/>
      </a:hlink>
      <a:folHlink>
        <a:srgbClr val="EC2129"/>
      </a:folHlink>
    </a:clrScheme>
    <a:fontScheme name="Healthicon">
      <a:majorFont>
        <a:latin typeface="Jost ExtraBold"/>
        <a:ea typeface=""/>
        <a:cs typeface=""/>
      </a:majorFont>
      <a:minorFont>
        <a:latin typeface="Jos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196</TotalTime>
  <Words>1995</Words>
  <Application>Microsoft Office PowerPoint</Application>
  <PresentationFormat>Widescreen</PresentationFormat>
  <Paragraphs>518</Paragraphs>
  <Slides>27</Slides>
  <Notes>0</Notes>
  <HiddenSlides>1</HiddenSlides>
  <MMClips>0</MMClips>
  <ScaleCrop>false</ScaleCrop>
  <HeadingPairs>
    <vt:vector size="6" baseType="variant">
      <vt:variant>
        <vt:lpstr>Fonts Used</vt:lpstr>
      </vt:variant>
      <vt:variant>
        <vt:i4>16</vt:i4>
      </vt:variant>
      <vt:variant>
        <vt:lpstr>Theme</vt:lpstr>
      </vt:variant>
      <vt:variant>
        <vt:i4>2</vt:i4>
      </vt:variant>
      <vt:variant>
        <vt:lpstr>Slide Titles</vt:lpstr>
      </vt:variant>
      <vt:variant>
        <vt:i4>27</vt:i4>
      </vt:variant>
    </vt:vector>
  </HeadingPairs>
  <TitlesOfParts>
    <vt:vector size="45" baseType="lpstr">
      <vt:lpstr>Arial</vt:lpstr>
      <vt:lpstr>Calibri</vt:lpstr>
      <vt:lpstr>Calibri Light</vt:lpstr>
      <vt:lpstr>FontAwesome</vt:lpstr>
      <vt:lpstr>Jost</vt:lpstr>
      <vt:lpstr>Jost ExtraBold</vt:lpstr>
      <vt:lpstr>Kautiva Pro</vt:lpstr>
      <vt:lpstr>Lato Light</vt:lpstr>
      <vt:lpstr>Oswald</vt:lpstr>
      <vt:lpstr>Oswald Light</vt:lpstr>
      <vt:lpstr>Oswald Medium</vt:lpstr>
      <vt:lpstr>Oswald SemiBold</vt:lpstr>
      <vt:lpstr>Poppins</vt:lpstr>
      <vt:lpstr>Poppins Light</vt:lpstr>
      <vt:lpstr>Poppins Medium</vt:lpstr>
      <vt:lpstr>Poppins SemiBold</vt:lpstr>
      <vt:lpstr>1_Office Theme</vt:lpstr>
      <vt:lpstr>Tema de 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if Zahdeh</dc:creator>
  <cp:lastModifiedBy>Bilal Qandeel</cp:lastModifiedBy>
  <cp:revision>9</cp:revision>
  <cp:lastPrinted>2023-11-19T11:42:40Z</cp:lastPrinted>
  <dcterms:created xsi:type="dcterms:W3CDTF">2023-02-19T08:01:23Z</dcterms:created>
  <dcterms:modified xsi:type="dcterms:W3CDTF">2023-11-22T07:46:01Z</dcterms:modified>
</cp:coreProperties>
</file>